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tags/tag424.xml" ContentType="application/vnd.openxmlformats-officedocument.presentationml.tags+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418.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theme/theme2.xml" ContentType="application/vnd.openxmlformats-officedocument.theme+xml"/>
  <Override PartName="/ppt/tags/tag443.xml" ContentType="application/vnd.openxmlformats-officedocument.presentationml.tags+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tags/tag421.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notesSlides/notesSlide13.xml" ContentType="application/vnd.openxmlformats-officedocument.presentationml.notesSlide+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437.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s/slide16.xml" ContentType="application/vnd.openxmlformats-officedocument.presentationml.slide+xml"/>
  <Override PartName="/ppt/tags/tag2.xml" ContentType="application/vnd.openxmlformats-officedocument.presentationml.tags+xml"/>
  <Override PartName="/ppt/tags/tag44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notesSlides/notesSlide9.xml" ContentType="application/vnd.openxmlformats-officedocument.presentationml.notesSlide+xml"/>
  <Override PartName="/ppt/tags/tag391.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notesSlides/notesSlide10.xml" ContentType="application/vnd.openxmlformats-officedocument.presentationml.notesSlide+xml"/>
  <Override PartName="/ppt/tags/tag38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7.xml" ContentType="application/vnd.openxmlformats-officedocument.presentationml.tags+xml"/>
  <Override PartName="/ppt/tags/tag103.xml" ContentType="application/vnd.openxmlformats-officedocument.presentationml.tags+xml"/>
  <Override PartName="/ppt/notesSlides/notesSlide1.xml" ContentType="application/vnd.openxmlformats-officedocument.presentationml.notesSlide+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tags/tag434.xml" ContentType="application/vnd.openxmlformats-officedocument.presentationml.tags+xml"/>
  <Override PartName="/ppt/tags/tag445.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tags/tag41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tags/tag385.xml" ContentType="application/vnd.openxmlformats-officedocument.presentationml.tags+xml"/>
  <Override PartName="/ppt/tags/tag396.xml" ContentType="application/vnd.openxmlformats-officedocument.presentationml.tags+xml"/>
  <Override PartName="/ppt/tags/tag401.xml" ContentType="application/vnd.openxmlformats-officedocument.presentationml.tags+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Default Extension="tiff" ContentType="image/tiff"/>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notesSlides/notesSlide6.xml" ContentType="application/vnd.openxmlformats-officedocument.presentationml.notesSlide+xml"/>
  <Override PartName="/ppt/tags/tag352.xml" ContentType="application/vnd.openxmlformats-officedocument.presentationml.tags+xml"/>
  <Override PartName="/ppt/tags/tag439.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tags/tag417.xml" ContentType="application/vnd.openxmlformats-officedocument.presentationml.tags+xml"/>
  <Override PartName="/ppt/tags/tag428.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44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tags/tag431.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38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tags/tag436.xml" ContentType="application/vnd.openxmlformats-officedocument.presentationml.tags+xml"/>
  <Override PartName="/ppt/tags/tag447.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notesSlides/notesSlide3.xml" ContentType="application/vnd.openxmlformats-officedocument.presentationml.notesSlide+xml"/>
  <Override PartName="/ppt/tags/tag275.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tags/tag41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87.xml" ContentType="application/vnd.openxmlformats-officedocument.presentationml.tags+xml"/>
  <Override PartName="/ppt/tags/tag398.xml" ContentType="application/vnd.openxmlformats-officedocument.presentationml.tags+xml"/>
  <Override PartName="/ppt/tags/tag403.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Default Extension="gif" ContentType="image/gif"/>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notesSlides/notesSlide8.xml" ContentType="application/vnd.openxmlformats-officedocument.presentationml.notesSlide+xml"/>
  <Override PartName="/ppt/tags/tag390.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ppt/tags/tag408.xml" ContentType="application/vnd.openxmlformats-officedocument.presentationml.tags+xml"/>
  <Override PartName="/ppt/tags/tag41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444.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433.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xls" ContentType="application/vnd.ms-exce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Override PartName="/ppt/tags/tag411.xml" ContentType="application/vnd.openxmlformats-officedocument.presentationml.tags+xml"/>
  <Override PartName="/ppt/tags/tag422.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400.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38.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notesSlides/notesSlide5.xml" ContentType="application/vnd.openxmlformats-officedocument.presentationml.notesSlide+xml"/>
  <Override PartName="/ppt/tags/tag340.xml" ContentType="application/vnd.openxmlformats-officedocument.presentationml.tags+xml"/>
  <Override PartName="/ppt/tags/tag427.xml" ContentType="application/vnd.openxmlformats-officedocument.presentationml.tags+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41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Default Extension="jpeg" ContentType="image/jpeg"/>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tags/tag430.xml" ContentType="application/vnd.openxmlformats-officedocument.presentationml.tags+xml"/>
  <Override PartName="/ppt/tags/tag441.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446.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435.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426.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slides/slide2.xml" ContentType="application/vnd.openxmlformats-officedocument.presentationml.slide+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4"/>
  </p:notesMasterIdLst>
  <p:sldIdLst>
    <p:sldId id="839" r:id="rId2"/>
    <p:sldId id="837" r:id="rId3"/>
    <p:sldId id="649" r:id="rId4"/>
    <p:sldId id="838" r:id="rId5"/>
    <p:sldId id="681" r:id="rId6"/>
    <p:sldId id="697" r:id="rId7"/>
    <p:sldId id="612" r:id="rId8"/>
    <p:sldId id="331" r:id="rId9"/>
    <p:sldId id="355" r:id="rId10"/>
    <p:sldId id="644" r:id="rId11"/>
    <p:sldId id="2924" r:id="rId12"/>
    <p:sldId id="2917" r:id="rId13"/>
    <p:sldId id="2918" r:id="rId14"/>
    <p:sldId id="2926" r:id="rId15"/>
    <p:sldId id="2920" r:id="rId16"/>
    <p:sldId id="2869" r:id="rId17"/>
    <p:sldId id="2867" r:id="rId18"/>
    <p:sldId id="2821" r:id="rId19"/>
    <p:sldId id="2930" r:id="rId20"/>
    <p:sldId id="2931" r:id="rId21"/>
    <p:sldId id="2914" r:id="rId22"/>
    <p:sldId id="2928" r:id="rId23"/>
  </p:sldIdLst>
  <p:sldSz cx="8961438" cy="6721475"/>
  <p:notesSz cx="6858000" cy="9144000"/>
  <p:custDataLst>
    <p:tags r:id="rId25"/>
  </p:custDataLst>
  <p:defaultTextStyle>
    <a:defPPr>
      <a:defRPr lang="en-US"/>
    </a:defPPr>
    <a:lvl1pPr algn="l" rtl="0" fontAlgn="base">
      <a:spcBef>
        <a:spcPct val="0"/>
      </a:spcBef>
      <a:spcAft>
        <a:spcPct val="0"/>
      </a:spcAft>
      <a:defRPr sz="16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6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6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6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600" kern="1200">
        <a:solidFill>
          <a:schemeClr val="tx1"/>
        </a:solidFill>
        <a:latin typeface="Arial" pitchFamily="34" charset="0"/>
        <a:ea typeface="+mn-ea"/>
        <a:cs typeface="Arial" pitchFamily="34" charset="0"/>
      </a:defRPr>
    </a:lvl5pPr>
    <a:lvl6pPr marL="2286000" algn="l" defTabSz="914400" rtl="0" eaLnBrk="1" latinLnBrk="0" hangingPunct="1">
      <a:defRPr sz="1600" kern="1200">
        <a:solidFill>
          <a:schemeClr val="tx1"/>
        </a:solidFill>
        <a:latin typeface="Arial" pitchFamily="34" charset="0"/>
        <a:ea typeface="+mn-ea"/>
        <a:cs typeface="Arial" pitchFamily="34" charset="0"/>
      </a:defRPr>
    </a:lvl6pPr>
    <a:lvl7pPr marL="2743200" algn="l" defTabSz="914400" rtl="0" eaLnBrk="1" latinLnBrk="0" hangingPunct="1">
      <a:defRPr sz="1600" kern="1200">
        <a:solidFill>
          <a:schemeClr val="tx1"/>
        </a:solidFill>
        <a:latin typeface="Arial" pitchFamily="34" charset="0"/>
        <a:ea typeface="+mn-ea"/>
        <a:cs typeface="Arial" pitchFamily="34" charset="0"/>
      </a:defRPr>
    </a:lvl7pPr>
    <a:lvl8pPr marL="3200400" algn="l" defTabSz="914400" rtl="0" eaLnBrk="1" latinLnBrk="0" hangingPunct="1">
      <a:defRPr sz="1600" kern="1200">
        <a:solidFill>
          <a:schemeClr val="tx1"/>
        </a:solidFill>
        <a:latin typeface="Arial" pitchFamily="34" charset="0"/>
        <a:ea typeface="+mn-ea"/>
        <a:cs typeface="Arial" pitchFamily="34" charset="0"/>
      </a:defRPr>
    </a:lvl8pPr>
    <a:lvl9pPr marL="3657600" algn="l" defTabSz="914400" rtl="0" eaLnBrk="1" latinLnBrk="0" hangingPunct="1">
      <a:defRPr sz="1600"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7921" autoAdjust="0"/>
    <p:restoredTop sz="93466" autoAdjust="0"/>
  </p:normalViewPr>
  <p:slideViewPr>
    <p:cSldViewPr snapToGrid="0">
      <p:cViewPr>
        <p:scale>
          <a:sx n="50" d="100"/>
          <a:sy n="50" d="100"/>
        </p:scale>
        <p:origin x="-1890" y="-510"/>
      </p:cViewPr>
      <p:guideLst>
        <p:guide orient="horz" pos="2117"/>
        <p:guide pos="2822"/>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image" Target="../media/image6.emf"/><Relationship Id="rId5" Type="http://schemas.openxmlformats.org/officeDocument/2006/relationships/image" Target="../media/image60.png"/><Relationship Id="rId4" Type="http://schemas.openxmlformats.org/officeDocument/2006/relationships/image" Target="../media/image59.png"/></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image" Target="../media/image6.emf"/><Relationship Id="rId5" Type="http://schemas.openxmlformats.org/officeDocument/2006/relationships/image" Target="../media/image75.png"/><Relationship Id="rId4" Type="http://schemas.openxmlformats.org/officeDocument/2006/relationships/image" Target="../media/image74.png"/></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image" Target="../media/image8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image" Target="../media/image6.emf"/><Relationship Id="rId4" Type="http://schemas.openxmlformats.org/officeDocument/2006/relationships/image" Target="../media/image100.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7.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charset="0"/>
                <a:cs typeface="+mn-cs"/>
              </a:defRPr>
            </a:lvl1pPr>
          </a:lstStyle>
          <a:p>
            <a:pPr>
              <a:defRPr/>
            </a:pPr>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smtClean="0">
                <a:latin typeface="Arial" charset="0"/>
                <a:cs typeface="+mn-cs"/>
              </a:defRPr>
            </a:lvl1pPr>
          </a:lstStyle>
          <a:p>
            <a:pPr>
              <a:defRPr/>
            </a:pPr>
            <a:fld id="{719F5AC0-8572-4EDD-86D6-59065E726BAD}" type="datetimeFigureOut">
              <a:rPr lang="en-GB"/>
              <a:pPr>
                <a:defRPr/>
              </a:pPr>
              <a:t>30/04/2019</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charset="0"/>
                <a:cs typeface="+mn-cs"/>
              </a:defRPr>
            </a:lvl1pPr>
          </a:lstStyle>
          <a:p>
            <a:pPr>
              <a:defRPr/>
            </a:pPr>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smtClean="0">
                <a:latin typeface="Arial" charset="0"/>
                <a:cs typeface="+mn-cs"/>
              </a:defRPr>
            </a:lvl1pPr>
          </a:lstStyle>
          <a:p>
            <a:pPr>
              <a:defRPr/>
            </a:pPr>
            <a:fld id="{E2BEB888-33CC-4AE4-9C94-863B3FCEDDEE}"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pg num"/>
          <p:cNvSpPr>
            <a:spLocks noGrp="1" noChangeArrowheads="1"/>
          </p:cNvSpPr>
          <p:nvPr>
            <p:ph type="sldNum" sz="quarter" idx="5"/>
          </p:nvPr>
        </p:nvSpPr>
        <p:spPr bwMode="auto">
          <a:xfrm>
            <a:off x="5649913" y="10299700"/>
            <a:ext cx="525462" cy="184150"/>
          </a:xfrm>
          <a:noFill/>
          <a:ln>
            <a:miter lim="800000"/>
            <a:headEnd/>
            <a:tailEnd/>
          </a:ln>
        </p:spPr>
        <p:txBody>
          <a:bodyPr wrap="square" numCol="1" anchorCtr="0" compatLnSpc="1">
            <a:prstTxWarp prst="textNoShape">
              <a:avLst/>
            </a:prstTxWarp>
          </a:bodyPr>
          <a:lstStyle/>
          <a:p>
            <a:fld id="{B5D545D0-DBC5-4B60-B8DE-9BF7A5E778DB}" type="slidenum">
              <a:rPr lang="en-US">
                <a:latin typeface="Arial" pitchFamily="34" charset="0"/>
              </a:rPr>
              <a:pPr/>
              <a:t>2</a:t>
            </a:fld>
            <a:endParaRPr lang="en-US">
              <a:latin typeface="Arial" pitchFamily="34" charset="0"/>
            </a:endParaRPr>
          </a:p>
        </p:txBody>
      </p:sp>
      <p:sp>
        <p:nvSpPr>
          <p:cNvPr id="33795" name="Rectangle 4"/>
          <p:cNvSpPr>
            <a:spLocks noGrp="1" noRot="1" noChangeAspect="1" noChangeArrowheads="1" noTextEdit="1"/>
          </p:cNvSpPr>
          <p:nvPr>
            <p:ph type="sldImg"/>
          </p:nvPr>
        </p:nvSpPr>
        <p:spPr bwMode="auto">
          <a:noFill/>
          <a:ln>
            <a:solidFill>
              <a:srgbClr val="000000"/>
            </a:solidFill>
            <a:miter lim="800000"/>
            <a:headEnd/>
            <a:tailEnd/>
          </a:ln>
        </p:spPr>
      </p:sp>
      <p:sp>
        <p:nvSpPr>
          <p:cNvPr id="33796" name="Rectangle 5"/>
          <p:cNvSpPr>
            <a:spLocks noGrp="1" noChangeArrowheads="1"/>
          </p:cNvSpPr>
          <p:nvPr>
            <p:ph type="body" idx="1"/>
          </p:nvPr>
        </p:nvSpPr>
        <p:spPr bwMode="auto">
          <a:xfrm>
            <a:off x="536575" y="5746750"/>
            <a:ext cx="5649913" cy="246063"/>
          </a:xfrm>
          <a:noFill/>
        </p:spPr>
        <p:txBody>
          <a:bodyPr wrap="square" numCol="1" anchor="t" anchorCtr="0" compatLnSpc="1">
            <a:prstTxWarp prst="textNoShape">
              <a:avLst/>
            </a:prstTxWarp>
          </a:bodyPr>
          <a:lstStyle/>
          <a:p>
            <a:pPr>
              <a:spcBef>
                <a:spcPct val="0"/>
              </a:spcBef>
            </a:pPr>
            <a:endParaRPr lang="cs-CZ"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p:spPr>
      </p:sp>
      <p:sp>
        <p:nvSpPr>
          <p:cNvPr id="4301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301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41388"/>
            <a:fld id="{2931566C-7617-41DB-839D-7A405E0C0D53}" type="slidenum">
              <a:rPr lang="en-US">
                <a:solidFill>
                  <a:srgbClr val="000000"/>
                </a:solidFill>
                <a:latin typeface="Arial" pitchFamily="34" charset="0"/>
              </a:rPr>
              <a:pPr defTabSz="941388"/>
              <a:t>16</a:t>
            </a:fld>
            <a:endParaRPr lang="en-US">
              <a:solidFill>
                <a:srgbClr val="000000"/>
              </a:solidFill>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p:spPr>
      </p:sp>
      <p:sp>
        <p:nvSpPr>
          <p:cNvPr id="44035" name="Notes Placeholder 2"/>
          <p:cNvSpPr>
            <a:spLocks noGrp="1"/>
          </p:cNvSpPr>
          <p:nvPr>
            <p:ph type="body" idx="1"/>
          </p:nvPr>
        </p:nvSpPr>
        <p:spPr bwMode="auto">
          <a:xfrm>
            <a:off x="568325" y="5048250"/>
            <a:ext cx="5973763" cy="249238"/>
          </a:xfrm>
          <a:noFill/>
        </p:spPr>
        <p:txBody>
          <a:bodyPr wrap="square" numCol="1" anchor="t" anchorCtr="0" compatLnSpc="1">
            <a:prstTxWarp prst="textNoShape">
              <a:avLst/>
            </a:prstTxWarp>
          </a:bodyPr>
          <a:lstStyle/>
          <a:p>
            <a:pPr>
              <a:spcBef>
                <a:spcPct val="0"/>
              </a:spcBef>
            </a:pPr>
            <a:endParaRPr lang="en-US" smtClean="0"/>
          </a:p>
        </p:txBody>
      </p:sp>
      <p:sp>
        <p:nvSpPr>
          <p:cNvPr id="4403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A29B185D-1372-4DCD-9682-A66859014198}" type="slidenum">
              <a:rPr lang="en-US">
                <a:latin typeface="Arial" pitchFamily="34" charset="0"/>
              </a:rPr>
              <a:pPr/>
              <a:t>17</a:t>
            </a:fld>
            <a:endParaRPr lang="en-US">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CCDF2AED-FBBB-4AFA-864F-3CADD9F931A9}" type="slidenum">
              <a:rPr lang="en-US">
                <a:solidFill>
                  <a:srgbClr val="000000"/>
                </a:solidFill>
                <a:latin typeface="Arial" pitchFamily="34" charset="0"/>
                <a:ea typeface="MS PGothic" pitchFamily="34" charset="-128"/>
              </a:rPr>
              <a:pPr/>
              <a:t>18</a:t>
            </a:fld>
            <a:endParaRPr lang="en-US">
              <a:solidFill>
                <a:srgbClr val="000000"/>
              </a:solidFill>
              <a:latin typeface="Arial" pitchFamily="34" charset="0"/>
              <a:ea typeface="MS PGothic" pitchFamily="34" charset="-128"/>
            </a:endParaRPr>
          </a:p>
        </p:txBody>
      </p:sp>
      <p:sp>
        <p:nvSpPr>
          <p:cNvPr id="45059" name="doc id"/>
          <p:cNvSpPr>
            <a:spLocks noGrp="1" noChangeArrowheads="1"/>
          </p:cNvSpPr>
          <p:nvPr>
            <p:ph type="ftr" sz="quarter" idx="4"/>
          </p:nvPr>
        </p:nvSpPr>
        <p:spPr bwMode="auto">
          <a:xfrm>
            <a:off x="5389563" y="90488"/>
            <a:ext cx="1154112" cy="122237"/>
          </a:xfrm>
          <a:noFill/>
          <a:ln>
            <a:miter lim="800000"/>
            <a:headEnd/>
            <a:tailEnd/>
          </a:ln>
        </p:spPr>
        <p:txBody>
          <a:bodyPr wrap="square" numCol="1" anchorCtr="0" compatLnSpc="1">
            <a:prstTxWarp prst="textNoShape">
              <a:avLst/>
            </a:prstTxWarp>
          </a:bodyPr>
          <a:lstStyle/>
          <a:p>
            <a:r>
              <a:rPr lang="en-US" smtClean="0">
                <a:solidFill>
                  <a:srgbClr val="000000"/>
                </a:solidFill>
                <a:latin typeface="Arial" pitchFamily="34" charset="0"/>
                <a:ea typeface="MS PGothic" pitchFamily="34" charset="-128"/>
              </a:rPr>
              <a:t>BER-AAA123-20130524-</a:t>
            </a:r>
          </a:p>
        </p:txBody>
      </p:sp>
      <p:sp>
        <p:nvSpPr>
          <p:cNvPr id="45060" name="Rectangle 2"/>
          <p:cNvSpPr>
            <a:spLocks noGrp="1" noRot="1" noChangeAspect="1" noChangeArrowheads="1" noTextEdit="1"/>
          </p:cNvSpPr>
          <p:nvPr>
            <p:ph type="sldImg"/>
          </p:nvPr>
        </p:nvSpPr>
        <p:spPr bwMode="auto">
          <a:xfrm>
            <a:off x="1111250" y="674688"/>
            <a:ext cx="4511675" cy="3384550"/>
          </a:xfrm>
          <a:noFill/>
          <a:ln>
            <a:solidFill>
              <a:srgbClr val="000000"/>
            </a:solidFill>
            <a:miter lim="800000"/>
            <a:headEnd/>
            <a:tailEnd/>
          </a:ln>
        </p:spPr>
      </p:sp>
      <p:sp>
        <p:nvSpPr>
          <p:cNvPr id="45061" name="Rectangle 3"/>
          <p:cNvSpPr>
            <a:spLocks noGrp="1" noChangeArrowheads="1"/>
          </p:cNvSpPr>
          <p:nvPr>
            <p:ph type="body" idx="1"/>
          </p:nvPr>
        </p:nvSpPr>
        <p:spPr bwMode="auto">
          <a:xfrm>
            <a:off x="922338" y="4351338"/>
            <a:ext cx="4921250" cy="246062"/>
          </a:xfrm>
          <a:noFill/>
        </p:spPr>
        <p:txBody>
          <a:bodyPr wrap="square" numCol="1" anchor="t" anchorCtr="0" compatLnSpc="1">
            <a:prstTxWarp prst="textNoShape">
              <a:avLst/>
            </a:prstTxWarp>
          </a:bodyPr>
          <a:lstStyle/>
          <a:p>
            <a:pPr>
              <a:spcBef>
                <a:spcPct val="0"/>
              </a:spcBef>
            </a:pPr>
            <a:endParaRPr lang="de-DE"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BF543C69-3B24-45D8-9189-C531DEBAE465}" type="slidenum">
              <a:rPr lang="en-US">
                <a:solidFill>
                  <a:srgbClr val="000000"/>
                </a:solidFill>
                <a:latin typeface="Arial" pitchFamily="34" charset="0"/>
                <a:ea typeface="MS PGothic" pitchFamily="34" charset="-128"/>
              </a:rPr>
              <a:pPr/>
              <a:t>19</a:t>
            </a:fld>
            <a:endParaRPr lang="en-US">
              <a:solidFill>
                <a:srgbClr val="000000"/>
              </a:solidFill>
              <a:latin typeface="Arial" pitchFamily="34" charset="0"/>
              <a:ea typeface="MS PGothic" pitchFamily="34" charset="-128"/>
            </a:endParaRPr>
          </a:p>
        </p:txBody>
      </p:sp>
      <p:sp>
        <p:nvSpPr>
          <p:cNvPr id="46083" name="doc id"/>
          <p:cNvSpPr>
            <a:spLocks noGrp="1" noChangeArrowheads="1"/>
          </p:cNvSpPr>
          <p:nvPr>
            <p:ph type="ftr" sz="quarter" idx="4"/>
          </p:nvPr>
        </p:nvSpPr>
        <p:spPr bwMode="auto">
          <a:xfrm>
            <a:off x="5389563" y="90488"/>
            <a:ext cx="1154112" cy="122237"/>
          </a:xfrm>
          <a:noFill/>
          <a:ln>
            <a:miter lim="800000"/>
            <a:headEnd/>
            <a:tailEnd/>
          </a:ln>
        </p:spPr>
        <p:txBody>
          <a:bodyPr wrap="square" numCol="1" anchorCtr="0" compatLnSpc="1">
            <a:prstTxWarp prst="textNoShape">
              <a:avLst/>
            </a:prstTxWarp>
          </a:bodyPr>
          <a:lstStyle/>
          <a:p>
            <a:r>
              <a:rPr lang="en-US" smtClean="0">
                <a:solidFill>
                  <a:srgbClr val="000000"/>
                </a:solidFill>
                <a:latin typeface="Arial" pitchFamily="34" charset="0"/>
                <a:ea typeface="MS PGothic" pitchFamily="34" charset="-128"/>
              </a:rPr>
              <a:t>BER-AAA123-20130524-</a:t>
            </a:r>
          </a:p>
        </p:txBody>
      </p:sp>
      <p:sp>
        <p:nvSpPr>
          <p:cNvPr id="46084" name="Rectangle 2"/>
          <p:cNvSpPr>
            <a:spLocks noGrp="1" noRot="1" noChangeAspect="1" noChangeArrowheads="1" noTextEdit="1"/>
          </p:cNvSpPr>
          <p:nvPr>
            <p:ph type="sldImg"/>
          </p:nvPr>
        </p:nvSpPr>
        <p:spPr bwMode="auto">
          <a:xfrm>
            <a:off x="1111250" y="674688"/>
            <a:ext cx="4511675" cy="3384550"/>
          </a:xfrm>
          <a:noFill/>
          <a:ln>
            <a:solidFill>
              <a:srgbClr val="000000"/>
            </a:solidFill>
            <a:miter lim="800000"/>
            <a:headEnd/>
            <a:tailEnd/>
          </a:ln>
        </p:spPr>
      </p:sp>
      <p:sp>
        <p:nvSpPr>
          <p:cNvPr id="46085" name="Rectangle 3"/>
          <p:cNvSpPr>
            <a:spLocks noGrp="1" noChangeArrowheads="1"/>
          </p:cNvSpPr>
          <p:nvPr>
            <p:ph type="body" idx="1"/>
          </p:nvPr>
        </p:nvSpPr>
        <p:spPr bwMode="auto">
          <a:xfrm>
            <a:off x="922338" y="4351338"/>
            <a:ext cx="4921250" cy="246062"/>
          </a:xfrm>
          <a:noFill/>
        </p:spPr>
        <p:txBody>
          <a:bodyPr wrap="square" numCol="1" anchor="t" anchorCtr="0" compatLnSpc="1">
            <a:prstTxWarp prst="textNoShape">
              <a:avLst/>
            </a:prstTxWarp>
          </a:bodyPr>
          <a:lstStyle/>
          <a:p>
            <a:pPr>
              <a:spcBef>
                <a:spcPct val="0"/>
              </a:spcBef>
            </a:pPr>
            <a:endParaRPr lang="de-DE"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E8EDB1E6-29FC-495C-976B-5DACA9DC0016}" type="slidenum">
              <a:rPr lang="en-US">
                <a:solidFill>
                  <a:srgbClr val="000000"/>
                </a:solidFill>
                <a:latin typeface="Arial" pitchFamily="34" charset="0"/>
                <a:ea typeface="MS PGothic" pitchFamily="34" charset="-128"/>
              </a:rPr>
              <a:pPr/>
              <a:t>20</a:t>
            </a:fld>
            <a:endParaRPr lang="en-US">
              <a:solidFill>
                <a:srgbClr val="000000"/>
              </a:solidFill>
              <a:latin typeface="Arial" pitchFamily="34" charset="0"/>
              <a:ea typeface="MS PGothic" pitchFamily="34" charset="-128"/>
            </a:endParaRPr>
          </a:p>
        </p:txBody>
      </p:sp>
      <p:sp>
        <p:nvSpPr>
          <p:cNvPr id="47107" name="doc id"/>
          <p:cNvSpPr>
            <a:spLocks noGrp="1" noChangeArrowheads="1"/>
          </p:cNvSpPr>
          <p:nvPr>
            <p:ph type="ftr" sz="quarter" idx="4"/>
          </p:nvPr>
        </p:nvSpPr>
        <p:spPr bwMode="auto">
          <a:xfrm>
            <a:off x="5389563" y="90488"/>
            <a:ext cx="1154112" cy="122237"/>
          </a:xfrm>
          <a:noFill/>
          <a:ln>
            <a:miter lim="800000"/>
            <a:headEnd/>
            <a:tailEnd/>
          </a:ln>
        </p:spPr>
        <p:txBody>
          <a:bodyPr wrap="square" numCol="1" anchorCtr="0" compatLnSpc="1">
            <a:prstTxWarp prst="textNoShape">
              <a:avLst/>
            </a:prstTxWarp>
          </a:bodyPr>
          <a:lstStyle/>
          <a:p>
            <a:r>
              <a:rPr lang="en-US" smtClean="0">
                <a:solidFill>
                  <a:srgbClr val="000000"/>
                </a:solidFill>
                <a:latin typeface="Arial" pitchFamily="34" charset="0"/>
                <a:ea typeface="MS PGothic" pitchFamily="34" charset="-128"/>
              </a:rPr>
              <a:t>BER-AAA123-20130524-</a:t>
            </a:r>
          </a:p>
        </p:txBody>
      </p:sp>
      <p:sp>
        <p:nvSpPr>
          <p:cNvPr id="47108" name="Rectangle 2"/>
          <p:cNvSpPr>
            <a:spLocks noGrp="1" noRot="1" noChangeAspect="1" noChangeArrowheads="1" noTextEdit="1"/>
          </p:cNvSpPr>
          <p:nvPr>
            <p:ph type="sldImg"/>
          </p:nvPr>
        </p:nvSpPr>
        <p:spPr bwMode="auto">
          <a:xfrm>
            <a:off x="1111250" y="674688"/>
            <a:ext cx="4511675" cy="3384550"/>
          </a:xfrm>
          <a:noFill/>
          <a:ln>
            <a:solidFill>
              <a:srgbClr val="000000"/>
            </a:solidFill>
            <a:miter lim="800000"/>
            <a:headEnd/>
            <a:tailEnd/>
          </a:ln>
        </p:spPr>
      </p:sp>
      <p:sp>
        <p:nvSpPr>
          <p:cNvPr id="47109" name="Rectangle 3"/>
          <p:cNvSpPr>
            <a:spLocks noGrp="1" noChangeArrowheads="1"/>
          </p:cNvSpPr>
          <p:nvPr>
            <p:ph type="body" idx="1"/>
          </p:nvPr>
        </p:nvSpPr>
        <p:spPr bwMode="auto">
          <a:xfrm>
            <a:off x="922338" y="4351338"/>
            <a:ext cx="4921250" cy="246062"/>
          </a:xfrm>
          <a:noFill/>
        </p:spPr>
        <p:txBody>
          <a:bodyPr wrap="square" numCol="1" anchor="t" anchorCtr="0" compatLnSpc="1">
            <a:prstTxWarp prst="textNoShape">
              <a:avLst/>
            </a:prstTxWarp>
          </a:bodyPr>
          <a:lstStyle/>
          <a:p>
            <a:pPr>
              <a:spcBef>
                <a:spcPct val="0"/>
              </a:spcBef>
            </a:pPr>
            <a:endParaRPr lang="de-D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p:spPr>
      </p:sp>
      <p:sp>
        <p:nvSpPr>
          <p:cNvPr id="34819" name="Notes Placeholder 2"/>
          <p:cNvSpPr>
            <a:spLocks noGrp="1"/>
          </p:cNvSpPr>
          <p:nvPr>
            <p:ph type="body" idx="1"/>
          </p:nvPr>
        </p:nvSpPr>
        <p:spPr bwMode="auto">
          <a:xfrm>
            <a:off x="568325" y="4995863"/>
            <a:ext cx="5973763" cy="246062"/>
          </a:xfrm>
          <a:noFill/>
        </p:spPr>
        <p:txBody>
          <a:bodyPr wrap="square" numCol="1" anchor="t" anchorCtr="0" compatLnSpc="1">
            <a:prstTxWarp prst="textNoShape">
              <a:avLst/>
            </a:prstTxWarp>
          </a:bodyPr>
          <a:lstStyle/>
          <a:p>
            <a:pPr>
              <a:spcBef>
                <a:spcPct val="0"/>
              </a:spcBef>
            </a:pPr>
            <a:endParaRPr lang="en-US" smtClean="0"/>
          </a:p>
        </p:txBody>
      </p:sp>
      <p:sp>
        <p:nvSpPr>
          <p:cNvPr id="3482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FCDF937D-3901-4686-A297-97DAAE008D0D}" type="slidenum">
              <a:rPr lang="en-US">
                <a:latin typeface="Arial" pitchFamily="34" charset="0"/>
              </a:rPr>
              <a:pPr/>
              <a:t>6</a:t>
            </a:fld>
            <a:endParaRPr lang="en-US">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xfrm>
            <a:off x="568325" y="4995863"/>
            <a:ext cx="5973763" cy="246062"/>
          </a:xfrm>
          <a:noFill/>
        </p:spPr>
        <p:txBody>
          <a:bodyPr wrap="square" numCol="1" anchor="t" anchorCtr="0" compatLnSpc="1">
            <a:prstTxWarp prst="textNoShape">
              <a:avLst/>
            </a:prstTxWarp>
          </a:bodyPr>
          <a:lstStyle/>
          <a:p>
            <a:pPr>
              <a:spcBef>
                <a:spcPct val="0"/>
              </a:spcBef>
            </a:pPr>
            <a:endParaRPr lang="en-US" smtClean="0"/>
          </a:p>
        </p:txBody>
      </p:sp>
      <p:sp>
        <p:nvSpPr>
          <p:cNvPr id="3584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4F6DD83-E208-4364-BED6-88D444C478E3}" type="slidenum">
              <a:rPr lang="en-US">
                <a:latin typeface="Arial" pitchFamily="34" charset="0"/>
              </a:rPr>
              <a:pPr/>
              <a:t>8</a:t>
            </a:fld>
            <a:endParaRPr lang="en-US">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686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E970C527-8B76-4DD6-B296-6156011FF211}" type="slidenum">
              <a:rPr lang="en-ZA">
                <a:latin typeface="Arial" pitchFamily="34" charset="0"/>
              </a:rPr>
              <a:pPr/>
              <a:t>9</a:t>
            </a:fld>
            <a:endParaRPr lang="en-ZA">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p:spPr>
      </p:sp>
      <p:sp>
        <p:nvSpPr>
          <p:cNvPr id="37891" name="Notes Placeholder 2"/>
          <p:cNvSpPr>
            <a:spLocks noGrp="1"/>
          </p:cNvSpPr>
          <p:nvPr>
            <p:ph type="body" idx="1"/>
          </p:nvPr>
        </p:nvSpPr>
        <p:spPr bwMode="auto">
          <a:xfrm>
            <a:off x="550863" y="5335588"/>
            <a:ext cx="5792787" cy="246062"/>
          </a:xfrm>
          <a:noFill/>
        </p:spPr>
        <p:txBody>
          <a:bodyPr wrap="square" numCol="1" anchor="t" anchorCtr="0" compatLnSpc="1">
            <a:prstTxWarp prst="textNoShape">
              <a:avLst/>
            </a:prstTxWarp>
          </a:bodyPr>
          <a:lstStyle/>
          <a:p>
            <a:pPr>
              <a:spcBef>
                <a:spcPct val="0"/>
              </a:spcBef>
            </a:pPr>
            <a:endParaRPr lang="en-GB" smtClean="0"/>
          </a:p>
        </p:txBody>
      </p:sp>
      <p:sp>
        <p:nvSpPr>
          <p:cNvPr id="3789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5C8ED96-176F-408B-98A8-68B1080F7155}" type="slidenum">
              <a:rPr lang="en-GB">
                <a:latin typeface="Arial" pitchFamily="34" charset="0"/>
              </a:rPr>
              <a:pPr/>
              <a:t>10</a:t>
            </a:fld>
            <a:endParaRPr lang="en-GB">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976E774-AFC4-4B8C-A33D-9404B9C4CC54}" type="slidenum">
              <a:rPr lang="en-GB">
                <a:latin typeface="Arial" pitchFamily="34" charset="0"/>
              </a:rPr>
              <a:pPr/>
              <a:t>12</a:t>
            </a:fld>
            <a:endParaRPr lang="en-GB">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p:spPr>
      </p:sp>
      <p:sp>
        <p:nvSpPr>
          <p:cNvPr id="39939" name="Notes Placeholder 2"/>
          <p:cNvSpPr>
            <a:spLocks noGrp="1"/>
          </p:cNvSpPr>
          <p:nvPr>
            <p:ph type="body" idx="1"/>
          </p:nvPr>
        </p:nvSpPr>
        <p:spPr bwMode="auto">
          <a:xfrm>
            <a:off x="568325" y="4995863"/>
            <a:ext cx="5973763" cy="246062"/>
          </a:xfrm>
          <a:noFill/>
        </p:spPr>
        <p:txBody>
          <a:bodyPr wrap="square" numCol="1" anchor="t" anchorCtr="0" compatLnSpc="1">
            <a:prstTxWarp prst="textNoShape">
              <a:avLst/>
            </a:prstTxWarp>
          </a:bodyPr>
          <a:lstStyle/>
          <a:p>
            <a:pPr>
              <a:spcBef>
                <a:spcPct val="0"/>
              </a:spcBef>
            </a:pPr>
            <a:endParaRPr lang="en-US" smtClean="0"/>
          </a:p>
        </p:txBody>
      </p:sp>
      <p:sp>
        <p:nvSpPr>
          <p:cNvPr id="3994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52BEB232-6ECC-4EB8-94C5-14DC4BBB7F05}" type="slidenum">
              <a:rPr lang="en-US">
                <a:latin typeface="Arial" pitchFamily="34" charset="0"/>
              </a:rPr>
              <a:pPr/>
              <a:t>13</a:t>
            </a:fld>
            <a:endParaRPr lang="en-US">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p:spPr>
      </p:sp>
      <p:sp>
        <p:nvSpPr>
          <p:cNvPr id="40963" name="Notes Placeholder 2"/>
          <p:cNvSpPr>
            <a:spLocks noGrp="1"/>
          </p:cNvSpPr>
          <p:nvPr>
            <p:ph type="body" idx="1"/>
          </p:nvPr>
        </p:nvSpPr>
        <p:spPr bwMode="auto">
          <a:xfrm>
            <a:off x="550863" y="5335588"/>
            <a:ext cx="5792787" cy="246062"/>
          </a:xfrm>
          <a:noFill/>
        </p:spPr>
        <p:txBody>
          <a:bodyPr wrap="square" numCol="1" anchor="t" anchorCtr="0" compatLnSpc="1">
            <a:prstTxWarp prst="textNoShape">
              <a:avLst/>
            </a:prstTxWarp>
          </a:bodyPr>
          <a:lstStyle/>
          <a:p>
            <a:pPr>
              <a:spcBef>
                <a:spcPct val="0"/>
              </a:spcBef>
            </a:pPr>
            <a:endParaRPr lang="en-GB" smtClean="0"/>
          </a:p>
        </p:txBody>
      </p:sp>
      <p:sp>
        <p:nvSpPr>
          <p:cNvPr id="4096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A423633-B683-4C5F-8A3D-C0ABD32F20CF}" type="slidenum">
              <a:rPr lang="en-GB">
                <a:latin typeface="Arial" pitchFamily="34" charset="0"/>
              </a:rPr>
              <a:pPr/>
              <a:t>14</a:t>
            </a:fld>
            <a:endParaRPr lang="en-GB">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xfrm>
            <a:off x="550863" y="5335588"/>
            <a:ext cx="5792787" cy="246062"/>
          </a:xfrm>
          <a:noFill/>
        </p:spPr>
        <p:txBody>
          <a:bodyPr wrap="square" numCol="1" anchor="t" anchorCtr="0" compatLnSpc="1">
            <a:prstTxWarp prst="textNoShape">
              <a:avLst/>
            </a:prstTxWarp>
          </a:bodyPr>
          <a:lstStyle/>
          <a:p>
            <a:pPr>
              <a:spcBef>
                <a:spcPct val="0"/>
              </a:spcBef>
            </a:pPr>
            <a:endParaRPr lang="en-GB" smtClean="0"/>
          </a:p>
        </p:txBody>
      </p:sp>
      <p:sp>
        <p:nvSpPr>
          <p:cNvPr id="4198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B8596EC-2166-4C8E-BC28-A2430ABE99AB}" type="slidenum">
              <a:rPr lang="en-GB">
                <a:latin typeface="Arial" pitchFamily="34" charset="0"/>
              </a:rPr>
              <a:pPr/>
              <a:t>15</a:t>
            </a:fld>
            <a:endParaRPr lang="en-GB">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vml"/><Relationship Id="rId5" Type="http://schemas.openxmlformats.org/officeDocument/2006/relationships/image" Target="../media/image3.pn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tags" Target="../tags/tag58.xml"/><Relationship Id="rId1" Type="http://schemas.openxmlformats.org/officeDocument/2006/relationships/vmlDrawing" Target="../drawings/vmlDrawing3.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oleObject" Target="../embeddings/oleObject4.bin"/><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oleObject" Target="../embeddings/oleObject3.bin"/><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tags" Target="../tags/tag83.xml"/><Relationship Id="rId3" Type="http://schemas.openxmlformats.org/officeDocument/2006/relationships/tags" Target="../tags/tag60.xml"/><Relationship Id="rId21" Type="http://schemas.openxmlformats.org/officeDocument/2006/relationships/tags" Target="../tags/tag78.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tags" Target="../tags/tag86.xml"/><Relationship Id="rId1" Type="http://schemas.openxmlformats.org/officeDocument/2006/relationships/vmlDrawing" Target="../drawings/vmlDrawing4.v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oleObject" Target="../embeddings/oleObject6.bin"/><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oleObject" Target="../embeddings/oleObject5.bin"/><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tags" Target="../tags/tag111.xml"/><Relationship Id="rId3" Type="http://schemas.openxmlformats.org/officeDocument/2006/relationships/tags" Target="../tags/tag88.xml"/><Relationship Id="rId21" Type="http://schemas.openxmlformats.org/officeDocument/2006/relationships/tags" Target="../tags/tag106.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tags" Target="../tags/tag110.xml"/><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tags" Target="../tags/tag105.xml"/><Relationship Id="rId29" Type="http://schemas.openxmlformats.org/officeDocument/2006/relationships/tags" Target="../tags/tag114.xml"/><Relationship Id="rId1" Type="http://schemas.openxmlformats.org/officeDocument/2006/relationships/vmlDrawing" Target="../drawings/vmlDrawing5.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tags" Target="../tags/tag109.xml"/><Relationship Id="rId32" Type="http://schemas.openxmlformats.org/officeDocument/2006/relationships/oleObject" Target="../embeddings/oleObject8.bin"/><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tags" Target="../tags/tag108.xml"/><Relationship Id="rId28" Type="http://schemas.openxmlformats.org/officeDocument/2006/relationships/tags" Target="../tags/tag113.xml"/><Relationship Id="rId10" Type="http://schemas.openxmlformats.org/officeDocument/2006/relationships/tags" Target="../tags/tag95.xml"/><Relationship Id="rId19" Type="http://schemas.openxmlformats.org/officeDocument/2006/relationships/tags" Target="../tags/tag104.xml"/><Relationship Id="rId31" Type="http://schemas.openxmlformats.org/officeDocument/2006/relationships/oleObject" Target="../embeddings/oleObject7.bin"/><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tags" Target="../tags/tag107.xml"/><Relationship Id="rId27" Type="http://schemas.openxmlformats.org/officeDocument/2006/relationships/tags" Target="../tags/tag112.xml"/><Relationship Id="rId30"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164"/>
          <p:cNvGraphicFramePr>
            <a:graphicFrameLocks noChangeAspect="1"/>
          </p:cNvGraphicFramePr>
          <p:nvPr/>
        </p:nvGraphicFramePr>
        <p:xfrm>
          <a:off x="1588" y="1588"/>
          <a:ext cx="1587" cy="1587"/>
        </p:xfrm>
        <a:graphic>
          <a:graphicData uri="http://schemas.openxmlformats.org/presentationml/2006/ole">
            <p:oleObj spid="_x0000_s48130" name="think-cell Slide" r:id="rId4" imgW="360" imgH="360" progId="">
              <p:embed/>
            </p:oleObj>
          </a:graphicData>
        </a:graphic>
      </p:graphicFrame>
      <p:sp>
        <p:nvSpPr>
          <p:cNvPr id="5" name="Rectangle 4">
            <a:extLst>
              <a:ext uri="{FF2B5EF4-FFF2-40B4-BE49-F238E27FC236}"/>
            </a:extLst>
          </p:cNvPr>
          <p:cNvSpPr/>
          <p:nvPr/>
        </p:nvSpPr>
        <p:spPr>
          <a:xfrm>
            <a:off x="0" y="4763"/>
            <a:ext cx="9144000" cy="6858000"/>
          </a:xfrm>
          <a:prstGeom prst="rect">
            <a:avLst/>
          </a:prstGeom>
          <a:solidFill>
            <a:srgbClr val="007635"/>
          </a:solidFill>
          <a:ln w="25400">
            <a:noFill/>
          </a:ln>
        </p:spPr>
        <p:txBody>
          <a:bodyPr lIns="63408" tIns="31704" rIns="63408" bIns="31704" anchor="ctr"/>
          <a:lstStyle/>
          <a:p>
            <a:pPr algn="ctr">
              <a:defRPr/>
            </a:pPr>
            <a:endParaRPr lang="en-GB" sz="1400" dirty="0">
              <a:latin typeface="Arial" charset="0"/>
              <a:cs typeface="+mn-cs"/>
            </a:endParaRPr>
          </a:p>
        </p:txBody>
      </p:sp>
      <p:pic>
        <p:nvPicPr>
          <p:cNvPr id="6" name="Picture 5">
            <a:extLst>
              <a:ext uri="{FF2B5EF4-FFF2-40B4-BE49-F238E27FC236}"/>
            </a:extLst>
          </p:cNvPr>
          <p:cNvPicPr>
            <a:picLocks noChangeAspect="1"/>
          </p:cNvPicPr>
          <p:nvPr/>
        </p:nvPicPr>
        <p:blipFill rotWithShape="1">
          <a:blip r:embed="rId5"/>
          <a:srcRect l="11547" t="21650" r="59038" b="26057"/>
          <a:stretch/>
        </p:blipFill>
        <p:spPr>
          <a:xfrm>
            <a:off x="319891" y="1977500"/>
            <a:ext cx="2398235" cy="2327698"/>
          </a:xfrm>
          <a:prstGeom prst="ellipse">
            <a:avLst/>
          </a:prstGeom>
        </p:spPr>
      </p:pic>
      <p:sp>
        <p:nvSpPr>
          <p:cNvPr id="7" name="Working Draft Text" hidden="1"/>
          <p:cNvSpPr txBox="1">
            <a:spLocks noChangeArrowheads="1"/>
          </p:cNvSpPr>
          <p:nvPr/>
        </p:nvSpPr>
        <p:spPr bwMode="black">
          <a:xfrm>
            <a:off x="5992813" y="6288088"/>
            <a:ext cx="2789237" cy="122237"/>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dirty="0">
                <a:solidFill>
                  <a:srgbClr val="FFFFFF"/>
                </a:solidFill>
                <a:latin typeface="+mn-lt"/>
                <a:cs typeface="+mn-cs"/>
              </a:rPr>
              <a:t>WORKING DRAFT</a:t>
            </a:r>
          </a:p>
        </p:txBody>
      </p:sp>
      <p:sp>
        <p:nvSpPr>
          <p:cNvPr id="8" name="Working Draft" hidden="1"/>
          <p:cNvSpPr txBox="1">
            <a:spLocks noChangeArrowheads="1"/>
          </p:cNvSpPr>
          <p:nvPr/>
        </p:nvSpPr>
        <p:spPr bwMode="black">
          <a:xfrm>
            <a:off x="5992813" y="6410325"/>
            <a:ext cx="2968625" cy="246063"/>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mn-lt"/>
                <a:cs typeface="+mn-cs"/>
              </a:rPr>
              <a:t>Last Modified 2019/04/30 12:02 AM W. Central Africa Standard Time</a:t>
            </a:r>
            <a:endParaRPr lang="en-US" sz="800" dirty="0">
              <a:solidFill>
                <a:srgbClr val="FFFFFF"/>
              </a:solidFill>
              <a:latin typeface="+mn-lt"/>
              <a:cs typeface="+mn-cs"/>
            </a:endParaRPr>
          </a:p>
        </p:txBody>
      </p:sp>
      <p:sp>
        <p:nvSpPr>
          <p:cNvPr id="9" name="Printed" hidden="1"/>
          <p:cNvSpPr txBox="1">
            <a:spLocks noChangeArrowheads="1"/>
          </p:cNvSpPr>
          <p:nvPr/>
        </p:nvSpPr>
        <p:spPr bwMode="black">
          <a:xfrm>
            <a:off x="5992813" y="6534150"/>
            <a:ext cx="2789237" cy="12223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mn-lt"/>
                <a:cs typeface="+mn-cs"/>
              </a:rPr>
              <a:t>Printed 2018/10/03 14:07 W. Central Africa Standard Time</a:t>
            </a:r>
            <a:endParaRPr lang="en-US" sz="800" dirty="0">
              <a:solidFill>
                <a:srgbClr val="FFFFFF"/>
              </a:solidFill>
              <a:latin typeface="+mn-lt"/>
              <a:cs typeface="+mn-cs"/>
            </a:endParaRPr>
          </a:p>
        </p:txBody>
      </p:sp>
      <p:sp>
        <p:nvSpPr>
          <p:cNvPr id="10"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mn-lt"/>
              <a:cs typeface="+mn-cs"/>
            </a:endParaRPr>
          </a:p>
        </p:txBody>
      </p:sp>
      <p:grpSp>
        <p:nvGrpSpPr>
          <p:cNvPr id="11" name="Group 67"/>
          <p:cNvGrpSpPr>
            <a:grpSpLocks/>
          </p:cNvGrpSpPr>
          <p:nvPr/>
        </p:nvGrpSpPr>
        <p:grpSpPr bwMode="auto">
          <a:xfrm>
            <a:off x="2268538" y="3582988"/>
            <a:ext cx="6230937" cy="3073400"/>
            <a:chOff x="2268266" y="3582218"/>
            <a:chExt cx="6231663" cy="3074652"/>
          </a:xfrm>
        </p:grpSpPr>
        <p:sp>
          <p:nvSpPr>
            <p:cNvPr id="12" name="Document type" hidden="1"/>
            <p:cNvSpPr txBox="1">
              <a:spLocks noChangeArrowheads="1"/>
            </p:cNvSpPr>
            <p:nvPr/>
          </p:nvSpPr>
          <p:spPr bwMode="gray">
            <a:xfrm>
              <a:off x="2268266" y="3582218"/>
              <a:ext cx="6231663" cy="215988"/>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chemeClr val="accent6"/>
                  </a:solidFill>
                  <a:latin typeface="+mn-lt"/>
                  <a:cs typeface="+mn-cs"/>
                </a:rPr>
                <a:t>Document type | Date</a:t>
              </a:r>
            </a:p>
          </p:txBody>
        </p:sp>
        <p:sp>
          <p:nvSpPr>
            <p:cNvPr id="13" name="Disclaimer-English (United States)" hidden="1"/>
            <p:cNvSpPr>
              <a:spLocks noChangeArrowheads="1"/>
            </p:cNvSpPr>
            <p:nvPr/>
          </p:nvSpPr>
          <p:spPr bwMode="black">
            <a:xfrm>
              <a:off x="2268266" y="6410707"/>
              <a:ext cx="3543713" cy="246163"/>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defTabSz="804863" eaLnBrk="0" hangingPunct="0">
                <a:defRPr/>
              </a:pPr>
              <a:r>
                <a:rPr lang="en-US" sz="800" dirty="0">
                  <a:solidFill>
                    <a:srgbClr val="FFFFFF"/>
                  </a:solidFill>
                  <a:latin typeface="+mn-lt"/>
                  <a:cs typeface="+mn-cs"/>
                </a:rPr>
                <a:t>CONFIDENTIAL AND PROPRIETARY</a:t>
              </a:r>
            </a:p>
            <a:p>
              <a:pPr defTabSz="804863" eaLnBrk="0" hangingPunct="0">
                <a:defRPr/>
              </a:pPr>
              <a:r>
                <a:rPr lang="en-US" sz="800" dirty="0">
                  <a:solidFill>
                    <a:srgbClr val="FFFFFF"/>
                  </a:solidFill>
                  <a:latin typeface="+mn-lt"/>
                  <a:cs typeface="+mn-cs"/>
                </a:rPr>
                <a:t>Any use of this material without specific permission of McKinsey &amp; Company is strictly prohibited</a:t>
              </a:r>
            </a:p>
          </p:txBody>
        </p:sp>
      </p:grpSp>
      <p:grpSp>
        <p:nvGrpSpPr>
          <p:cNvPr id="14" name="LogoImage"/>
          <p:cNvGrpSpPr>
            <a:grpSpLocks/>
          </p:cNvGrpSpPr>
          <p:nvPr userDrawn="1">
            <p:custDataLst>
              <p:tags r:id="rId2"/>
            </p:custDataLst>
          </p:nvPr>
        </p:nvGrpSpPr>
        <p:grpSpPr bwMode="auto">
          <a:xfrm>
            <a:off x="2333625" y="258763"/>
            <a:ext cx="1706563" cy="542925"/>
            <a:chOff x="0" y="973"/>
            <a:chExt cx="7680" cy="2374"/>
          </a:xfrm>
        </p:grpSpPr>
        <p:sp>
          <p:nvSpPr>
            <p:cNvPr id="15" name="AutoShape 3">
              <a:extLst>
                <a:ext uri="{FF2B5EF4-FFF2-40B4-BE49-F238E27FC236}"/>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ext uri="{91240B29-F687-4F45-9708-019B960494DF}"/>
            </a:extLst>
          </p:spPr>
          <p:txBody>
            <a:bodyPr/>
            <a:lstStyle/>
            <a:p>
              <a:pPr>
                <a:defRPr/>
              </a:pPr>
              <a:endParaRPr lang="en-US">
                <a:latin typeface="+mn-lt"/>
                <a:cs typeface="+mn-cs"/>
              </a:endParaRPr>
            </a:p>
          </p:txBody>
        </p:sp>
        <p:sp>
          <p:nvSpPr>
            <p:cNvPr id="16" name="Freeform 5">
              <a:extLst>
                <a:ext uri="{FF2B5EF4-FFF2-40B4-BE49-F238E27FC236}"/>
              </a:extLst>
            </p:cNvPr>
            <p:cNvSpPr>
              <a:spLocks noEditPoints="1"/>
            </p:cNvSpPr>
            <p:nvPr userDrawn="1"/>
          </p:nvSpPr>
          <p:spPr bwMode="auto">
            <a:xfrm>
              <a:off x="0" y="973"/>
              <a:ext cx="7680" cy="2374"/>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extLst>
          </p:spPr>
          <p:txBody>
            <a:bodyPr/>
            <a:lstStyle/>
            <a:p>
              <a:pPr>
                <a:defRPr/>
              </a:pPr>
              <a:endParaRPr lang="en-US">
                <a:latin typeface="+mn-lt"/>
                <a:cs typeface="+mn-cs"/>
              </a:endParaRPr>
            </a:p>
          </p:txBody>
        </p:sp>
      </p:grpSp>
      <p:sp>
        <p:nvSpPr>
          <p:cNvPr id="13314" name="Title"/>
          <p:cNvSpPr>
            <a:spLocks noGrp="1" noChangeArrowheads="1"/>
          </p:cNvSpPr>
          <p:nvPr>
            <p:ph type="ctrTitle"/>
          </p:nvPr>
        </p:nvSpPr>
        <p:spPr>
          <a:xfrm>
            <a:off x="3191608" y="3002850"/>
            <a:ext cx="5308321" cy="276999"/>
          </a:xfrm>
          <a:prstGeom prst="rect">
            <a:avLst/>
          </a:prstGeom>
        </p:spPr>
        <p:txBody>
          <a:bodyPr anchor="ctr"/>
          <a:lstStyle>
            <a:lvl1pPr>
              <a:defRPr sz="1800" b="0" baseline="0">
                <a:solidFill>
                  <a:schemeClr val="bg1"/>
                </a:solidFill>
                <a:latin typeface="Georgia" panose="02040502050405020303" pitchFamily="18" charset="0"/>
                <a:ea typeface="+mj-ea"/>
                <a:cs typeface="Calibri" panose="020F0502020204030204" pitchFamily="34" charset="0"/>
              </a:defRPr>
            </a:lvl1pPr>
          </a:lstStyle>
          <a:p>
            <a:pPr lvl="0"/>
            <a:r>
              <a:rPr lang="en-US" noProof="0" dirty="0"/>
              <a:t>Click to edit Master title style</a:t>
            </a:r>
          </a:p>
        </p:txBody>
      </p:sp>
      <p:sp>
        <p:nvSpPr>
          <p:cNvPr id="13315" name="Subtitle"/>
          <p:cNvSpPr>
            <a:spLocks noGrp="1" noChangeArrowheads="1"/>
          </p:cNvSpPr>
          <p:nvPr>
            <p:ph type="subTitle" idx="1"/>
          </p:nvPr>
        </p:nvSpPr>
        <p:spPr>
          <a:xfrm>
            <a:off x="3191608" y="4311296"/>
            <a:ext cx="5308321" cy="276999"/>
          </a:xfrm>
          <a:prstGeom prst="rect">
            <a:avLst/>
          </a:prstGeom>
        </p:spPr>
        <p:txBody>
          <a:bodyPr/>
          <a:lstStyle>
            <a:lvl1pPr>
              <a:defRPr sz="1800" cap="all" baseline="0">
                <a:solidFill>
                  <a:schemeClr val="bg1"/>
                </a:solidFill>
                <a:latin typeface="Georgia" panose="02040502050405020303" pitchFamily="18" charset="0"/>
                <a:ea typeface="+mn-ea"/>
              </a:defRPr>
            </a:lvl1pPr>
          </a:lstStyle>
          <a:p>
            <a:pPr lvl="0"/>
            <a:r>
              <a:rPr lang="en-US" noProof="0"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164"/>
          <p:cNvGraphicFramePr>
            <a:graphicFrameLocks noChangeAspect="1"/>
          </p:cNvGraphicFramePr>
          <p:nvPr/>
        </p:nvGraphicFramePr>
        <p:xfrm>
          <a:off x="0" y="0"/>
          <a:ext cx="158750" cy="158750"/>
        </p:xfrm>
        <a:graphic>
          <a:graphicData uri="http://schemas.openxmlformats.org/presentationml/2006/ole">
            <p:oleObj spid="_x0000_s49154" name="think-cell Slide" r:id="rId31" imgW="360" imgH="360" progId="">
              <p:embed/>
            </p:oleObj>
          </a:graphicData>
        </a:graphic>
      </p:graphicFrame>
      <p:sp>
        <p:nvSpPr>
          <p:cNvPr id="4" name="Rectangle 3" hidden="1"/>
          <p:cNvSpPr/>
          <p:nvPr>
            <p:custDataLst>
              <p:tags r:id="rId2"/>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rgbClr val="000000"/>
              </a:solidFill>
              <a:ea typeface="+mj-ea"/>
              <a:cs typeface="+mj-cs"/>
              <a:sym typeface="Arial" panose="020B0604020202020204" pitchFamily="34" charset="0"/>
            </a:endParaRPr>
          </a:p>
        </p:txBody>
      </p:sp>
      <p:sp>
        <p:nvSpPr>
          <p:cNvPr id="5" name="Working Draft" hidden="1"/>
          <p:cNvSpPr txBox="1">
            <a:spLocks noChangeArrowheads="1"/>
          </p:cNvSpPr>
          <p:nvPr/>
        </p:nvSpPr>
        <p:spPr bwMode="gray">
          <a:xfrm rot="5400000">
            <a:off x="7716044" y="1940719"/>
            <a:ext cx="2351087" cy="92075"/>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mn-lt"/>
                <a:cs typeface="+mn-cs"/>
              </a:rPr>
              <a:t>Last Modified 2019/04/30 12:02 AM W. Central Africa Standard Time</a:t>
            </a:r>
            <a:endParaRPr lang="en-US" dirty="0">
              <a:solidFill>
                <a:srgbClr val="808080"/>
              </a:solidFill>
              <a:latin typeface="+mn-lt"/>
              <a:cs typeface="+mn-cs"/>
            </a:endParaRPr>
          </a:p>
        </p:txBody>
      </p:sp>
      <p:sp>
        <p:nvSpPr>
          <p:cNvPr id="6" name="Printed" hidden="1"/>
          <p:cNvSpPr txBox="1">
            <a:spLocks noChangeArrowheads="1"/>
          </p:cNvSpPr>
          <p:nvPr/>
        </p:nvSpPr>
        <p:spPr bwMode="gray">
          <a:xfrm rot="5400000">
            <a:off x="7892257" y="4114006"/>
            <a:ext cx="1998662" cy="92075"/>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mn-lt"/>
                <a:cs typeface="+mn-cs"/>
              </a:rPr>
              <a:t>Printed 2018/10/03 14:07 W. Central Africa Standard Time</a:t>
            </a:r>
            <a:endParaRPr lang="en-US" dirty="0">
              <a:solidFill>
                <a:srgbClr val="808080"/>
              </a:solidFill>
              <a:latin typeface="+mn-lt"/>
              <a:cs typeface="+mn-cs"/>
            </a:endParaRPr>
          </a:p>
        </p:txBody>
      </p:sp>
      <p:sp>
        <p:nvSpPr>
          <p:cNvPr id="7"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Tracker</a:t>
            </a:r>
          </a:p>
        </p:txBody>
      </p:sp>
      <p:sp>
        <p:nvSpPr>
          <p:cNvPr id="8"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chemeClr val="accent6"/>
                </a:solidFill>
                <a:latin typeface="+mn-lt"/>
                <a:cs typeface="+mn-cs"/>
              </a:rPr>
              <a:t>Subtitle</a:t>
            </a:r>
            <a:endParaRPr lang="en-US" sz="1600" dirty="0">
              <a:solidFill>
                <a:schemeClr val="accent6"/>
              </a:solidFill>
              <a:latin typeface="+mn-lt"/>
              <a:cs typeface="+mn-cs"/>
            </a:endParaRPr>
          </a:p>
        </p:txBody>
      </p:sp>
      <p:sp>
        <p:nvSpPr>
          <p:cNvPr id="9" name="4. Footnote" hidden="1"/>
          <p:cNvSpPr txBox="1">
            <a:spLocks noChangeArrowheads="1"/>
          </p:cNvSpPr>
          <p:nvPr/>
        </p:nvSpPr>
        <p:spPr bwMode="gray">
          <a:xfrm>
            <a:off x="119063" y="6305550"/>
            <a:ext cx="8618537"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chemeClr val="accent6"/>
                </a:solidFill>
                <a:latin typeface="+mn-lt"/>
                <a:cs typeface="+mn-cs"/>
              </a:rPr>
              <a:t>1 Footnote</a:t>
            </a:r>
          </a:p>
        </p:txBody>
      </p:sp>
      <p:sp>
        <p:nvSpPr>
          <p:cNvPr id="10" name="5. Source" hidden="1"/>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Source</a:t>
            </a:r>
          </a:p>
        </p:txBody>
      </p:sp>
      <p:grpSp>
        <p:nvGrpSpPr>
          <p:cNvPr id="11"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ext uri="{AF507438-7753-43E0-B8FC-AC1667EBCBE1}"/>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US" b="1" dirty="0">
                  <a:solidFill>
                    <a:srgbClr val="000000"/>
                  </a:solidFill>
                  <a:latin typeface="+mn-lt"/>
                  <a:cs typeface="+mn-cs"/>
                </a:rPr>
                <a:t>Title</a:t>
              </a:r>
            </a:p>
            <a:p>
              <a:pPr>
                <a:defRPr/>
              </a:pPr>
              <a:r>
                <a:rPr lang="en-US" dirty="0">
                  <a:solidFill>
                    <a:schemeClr val="accent6"/>
                  </a:solidFill>
                  <a:latin typeface="+mn-lt"/>
                  <a:cs typeface="+mn-cs"/>
                </a:rPr>
                <a:t>Unit of measure</a:t>
              </a:r>
            </a:p>
          </p:txBody>
        </p:sp>
      </p:grpSp>
      <p:grpSp>
        <p:nvGrpSpPr>
          <p:cNvPr id="14" name="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p>
              <a:pPr algn="r" defTabSz="895350">
                <a:buClr>
                  <a:srgbClr val="002960"/>
                </a:buClr>
                <a:defRPr/>
              </a:pPr>
              <a:r>
                <a:rPr lang="en-US" sz="800" dirty="0">
                  <a:solidFill>
                    <a:schemeClr val="accent6"/>
                  </a:solidFill>
                  <a:latin typeface="+mn-lt"/>
                  <a:cs typeface="+mn-cs"/>
                </a:rPr>
                <a:t>STICKER</a:t>
              </a:r>
            </a:p>
          </p:txBody>
        </p:sp>
        <p:cxnSp>
          <p:nvCxnSpPr>
            <p:cNvPr id="16"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extLst>
          </p:spPr>
        </p:cxnSp>
        <p:cxnSp>
          <p:nvCxnSpPr>
            <p:cNvPr id="17"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extLst>
          </p:spPr>
        </p:cxnSp>
      </p:grpSp>
      <p:sp>
        <p:nvSpPr>
          <p:cNvPr id="18" name="SlideBottomBar" hidden="1"/>
          <p:cNvSpPr/>
          <p:nvPr/>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9" name="doc id" hidden="1"/>
          <p:cNvSpPr>
            <a:spLocks noChangeArrowheads="1"/>
          </p:cNvSpPr>
          <p:nvPr/>
        </p:nvSpPr>
        <p:spPr bwMode="auto">
          <a:xfrm>
            <a:off x="8081963" y="50800"/>
            <a:ext cx="657225"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p>
            <a:pPr algn="r" defTabSz="895350">
              <a:defRPr/>
            </a:pPr>
            <a:endParaRPr lang="en-US" sz="800" dirty="0">
              <a:solidFill>
                <a:srgbClr val="808080"/>
              </a:solidFill>
              <a:latin typeface="+mn-lt"/>
              <a:cs typeface="+mn-cs"/>
            </a:endParaRPr>
          </a:p>
        </p:txBody>
      </p:sp>
      <p:grpSp>
        <p:nvGrpSpPr>
          <p:cNvPr id="20" name="LegendLines" hidden="1"/>
          <p:cNvGrpSpPr>
            <a:grpSpLocks/>
          </p:cNvGrpSpPr>
          <p:nvPr/>
        </p:nvGrpSpPr>
        <p:grpSpPr bwMode="auto">
          <a:xfrm>
            <a:off x="7543800" y="273050"/>
            <a:ext cx="1158875" cy="760413"/>
            <a:chOff x="7607284" y="279400"/>
            <a:chExt cx="1158292" cy="761545"/>
          </a:xfrm>
        </p:grpSpPr>
        <p:sp>
          <p:nvSpPr>
            <p:cNvPr id="21" name="LineLegend1"/>
            <p:cNvSpPr>
              <a:spLocks noChangeShapeType="1"/>
            </p:cNvSpPr>
            <p:nvPr/>
          </p:nvSpPr>
          <p:spPr bwMode="gray">
            <a:xfrm>
              <a:off x="7607284" y="387511"/>
              <a:ext cx="456970" cy="0"/>
            </a:xfrm>
            <a:prstGeom prst="line">
              <a:avLst/>
            </a:prstGeom>
            <a:noFill/>
            <a:ln w="28575">
              <a:solidFill>
                <a:schemeClr val="accent3"/>
              </a:solidFill>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22" name="LineLegend2"/>
            <p:cNvSpPr>
              <a:spLocks noChangeShapeType="1"/>
            </p:cNvSpPr>
            <p:nvPr/>
          </p:nvSpPr>
          <p:spPr bwMode="gray">
            <a:xfrm>
              <a:off x="7607284" y="654608"/>
              <a:ext cx="456970" cy="0"/>
            </a:xfrm>
            <a:prstGeom prst="line">
              <a:avLst/>
            </a:prstGeom>
            <a:noFill/>
            <a:ln w="28575">
              <a:solidFill>
                <a:schemeClr val="accent3"/>
              </a:solidFill>
              <a:prstDash val="dash"/>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23" name="LineLegend3"/>
            <p:cNvSpPr>
              <a:spLocks noChangeShapeType="1"/>
            </p:cNvSpPr>
            <p:nvPr/>
          </p:nvSpPr>
          <p:spPr bwMode="gray">
            <a:xfrm>
              <a:off x="7607284" y="932834"/>
              <a:ext cx="456970" cy="0"/>
            </a:xfrm>
            <a:prstGeom prst="line">
              <a:avLst/>
            </a:prstGeom>
            <a:noFill/>
            <a:ln w="28575">
              <a:solidFill>
                <a:schemeClr val="accent3"/>
              </a:solidFill>
              <a:prstDash val="sysDot"/>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24" name="Legend1"/>
            <p:cNvSpPr>
              <a:spLocks noChangeArrowheads="1"/>
            </p:cNvSpPr>
            <p:nvPr>
              <p:custDataLst>
                <p:tags r:id="rId27"/>
              </p:custDataLst>
            </p:nvPr>
          </p:nvSpPr>
          <p:spPr bwMode="gray">
            <a:xfrm>
              <a:off x="8168976" y="279400"/>
              <a:ext cx="596600" cy="216221"/>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25" name="Legend2"/>
            <p:cNvSpPr>
              <a:spLocks noChangeArrowheads="1"/>
            </p:cNvSpPr>
            <p:nvPr>
              <p:custDataLst>
                <p:tags r:id="rId28"/>
              </p:custDataLst>
            </p:nvPr>
          </p:nvSpPr>
          <p:spPr bwMode="gray">
            <a:xfrm>
              <a:off x="8168976" y="546497"/>
              <a:ext cx="596600" cy="21463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26" name="Legend3"/>
            <p:cNvSpPr>
              <a:spLocks noChangeArrowheads="1"/>
            </p:cNvSpPr>
            <p:nvPr>
              <p:custDataLst>
                <p:tags r:id="rId29"/>
              </p:custDataLst>
            </p:nvPr>
          </p:nvSpPr>
          <p:spPr bwMode="gray">
            <a:xfrm>
              <a:off x="8168976" y="824724"/>
              <a:ext cx="596600" cy="216221"/>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pSp>
        <p:nvGrpSpPr>
          <p:cNvPr id="27" name="LegendBoxes" hidden="1"/>
          <p:cNvGrpSpPr>
            <a:grpSpLocks/>
          </p:cNvGrpSpPr>
          <p:nvPr/>
        </p:nvGrpSpPr>
        <p:grpSpPr bwMode="auto">
          <a:xfrm>
            <a:off x="7851775" y="273050"/>
            <a:ext cx="850900" cy="1027113"/>
            <a:chOff x="5894005" y="919828"/>
            <a:chExt cx="850317" cy="1028245"/>
          </a:xfrm>
        </p:grpSpPr>
        <p:sp>
          <p:nvSpPr>
            <p:cNvPr id="28" name="RectangleLegend1"/>
            <p:cNvSpPr>
              <a:spLocks noChangeArrowheads="1"/>
            </p:cNvSpPr>
            <p:nvPr/>
          </p:nvSpPr>
          <p:spPr bwMode="gray">
            <a:xfrm>
              <a:off x="5894005" y="946846"/>
              <a:ext cx="164987" cy="160514"/>
            </a:xfrm>
            <a:prstGeom prst="rect">
              <a:avLst/>
            </a:prstGeom>
            <a:solidFill>
              <a:schemeClr val="accent1"/>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29" name="RectangleLegend2"/>
            <p:cNvSpPr>
              <a:spLocks noChangeArrowheads="1"/>
            </p:cNvSpPr>
            <p:nvPr/>
          </p:nvSpPr>
          <p:spPr bwMode="gray">
            <a:xfrm>
              <a:off x="5894005" y="1217018"/>
              <a:ext cx="164987" cy="160514"/>
            </a:xfrm>
            <a:prstGeom prst="rect">
              <a:avLst/>
            </a:prstGeom>
            <a:solidFill>
              <a:schemeClr val="accent2"/>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30" name="RectangleLegend3"/>
            <p:cNvSpPr>
              <a:spLocks noChangeArrowheads="1"/>
            </p:cNvSpPr>
            <p:nvPr/>
          </p:nvSpPr>
          <p:spPr bwMode="gray">
            <a:xfrm>
              <a:off x="5894005" y="1488779"/>
              <a:ext cx="164987" cy="160515"/>
            </a:xfrm>
            <a:prstGeom prst="rect">
              <a:avLst/>
            </a:prstGeom>
            <a:solidFill>
              <a:schemeClr val="accent3"/>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31" name="RectangleLegend4"/>
            <p:cNvSpPr>
              <a:spLocks noChangeArrowheads="1"/>
            </p:cNvSpPr>
            <p:nvPr/>
          </p:nvSpPr>
          <p:spPr bwMode="gray">
            <a:xfrm>
              <a:off x="5894005" y="1760542"/>
              <a:ext cx="164987" cy="160514"/>
            </a:xfrm>
            <a:prstGeom prst="rect">
              <a:avLst/>
            </a:prstGeom>
            <a:solidFill>
              <a:schemeClr val="accent4"/>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32" name="Legend1"/>
            <p:cNvSpPr>
              <a:spLocks noChangeArrowheads="1"/>
            </p:cNvSpPr>
            <p:nvPr>
              <p:custDataLst>
                <p:tags r:id="rId23"/>
              </p:custDataLst>
            </p:nvPr>
          </p:nvSpPr>
          <p:spPr bwMode="gray">
            <a:xfrm>
              <a:off x="6147831" y="919828"/>
              <a:ext cx="596491" cy="2161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33" name="Legend2"/>
            <p:cNvSpPr>
              <a:spLocks noChangeArrowheads="1"/>
            </p:cNvSpPr>
            <p:nvPr>
              <p:custDataLst>
                <p:tags r:id="rId24"/>
              </p:custDataLst>
            </p:nvPr>
          </p:nvSpPr>
          <p:spPr bwMode="gray">
            <a:xfrm>
              <a:off x="6147831" y="1190000"/>
              <a:ext cx="596491" cy="214549"/>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34" name="Legend3"/>
            <p:cNvSpPr>
              <a:spLocks noChangeArrowheads="1"/>
            </p:cNvSpPr>
            <p:nvPr>
              <p:custDataLst>
                <p:tags r:id="rId25"/>
              </p:custDataLst>
            </p:nvPr>
          </p:nvSpPr>
          <p:spPr bwMode="gray">
            <a:xfrm>
              <a:off x="6147831" y="1461763"/>
              <a:ext cx="596491" cy="21454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35" name="Legend4"/>
            <p:cNvSpPr>
              <a:spLocks noChangeArrowheads="1"/>
            </p:cNvSpPr>
            <p:nvPr>
              <p:custDataLst>
                <p:tags r:id="rId26"/>
              </p:custDataLst>
            </p:nvPr>
          </p:nvSpPr>
          <p:spPr bwMode="gray">
            <a:xfrm>
              <a:off x="6147831" y="1731935"/>
              <a:ext cx="596491" cy="2161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pSp>
        <p:nvGrpSpPr>
          <p:cNvPr id="36" name="LegendMoons" hidden="1"/>
          <p:cNvGrpSpPr>
            <a:grpSpLocks/>
          </p:cNvGrpSpPr>
          <p:nvPr/>
        </p:nvGrpSpPr>
        <p:grpSpPr bwMode="auto">
          <a:xfrm>
            <a:off x="7785100" y="271463"/>
            <a:ext cx="917575" cy="1317625"/>
            <a:chOff x="5894005" y="2695123"/>
            <a:chExt cx="916992" cy="1317003"/>
          </a:xfrm>
        </p:grpSpPr>
        <p:grpSp>
          <p:nvGrpSpPr>
            <p:cNvPr id="37" name="MoonLegend1"/>
            <p:cNvGrpSpPr>
              <a:grpSpLocks noChangeAspect="1"/>
            </p:cNvGrpSpPr>
            <p:nvPr>
              <p:custDataLst>
                <p:tags r:id="rId3"/>
              </p:custDataLst>
            </p:nvPr>
          </p:nvGrpSpPr>
          <p:grpSpPr bwMode="auto">
            <a:xfrm>
              <a:off x="5894005" y="2695124"/>
              <a:ext cx="209550" cy="219738"/>
              <a:chOff x="4533" y="183"/>
              <a:chExt cx="144" cy="151"/>
            </a:xfrm>
          </p:grpSpPr>
          <p:sp>
            <p:nvSpPr>
              <p:cNvPr id="55" name="Oval 54"/>
              <p:cNvSpPr>
                <a:spLocks noChangeAspect="1" noChangeArrowheads="1"/>
              </p:cNvSpPr>
              <p:nvPr>
                <p:custDataLst>
                  <p:tags r:id="rId21"/>
                </p:custDataLst>
              </p:nvPr>
            </p:nvSpPr>
            <p:spPr bwMode="gray">
              <a:xfrm>
                <a:off x="4533" y="190"/>
                <a:ext cx="144" cy="144"/>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6" name="Arc 55" hidden="1"/>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38" name="MoonLegend2"/>
            <p:cNvGrpSpPr>
              <a:grpSpLocks noChangeAspect="1"/>
            </p:cNvGrpSpPr>
            <p:nvPr>
              <p:custDataLst>
                <p:tags r:id="rId4"/>
              </p:custDataLst>
            </p:nvPr>
          </p:nvGrpSpPr>
          <p:grpSpPr bwMode="auto">
            <a:xfrm>
              <a:off x="5894005" y="2977103"/>
              <a:ext cx="209550" cy="209551"/>
              <a:chOff x="1694" y="2051"/>
              <a:chExt cx="160" cy="160"/>
            </a:xfrm>
          </p:grpSpPr>
          <p:sp>
            <p:nvSpPr>
              <p:cNvPr id="53" name="Oval 41"/>
              <p:cNvSpPr>
                <a:spLocks noChangeAspect="1" noChangeArrowheads="1"/>
              </p:cNvSpPr>
              <p:nvPr>
                <p:custDataLst>
                  <p:tags r:id="rId19"/>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4" name="Arc 42"/>
              <p:cNvSpPr>
                <a:spLocks noChangeAspect="1"/>
              </p:cNvSpPr>
              <p:nvPr>
                <p:custDataLst>
                  <p:tags r:id="rId20"/>
                </p:custDataLst>
              </p:nvPr>
            </p:nvSpPr>
            <p:spPr bwMode="gray">
              <a:xfrm>
                <a:off x="1694" y="2051"/>
                <a:ext cx="160" cy="160"/>
              </a:xfrm>
              <a:prstGeom prst="arc">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39" name="MoonLegend4"/>
            <p:cNvGrpSpPr>
              <a:grpSpLocks noChangeAspect="1"/>
            </p:cNvGrpSpPr>
            <p:nvPr>
              <p:custDataLst>
                <p:tags r:id="rId5"/>
              </p:custDataLst>
            </p:nvPr>
          </p:nvGrpSpPr>
          <p:grpSpPr bwMode="auto">
            <a:xfrm>
              <a:off x="5894005" y="3524395"/>
              <a:ext cx="209550" cy="209551"/>
              <a:chOff x="4495" y="1204"/>
              <a:chExt cx="160" cy="160"/>
            </a:xfrm>
          </p:grpSpPr>
          <p:sp>
            <p:nvSpPr>
              <p:cNvPr id="51" name="Oval 47"/>
              <p:cNvSpPr>
                <a:spLocks noChangeAspect="1" noChangeArrowheads="1"/>
              </p:cNvSpPr>
              <p:nvPr>
                <p:custDataLst>
                  <p:tags r:id="rId17"/>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2" name="Arc 48"/>
              <p:cNvSpPr>
                <a:spLocks noChangeAspect="1"/>
              </p:cNvSpPr>
              <p:nvPr>
                <p:custDataLst>
                  <p:tags r:id="rId18"/>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40" name="MoonLegend5"/>
            <p:cNvGrpSpPr>
              <a:grpSpLocks noChangeAspect="1"/>
            </p:cNvGrpSpPr>
            <p:nvPr>
              <p:custDataLst>
                <p:tags r:id="rId6"/>
              </p:custDataLst>
            </p:nvPr>
          </p:nvGrpSpPr>
          <p:grpSpPr bwMode="auto">
            <a:xfrm>
              <a:off x="5894005" y="3799629"/>
              <a:ext cx="209550" cy="209551"/>
              <a:chOff x="4495" y="1447"/>
              <a:chExt cx="160" cy="160"/>
            </a:xfrm>
          </p:grpSpPr>
          <p:sp>
            <p:nvSpPr>
              <p:cNvPr id="49" name="Oval 50"/>
              <p:cNvSpPr>
                <a:spLocks noChangeAspect="1" noChangeArrowheads="1"/>
              </p:cNvSpPr>
              <p:nvPr>
                <p:custDataLst>
                  <p:tags r:id="rId15"/>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0" name="Oval 51"/>
              <p:cNvSpPr>
                <a:spLocks noChangeAspect="1" noChangeArrowheads="1"/>
              </p:cNvSpPr>
              <p:nvPr>
                <p:custDataLst>
                  <p:tags r:id="rId16"/>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41" name="MoonLegend3"/>
            <p:cNvGrpSpPr>
              <a:grpSpLocks noChangeAspect="1"/>
            </p:cNvGrpSpPr>
            <p:nvPr>
              <p:custDataLst>
                <p:tags r:id="rId7"/>
              </p:custDataLst>
            </p:nvPr>
          </p:nvGrpSpPr>
          <p:grpSpPr bwMode="auto">
            <a:xfrm>
              <a:off x="5894005" y="3251543"/>
              <a:ext cx="209550" cy="209551"/>
              <a:chOff x="4495" y="1205"/>
              <a:chExt cx="160" cy="160"/>
            </a:xfrm>
          </p:grpSpPr>
          <p:sp>
            <p:nvSpPr>
              <p:cNvPr id="47" name="Oval 47"/>
              <p:cNvSpPr>
                <a:spLocks noChangeAspect="1" noChangeArrowheads="1"/>
              </p:cNvSpPr>
              <p:nvPr>
                <p:custDataLst>
                  <p:tags r:id="rId13"/>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48" name="Arc 48"/>
              <p:cNvSpPr>
                <a:spLocks noChangeAspect="1"/>
              </p:cNvSpPr>
              <p:nvPr>
                <p:custDataLst>
                  <p:tags r:id="rId14"/>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sp>
          <p:nvSpPr>
            <p:cNvPr id="42" name="Legend1"/>
            <p:cNvSpPr>
              <a:spLocks noChangeArrowheads="1"/>
            </p:cNvSpPr>
            <p:nvPr>
              <p:custDataLst>
                <p:tags r:id="rId8"/>
              </p:custDataLst>
            </p:nvPr>
          </p:nvSpPr>
          <p:spPr bwMode="gray">
            <a:xfrm>
              <a:off x="6214476" y="2696709"/>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3" name="Legend2"/>
            <p:cNvSpPr>
              <a:spLocks noChangeArrowheads="1"/>
            </p:cNvSpPr>
            <p:nvPr>
              <p:custDataLst>
                <p:tags r:id="rId9"/>
              </p:custDataLst>
            </p:nvPr>
          </p:nvSpPr>
          <p:spPr bwMode="gray">
            <a:xfrm>
              <a:off x="6214476" y="2974391"/>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4" name="Legend3"/>
            <p:cNvSpPr>
              <a:spLocks noChangeArrowheads="1"/>
            </p:cNvSpPr>
            <p:nvPr>
              <p:custDataLst>
                <p:tags r:id="rId10"/>
              </p:custDataLst>
            </p:nvPr>
          </p:nvSpPr>
          <p:spPr bwMode="gray">
            <a:xfrm>
              <a:off x="6214476" y="3248898"/>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5" name="Legend4"/>
            <p:cNvSpPr>
              <a:spLocks noChangeArrowheads="1"/>
            </p:cNvSpPr>
            <p:nvPr>
              <p:custDataLst>
                <p:tags r:id="rId11"/>
              </p:custDataLst>
            </p:nvPr>
          </p:nvSpPr>
          <p:spPr bwMode="gray">
            <a:xfrm>
              <a:off x="6214476" y="3521820"/>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6" name="Legend5"/>
            <p:cNvSpPr>
              <a:spLocks noChangeArrowheads="1"/>
            </p:cNvSpPr>
            <p:nvPr>
              <p:custDataLst>
                <p:tags r:id="rId12"/>
              </p:custDataLst>
            </p:nvPr>
          </p:nvSpPr>
          <p:spPr bwMode="gray">
            <a:xfrm>
              <a:off x="6214476" y="3796328"/>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aphicFrame>
        <p:nvGraphicFramePr>
          <p:cNvPr id="57" name="Object 135"/>
          <p:cNvGraphicFramePr>
            <a:graphicFrameLocks noChangeAspect="1"/>
          </p:cNvGraphicFramePr>
          <p:nvPr/>
        </p:nvGraphicFramePr>
        <p:xfrm>
          <a:off x="1588" y="1588"/>
          <a:ext cx="1587" cy="1587"/>
        </p:xfrm>
        <a:graphic>
          <a:graphicData uri="http://schemas.openxmlformats.org/presentationml/2006/ole">
            <p:oleObj spid="_x0000_s49155" name="think-cell Slide" r:id="rId32" imgW="360" imgH="360" progId="">
              <p:embed/>
            </p:oleObj>
          </a:graphicData>
        </a:graphic>
      </p:graphicFrame>
      <p:sp>
        <p:nvSpPr>
          <p:cNvPr id="58" name="Slide Number"/>
          <p:cNvSpPr txBox="1">
            <a:spLocks/>
          </p:cNvSpPr>
          <p:nvPr/>
        </p:nvSpPr>
        <p:spPr bwMode="auto">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782B42D8-5CFF-48AF-BF05-2ADE43D33676}" type="slidenum">
              <a:rPr lang="en-US" sz="800" smtClean="0">
                <a:solidFill>
                  <a:srgbClr val="808080"/>
                </a:solidFill>
                <a:cs typeface="+mn-cs"/>
              </a:rPr>
              <a:pPr>
                <a:defRPr/>
              </a:pPr>
              <a:t>‹#›</a:t>
            </a:fld>
            <a:endParaRPr lang="en-US" sz="800" dirty="0">
              <a:solidFill>
                <a:srgbClr val="808080"/>
              </a:solidFill>
              <a:cs typeface="+mn-cs"/>
            </a:endParaRPr>
          </a:p>
        </p:txBody>
      </p:sp>
      <p:sp>
        <p:nvSpPr>
          <p:cNvPr id="59" name="doc id" hidden="1"/>
          <p:cNvSpPr>
            <a:spLocks noChangeArrowheads="1"/>
          </p:cNvSpPr>
          <p:nvPr/>
        </p:nvSpPr>
        <p:spPr bwMode="auto">
          <a:xfrm>
            <a:off x="8081963" y="50800"/>
            <a:ext cx="657225"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p>
            <a:pPr algn="r" defTabSz="895350">
              <a:defRPr/>
            </a:pPr>
            <a:endParaRPr lang="en-US" sz="800" dirty="0">
              <a:solidFill>
                <a:srgbClr val="808080"/>
              </a:solidFill>
              <a:latin typeface="+mn-lt"/>
              <a:cs typeface="+mn-cs"/>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164"/>
          <p:cNvGraphicFramePr>
            <a:graphicFrameLocks noChangeAspect="1"/>
          </p:cNvGraphicFramePr>
          <p:nvPr/>
        </p:nvGraphicFramePr>
        <p:xfrm>
          <a:off x="0" y="0"/>
          <a:ext cx="158750" cy="158750"/>
        </p:xfrm>
        <a:graphic>
          <a:graphicData uri="http://schemas.openxmlformats.org/presentationml/2006/ole">
            <p:oleObj spid="_x0000_s50178" name="think-cell Slide" r:id="rId31" imgW="360" imgH="360" progId="">
              <p:embed/>
            </p:oleObj>
          </a:graphicData>
        </a:graphic>
      </p:graphicFrame>
      <p:sp>
        <p:nvSpPr>
          <p:cNvPr id="4" name="Rectangle 3" hidden="1"/>
          <p:cNvSpPr/>
          <p:nvPr>
            <p:custDataLst>
              <p:tags r:id="rId2"/>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rgbClr val="000000"/>
              </a:solidFill>
              <a:ea typeface="+mj-ea"/>
              <a:cs typeface="+mj-cs"/>
              <a:sym typeface="Arial" panose="020B0604020202020204" pitchFamily="34" charset="0"/>
            </a:endParaRPr>
          </a:p>
        </p:txBody>
      </p:sp>
      <p:sp>
        <p:nvSpPr>
          <p:cNvPr id="5" name="Working Draft" hidden="1"/>
          <p:cNvSpPr txBox="1">
            <a:spLocks noChangeArrowheads="1"/>
          </p:cNvSpPr>
          <p:nvPr/>
        </p:nvSpPr>
        <p:spPr bwMode="gray">
          <a:xfrm rot="5400000">
            <a:off x="7716044" y="1940719"/>
            <a:ext cx="2351087" cy="92075"/>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mn-lt"/>
                <a:cs typeface="+mn-cs"/>
              </a:rPr>
              <a:t>Last Modified 2019/04/30 12:02 AM W. Central Africa Standard Time</a:t>
            </a:r>
            <a:endParaRPr lang="en-US" dirty="0">
              <a:solidFill>
                <a:srgbClr val="808080"/>
              </a:solidFill>
              <a:latin typeface="+mn-lt"/>
              <a:cs typeface="+mn-cs"/>
            </a:endParaRPr>
          </a:p>
        </p:txBody>
      </p:sp>
      <p:sp>
        <p:nvSpPr>
          <p:cNvPr id="6" name="Printed" hidden="1"/>
          <p:cNvSpPr txBox="1">
            <a:spLocks noChangeArrowheads="1"/>
          </p:cNvSpPr>
          <p:nvPr/>
        </p:nvSpPr>
        <p:spPr bwMode="gray">
          <a:xfrm rot="5400000">
            <a:off x="7892257" y="4114006"/>
            <a:ext cx="1998662" cy="92075"/>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mn-lt"/>
                <a:cs typeface="+mn-cs"/>
              </a:rPr>
              <a:t>Printed 2018/10/03 14:07 W. Central Africa Standard Time</a:t>
            </a:r>
            <a:endParaRPr lang="en-US" dirty="0">
              <a:solidFill>
                <a:srgbClr val="808080"/>
              </a:solidFill>
              <a:latin typeface="+mn-lt"/>
              <a:cs typeface="+mn-cs"/>
            </a:endParaRPr>
          </a:p>
        </p:txBody>
      </p:sp>
      <p:sp>
        <p:nvSpPr>
          <p:cNvPr id="7"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Tracker</a:t>
            </a:r>
          </a:p>
        </p:txBody>
      </p:sp>
      <p:sp>
        <p:nvSpPr>
          <p:cNvPr id="8"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chemeClr val="accent6"/>
                </a:solidFill>
                <a:latin typeface="+mn-lt"/>
                <a:cs typeface="+mn-cs"/>
              </a:rPr>
              <a:t>Subtitle</a:t>
            </a:r>
            <a:endParaRPr lang="en-US" sz="1600" dirty="0">
              <a:solidFill>
                <a:schemeClr val="accent6"/>
              </a:solidFill>
              <a:latin typeface="+mn-lt"/>
              <a:cs typeface="+mn-cs"/>
            </a:endParaRPr>
          </a:p>
        </p:txBody>
      </p:sp>
      <p:sp>
        <p:nvSpPr>
          <p:cNvPr id="9" name="4. Footnote" hidden="1"/>
          <p:cNvSpPr txBox="1">
            <a:spLocks noChangeArrowheads="1"/>
          </p:cNvSpPr>
          <p:nvPr/>
        </p:nvSpPr>
        <p:spPr bwMode="gray">
          <a:xfrm>
            <a:off x="119063" y="6305550"/>
            <a:ext cx="8618537"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chemeClr val="accent6"/>
                </a:solidFill>
                <a:latin typeface="+mn-lt"/>
                <a:cs typeface="+mn-cs"/>
              </a:rPr>
              <a:t>1 Footnote</a:t>
            </a:r>
          </a:p>
        </p:txBody>
      </p:sp>
      <p:sp>
        <p:nvSpPr>
          <p:cNvPr id="10" name="5. Source" hidden="1"/>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Source</a:t>
            </a:r>
          </a:p>
        </p:txBody>
      </p:sp>
      <p:grpSp>
        <p:nvGrpSpPr>
          <p:cNvPr id="11"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ext uri="{AF507438-7753-43E0-B8FC-AC1667EBCBE1}"/>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US" b="1" dirty="0">
                  <a:solidFill>
                    <a:srgbClr val="000000"/>
                  </a:solidFill>
                  <a:latin typeface="+mn-lt"/>
                  <a:cs typeface="+mn-cs"/>
                </a:rPr>
                <a:t>Title</a:t>
              </a:r>
            </a:p>
            <a:p>
              <a:pPr>
                <a:defRPr/>
              </a:pPr>
              <a:r>
                <a:rPr lang="en-US" dirty="0">
                  <a:solidFill>
                    <a:schemeClr val="accent6"/>
                  </a:solidFill>
                  <a:latin typeface="+mn-lt"/>
                  <a:cs typeface="+mn-cs"/>
                </a:rPr>
                <a:t>Unit of measure</a:t>
              </a:r>
            </a:p>
          </p:txBody>
        </p:sp>
      </p:grpSp>
      <p:grpSp>
        <p:nvGrpSpPr>
          <p:cNvPr id="14" name="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p>
              <a:pPr algn="r" defTabSz="895350">
                <a:buClr>
                  <a:srgbClr val="002960"/>
                </a:buClr>
                <a:defRPr/>
              </a:pPr>
              <a:r>
                <a:rPr lang="en-US" sz="800" dirty="0">
                  <a:solidFill>
                    <a:schemeClr val="accent6"/>
                  </a:solidFill>
                  <a:latin typeface="+mn-lt"/>
                  <a:cs typeface="+mn-cs"/>
                </a:rPr>
                <a:t>STICKER</a:t>
              </a:r>
            </a:p>
          </p:txBody>
        </p:sp>
        <p:cxnSp>
          <p:nvCxnSpPr>
            <p:cNvPr id="16"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extLst>
          </p:spPr>
        </p:cxnSp>
        <p:cxnSp>
          <p:nvCxnSpPr>
            <p:cNvPr id="17"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extLst>
          </p:spPr>
        </p:cxnSp>
      </p:grpSp>
      <p:sp>
        <p:nvSpPr>
          <p:cNvPr id="18" name="SlideBottomBar" hidden="1"/>
          <p:cNvSpPr/>
          <p:nvPr/>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9" name="doc id" hidden="1"/>
          <p:cNvSpPr>
            <a:spLocks noChangeArrowheads="1"/>
          </p:cNvSpPr>
          <p:nvPr/>
        </p:nvSpPr>
        <p:spPr bwMode="auto">
          <a:xfrm>
            <a:off x="8081963" y="50800"/>
            <a:ext cx="657225"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p>
            <a:pPr algn="r" defTabSz="895350">
              <a:defRPr/>
            </a:pPr>
            <a:endParaRPr lang="en-US" sz="800" dirty="0">
              <a:solidFill>
                <a:srgbClr val="808080"/>
              </a:solidFill>
              <a:latin typeface="+mn-lt"/>
              <a:cs typeface="+mn-cs"/>
            </a:endParaRPr>
          </a:p>
        </p:txBody>
      </p:sp>
      <p:grpSp>
        <p:nvGrpSpPr>
          <p:cNvPr id="20" name="LegendLines" hidden="1"/>
          <p:cNvGrpSpPr>
            <a:grpSpLocks/>
          </p:cNvGrpSpPr>
          <p:nvPr/>
        </p:nvGrpSpPr>
        <p:grpSpPr bwMode="auto">
          <a:xfrm>
            <a:off x="7543800" y="273050"/>
            <a:ext cx="1158875" cy="760413"/>
            <a:chOff x="7607284" y="279400"/>
            <a:chExt cx="1158292" cy="761545"/>
          </a:xfrm>
        </p:grpSpPr>
        <p:sp>
          <p:nvSpPr>
            <p:cNvPr id="21" name="LineLegend1"/>
            <p:cNvSpPr>
              <a:spLocks noChangeShapeType="1"/>
            </p:cNvSpPr>
            <p:nvPr/>
          </p:nvSpPr>
          <p:spPr bwMode="gray">
            <a:xfrm>
              <a:off x="7607284" y="387511"/>
              <a:ext cx="456970" cy="0"/>
            </a:xfrm>
            <a:prstGeom prst="line">
              <a:avLst/>
            </a:prstGeom>
            <a:noFill/>
            <a:ln w="28575">
              <a:solidFill>
                <a:schemeClr val="accent3"/>
              </a:solidFill>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22" name="LineLegend2"/>
            <p:cNvSpPr>
              <a:spLocks noChangeShapeType="1"/>
            </p:cNvSpPr>
            <p:nvPr/>
          </p:nvSpPr>
          <p:spPr bwMode="gray">
            <a:xfrm>
              <a:off x="7607284" y="654608"/>
              <a:ext cx="456970" cy="0"/>
            </a:xfrm>
            <a:prstGeom prst="line">
              <a:avLst/>
            </a:prstGeom>
            <a:noFill/>
            <a:ln w="28575">
              <a:solidFill>
                <a:schemeClr val="accent3"/>
              </a:solidFill>
              <a:prstDash val="dash"/>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23" name="LineLegend3"/>
            <p:cNvSpPr>
              <a:spLocks noChangeShapeType="1"/>
            </p:cNvSpPr>
            <p:nvPr/>
          </p:nvSpPr>
          <p:spPr bwMode="gray">
            <a:xfrm>
              <a:off x="7607284" y="932834"/>
              <a:ext cx="456970" cy="0"/>
            </a:xfrm>
            <a:prstGeom prst="line">
              <a:avLst/>
            </a:prstGeom>
            <a:noFill/>
            <a:ln w="28575">
              <a:solidFill>
                <a:schemeClr val="accent3"/>
              </a:solidFill>
              <a:prstDash val="sysDot"/>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24" name="Legend1"/>
            <p:cNvSpPr>
              <a:spLocks noChangeArrowheads="1"/>
            </p:cNvSpPr>
            <p:nvPr>
              <p:custDataLst>
                <p:tags r:id="rId27"/>
              </p:custDataLst>
            </p:nvPr>
          </p:nvSpPr>
          <p:spPr bwMode="gray">
            <a:xfrm>
              <a:off x="8168976" y="279400"/>
              <a:ext cx="596600" cy="216221"/>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25" name="Legend2"/>
            <p:cNvSpPr>
              <a:spLocks noChangeArrowheads="1"/>
            </p:cNvSpPr>
            <p:nvPr>
              <p:custDataLst>
                <p:tags r:id="rId28"/>
              </p:custDataLst>
            </p:nvPr>
          </p:nvSpPr>
          <p:spPr bwMode="gray">
            <a:xfrm>
              <a:off x="8168976" y="546497"/>
              <a:ext cx="596600" cy="21463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26" name="Legend3"/>
            <p:cNvSpPr>
              <a:spLocks noChangeArrowheads="1"/>
            </p:cNvSpPr>
            <p:nvPr>
              <p:custDataLst>
                <p:tags r:id="rId29"/>
              </p:custDataLst>
            </p:nvPr>
          </p:nvSpPr>
          <p:spPr bwMode="gray">
            <a:xfrm>
              <a:off x="8168976" y="824724"/>
              <a:ext cx="596600" cy="216221"/>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pSp>
        <p:nvGrpSpPr>
          <p:cNvPr id="27" name="LegendBoxes" hidden="1"/>
          <p:cNvGrpSpPr>
            <a:grpSpLocks/>
          </p:cNvGrpSpPr>
          <p:nvPr/>
        </p:nvGrpSpPr>
        <p:grpSpPr bwMode="auto">
          <a:xfrm>
            <a:off x="7851775" y="273050"/>
            <a:ext cx="850900" cy="1027113"/>
            <a:chOff x="5894005" y="919828"/>
            <a:chExt cx="850317" cy="1028245"/>
          </a:xfrm>
        </p:grpSpPr>
        <p:sp>
          <p:nvSpPr>
            <p:cNvPr id="28" name="RectangleLegend1"/>
            <p:cNvSpPr>
              <a:spLocks noChangeArrowheads="1"/>
            </p:cNvSpPr>
            <p:nvPr/>
          </p:nvSpPr>
          <p:spPr bwMode="gray">
            <a:xfrm>
              <a:off x="5894005" y="946846"/>
              <a:ext cx="164987" cy="160514"/>
            </a:xfrm>
            <a:prstGeom prst="rect">
              <a:avLst/>
            </a:prstGeom>
            <a:solidFill>
              <a:schemeClr val="accent1"/>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29" name="RectangleLegend2"/>
            <p:cNvSpPr>
              <a:spLocks noChangeArrowheads="1"/>
            </p:cNvSpPr>
            <p:nvPr/>
          </p:nvSpPr>
          <p:spPr bwMode="gray">
            <a:xfrm>
              <a:off x="5894005" y="1217018"/>
              <a:ext cx="164987" cy="160514"/>
            </a:xfrm>
            <a:prstGeom prst="rect">
              <a:avLst/>
            </a:prstGeom>
            <a:solidFill>
              <a:schemeClr val="accent2"/>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30" name="RectangleLegend3"/>
            <p:cNvSpPr>
              <a:spLocks noChangeArrowheads="1"/>
            </p:cNvSpPr>
            <p:nvPr/>
          </p:nvSpPr>
          <p:spPr bwMode="gray">
            <a:xfrm>
              <a:off x="5894005" y="1488779"/>
              <a:ext cx="164987" cy="160515"/>
            </a:xfrm>
            <a:prstGeom prst="rect">
              <a:avLst/>
            </a:prstGeom>
            <a:solidFill>
              <a:schemeClr val="accent3"/>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31" name="RectangleLegend4"/>
            <p:cNvSpPr>
              <a:spLocks noChangeArrowheads="1"/>
            </p:cNvSpPr>
            <p:nvPr/>
          </p:nvSpPr>
          <p:spPr bwMode="gray">
            <a:xfrm>
              <a:off x="5894005" y="1760542"/>
              <a:ext cx="164987" cy="160514"/>
            </a:xfrm>
            <a:prstGeom prst="rect">
              <a:avLst/>
            </a:prstGeom>
            <a:solidFill>
              <a:schemeClr val="accent4"/>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32" name="Legend1"/>
            <p:cNvSpPr>
              <a:spLocks noChangeArrowheads="1"/>
            </p:cNvSpPr>
            <p:nvPr>
              <p:custDataLst>
                <p:tags r:id="rId23"/>
              </p:custDataLst>
            </p:nvPr>
          </p:nvSpPr>
          <p:spPr bwMode="gray">
            <a:xfrm>
              <a:off x="6147831" y="919828"/>
              <a:ext cx="596491" cy="2161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33" name="Legend2"/>
            <p:cNvSpPr>
              <a:spLocks noChangeArrowheads="1"/>
            </p:cNvSpPr>
            <p:nvPr>
              <p:custDataLst>
                <p:tags r:id="rId24"/>
              </p:custDataLst>
            </p:nvPr>
          </p:nvSpPr>
          <p:spPr bwMode="gray">
            <a:xfrm>
              <a:off x="6147831" y="1190000"/>
              <a:ext cx="596491" cy="214549"/>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34" name="Legend3"/>
            <p:cNvSpPr>
              <a:spLocks noChangeArrowheads="1"/>
            </p:cNvSpPr>
            <p:nvPr>
              <p:custDataLst>
                <p:tags r:id="rId25"/>
              </p:custDataLst>
            </p:nvPr>
          </p:nvSpPr>
          <p:spPr bwMode="gray">
            <a:xfrm>
              <a:off x="6147831" y="1461763"/>
              <a:ext cx="596491" cy="21454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35" name="Legend4"/>
            <p:cNvSpPr>
              <a:spLocks noChangeArrowheads="1"/>
            </p:cNvSpPr>
            <p:nvPr>
              <p:custDataLst>
                <p:tags r:id="rId26"/>
              </p:custDataLst>
            </p:nvPr>
          </p:nvSpPr>
          <p:spPr bwMode="gray">
            <a:xfrm>
              <a:off x="6147831" y="1731935"/>
              <a:ext cx="596491" cy="2161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pSp>
        <p:nvGrpSpPr>
          <p:cNvPr id="36" name="LegendMoons" hidden="1"/>
          <p:cNvGrpSpPr>
            <a:grpSpLocks/>
          </p:cNvGrpSpPr>
          <p:nvPr/>
        </p:nvGrpSpPr>
        <p:grpSpPr bwMode="auto">
          <a:xfrm>
            <a:off x="7785100" y="271463"/>
            <a:ext cx="917575" cy="1317625"/>
            <a:chOff x="5894005" y="2695123"/>
            <a:chExt cx="916992" cy="1317003"/>
          </a:xfrm>
        </p:grpSpPr>
        <p:grpSp>
          <p:nvGrpSpPr>
            <p:cNvPr id="37" name="MoonLegend1"/>
            <p:cNvGrpSpPr>
              <a:grpSpLocks noChangeAspect="1"/>
            </p:cNvGrpSpPr>
            <p:nvPr>
              <p:custDataLst>
                <p:tags r:id="rId3"/>
              </p:custDataLst>
            </p:nvPr>
          </p:nvGrpSpPr>
          <p:grpSpPr bwMode="auto">
            <a:xfrm>
              <a:off x="5894005" y="2695124"/>
              <a:ext cx="209550" cy="219738"/>
              <a:chOff x="4533" y="183"/>
              <a:chExt cx="144" cy="151"/>
            </a:xfrm>
          </p:grpSpPr>
          <p:sp>
            <p:nvSpPr>
              <p:cNvPr id="55" name="Oval 54"/>
              <p:cNvSpPr>
                <a:spLocks noChangeAspect="1" noChangeArrowheads="1"/>
              </p:cNvSpPr>
              <p:nvPr>
                <p:custDataLst>
                  <p:tags r:id="rId21"/>
                </p:custDataLst>
              </p:nvPr>
            </p:nvSpPr>
            <p:spPr bwMode="gray">
              <a:xfrm>
                <a:off x="4533" y="190"/>
                <a:ext cx="144" cy="144"/>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6" name="Arc 55" hidden="1"/>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38" name="MoonLegend2"/>
            <p:cNvGrpSpPr>
              <a:grpSpLocks noChangeAspect="1"/>
            </p:cNvGrpSpPr>
            <p:nvPr>
              <p:custDataLst>
                <p:tags r:id="rId4"/>
              </p:custDataLst>
            </p:nvPr>
          </p:nvGrpSpPr>
          <p:grpSpPr bwMode="auto">
            <a:xfrm>
              <a:off x="5894005" y="2977103"/>
              <a:ext cx="209550" cy="209551"/>
              <a:chOff x="1694" y="2051"/>
              <a:chExt cx="160" cy="160"/>
            </a:xfrm>
          </p:grpSpPr>
          <p:sp>
            <p:nvSpPr>
              <p:cNvPr id="53" name="Oval 41"/>
              <p:cNvSpPr>
                <a:spLocks noChangeAspect="1" noChangeArrowheads="1"/>
              </p:cNvSpPr>
              <p:nvPr>
                <p:custDataLst>
                  <p:tags r:id="rId19"/>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4" name="Arc 42"/>
              <p:cNvSpPr>
                <a:spLocks noChangeAspect="1"/>
              </p:cNvSpPr>
              <p:nvPr>
                <p:custDataLst>
                  <p:tags r:id="rId20"/>
                </p:custDataLst>
              </p:nvPr>
            </p:nvSpPr>
            <p:spPr bwMode="gray">
              <a:xfrm>
                <a:off x="1694" y="2051"/>
                <a:ext cx="160" cy="160"/>
              </a:xfrm>
              <a:prstGeom prst="arc">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39" name="MoonLegend4"/>
            <p:cNvGrpSpPr>
              <a:grpSpLocks noChangeAspect="1"/>
            </p:cNvGrpSpPr>
            <p:nvPr>
              <p:custDataLst>
                <p:tags r:id="rId5"/>
              </p:custDataLst>
            </p:nvPr>
          </p:nvGrpSpPr>
          <p:grpSpPr bwMode="auto">
            <a:xfrm>
              <a:off x="5894005" y="3524395"/>
              <a:ext cx="209550" cy="209551"/>
              <a:chOff x="4495" y="1204"/>
              <a:chExt cx="160" cy="160"/>
            </a:xfrm>
          </p:grpSpPr>
          <p:sp>
            <p:nvSpPr>
              <p:cNvPr id="51" name="Oval 47"/>
              <p:cNvSpPr>
                <a:spLocks noChangeAspect="1" noChangeArrowheads="1"/>
              </p:cNvSpPr>
              <p:nvPr>
                <p:custDataLst>
                  <p:tags r:id="rId17"/>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2" name="Arc 48"/>
              <p:cNvSpPr>
                <a:spLocks noChangeAspect="1"/>
              </p:cNvSpPr>
              <p:nvPr>
                <p:custDataLst>
                  <p:tags r:id="rId18"/>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40" name="MoonLegend5"/>
            <p:cNvGrpSpPr>
              <a:grpSpLocks noChangeAspect="1"/>
            </p:cNvGrpSpPr>
            <p:nvPr>
              <p:custDataLst>
                <p:tags r:id="rId6"/>
              </p:custDataLst>
            </p:nvPr>
          </p:nvGrpSpPr>
          <p:grpSpPr bwMode="auto">
            <a:xfrm>
              <a:off x="5894005" y="3799629"/>
              <a:ext cx="209550" cy="209551"/>
              <a:chOff x="4495" y="1447"/>
              <a:chExt cx="160" cy="160"/>
            </a:xfrm>
          </p:grpSpPr>
          <p:sp>
            <p:nvSpPr>
              <p:cNvPr id="49" name="Oval 50"/>
              <p:cNvSpPr>
                <a:spLocks noChangeAspect="1" noChangeArrowheads="1"/>
              </p:cNvSpPr>
              <p:nvPr>
                <p:custDataLst>
                  <p:tags r:id="rId15"/>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0" name="Oval 51"/>
              <p:cNvSpPr>
                <a:spLocks noChangeAspect="1" noChangeArrowheads="1"/>
              </p:cNvSpPr>
              <p:nvPr>
                <p:custDataLst>
                  <p:tags r:id="rId16"/>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41" name="MoonLegend3"/>
            <p:cNvGrpSpPr>
              <a:grpSpLocks noChangeAspect="1"/>
            </p:cNvGrpSpPr>
            <p:nvPr>
              <p:custDataLst>
                <p:tags r:id="rId7"/>
              </p:custDataLst>
            </p:nvPr>
          </p:nvGrpSpPr>
          <p:grpSpPr bwMode="auto">
            <a:xfrm>
              <a:off x="5894005" y="3251543"/>
              <a:ext cx="209550" cy="209551"/>
              <a:chOff x="4495" y="1205"/>
              <a:chExt cx="160" cy="160"/>
            </a:xfrm>
          </p:grpSpPr>
          <p:sp>
            <p:nvSpPr>
              <p:cNvPr id="47" name="Oval 47"/>
              <p:cNvSpPr>
                <a:spLocks noChangeAspect="1" noChangeArrowheads="1"/>
              </p:cNvSpPr>
              <p:nvPr>
                <p:custDataLst>
                  <p:tags r:id="rId13"/>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48" name="Arc 48"/>
              <p:cNvSpPr>
                <a:spLocks noChangeAspect="1"/>
              </p:cNvSpPr>
              <p:nvPr>
                <p:custDataLst>
                  <p:tags r:id="rId14"/>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sp>
          <p:nvSpPr>
            <p:cNvPr id="42" name="Legend1"/>
            <p:cNvSpPr>
              <a:spLocks noChangeArrowheads="1"/>
            </p:cNvSpPr>
            <p:nvPr>
              <p:custDataLst>
                <p:tags r:id="rId8"/>
              </p:custDataLst>
            </p:nvPr>
          </p:nvSpPr>
          <p:spPr bwMode="gray">
            <a:xfrm>
              <a:off x="6214476" y="2696709"/>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3" name="Legend2"/>
            <p:cNvSpPr>
              <a:spLocks noChangeArrowheads="1"/>
            </p:cNvSpPr>
            <p:nvPr>
              <p:custDataLst>
                <p:tags r:id="rId9"/>
              </p:custDataLst>
            </p:nvPr>
          </p:nvSpPr>
          <p:spPr bwMode="gray">
            <a:xfrm>
              <a:off x="6214476" y="2974391"/>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4" name="Legend3"/>
            <p:cNvSpPr>
              <a:spLocks noChangeArrowheads="1"/>
            </p:cNvSpPr>
            <p:nvPr>
              <p:custDataLst>
                <p:tags r:id="rId10"/>
              </p:custDataLst>
            </p:nvPr>
          </p:nvSpPr>
          <p:spPr bwMode="gray">
            <a:xfrm>
              <a:off x="6214476" y="3248898"/>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5" name="Legend4"/>
            <p:cNvSpPr>
              <a:spLocks noChangeArrowheads="1"/>
            </p:cNvSpPr>
            <p:nvPr>
              <p:custDataLst>
                <p:tags r:id="rId11"/>
              </p:custDataLst>
            </p:nvPr>
          </p:nvSpPr>
          <p:spPr bwMode="gray">
            <a:xfrm>
              <a:off x="6214476" y="3521820"/>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6" name="Legend5"/>
            <p:cNvSpPr>
              <a:spLocks noChangeArrowheads="1"/>
            </p:cNvSpPr>
            <p:nvPr>
              <p:custDataLst>
                <p:tags r:id="rId12"/>
              </p:custDataLst>
            </p:nvPr>
          </p:nvSpPr>
          <p:spPr bwMode="gray">
            <a:xfrm>
              <a:off x="6214476" y="3796328"/>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aphicFrame>
        <p:nvGraphicFramePr>
          <p:cNvPr id="57" name="Object 135"/>
          <p:cNvGraphicFramePr>
            <a:graphicFrameLocks noChangeAspect="1"/>
          </p:cNvGraphicFramePr>
          <p:nvPr/>
        </p:nvGraphicFramePr>
        <p:xfrm>
          <a:off x="1588" y="1588"/>
          <a:ext cx="1587" cy="1587"/>
        </p:xfrm>
        <a:graphic>
          <a:graphicData uri="http://schemas.openxmlformats.org/presentationml/2006/ole">
            <p:oleObj spid="_x0000_s50179" name="think-cell Slide" r:id="rId32" imgW="360" imgH="360" progId="">
              <p:embed/>
            </p:oleObj>
          </a:graphicData>
        </a:graphic>
      </p:graphicFrame>
      <p:sp>
        <p:nvSpPr>
          <p:cNvPr id="58" name="Slide Number"/>
          <p:cNvSpPr txBox="1">
            <a:spLocks/>
          </p:cNvSpPr>
          <p:nvPr/>
        </p:nvSpPr>
        <p:spPr>
          <a:xfrm>
            <a:off x="8564563" y="6508750"/>
            <a:ext cx="125412" cy="122238"/>
          </a:xfrm>
          <a:prstGeom prst="rect">
            <a:avLst/>
          </a:prstGeom>
        </p:spPr>
        <p:txBody>
          <a:bodyPr wrap="none" lIns="0" tIns="0" rIns="0" bIns="0" anchor="ctr">
            <a:spAutoFit/>
          </a:bodyPr>
          <a:lstStyle>
            <a:defPPr>
              <a:defRPr lang="en-US"/>
            </a:defPPr>
            <a:lvl1pPr>
              <a:defRPr sz="1000" baseline="0">
                <a:latin typeface="+mn-lt"/>
              </a:defRPr>
            </a:lvl1pPr>
          </a:lstStyle>
          <a:p>
            <a:pPr>
              <a:defRPr/>
            </a:pPr>
            <a:fld id="{11644FE3-9C75-4970-9C1A-0008EC7CDFEE}" type="slidenum">
              <a:rPr lang="en-US" sz="800" smtClean="0">
                <a:solidFill>
                  <a:srgbClr val="FFFFFF"/>
                </a:solidFill>
                <a:cs typeface="+mn-cs"/>
              </a:rPr>
              <a:pPr>
                <a:defRPr/>
              </a:pPr>
              <a:t>‹#›</a:t>
            </a:fld>
            <a:endParaRPr lang="en-US" sz="800" dirty="0">
              <a:solidFill>
                <a:srgbClr val="FFFFFF"/>
              </a:solidFill>
              <a:cs typeface="+mn-cs"/>
            </a:endParaRPr>
          </a:p>
        </p:txBody>
      </p:sp>
      <p:sp>
        <p:nvSpPr>
          <p:cNvPr id="59" name="doc id" hidden="1"/>
          <p:cNvSpPr>
            <a:spLocks noChangeArrowheads="1"/>
          </p:cNvSpPr>
          <p:nvPr/>
        </p:nvSpPr>
        <p:spPr bwMode="auto">
          <a:xfrm>
            <a:off x="8081963" y="50800"/>
            <a:ext cx="657225"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p>
            <a:pPr algn="r" defTabSz="895350">
              <a:defRPr/>
            </a:pPr>
            <a:endParaRPr lang="en-US" sz="800" dirty="0">
              <a:solidFill>
                <a:srgbClr val="808080"/>
              </a:solidFill>
              <a:latin typeface="+mn-lt"/>
              <a:cs typeface="+mn-cs"/>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Only" preserve="1">
  <p:cSld name="2_Title Only">
    <p:spTree>
      <p:nvGrpSpPr>
        <p:cNvPr id="1" name=""/>
        <p:cNvGrpSpPr/>
        <p:nvPr/>
      </p:nvGrpSpPr>
      <p:grpSpPr>
        <a:xfrm>
          <a:off x="0" y="0"/>
          <a:ext cx="0" cy="0"/>
          <a:chOff x="0" y="0"/>
          <a:chExt cx="0" cy="0"/>
        </a:xfrm>
      </p:grpSpPr>
      <p:graphicFrame>
        <p:nvGraphicFramePr>
          <p:cNvPr id="3" name="Object 164"/>
          <p:cNvGraphicFramePr>
            <a:graphicFrameLocks noChangeAspect="1"/>
          </p:cNvGraphicFramePr>
          <p:nvPr/>
        </p:nvGraphicFramePr>
        <p:xfrm>
          <a:off x="0" y="0"/>
          <a:ext cx="158750" cy="158750"/>
        </p:xfrm>
        <a:graphic>
          <a:graphicData uri="http://schemas.openxmlformats.org/presentationml/2006/ole">
            <p:oleObj spid="_x0000_s51202" name="think-cell Slide" r:id="rId31" imgW="360" imgH="360" progId="">
              <p:embed/>
            </p:oleObj>
          </a:graphicData>
        </a:graphic>
      </p:graphicFrame>
      <p:sp>
        <p:nvSpPr>
          <p:cNvPr id="4" name="Rectangle 3" hidden="1"/>
          <p:cNvSpPr/>
          <p:nvPr>
            <p:custDataLst>
              <p:tags r:id="rId2"/>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rgbClr val="000000"/>
              </a:solidFill>
              <a:ea typeface="+mj-ea"/>
              <a:cs typeface="+mj-cs"/>
              <a:sym typeface="Arial" panose="020B0604020202020204" pitchFamily="34" charset="0"/>
            </a:endParaRPr>
          </a:p>
        </p:txBody>
      </p:sp>
      <p:sp>
        <p:nvSpPr>
          <p:cNvPr id="5" name="Working Draft" hidden="1"/>
          <p:cNvSpPr txBox="1">
            <a:spLocks noChangeArrowheads="1"/>
          </p:cNvSpPr>
          <p:nvPr/>
        </p:nvSpPr>
        <p:spPr bwMode="gray">
          <a:xfrm rot="5400000">
            <a:off x="7716044" y="1940719"/>
            <a:ext cx="2351087" cy="92075"/>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mn-lt"/>
                <a:cs typeface="+mn-cs"/>
              </a:rPr>
              <a:t>Last Modified 2019/04/30 12:02 AM W. Central Africa Standard Time</a:t>
            </a:r>
            <a:endParaRPr lang="en-US" dirty="0">
              <a:solidFill>
                <a:srgbClr val="808080"/>
              </a:solidFill>
              <a:latin typeface="+mn-lt"/>
              <a:cs typeface="+mn-cs"/>
            </a:endParaRPr>
          </a:p>
        </p:txBody>
      </p:sp>
      <p:sp>
        <p:nvSpPr>
          <p:cNvPr id="6" name="Printed" hidden="1"/>
          <p:cNvSpPr txBox="1">
            <a:spLocks noChangeArrowheads="1"/>
          </p:cNvSpPr>
          <p:nvPr/>
        </p:nvSpPr>
        <p:spPr bwMode="gray">
          <a:xfrm rot="5400000">
            <a:off x="7892257" y="4114006"/>
            <a:ext cx="1998662" cy="92075"/>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mn-lt"/>
                <a:cs typeface="+mn-cs"/>
              </a:rPr>
              <a:t>Printed 2018/10/03 14:07 W. Central Africa Standard Time</a:t>
            </a:r>
            <a:endParaRPr lang="en-US" dirty="0">
              <a:solidFill>
                <a:srgbClr val="808080"/>
              </a:solidFill>
              <a:latin typeface="+mn-lt"/>
              <a:cs typeface="+mn-cs"/>
            </a:endParaRPr>
          </a:p>
        </p:txBody>
      </p:sp>
      <p:sp>
        <p:nvSpPr>
          <p:cNvPr id="7"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Tracker</a:t>
            </a:r>
          </a:p>
        </p:txBody>
      </p:sp>
      <p:sp>
        <p:nvSpPr>
          <p:cNvPr id="8"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chemeClr val="accent6"/>
                </a:solidFill>
                <a:latin typeface="+mn-lt"/>
                <a:cs typeface="+mn-cs"/>
              </a:rPr>
              <a:t>Subtitle</a:t>
            </a:r>
            <a:endParaRPr lang="en-US" sz="1600" dirty="0">
              <a:solidFill>
                <a:schemeClr val="accent6"/>
              </a:solidFill>
              <a:latin typeface="+mn-lt"/>
              <a:cs typeface="+mn-cs"/>
            </a:endParaRPr>
          </a:p>
        </p:txBody>
      </p:sp>
      <p:sp>
        <p:nvSpPr>
          <p:cNvPr id="9" name="4. Footnote" hidden="1"/>
          <p:cNvSpPr txBox="1">
            <a:spLocks noChangeArrowheads="1"/>
          </p:cNvSpPr>
          <p:nvPr/>
        </p:nvSpPr>
        <p:spPr bwMode="gray">
          <a:xfrm>
            <a:off x="119063" y="6305550"/>
            <a:ext cx="8618537"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chemeClr val="accent6"/>
                </a:solidFill>
                <a:latin typeface="+mn-lt"/>
                <a:cs typeface="+mn-cs"/>
              </a:rPr>
              <a:t>1 Footnote</a:t>
            </a:r>
          </a:p>
        </p:txBody>
      </p:sp>
      <p:sp>
        <p:nvSpPr>
          <p:cNvPr id="10" name="5. Source" hidden="1"/>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Source</a:t>
            </a:r>
          </a:p>
        </p:txBody>
      </p:sp>
      <p:grpSp>
        <p:nvGrpSpPr>
          <p:cNvPr id="11" name="ACET" hidden="1"/>
          <p:cNvGrpSpPr>
            <a:grpSpLocks/>
          </p:cNvGrpSpPr>
          <p:nvPr/>
        </p:nvGrpSpPr>
        <p:grpSpPr bwMode="auto">
          <a:xfrm>
            <a:off x="1452563" y="1257300"/>
            <a:ext cx="4264025" cy="508000"/>
            <a:chOff x="915" y="710"/>
            <a:chExt cx="2686" cy="320"/>
          </a:xfrm>
        </p:grpSpPr>
        <p:cxnSp>
          <p:nvCxnSpPr>
            <p:cNvPr id="12"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ext uri="{AF507438-7753-43E0-B8FC-AC1667EBCBE1}"/>
            </a:extLst>
          </p:spPr>
        </p:cxnSp>
        <p:sp>
          <p:nvSpPr>
            <p:cNvPr id="13"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US" b="1" dirty="0">
                  <a:solidFill>
                    <a:srgbClr val="000000"/>
                  </a:solidFill>
                  <a:latin typeface="+mn-lt"/>
                  <a:cs typeface="+mn-cs"/>
                </a:rPr>
                <a:t>Title</a:t>
              </a:r>
            </a:p>
            <a:p>
              <a:pPr>
                <a:defRPr/>
              </a:pPr>
              <a:r>
                <a:rPr lang="en-US" dirty="0">
                  <a:solidFill>
                    <a:schemeClr val="accent6"/>
                  </a:solidFill>
                  <a:latin typeface="+mn-lt"/>
                  <a:cs typeface="+mn-cs"/>
                </a:rPr>
                <a:t>Unit of measure</a:t>
              </a:r>
            </a:p>
          </p:txBody>
        </p:sp>
      </p:grpSp>
      <p:grpSp>
        <p:nvGrpSpPr>
          <p:cNvPr id="14" name="Sticker" hidden="1"/>
          <p:cNvGrpSpPr>
            <a:grpSpLocks/>
          </p:cNvGrpSpPr>
          <p:nvPr/>
        </p:nvGrpSpPr>
        <p:grpSpPr bwMode="auto">
          <a:xfrm>
            <a:off x="8264525" y="285750"/>
            <a:ext cx="473075" cy="150813"/>
            <a:chOff x="8267440" y="285750"/>
            <a:chExt cx="473335" cy="150811"/>
          </a:xfrm>
        </p:grpSpPr>
        <p:sp>
          <p:nvSpPr>
            <p:cNvPr id="15"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p>
              <a:pPr algn="r" defTabSz="895350">
                <a:buClr>
                  <a:srgbClr val="002960"/>
                </a:buClr>
                <a:defRPr/>
              </a:pPr>
              <a:r>
                <a:rPr lang="en-US" sz="800" dirty="0">
                  <a:solidFill>
                    <a:schemeClr val="accent6"/>
                  </a:solidFill>
                  <a:latin typeface="+mn-lt"/>
                  <a:cs typeface="+mn-cs"/>
                </a:rPr>
                <a:t>STICKER</a:t>
              </a:r>
            </a:p>
          </p:txBody>
        </p:sp>
        <p:cxnSp>
          <p:nvCxnSpPr>
            <p:cNvPr id="16"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extLst>
          </p:spPr>
        </p:cxnSp>
        <p:cxnSp>
          <p:nvCxnSpPr>
            <p:cNvPr id="17"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extLst>
          </p:spPr>
        </p:cxnSp>
      </p:grpSp>
      <p:sp>
        <p:nvSpPr>
          <p:cNvPr id="18" name="SlideBottomBar" hidden="1"/>
          <p:cNvSpPr/>
          <p:nvPr/>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9" name="doc id" hidden="1"/>
          <p:cNvSpPr>
            <a:spLocks noChangeArrowheads="1"/>
          </p:cNvSpPr>
          <p:nvPr/>
        </p:nvSpPr>
        <p:spPr bwMode="auto">
          <a:xfrm>
            <a:off x="8081963" y="50800"/>
            <a:ext cx="657225"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p>
            <a:pPr algn="r" defTabSz="895350">
              <a:defRPr/>
            </a:pPr>
            <a:endParaRPr lang="en-US" sz="800" dirty="0">
              <a:solidFill>
                <a:srgbClr val="808080"/>
              </a:solidFill>
              <a:latin typeface="+mn-lt"/>
              <a:cs typeface="+mn-cs"/>
            </a:endParaRPr>
          </a:p>
        </p:txBody>
      </p:sp>
      <p:grpSp>
        <p:nvGrpSpPr>
          <p:cNvPr id="20" name="LegendLines" hidden="1"/>
          <p:cNvGrpSpPr>
            <a:grpSpLocks/>
          </p:cNvGrpSpPr>
          <p:nvPr/>
        </p:nvGrpSpPr>
        <p:grpSpPr bwMode="auto">
          <a:xfrm>
            <a:off x="7543800" y="273050"/>
            <a:ext cx="1158875" cy="760413"/>
            <a:chOff x="7607284" y="279400"/>
            <a:chExt cx="1158292" cy="761545"/>
          </a:xfrm>
        </p:grpSpPr>
        <p:sp>
          <p:nvSpPr>
            <p:cNvPr id="21" name="LineLegend1"/>
            <p:cNvSpPr>
              <a:spLocks noChangeShapeType="1"/>
            </p:cNvSpPr>
            <p:nvPr/>
          </p:nvSpPr>
          <p:spPr bwMode="gray">
            <a:xfrm>
              <a:off x="7607284" y="387511"/>
              <a:ext cx="456970" cy="0"/>
            </a:xfrm>
            <a:prstGeom prst="line">
              <a:avLst/>
            </a:prstGeom>
            <a:noFill/>
            <a:ln w="28575">
              <a:solidFill>
                <a:schemeClr val="accent3"/>
              </a:solidFill>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22" name="LineLegend2"/>
            <p:cNvSpPr>
              <a:spLocks noChangeShapeType="1"/>
            </p:cNvSpPr>
            <p:nvPr/>
          </p:nvSpPr>
          <p:spPr bwMode="gray">
            <a:xfrm>
              <a:off x="7607284" y="654608"/>
              <a:ext cx="456970" cy="0"/>
            </a:xfrm>
            <a:prstGeom prst="line">
              <a:avLst/>
            </a:prstGeom>
            <a:noFill/>
            <a:ln w="28575">
              <a:solidFill>
                <a:schemeClr val="accent3"/>
              </a:solidFill>
              <a:prstDash val="dash"/>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23" name="LineLegend3"/>
            <p:cNvSpPr>
              <a:spLocks noChangeShapeType="1"/>
            </p:cNvSpPr>
            <p:nvPr/>
          </p:nvSpPr>
          <p:spPr bwMode="gray">
            <a:xfrm>
              <a:off x="7607284" y="932834"/>
              <a:ext cx="456970" cy="0"/>
            </a:xfrm>
            <a:prstGeom prst="line">
              <a:avLst/>
            </a:prstGeom>
            <a:noFill/>
            <a:ln w="28575">
              <a:solidFill>
                <a:schemeClr val="accent3"/>
              </a:solidFill>
              <a:prstDash val="sysDot"/>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24" name="Legend1"/>
            <p:cNvSpPr>
              <a:spLocks noChangeArrowheads="1"/>
            </p:cNvSpPr>
            <p:nvPr>
              <p:custDataLst>
                <p:tags r:id="rId27"/>
              </p:custDataLst>
            </p:nvPr>
          </p:nvSpPr>
          <p:spPr bwMode="gray">
            <a:xfrm>
              <a:off x="8168976" y="279400"/>
              <a:ext cx="596600" cy="216221"/>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25" name="Legend2"/>
            <p:cNvSpPr>
              <a:spLocks noChangeArrowheads="1"/>
            </p:cNvSpPr>
            <p:nvPr>
              <p:custDataLst>
                <p:tags r:id="rId28"/>
              </p:custDataLst>
            </p:nvPr>
          </p:nvSpPr>
          <p:spPr bwMode="gray">
            <a:xfrm>
              <a:off x="8168976" y="546497"/>
              <a:ext cx="596600" cy="21463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26" name="Legend3"/>
            <p:cNvSpPr>
              <a:spLocks noChangeArrowheads="1"/>
            </p:cNvSpPr>
            <p:nvPr>
              <p:custDataLst>
                <p:tags r:id="rId29"/>
              </p:custDataLst>
            </p:nvPr>
          </p:nvSpPr>
          <p:spPr bwMode="gray">
            <a:xfrm>
              <a:off x="8168976" y="824724"/>
              <a:ext cx="596600" cy="216221"/>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pSp>
        <p:nvGrpSpPr>
          <p:cNvPr id="27" name="LegendBoxes" hidden="1"/>
          <p:cNvGrpSpPr>
            <a:grpSpLocks/>
          </p:cNvGrpSpPr>
          <p:nvPr/>
        </p:nvGrpSpPr>
        <p:grpSpPr bwMode="auto">
          <a:xfrm>
            <a:off x="7851775" y="273050"/>
            <a:ext cx="850900" cy="1027113"/>
            <a:chOff x="5894005" y="919828"/>
            <a:chExt cx="850317" cy="1028245"/>
          </a:xfrm>
        </p:grpSpPr>
        <p:sp>
          <p:nvSpPr>
            <p:cNvPr id="28" name="RectangleLegend1"/>
            <p:cNvSpPr>
              <a:spLocks noChangeArrowheads="1"/>
            </p:cNvSpPr>
            <p:nvPr/>
          </p:nvSpPr>
          <p:spPr bwMode="gray">
            <a:xfrm>
              <a:off x="5894005" y="946846"/>
              <a:ext cx="164987" cy="160514"/>
            </a:xfrm>
            <a:prstGeom prst="rect">
              <a:avLst/>
            </a:prstGeom>
            <a:solidFill>
              <a:schemeClr val="accent1"/>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29" name="RectangleLegend2"/>
            <p:cNvSpPr>
              <a:spLocks noChangeArrowheads="1"/>
            </p:cNvSpPr>
            <p:nvPr/>
          </p:nvSpPr>
          <p:spPr bwMode="gray">
            <a:xfrm>
              <a:off x="5894005" y="1217018"/>
              <a:ext cx="164987" cy="160514"/>
            </a:xfrm>
            <a:prstGeom prst="rect">
              <a:avLst/>
            </a:prstGeom>
            <a:solidFill>
              <a:schemeClr val="accent2"/>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30" name="RectangleLegend3"/>
            <p:cNvSpPr>
              <a:spLocks noChangeArrowheads="1"/>
            </p:cNvSpPr>
            <p:nvPr/>
          </p:nvSpPr>
          <p:spPr bwMode="gray">
            <a:xfrm>
              <a:off x="5894005" y="1488779"/>
              <a:ext cx="164987" cy="160515"/>
            </a:xfrm>
            <a:prstGeom prst="rect">
              <a:avLst/>
            </a:prstGeom>
            <a:solidFill>
              <a:schemeClr val="accent3"/>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31" name="RectangleLegend4"/>
            <p:cNvSpPr>
              <a:spLocks noChangeArrowheads="1"/>
            </p:cNvSpPr>
            <p:nvPr/>
          </p:nvSpPr>
          <p:spPr bwMode="gray">
            <a:xfrm>
              <a:off x="5894005" y="1760542"/>
              <a:ext cx="164987" cy="160514"/>
            </a:xfrm>
            <a:prstGeom prst="rect">
              <a:avLst/>
            </a:prstGeom>
            <a:solidFill>
              <a:schemeClr val="accent4"/>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32" name="Legend1"/>
            <p:cNvSpPr>
              <a:spLocks noChangeArrowheads="1"/>
            </p:cNvSpPr>
            <p:nvPr>
              <p:custDataLst>
                <p:tags r:id="rId23"/>
              </p:custDataLst>
            </p:nvPr>
          </p:nvSpPr>
          <p:spPr bwMode="gray">
            <a:xfrm>
              <a:off x="6147831" y="919828"/>
              <a:ext cx="596491" cy="2161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33" name="Legend2"/>
            <p:cNvSpPr>
              <a:spLocks noChangeArrowheads="1"/>
            </p:cNvSpPr>
            <p:nvPr>
              <p:custDataLst>
                <p:tags r:id="rId24"/>
              </p:custDataLst>
            </p:nvPr>
          </p:nvSpPr>
          <p:spPr bwMode="gray">
            <a:xfrm>
              <a:off x="6147831" y="1190000"/>
              <a:ext cx="596491" cy="214549"/>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34" name="Legend3"/>
            <p:cNvSpPr>
              <a:spLocks noChangeArrowheads="1"/>
            </p:cNvSpPr>
            <p:nvPr>
              <p:custDataLst>
                <p:tags r:id="rId25"/>
              </p:custDataLst>
            </p:nvPr>
          </p:nvSpPr>
          <p:spPr bwMode="gray">
            <a:xfrm>
              <a:off x="6147831" y="1461763"/>
              <a:ext cx="596491" cy="21454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35" name="Legend4"/>
            <p:cNvSpPr>
              <a:spLocks noChangeArrowheads="1"/>
            </p:cNvSpPr>
            <p:nvPr>
              <p:custDataLst>
                <p:tags r:id="rId26"/>
              </p:custDataLst>
            </p:nvPr>
          </p:nvSpPr>
          <p:spPr bwMode="gray">
            <a:xfrm>
              <a:off x="6147831" y="1731935"/>
              <a:ext cx="596491" cy="2161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pSp>
        <p:nvGrpSpPr>
          <p:cNvPr id="36" name="LegendMoons" hidden="1"/>
          <p:cNvGrpSpPr>
            <a:grpSpLocks/>
          </p:cNvGrpSpPr>
          <p:nvPr/>
        </p:nvGrpSpPr>
        <p:grpSpPr bwMode="auto">
          <a:xfrm>
            <a:off x="7785100" y="271463"/>
            <a:ext cx="917575" cy="1317625"/>
            <a:chOff x="5894005" y="2695123"/>
            <a:chExt cx="916992" cy="1317003"/>
          </a:xfrm>
        </p:grpSpPr>
        <p:grpSp>
          <p:nvGrpSpPr>
            <p:cNvPr id="37" name="MoonLegend1"/>
            <p:cNvGrpSpPr>
              <a:grpSpLocks noChangeAspect="1"/>
            </p:cNvGrpSpPr>
            <p:nvPr>
              <p:custDataLst>
                <p:tags r:id="rId3"/>
              </p:custDataLst>
            </p:nvPr>
          </p:nvGrpSpPr>
          <p:grpSpPr bwMode="auto">
            <a:xfrm>
              <a:off x="5894005" y="2695124"/>
              <a:ext cx="209550" cy="219738"/>
              <a:chOff x="4533" y="183"/>
              <a:chExt cx="144" cy="151"/>
            </a:xfrm>
          </p:grpSpPr>
          <p:sp>
            <p:nvSpPr>
              <p:cNvPr id="55" name="Oval 54"/>
              <p:cNvSpPr>
                <a:spLocks noChangeAspect="1" noChangeArrowheads="1"/>
              </p:cNvSpPr>
              <p:nvPr>
                <p:custDataLst>
                  <p:tags r:id="rId21"/>
                </p:custDataLst>
              </p:nvPr>
            </p:nvSpPr>
            <p:spPr bwMode="gray">
              <a:xfrm>
                <a:off x="4533" y="190"/>
                <a:ext cx="144" cy="144"/>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6" name="Arc 55" hidden="1"/>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38" name="MoonLegend2"/>
            <p:cNvGrpSpPr>
              <a:grpSpLocks noChangeAspect="1"/>
            </p:cNvGrpSpPr>
            <p:nvPr>
              <p:custDataLst>
                <p:tags r:id="rId4"/>
              </p:custDataLst>
            </p:nvPr>
          </p:nvGrpSpPr>
          <p:grpSpPr bwMode="auto">
            <a:xfrm>
              <a:off x="5894005" y="2977103"/>
              <a:ext cx="209550" cy="209551"/>
              <a:chOff x="1694" y="2051"/>
              <a:chExt cx="160" cy="160"/>
            </a:xfrm>
          </p:grpSpPr>
          <p:sp>
            <p:nvSpPr>
              <p:cNvPr id="53" name="Oval 41"/>
              <p:cNvSpPr>
                <a:spLocks noChangeAspect="1" noChangeArrowheads="1"/>
              </p:cNvSpPr>
              <p:nvPr>
                <p:custDataLst>
                  <p:tags r:id="rId19"/>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4" name="Arc 42"/>
              <p:cNvSpPr>
                <a:spLocks noChangeAspect="1"/>
              </p:cNvSpPr>
              <p:nvPr>
                <p:custDataLst>
                  <p:tags r:id="rId20"/>
                </p:custDataLst>
              </p:nvPr>
            </p:nvSpPr>
            <p:spPr bwMode="gray">
              <a:xfrm>
                <a:off x="1694" y="2051"/>
                <a:ext cx="160" cy="160"/>
              </a:xfrm>
              <a:prstGeom prst="arc">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39" name="MoonLegend4"/>
            <p:cNvGrpSpPr>
              <a:grpSpLocks noChangeAspect="1"/>
            </p:cNvGrpSpPr>
            <p:nvPr>
              <p:custDataLst>
                <p:tags r:id="rId5"/>
              </p:custDataLst>
            </p:nvPr>
          </p:nvGrpSpPr>
          <p:grpSpPr bwMode="auto">
            <a:xfrm>
              <a:off x="5894005" y="3524395"/>
              <a:ext cx="209550" cy="209551"/>
              <a:chOff x="4495" y="1204"/>
              <a:chExt cx="160" cy="160"/>
            </a:xfrm>
          </p:grpSpPr>
          <p:sp>
            <p:nvSpPr>
              <p:cNvPr id="51" name="Oval 47"/>
              <p:cNvSpPr>
                <a:spLocks noChangeAspect="1" noChangeArrowheads="1"/>
              </p:cNvSpPr>
              <p:nvPr>
                <p:custDataLst>
                  <p:tags r:id="rId17"/>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2" name="Arc 48"/>
              <p:cNvSpPr>
                <a:spLocks noChangeAspect="1"/>
              </p:cNvSpPr>
              <p:nvPr>
                <p:custDataLst>
                  <p:tags r:id="rId18"/>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40" name="MoonLegend5"/>
            <p:cNvGrpSpPr>
              <a:grpSpLocks noChangeAspect="1"/>
            </p:cNvGrpSpPr>
            <p:nvPr>
              <p:custDataLst>
                <p:tags r:id="rId6"/>
              </p:custDataLst>
            </p:nvPr>
          </p:nvGrpSpPr>
          <p:grpSpPr bwMode="auto">
            <a:xfrm>
              <a:off x="5894005" y="3799629"/>
              <a:ext cx="209550" cy="209551"/>
              <a:chOff x="4495" y="1447"/>
              <a:chExt cx="160" cy="160"/>
            </a:xfrm>
          </p:grpSpPr>
          <p:sp>
            <p:nvSpPr>
              <p:cNvPr id="49" name="Oval 50"/>
              <p:cNvSpPr>
                <a:spLocks noChangeAspect="1" noChangeArrowheads="1"/>
              </p:cNvSpPr>
              <p:nvPr>
                <p:custDataLst>
                  <p:tags r:id="rId15"/>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50" name="Oval 51"/>
              <p:cNvSpPr>
                <a:spLocks noChangeAspect="1" noChangeArrowheads="1"/>
              </p:cNvSpPr>
              <p:nvPr>
                <p:custDataLst>
                  <p:tags r:id="rId16"/>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41" name="MoonLegend3"/>
            <p:cNvGrpSpPr>
              <a:grpSpLocks noChangeAspect="1"/>
            </p:cNvGrpSpPr>
            <p:nvPr>
              <p:custDataLst>
                <p:tags r:id="rId7"/>
              </p:custDataLst>
            </p:nvPr>
          </p:nvGrpSpPr>
          <p:grpSpPr bwMode="auto">
            <a:xfrm>
              <a:off x="5894005" y="3251543"/>
              <a:ext cx="209550" cy="209551"/>
              <a:chOff x="4495" y="1205"/>
              <a:chExt cx="160" cy="160"/>
            </a:xfrm>
          </p:grpSpPr>
          <p:sp>
            <p:nvSpPr>
              <p:cNvPr id="47" name="Oval 47"/>
              <p:cNvSpPr>
                <a:spLocks noChangeAspect="1" noChangeArrowheads="1"/>
              </p:cNvSpPr>
              <p:nvPr>
                <p:custDataLst>
                  <p:tags r:id="rId13"/>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48" name="Arc 48"/>
              <p:cNvSpPr>
                <a:spLocks noChangeAspect="1"/>
              </p:cNvSpPr>
              <p:nvPr>
                <p:custDataLst>
                  <p:tags r:id="rId14"/>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sp>
          <p:nvSpPr>
            <p:cNvPr id="42" name="Legend1"/>
            <p:cNvSpPr>
              <a:spLocks noChangeArrowheads="1"/>
            </p:cNvSpPr>
            <p:nvPr>
              <p:custDataLst>
                <p:tags r:id="rId8"/>
              </p:custDataLst>
            </p:nvPr>
          </p:nvSpPr>
          <p:spPr bwMode="gray">
            <a:xfrm>
              <a:off x="6214476" y="2696709"/>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3" name="Legend2"/>
            <p:cNvSpPr>
              <a:spLocks noChangeArrowheads="1"/>
            </p:cNvSpPr>
            <p:nvPr>
              <p:custDataLst>
                <p:tags r:id="rId9"/>
              </p:custDataLst>
            </p:nvPr>
          </p:nvSpPr>
          <p:spPr bwMode="gray">
            <a:xfrm>
              <a:off x="6214476" y="2974391"/>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4" name="Legend3"/>
            <p:cNvSpPr>
              <a:spLocks noChangeArrowheads="1"/>
            </p:cNvSpPr>
            <p:nvPr>
              <p:custDataLst>
                <p:tags r:id="rId10"/>
              </p:custDataLst>
            </p:nvPr>
          </p:nvSpPr>
          <p:spPr bwMode="gray">
            <a:xfrm>
              <a:off x="6214476" y="3248898"/>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5" name="Legend4"/>
            <p:cNvSpPr>
              <a:spLocks noChangeArrowheads="1"/>
            </p:cNvSpPr>
            <p:nvPr>
              <p:custDataLst>
                <p:tags r:id="rId11"/>
              </p:custDataLst>
            </p:nvPr>
          </p:nvSpPr>
          <p:spPr bwMode="gray">
            <a:xfrm>
              <a:off x="6214476" y="3521820"/>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46" name="Legend5"/>
            <p:cNvSpPr>
              <a:spLocks noChangeArrowheads="1"/>
            </p:cNvSpPr>
            <p:nvPr>
              <p:custDataLst>
                <p:tags r:id="rId12"/>
              </p:custDataLst>
            </p:nvPr>
          </p:nvSpPr>
          <p:spPr bwMode="gray">
            <a:xfrm>
              <a:off x="6214476" y="3796328"/>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aphicFrame>
        <p:nvGraphicFramePr>
          <p:cNvPr id="57" name="Object 135"/>
          <p:cNvGraphicFramePr>
            <a:graphicFrameLocks noChangeAspect="1"/>
          </p:cNvGraphicFramePr>
          <p:nvPr/>
        </p:nvGraphicFramePr>
        <p:xfrm>
          <a:off x="1588" y="1588"/>
          <a:ext cx="1587" cy="1587"/>
        </p:xfrm>
        <a:graphic>
          <a:graphicData uri="http://schemas.openxmlformats.org/presentationml/2006/ole">
            <p:oleObj spid="_x0000_s51203" name="think-cell Slide" r:id="rId32" imgW="360" imgH="360" progId="">
              <p:embed/>
            </p:oleObj>
          </a:graphicData>
        </a:graphic>
      </p:graphicFrame>
      <p:sp>
        <p:nvSpPr>
          <p:cNvPr id="2" name="Title 1">
            <a:extLst>
              <a:ext uri="{FF2B5EF4-FFF2-40B4-BE49-F238E27FC236}"/>
            </a:extLst>
          </p:cNvPr>
          <p:cNvSpPr>
            <a:spLocks noGrp="1"/>
          </p:cNvSpPr>
          <p:nvPr>
            <p:ph type="title"/>
          </p:nvPr>
        </p:nvSpPr>
        <p:spPr/>
        <p:txBody>
          <a:bodyPr/>
          <a:lstStyle/>
          <a:p>
            <a:r>
              <a:rPr lang="en-US"/>
              <a:t>Click to edit Master title style</a:t>
            </a:r>
            <a:endParaRPr lang="en-ZA"/>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34" Type="http://schemas.openxmlformats.org/officeDocument/2006/relationships/tags" Target="../tags/tag29.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64"/>
          <p:cNvGraphicFramePr>
            <a:graphicFrameLocks noChangeAspect="1"/>
          </p:cNvGraphicFramePr>
          <p:nvPr/>
        </p:nvGraphicFramePr>
        <p:xfrm>
          <a:off x="0" y="0"/>
          <a:ext cx="158750" cy="158750"/>
        </p:xfrm>
        <a:graphic>
          <a:graphicData uri="http://schemas.openxmlformats.org/presentationml/2006/ole">
            <p:oleObj spid="_x0000_s1026" name="think-cell Slide" r:id="rId35" imgW="360" imgH="360" progId="">
              <p:embed/>
            </p:oleObj>
          </a:graphicData>
        </a:graphic>
      </p:graphicFrame>
      <p:sp>
        <p:nvSpPr>
          <p:cNvPr id="6" name="Rectangle 5" hidden="1"/>
          <p:cNvSpPr/>
          <p:nvPr>
            <p:custDataLst>
              <p:tags r:id="rId7"/>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rgbClr val="000000"/>
              </a:solidFill>
              <a:ea typeface="+mj-ea"/>
              <a:cs typeface="+mj-cs"/>
              <a:sym typeface="Arial" panose="020B0604020202020204" pitchFamily="34" charset="0"/>
            </a:endParaRPr>
          </a:p>
        </p:txBody>
      </p:sp>
      <p:sp>
        <p:nvSpPr>
          <p:cNvPr id="1034" name="Working Draft" hidden="1"/>
          <p:cNvSpPr txBox="1">
            <a:spLocks noChangeArrowheads="1"/>
          </p:cNvSpPr>
          <p:nvPr/>
        </p:nvSpPr>
        <p:spPr bwMode="gray">
          <a:xfrm rot="5400000">
            <a:off x="7716044" y="1940719"/>
            <a:ext cx="2351087" cy="92075"/>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mn-lt"/>
                <a:cs typeface="+mn-cs"/>
              </a:rPr>
              <a:t>Last Modified 2019/04/30 12:02 AM W. Central Africa Standard Time</a:t>
            </a:r>
            <a:endParaRPr lang="en-US" dirty="0">
              <a:solidFill>
                <a:srgbClr val="808080"/>
              </a:solidFill>
              <a:latin typeface="+mn-lt"/>
              <a:cs typeface="+mn-cs"/>
            </a:endParaRPr>
          </a:p>
        </p:txBody>
      </p:sp>
      <p:sp>
        <p:nvSpPr>
          <p:cNvPr id="1035" name="Printed" hidden="1"/>
          <p:cNvSpPr txBox="1">
            <a:spLocks noChangeArrowheads="1"/>
          </p:cNvSpPr>
          <p:nvPr/>
        </p:nvSpPr>
        <p:spPr bwMode="gray">
          <a:xfrm rot="5400000">
            <a:off x="7892257" y="4114006"/>
            <a:ext cx="1998662" cy="92075"/>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mn-lt"/>
                <a:cs typeface="+mn-cs"/>
              </a:rPr>
              <a:t>Printed 2018/10/03 14:07 W. Central Africa Standard Time</a:t>
            </a:r>
            <a:endParaRPr lang="en-US" dirty="0">
              <a:solidFill>
                <a:srgbClr val="808080"/>
              </a:solidFill>
              <a:latin typeface="+mn-lt"/>
              <a:cs typeface="+mn-cs"/>
            </a:endParaRPr>
          </a:p>
        </p:txBody>
      </p:sp>
      <p:sp>
        <p:nvSpPr>
          <p:cNvPr id="1031" name="Title Placeholder 2"/>
          <p:cNvSpPr>
            <a:spLocks noGrp="1" noChangeArrowheads="1"/>
          </p:cNvSpPr>
          <p:nvPr>
            <p:ph type="title"/>
          </p:nvPr>
        </p:nvSpPr>
        <p:spPr bwMode="gray">
          <a:xfrm>
            <a:off x="119063" y="230188"/>
            <a:ext cx="8618537" cy="3079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1. On-page tracker" hidden="1"/>
          <p:cNvSpPr>
            <a:spLocks noChangeArrowheads="1"/>
          </p:cNvSpPr>
          <p:nvPr/>
        </p:nvSpPr>
        <p:spPr bwMode="gray">
          <a:xfrm>
            <a:off x="119063" y="76200"/>
            <a:ext cx="490537"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Tracker</a:t>
            </a:r>
          </a:p>
        </p:txBody>
      </p:sp>
      <p:sp>
        <p:nvSpPr>
          <p:cNvPr id="11" name="3. Unit of measure" hidden="1"/>
          <p:cNvSpPr txBox="1">
            <a:spLocks noChangeArrowheads="1"/>
          </p:cNvSpPr>
          <p:nvPr/>
        </p:nvSpPr>
        <p:spPr bwMode="gray">
          <a:xfrm>
            <a:off x="119063" y="555625"/>
            <a:ext cx="8618537" cy="246063"/>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chemeClr val="accent6"/>
                </a:solidFill>
                <a:latin typeface="+mn-lt"/>
                <a:cs typeface="+mn-cs"/>
              </a:rPr>
              <a:t>Subtitle</a:t>
            </a:r>
            <a:endParaRPr lang="en-US" sz="1600" dirty="0">
              <a:solidFill>
                <a:schemeClr val="accent6"/>
              </a:solidFill>
              <a:latin typeface="+mn-lt"/>
              <a:cs typeface="+mn-cs"/>
            </a:endParaRPr>
          </a:p>
        </p:txBody>
      </p:sp>
      <p:sp>
        <p:nvSpPr>
          <p:cNvPr id="13" name="4. Footnote" hidden="1"/>
          <p:cNvSpPr txBox="1">
            <a:spLocks noChangeArrowheads="1"/>
          </p:cNvSpPr>
          <p:nvPr/>
        </p:nvSpPr>
        <p:spPr bwMode="gray">
          <a:xfrm>
            <a:off x="119063" y="6305550"/>
            <a:ext cx="8618537"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chemeClr val="accent6"/>
                </a:solidFill>
                <a:latin typeface="+mn-lt"/>
                <a:cs typeface="+mn-cs"/>
              </a:rPr>
              <a:t>1 Footnote</a:t>
            </a:r>
          </a:p>
        </p:txBody>
      </p:sp>
      <p:sp>
        <p:nvSpPr>
          <p:cNvPr id="14" name="5. Source" hidden="1"/>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Source</a:t>
            </a:r>
          </a:p>
        </p:txBody>
      </p:sp>
      <p:sp>
        <p:nvSpPr>
          <p:cNvPr id="1036" name="Text Placeholder 2"/>
          <p:cNvSpPr>
            <a:spLocks noGrp="1"/>
          </p:cNvSpPr>
          <p:nvPr>
            <p:ph type="body" idx="1"/>
          </p:nvPr>
        </p:nvSpPr>
        <p:spPr bwMode="gray">
          <a:xfrm>
            <a:off x="1452563" y="1951038"/>
            <a:ext cx="4302125" cy="11080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037" name="ACET" hidden="1"/>
          <p:cNvGrpSpPr>
            <a:grpSpLocks/>
          </p:cNvGrpSpPr>
          <p:nvPr/>
        </p:nvGrpSpPr>
        <p:grpSpPr bwMode="auto">
          <a:xfrm>
            <a:off x="1452563" y="1257300"/>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ext uri="{AF507438-7753-43E0-B8FC-AC1667EBCBE1}"/>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US" b="1" dirty="0">
                  <a:solidFill>
                    <a:srgbClr val="000000"/>
                  </a:solidFill>
                  <a:latin typeface="+mn-lt"/>
                  <a:cs typeface="+mn-cs"/>
                </a:rPr>
                <a:t>Title</a:t>
              </a:r>
            </a:p>
            <a:p>
              <a:pPr>
                <a:defRPr/>
              </a:pPr>
              <a:r>
                <a:rPr lang="en-US" dirty="0">
                  <a:solidFill>
                    <a:schemeClr val="accent6"/>
                  </a:solidFill>
                  <a:latin typeface="+mn-lt"/>
                  <a:cs typeface="+mn-cs"/>
                </a:rPr>
                <a:t>Unit of measure</a:t>
              </a:r>
            </a:p>
          </p:txBody>
        </p:sp>
      </p:grpSp>
      <p:grpSp>
        <p:nvGrpSpPr>
          <p:cNvPr id="1038" name="Sticker" hidden="1"/>
          <p:cNvGrpSpPr>
            <a:grpSpLocks/>
          </p:cNvGrpSpPr>
          <p:nvPr/>
        </p:nvGrpSpPr>
        <p:grpSpPr bwMode="auto">
          <a:xfrm>
            <a:off x="8264525" y="285750"/>
            <a:ext cx="473075" cy="150813"/>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p>
              <a:pPr algn="r" defTabSz="895350">
                <a:buClr>
                  <a:srgbClr val="002960"/>
                </a:buClr>
                <a:defRPr/>
              </a:pPr>
              <a:r>
                <a:rPr lang="en-US" sz="800" dirty="0">
                  <a:solidFill>
                    <a:schemeClr val="accent6"/>
                  </a:solidFill>
                  <a:latin typeface="+mn-lt"/>
                  <a:cs typeface="+mn-cs"/>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extLst>
          </p:spPr>
        </p:cxnSp>
      </p:grpSp>
      <p:sp>
        <p:nvSpPr>
          <p:cNvPr id="24" name="SlideBottomBar" hidden="1"/>
          <p:cNvSpPr/>
          <p:nvPr/>
        </p:nvSpPr>
        <p:spPr>
          <a:xfrm>
            <a:off x="8509000" y="6327775"/>
            <a:ext cx="46038"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23" name="doc id" hidden="1"/>
          <p:cNvSpPr>
            <a:spLocks noChangeArrowheads="1"/>
          </p:cNvSpPr>
          <p:nvPr/>
        </p:nvSpPr>
        <p:spPr bwMode="auto">
          <a:xfrm>
            <a:off x="8081963" y="50800"/>
            <a:ext cx="657225"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lstStyle/>
          <a:p>
            <a:pPr algn="r" defTabSz="895350">
              <a:defRPr/>
            </a:pPr>
            <a:endParaRPr lang="en-US" sz="800" dirty="0">
              <a:solidFill>
                <a:srgbClr val="808080"/>
              </a:solidFill>
              <a:latin typeface="+mn-lt"/>
              <a:cs typeface="+mn-cs"/>
            </a:endParaRPr>
          </a:p>
        </p:txBody>
      </p:sp>
      <p:grpSp>
        <p:nvGrpSpPr>
          <p:cNvPr id="1041" name="LegendLines" hidden="1"/>
          <p:cNvGrpSpPr>
            <a:grpSpLocks/>
          </p:cNvGrpSpPr>
          <p:nvPr/>
        </p:nvGrpSpPr>
        <p:grpSpPr bwMode="auto">
          <a:xfrm>
            <a:off x="7543800" y="273050"/>
            <a:ext cx="1158875" cy="760413"/>
            <a:chOff x="7607284" y="279400"/>
            <a:chExt cx="1158292" cy="761545"/>
          </a:xfrm>
        </p:grpSpPr>
        <p:sp>
          <p:nvSpPr>
            <p:cNvPr id="60" name="LineLegend1"/>
            <p:cNvSpPr>
              <a:spLocks noChangeShapeType="1"/>
            </p:cNvSpPr>
            <p:nvPr/>
          </p:nvSpPr>
          <p:spPr bwMode="gray">
            <a:xfrm>
              <a:off x="7607284" y="387511"/>
              <a:ext cx="456970" cy="0"/>
            </a:xfrm>
            <a:prstGeom prst="line">
              <a:avLst/>
            </a:prstGeom>
            <a:noFill/>
            <a:ln w="28575">
              <a:solidFill>
                <a:schemeClr val="accent3"/>
              </a:solidFill>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61" name="LineLegend2"/>
            <p:cNvSpPr>
              <a:spLocks noChangeShapeType="1"/>
            </p:cNvSpPr>
            <p:nvPr/>
          </p:nvSpPr>
          <p:spPr bwMode="gray">
            <a:xfrm>
              <a:off x="7607284" y="654608"/>
              <a:ext cx="456970" cy="0"/>
            </a:xfrm>
            <a:prstGeom prst="line">
              <a:avLst/>
            </a:prstGeom>
            <a:noFill/>
            <a:ln w="28575">
              <a:solidFill>
                <a:schemeClr val="accent3"/>
              </a:solidFill>
              <a:prstDash val="dash"/>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62" name="LineLegend3"/>
            <p:cNvSpPr>
              <a:spLocks noChangeShapeType="1"/>
            </p:cNvSpPr>
            <p:nvPr/>
          </p:nvSpPr>
          <p:spPr bwMode="gray">
            <a:xfrm>
              <a:off x="7607284" y="932834"/>
              <a:ext cx="456970" cy="0"/>
            </a:xfrm>
            <a:prstGeom prst="line">
              <a:avLst/>
            </a:prstGeom>
            <a:noFill/>
            <a:ln w="28575">
              <a:solidFill>
                <a:schemeClr val="accent3"/>
              </a:solidFill>
              <a:prstDash val="sysDot"/>
              <a:round/>
              <a:headEnd/>
              <a:tailEnd/>
            </a:ln>
            <a:effectLst/>
            <a:extLst>
              <a:ext uri="{909E8E84-426E-40DD-AFC4-6F175D3DCCD1}"/>
              <a:ext uri="{AF507438-7753-43E0-B8FC-AC1667EBCBE1}"/>
            </a:extLst>
          </p:spPr>
          <p:txBody>
            <a:bodyPr/>
            <a:lstStyle/>
            <a:p>
              <a:pPr>
                <a:defRPr/>
              </a:pPr>
              <a:endParaRPr lang="en-US" dirty="0">
                <a:latin typeface="+mn-lt"/>
                <a:cs typeface="+mn-cs"/>
              </a:endParaRPr>
            </a:p>
          </p:txBody>
        </p:sp>
        <p:sp>
          <p:nvSpPr>
            <p:cNvPr id="100" name="Legend1"/>
            <p:cNvSpPr>
              <a:spLocks noChangeArrowheads="1"/>
            </p:cNvSpPr>
            <p:nvPr>
              <p:custDataLst>
                <p:tags r:id="rId32"/>
              </p:custDataLst>
            </p:nvPr>
          </p:nvSpPr>
          <p:spPr bwMode="gray">
            <a:xfrm>
              <a:off x="8168976" y="279400"/>
              <a:ext cx="596600" cy="216221"/>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101" name="Legend2"/>
            <p:cNvSpPr>
              <a:spLocks noChangeArrowheads="1"/>
            </p:cNvSpPr>
            <p:nvPr>
              <p:custDataLst>
                <p:tags r:id="rId33"/>
              </p:custDataLst>
            </p:nvPr>
          </p:nvSpPr>
          <p:spPr bwMode="gray">
            <a:xfrm>
              <a:off x="8168976" y="546497"/>
              <a:ext cx="596600" cy="21463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102" name="Legend3"/>
            <p:cNvSpPr>
              <a:spLocks noChangeArrowheads="1"/>
            </p:cNvSpPr>
            <p:nvPr>
              <p:custDataLst>
                <p:tags r:id="rId34"/>
              </p:custDataLst>
            </p:nvPr>
          </p:nvSpPr>
          <p:spPr bwMode="gray">
            <a:xfrm>
              <a:off x="8168976" y="824724"/>
              <a:ext cx="596600" cy="216221"/>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pSp>
        <p:nvGrpSpPr>
          <p:cNvPr id="1042" name="LegendBoxes" hidden="1"/>
          <p:cNvGrpSpPr>
            <a:grpSpLocks/>
          </p:cNvGrpSpPr>
          <p:nvPr/>
        </p:nvGrpSpPr>
        <p:grpSpPr bwMode="auto">
          <a:xfrm>
            <a:off x="7851775" y="273050"/>
            <a:ext cx="850900" cy="1027113"/>
            <a:chOff x="5894005" y="919828"/>
            <a:chExt cx="850317" cy="1028245"/>
          </a:xfrm>
        </p:grpSpPr>
        <p:sp>
          <p:nvSpPr>
            <p:cNvPr id="104" name="RectangleLegend1"/>
            <p:cNvSpPr>
              <a:spLocks noChangeArrowheads="1"/>
            </p:cNvSpPr>
            <p:nvPr/>
          </p:nvSpPr>
          <p:spPr bwMode="gray">
            <a:xfrm>
              <a:off x="5894005" y="946846"/>
              <a:ext cx="164987" cy="160514"/>
            </a:xfrm>
            <a:prstGeom prst="rect">
              <a:avLst/>
            </a:prstGeom>
            <a:solidFill>
              <a:schemeClr val="accent1"/>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105" name="RectangleLegend2"/>
            <p:cNvSpPr>
              <a:spLocks noChangeArrowheads="1"/>
            </p:cNvSpPr>
            <p:nvPr/>
          </p:nvSpPr>
          <p:spPr bwMode="gray">
            <a:xfrm>
              <a:off x="5894005" y="1217018"/>
              <a:ext cx="164987" cy="160514"/>
            </a:xfrm>
            <a:prstGeom prst="rect">
              <a:avLst/>
            </a:prstGeom>
            <a:solidFill>
              <a:schemeClr val="accent2"/>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106" name="RectangleLegend3"/>
            <p:cNvSpPr>
              <a:spLocks noChangeArrowheads="1"/>
            </p:cNvSpPr>
            <p:nvPr/>
          </p:nvSpPr>
          <p:spPr bwMode="gray">
            <a:xfrm>
              <a:off x="5894005" y="1488779"/>
              <a:ext cx="164987" cy="160515"/>
            </a:xfrm>
            <a:prstGeom prst="rect">
              <a:avLst/>
            </a:prstGeom>
            <a:solidFill>
              <a:schemeClr val="accent3"/>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107" name="RectangleLegend4"/>
            <p:cNvSpPr>
              <a:spLocks noChangeArrowheads="1"/>
            </p:cNvSpPr>
            <p:nvPr/>
          </p:nvSpPr>
          <p:spPr bwMode="gray">
            <a:xfrm>
              <a:off x="5894005" y="1760542"/>
              <a:ext cx="164987" cy="160514"/>
            </a:xfrm>
            <a:prstGeom prst="rect">
              <a:avLst/>
            </a:prstGeom>
            <a:solidFill>
              <a:schemeClr val="accent4"/>
            </a:solidFill>
            <a:ln w="9525">
              <a:solidFill>
                <a:schemeClr val="bg1"/>
              </a:solidFill>
              <a:miter lim="800000"/>
              <a:headEnd/>
              <a:tailEnd/>
            </a:ln>
            <a:effectLst/>
            <a:extLst>
              <a:ext uri="{AF507438-7753-43E0-B8FC-AC1667EBCBE1}"/>
            </a:extLst>
          </p:spPr>
          <p:txBody>
            <a:bodyPr wrap="none" anchor="ctr"/>
            <a:lstStyle/>
            <a:p>
              <a:pPr>
                <a:defRPr/>
              </a:pPr>
              <a:endParaRPr lang="en-US" dirty="0">
                <a:latin typeface="+mn-lt"/>
                <a:cs typeface="+mn-cs"/>
              </a:endParaRPr>
            </a:p>
          </p:txBody>
        </p:sp>
        <p:sp>
          <p:nvSpPr>
            <p:cNvPr id="108" name="Legend1"/>
            <p:cNvSpPr>
              <a:spLocks noChangeArrowheads="1"/>
            </p:cNvSpPr>
            <p:nvPr>
              <p:custDataLst>
                <p:tags r:id="rId28"/>
              </p:custDataLst>
            </p:nvPr>
          </p:nvSpPr>
          <p:spPr bwMode="gray">
            <a:xfrm>
              <a:off x="6147831" y="919828"/>
              <a:ext cx="596491" cy="2161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109" name="Legend2"/>
            <p:cNvSpPr>
              <a:spLocks noChangeArrowheads="1"/>
            </p:cNvSpPr>
            <p:nvPr>
              <p:custDataLst>
                <p:tags r:id="rId29"/>
              </p:custDataLst>
            </p:nvPr>
          </p:nvSpPr>
          <p:spPr bwMode="gray">
            <a:xfrm>
              <a:off x="6147831" y="1190000"/>
              <a:ext cx="596491" cy="214549"/>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110" name="Legend3"/>
            <p:cNvSpPr>
              <a:spLocks noChangeArrowheads="1"/>
            </p:cNvSpPr>
            <p:nvPr>
              <p:custDataLst>
                <p:tags r:id="rId30"/>
              </p:custDataLst>
            </p:nvPr>
          </p:nvSpPr>
          <p:spPr bwMode="gray">
            <a:xfrm>
              <a:off x="6147831" y="1461763"/>
              <a:ext cx="596491" cy="21454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111" name="Legend4"/>
            <p:cNvSpPr>
              <a:spLocks noChangeArrowheads="1"/>
            </p:cNvSpPr>
            <p:nvPr>
              <p:custDataLst>
                <p:tags r:id="rId31"/>
              </p:custDataLst>
            </p:nvPr>
          </p:nvSpPr>
          <p:spPr bwMode="gray">
            <a:xfrm>
              <a:off x="6147831" y="1731935"/>
              <a:ext cx="596491" cy="2161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grpSp>
        <p:nvGrpSpPr>
          <p:cNvPr id="1043" name="LegendMoons" hidden="1"/>
          <p:cNvGrpSpPr>
            <a:grpSpLocks/>
          </p:cNvGrpSpPr>
          <p:nvPr/>
        </p:nvGrpSpPr>
        <p:grpSpPr bwMode="auto">
          <a:xfrm>
            <a:off x="7785100" y="271463"/>
            <a:ext cx="917575" cy="1317625"/>
            <a:chOff x="5894005" y="2695123"/>
            <a:chExt cx="916992" cy="1317003"/>
          </a:xfrm>
        </p:grpSpPr>
        <p:grpSp>
          <p:nvGrpSpPr>
            <p:cNvPr id="1044" name="MoonLegend1"/>
            <p:cNvGrpSpPr>
              <a:grpSpLocks noChangeAspect="1"/>
            </p:cNvGrpSpPr>
            <p:nvPr>
              <p:custDataLst>
                <p:tags r:id="rId8"/>
              </p:custDataLst>
            </p:nvPr>
          </p:nvGrpSpPr>
          <p:grpSpPr bwMode="auto">
            <a:xfrm>
              <a:off x="5894005" y="2695123"/>
              <a:ext cx="209550" cy="218282"/>
              <a:chOff x="4533" y="183"/>
              <a:chExt cx="144" cy="150"/>
            </a:xfrm>
          </p:grpSpPr>
          <p:sp>
            <p:nvSpPr>
              <p:cNvPr id="131" name="Oval 130"/>
              <p:cNvSpPr>
                <a:spLocks noChangeAspect="1" noChangeArrowheads="1"/>
              </p:cNvSpPr>
              <p:nvPr>
                <p:custDataLst>
                  <p:tags r:id="rId26"/>
                </p:custDataLst>
              </p:nvPr>
            </p:nvSpPr>
            <p:spPr bwMode="gray">
              <a:xfrm>
                <a:off x="4533" y="190"/>
                <a:ext cx="144" cy="144"/>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132" name="Arc 131" hidden="1"/>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1045" name="MoonLegend2"/>
            <p:cNvGrpSpPr>
              <a:grpSpLocks noChangeAspect="1"/>
            </p:cNvGrpSpPr>
            <p:nvPr>
              <p:custDataLst>
                <p:tags r:id="rId9"/>
              </p:custDataLst>
            </p:nvPr>
          </p:nvGrpSpPr>
          <p:grpSpPr bwMode="auto">
            <a:xfrm>
              <a:off x="5894005" y="2977103"/>
              <a:ext cx="209550" cy="209551"/>
              <a:chOff x="1694" y="2051"/>
              <a:chExt cx="160" cy="160"/>
            </a:xfrm>
          </p:grpSpPr>
          <p:sp>
            <p:nvSpPr>
              <p:cNvPr id="129" name="Oval 41"/>
              <p:cNvSpPr>
                <a:spLocks noChangeAspect="1" noChangeArrowheads="1"/>
              </p:cNvSpPr>
              <p:nvPr>
                <p:custDataLst>
                  <p:tags r:id="rId24"/>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130" name="Arc 42"/>
              <p:cNvSpPr>
                <a:spLocks noChangeAspect="1"/>
              </p:cNvSpPr>
              <p:nvPr>
                <p:custDataLst>
                  <p:tags r:id="rId25"/>
                </p:custDataLst>
              </p:nvPr>
            </p:nvSpPr>
            <p:spPr bwMode="gray">
              <a:xfrm>
                <a:off x="1694" y="2051"/>
                <a:ext cx="160" cy="160"/>
              </a:xfrm>
              <a:prstGeom prst="arc">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1046" name="MoonLegend4"/>
            <p:cNvGrpSpPr>
              <a:grpSpLocks noChangeAspect="1"/>
            </p:cNvGrpSpPr>
            <p:nvPr>
              <p:custDataLst>
                <p:tags r:id="rId10"/>
              </p:custDataLst>
            </p:nvPr>
          </p:nvGrpSpPr>
          <p:grpSpPr bwMode="auto">
            <a:xfrm>
              <a:off x="5894005" y="3524395"/>
              <a:ext cx="209550" cy="209551"/>
              <a:chOff x="4495" y="1204"/>
              <a:chExt cx="160" cy="160"/>
            </a:xfrm>
          </p:grpSpPr>
          <p:sp>
            <p:nvSpPr>
              <p:cNvPr id="127" name="Oval 47"/>
              <p:cNvSpPr>
                <a:spLocks noChangeAspect="1" noChangeArrowheads="1"/>
              </p:cNvSpPr>
              <p:nvPr>
                <p:custDataLst>
                  <p:tags r:id="rId22"/>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128" name="Arc 48"/>
              <p:cNvSpPr>
                <a:spLocks noChangeAspect="1"/>
              </p:cNvSpPr>
              <p:nvPr>
                <p:custDataLst>
                  <p:tags r:id="rId23"/>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1047" name="MoonLegend5"/>
            <p:cNvGrpSpPr>
              <a:grpSpLocks noChangeAspect="1"/>
            </p:cNvGrpSpPr>
            <p:nvPr>
              <p:custDataLst>
                <p:tags r:id="rId11"/>
              </p:custDataLst>
            </p:nvPr>
          </p:nvGrpSpPr>
          <p:grpSpPr bwMode="auto">
            <a:xfrm>
              <a:off x="5894005" y="3799629"/>
              <a:ext cx="209550" cy="209551"/>
              <a:chOff x="4495" y="1447"/>
              <a:chExt cx="160" cy="160"/>
            </a:xfrm>
          </p:grpSpPr>
          <p:sp>
            <p:nvSpPr>
              <p:cNvPr id="125" name="Oval 50"/>
              <p:cNvSpPr>
                <a:spLocks noChangeAspect="1" noChangeArrowheads="1"/>
              </p:cNvSpPr>
              <p:nvPr>
                <p:custDataLst>
                  <p:tags r:id="rId20"/>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126" name="Oval 51"/>
              <p:cNvSpPr>
                <a:spLocks noChangeAspect="1" noChangeArrowheads="1"/>
              </p:cNvSpPr>
              <p:nvPr>
                <p:custDataLst>
                  <p:tags r:id="rId21"/>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grpSp>
          <p:nvGrpSpPr>
            <p:cNvPr id="1048" name="MoonLegend3"/>
            <p:cNvGrpSpPr>
              <a:grpSpLocks noChangeAspect="1"/>
            </p:cNvGrpSpPr>
            <p:nvPr>
              <p:custDataLst>
                <p:tags r:id="rId12"/>
              </p:custDataLst>
            </p:nvPr>
          </p:nvGrpSpPr>
          <p:grpSpPr bwMode="auto">
            <a:xfrm>
              <a:off x="5894005" y="3251543"/>
              <a:ext cx="209550" cy="209551"/>
              <a:chOff x="4495" y="1205"/>
              <a:chExt cx="160" cy="160"/>
            </a:xfrm>
          </p:grpSpPr>
          <p:sp>
            <p:nvSpPr>
              <p:cNvPr id="123" name="Oval 47"/>
              <p:cNvSpPr>
                <a:spLocks noChangeAspect="1" noChangeArrowheads="1"/>
              </p:cNvSpPr>
              <p:nvPr>
                <p:custDataLst>
                  <p:tags r:id="rId18"/>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sp>
            <p:nvSpPr>
              <p:cNvPr id="124" name="Arc 48"/>
              <p:cNvSpPr>
                <a:spLocks noChangeAspect="1"/>
              </p:cNvSpPr>
              <p:nvPr>
                <p:custDataLst>
                  <p:tags r:id="rId19"/>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extLst>
            </p:spPr>
            <p:txBody>
              <a:bodyPr wrap="none" anchor="ctr"/>
              <a:lstStyle/>
              <a:p>
                <a:pPr>
                  <a:defRPr/>
                </a:pPr>
                <a:endParaRPr lang="en-US" dirty="0">
                  <a:latin typeface="+mn-lt"/>
                  <a:cs typeface="+mn-cs"/>
                </a:endParaRPr>
              </a:p>
            </p:txBody>
          </p:sp>
        </p:grpSp>
        <p:sp>
          <p:nvSpPr>
            <p:cNvPr id="118" name="Legend1"/>
            <p:cNvSpPr>
              <a:spLocks noChangeArrowheads="1"/>
            </p:cNvSpPr>
            <p:nvPr>
              <p:custDataLst>
                <p:tags r:id="rId13"/>
              </p:custDataLst>
            </p:nvPr>
          </p:nvSpPr>
          <p:spPr bwMode="gray">
            <a:xfrm>
              <a:off x="6214476" y="2696709"/>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119" name="Legend2"/>
            <p:cNvSpPr>
              <a:spLocks noChangeArrowheads="1"/>
            </p:cNvSpPr>
            <p:nvPr>
              <p:custDataLst>
                <p:tags r:id="rId14"/>
              </p:custDataLst>
            </p:nvPr>
          </p:nvSpPr>
          <p:spPr bwMode="gray">
            <a:xfrm>
              <a:off x="6214476" y="2974391"/>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120" name="Legend3"/>
            <p:cNvSpPr>
              <a:spLocks noChangeArrowheads="1"/>
            </p:cNvSpPr>
            <p:nvPr>
              <p:custDataLst>
                <p:tags r:id="rId15"/>
              </p:custDataLst>
            </p:nvPr>
          </p:nvSpPr>
          <p:spPr bwMode="gray">
            <a:xfrm>
              <a:off x="6214476" y="3248898"/>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121" name="Legend4"/>
            <p:cNvSpPr>
              <a:spLocks noChangeArrowheads="1"/>
            </p:cNvSpPr>
            <p:nvPr>
              <p:custDataLst>
                <p:tags r:id="rId16"/>
              </p:custDataLst>
            </p:nvPr>
          </p:nvSpPr>
          <p:spPr bwMode="gray">
            <a:xfrm>
              <a:off x="6214476" y="3521820"/>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sp>
          <p:nvSpPr>
            <p:cNvPr id="122" name="Legend5"/>
            <p:cNvSpPr>
              <a:spLocks noChangeArrowheads="1"/>
            </p:cNvSpPr>
            <p:nvPr>
              <p:custDataLst>
                <p:tags r:id="rId17"/>
              </p:custDataLst>
            </p:nvPr>
          </p:nvSpPr>
          <p:spPr bwMode="gray">
            <a:xfrm>
              <a:off x="6214476" y="3796328"/>
              <a:ext cx="596521" cy="215798"/>
            </a:xfrm>
            <a:prstGeom prst="rect">
              <a:avLst/>
            </a:prstGeom>
            <a:noFill/>
            <a:ln w="9525">
              <a:noFill/>
              <a:miter lim="800000"/>
              <a:headEnd/>
              <a:tailEnd/>
            </a:ln>
            <a:effectLst/>
            <a:extLst>
              <a:ext uri="{909E8E84-426E-40DD-AFC4-6F175D3DCCD1}"/>
              <a:ext uri="{AF507438-7753-43E0-B8FC-AC1667EBCBE1}"/>
            </a:extLst>
          </p:spPr>
          <p:txBody>
            <a:bodyPr wrap="none" lIns="0" tIns="0" rIns="0" bIns="0">
              <a:spAutoFit/>
            </a:bodyPr>
            <a:lstStyle/>
            <a:p>
              <a:pPr defTabSz="895350">
                <a:buClr>
                  <a:schemeClr val="tx2"/>
                </a:buClr>
                <a:defRPr/>
              </a:pPr>
              <a:r>
                <a:rPr lang="en-US" sz="1400" dirty="0">
                  <a:latin typeface="+mn-lt"/>
                  <a:cs typeface="+mn-cs"/>
                </a:rPr>
                <a:t>Legend</a:t>
              </a:r>
            </a:p>
          </p:txBody>
        </p:sp>
      </p:grpSp>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txStyles>
    <p:titleStyle>
      <a:lvl1pPr algn="l" defTabSz="895350" rtl="0" fontAlgn="base">
        <a:spcBef>
          <a:spcPct val="0"/>
        </a:spcBef>
        <a:spcAft>
          <a:spcPct val="0"/>
        </a:spcAft>
        <a:tabLst>
          <a:tab pos="269875" algn="l"/>
        </a:tabLst>
        <a:defRPr sz="2000">
          <a:solidFill>
            <a:schemeClr val="tx2"/>
          </a:solidFill>
          <a:latin typeface="+mj-lt"/>
          <a:ea typeface="+mj-ea"/>
          <a:cs typeface="+mj-cs"/>
        </a:defRPr>
      </a:lvl1pPr>
      <a:lvl2pPr algn="l" defTabSz="895350" rtl="0" fontAlgn="base">
        <a:spcBef>
          <a:spcPct val="0"/>
        </a:spcBef>
        <a:spcAft>
          <a:spcPct val="0"/>
        </a:spcAft>
        <a:tabLst>
          <a:tab pos="269875" algn="l"/>
        </a:tabLst>
        <a:defRPr sz="2000">
          <a:solidFill>
            <a:schemeClr val="tx2"/>
          </a:solidFill>
          <a:latin typeface="Arial" charset="0"/>
        </a:defRPr>
      </a:lvl2pPr>
      <a:lvl3pPr algn="l" defTabSz="895350" rtl="0" fontAlgn="base">
        <a:spcBef>
          <a:spcPct val="0"/>
        </a:spcBef>
        <a:spcAft>
          <a:spcPct val="0"/>
        </a:spcAft>
        <a:tabLst>
          <a:tab pos="269875" algn="l"/>
        </a:tabLst>
        <a:defRPr sz="2000">
          <a:solidFill>
            <a:schemeClr val="tx2"/>
          </a:solidFill>
          <a:latin typeface="Arial" charset="0"/>
        </a:defRPr>
      </a:lvl3pPr>
      <a:lvl4pPr algn="l" defTabSz="895350" rtl="0" fontAlgn="base">
        <a:spcBef>
          <a:spcPct val="0"/>
        </a:spcBef>
        <a:spcAft>
          <a:spcPct val="0"/>
        </a:spcAft>
        <a:tabLst>
          <a:tab pos="269875" algn="l"/>
        </a:tabLst>
        <a:defRPr sz="2000">
          <a:solidFill>
            <a:schemeClr val="tx2"/>
          </a:solidFill>
          <a:latin typeface="Arial" charset="0"/>
        </a:defRPr>
      </a:lvl4pPr>
      <a:lvl5pPr algn="l" defTabSz="895350" rtl="0" fontAlgn="base">
        <a:spcBef>
          <a:spcPct val="0"/>
        </a:spcBef>
        <a:spcAft>
          <a:spcPct val="0"/>
        </a:spcAft>
        <a:tabLst>
          <a:tab pos="269875" algn="l"/>
        </a:tabLst>
        <a:defRPr sz="2000">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algn="l" defTabSz="895350" rtl="0" fontAlgn="base">
        <a:spcBef>
          <a:spcPct val="0"/>
        </a:spcBef>
        <a:spcAft>
          <a:spcPct val="0"/>
        </a:spcAft>
        <a:buClr>
          <a:schemeClr val="tx2"/>
        </a:buClr>
        <a:buSzPct val="100000"/>
        <a:buChar char="•"/>
        <a:defRPr sz="14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pitchFamily="34" charset="0"/>
        <a:buChar char="▪"/>
        <a:defRPr sz="14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pitchFamily="34" charset="0"/>
        <a:buChar char="–"/>
        <a:defRPr sz="14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pitchFamily="34" charset="0"/>
        <a:buChar char="▫"/>
        <a:defRPr sz="1400">
          <a:solidFill>
            <a:schemeClr val="tx1"/>
          </a:solidFill>
          <a:latin typeface="+mn-lt"/>
        </a:defRPr>
      </a:lvl4pPr>
      <a:lvl5pPr marL="749300" indent="-130175" algn="l" defTabSz="895350" rtl="0" fontAlgn="base">
        <a:spcBef>
          <a:spcPct val="0"/>
        </a:spcBef>
        <a:spcAft>
          <a:spcPct val="0"/>
        </a:spcAft>
        <a:buClr>
          <a:schemeClr val="tx2"/>
        </a:buClr>
        <a:buSzPct val="89000"/>
        <a:buFont typeface="Arial" pitchFamily="34" charset="0"/>
        <a:buChar char="-"/>
        <a:defRPr sz="14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xml"/><Relationship Id="rId1" Type="http://schemas.openxmlformats.org/officeDocument/2006/relationships/vmlDrawing" Target="../drawings/vmlDrawing6.vml"/><Relationship Id="rId5" Type="http://schemas.openxmlformats.org/officeDocument/2006/relationships/image" Target="../media/image3.png"/><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13" Type="http://schemas.openxmlformats.org/officeDocument/2006/relationships/tags" Target="../tags/tag274.xml"/><Relationship Id="rId18" Type="http://schemas.openxmlformats.org/officeDocument/2006/relationships/tags" Target="../tags/tag279.xml"/><Relationship Id="rId26" Type="http://schemas.openxmlformats.org/officeDocument/2006/relationships/tags" Target="../tags/tag287.xml"/><Relationship Id="rId39" Type="http://schemas.openxmlformats.org/officeDocument/2006/relationships/tags" Target="../tags/tag300.xml"/><Relationship Id="rId21" Type="http://schemas.openxmlformats.org/officeDocument/2006/relationships/tags" Target="../tags/tag282.xml"/><Relationship Id="rId34" Type="http://schemas.openxmlformats.org/officeDocument/2006/relationships/tags" Target="../tags/tag295.xml"/><Relationship Id="rId42" Type="http://schemas.openxmlformats.org/officeDocument/2006/relationships/tags" Target="../tags/tag303.xml"/><Relationship Id="rId47" Type="http://schemas.openxmlformats.org/officeDocument/2006/relationships/tags" Target="../tags/tag308.xml"/><Relationship Id="rId50" Type="http://schemas.openxmlformats.org/officeDocument/2006/relationships/tags" Target="../tags/tag311.xml"/><Relationship Id="rId55" Type="http://schemas.openxmlformats.org/officeDocument/2006/relationships/tags" Target="../tags/tag316.xml"/><Relationship Id="rId63" Type="http://schemas.openxmlformats.org/officeDocument/2006/relationships/tags" Target="../tags/tag324.xml"/><Relationship Id="rId68" Type="http://schemas.openxmlformats.org/officeDocument/2006/relationships/oleObject" Target="../embeddings/Microsoft_Office_Excel_97-2003_Worksheet17.xls"/><Relationship Id="rId7" Type="http://schemas.openxmlformats.org/officeDocument/2006/relationships/tags" Target="../tags/tag268.xml"/><Relationship Id="rId2" Type="http://schemas.openxmlformats.org/officeDocument/2006/relationships/tags" Target="../tags/tag263.xml"/><Relationship Id="rId16" Type="http://schemas.openxmlformats.org/officeDocument/2006/relationships/tags" Target="../tags/tag277.xml"/><Relationship Id="rId29" Type="http://schemas.openxmlformats.org/officeDocument/2006/relationships/tags" Target="../tags/tag290.xml"/><Relationship Id="rId1" Type="http://schemas.openxmlformats.org/officeDocument/2006/relationships/vmlDrawing" Target="../drawings/vmlDrawing15.vml"/><Relationship Id="rId6" Type="http://schemas.openxmlformats.org/officeDocument/2006/relationships/tags" Target="../tags/tag267.xml"/><Relationship Id="rId11" Type="http://schemas.openxmlformats.org/officeDocument/2006/relationships/tags" Target="../tags/tag272.xml"/><Relationship Id="rId24" Type="http://schemas.openxmlformats.org/officeDocument/2006/relationships/tags" Target="../tags/tag285.xml"/><Relationship Id="rId32" Type="http://schemas.openxmlformats.org/officeDocument/2006/relationships/tags" Target="../tags/tag293.xml"/><Relationship Id="rId37" Type="http://schemas.openxmlformats.org/officeDocument/2006/relationships/tags" Target="../tags/tag298.xml"/><Relationship Id="rId40" Type="http://schemas.openxmlformats.org/officeDocument/2006/relationships/tags" Target="../tags/tag301.xml"/><Relationship Id="rId45" Type="http://schemas.openxmlformats.org/officeDocument/2006/relationships/tags" Target="../tags/tag306.xml"/><Relationship Id="rId53" Type="http://schemas.openxmlformats.org/officeDocument/2006/relationships/tags" Target="../tags/tag314.xml"/><Relationship Id="rId58" Type="http://schemas.openxmlformats.org/officeDocument/2006/relationships/tags" Target="../tags/tag319.xml"/><Relationship Id="rId66" Type="http://schemas.openxmlformats.org/officeDocument/2006/relationships/notesSlide" Target="../notesSlides/notesSlide5.xml"/><Relationship Id="rId5" Type="http://schemas.openxmlformats.org/officeDocument/2006/relationships/tags" Target="../tags/tag266.xml"/><Relationship Id="rId15" Type="http://schemas.openxmlformats.org/officeDocument/2006/relationships/tags" Target="../tags/tag276.xml"/><Relationship Id="rId23" Type="http://schemas.openxmlformats.org/officeDocument/2006/relationships/tags" Target="../tags/tag284.xml"/><Relationship Id="rId28" Type="http://schemas.openxmlformats.org/officeDocument/2006/relationships/tags" Target="../tags/tag289.xml"/><Relationship Id="rId36" Type="http://schemas.openxmlformats.org/officeDocument/2006/relationships/tags" Target="../tags/tag297.xml"/><Relationship Id="rId49" Type="http://schemas.openxmlformats.org/officeDocument/2006/relationships/tags" Target="../tags/tag310.xml"/><Relationship Id="rId57" Type="http://schemas.openxmlformats.org/officeDocument/2006/relationships/tags" Target="../tags/tag318.xml"/><Relationship Id="rId61" Type="http://schemas.openxmlformats.org/officeDocument/2006/relationships/tags" Target="../tags/tag322.xml"/><Relationship Id="rId10" Type="http://schemas.openxmlformats.org/officeDocument/2006/relationships/tags" Target="../tags/tag271.xml"/><Relationship Id="rId19" Type="http://schemas.openxmlformats.org/officeDocument/2006/relationships/tags" Target="../tags/tag280.xml"/><Relationship Id="rId31" Type="http://schemas.openxmlformats.org/officeDocument/2006/relationships/tags" Target="../tags/tag292.xml"/><Relationship Id="rId44" Type="http://schemas.openxmlformats.org/officeDocument/2006/relationships/tags" Target="../tags/tag305.xml"/><Relationship Id="rId52" Type="http://schemas.openxmlformats.org/officeDocument/2006/relationships/tags" Target="../tags/tag313.xml"/><Relationship Id="rId60" Type="http://schemas.openxmlformats.org/officeDocument/2006/relationships/tags" Target="../tags/tag321.xml"/><Relationship Id="rId65" Type="http://schemas.openxmlformats.org/officeDocument/2006/relationships/slideLayout" Target="../slideLayouts/slideLayout2.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tags" Target="../tags/tag275.xml"/><Relationship Id="rId22" Type="http://schemas.openxmlformats.org/officeDocument/2006/relationships/tags" Target="../tags/tag283.xml"/><Relationship Id="rId27" Type="http://schemas.openxmlformats.org/officeDocument/2006/relationships/tags" Target="../tags/tag288.xml"/><Relationship Id="rId30" Type="http://schemas.openxmlformats.org/officeDocument/2006/relationships/tags" Target="../tags/tag291.xml"/><Relationship Id="rId35" Type="http://schemas.openxmlformats.org/officeDocument/2006/relationships/tags" Target="../tags/tag296.xml"/><Relationship Id="rId43" Type="http://schemas.openxmlformats.org/officeDocument/2006/relationships/tags" Target="../tags/tag304.xml"/><Relationship Id="rId48" Type="http://schemas.openxmlformats.org/officeDocument/2006/relationships/tags" Target="../tags/tag309.xml"/><Relationship Id="rId56" Type="http://schemas.openxmlformats.org/officeDocument/2006/relationships/tags" Target="../tags/tag317.xml"/><Relationship Id="rId64" Type="http://schemas.openxmlformats.org/officeDocument/2006/relationships/tags" Target="../tags/tag325.xml"/><Relationship Id="rId69" Type="http://schemas.openxmlformats.org/officeDocument/2006/relationships/oleObject" Target="../embeddings/Microsoft_Office_Excel_97-2003_Worksheet18.xls"/><Relationship Id="rId8" Type="http://schemas.openxmlformats.org/officeDocument/2006/relationships/tags" Target="../tags/tag269.xml"/><Relationship Id="rId51" Type="http://schemas.openxmlformats.org/officeDocument/2006/relationships/tags" Target="../tags/tag312.xml"/><Relationship Id="rId3" Type="http://schemas.openxmlformats.org/officeDocument/2006/relationships/tags" Target="../tags/tag264.xml"/><Relationship Id="rId12" Type="http://schemas.openxmlformats.org/officeDocument/2006/relationships/tags" Target="../tags/tag273.xml"/><Relationship Id="rId17" Type="http://schemas.openxmlformats.org/officeDocument/2006/relationships/tags" Target="../tags/tag278.xml"/><Relationship Id="rId25" Type="http://schemas.openxmlformats.org/officeDocument/2006/relationships/tags" Target="../tags/tag286.xml"/><Relationship Id="rId33" Type="http://schemas.openxmlformats.org/officeDocument/2006/relationships/tags" Target="../tags/tag294.xml"/><Relationship Id="rId38" Type="http://schemas.openxmlformats.org/officeDocument/2006/relationships/tags" Target="../tags/tag299.xml"/><Relationship Id="rId46" Type="http://schemas.openxmlformats.org/officeDocument/2006/relationships/tags" Target="../tags/tag307.xml"/><Relationship Id="rId59" Type="http://schemas.openxmlformats.org/officeDocument/2006/relationships/tags" Target="../tags/tag320.xml"/><Relationship Id="rId67" Type="http://schemas.openxmlformats.org/officeDocument/2006/relationships/oleObject" Target="../embeddings/oleObject18.bin"/><Relationship Id="rId20" Type="http://schemas.openxmlformats.org/officeDocument/2006/relationships/tags" Target="../tags/tag281.xml"/><Relationship Id="rId41" Type="http://schemas.openxmlformats.org/officeDocument/2006/relationships/tags" Target="../tags/tag302.xml"/><Relationship Id="rId54" Type="http://schemas.openxmlformats.org/officeDocument/2006/relationships/tags" Target="../tags/tag315.xml"/><Relationship Id="rId62" Type="http://schemas.openxmlformats.org/officeDocument/2006/relationships/tags" Target="../tags/tag323.xml"/></Relationships>
</file>

<file path=ppt/slides/_rels/slide11.xml.rels><?xml version="1.0" encoding="UTF-8" standalone="yes"?>
<Relationships xmlns="http://schemas.openxmlformats.org/package/2006/relationships"><Relationship Id="rId8" Type="http://schemas.openxmlformats.org/officeDocument/2006/relationships/tags" Target="../tags/tag332.xml"/><Relationship Id="rId13" Type="http://schemas.openxmlformats.org/officeDocument/2006/relationships/tags" Target="../tags/tag337.xml"/><Relationship Id="rId18" Type="http://schemas.openxmlformats.org/officeDocument/2006/relationships/tags" Target="../tags/tag342.xml"/><Relationship Id="rId26" Type="http://schemas.openxmlformats.org/officeDocument/2006/relationships/image" Target="../media/image88.png"/><Relationship Id="rId3" Type="http://schemas.openxmlformats.org/officeDocument/2006/relationships/tags" Target="../tags/tag327.xml"/><Relationship Id="rId21" Type="http://schemas.openxmlformats.org/officeDocument/2006/relationships/slideLayout" Target="../slideLayouts/slideLayout2.xml"/><Relationship Id="rId34" Type="http://schemas.openxmlformats.org/officeDocument/2006/relationships/image" Target="../media/image96.png"/><Relationship Id="rId7" Type="http://schemas.openxmlformats.org/officeDocument/2006/relationships/tags" Target="../tags/tag331.xml"/><Relationship Id="rId12" Type="http://schemas.openxmlformats.org/officeDocument/2006/relationships/tags" Target="../tags/tag336.xml"/><Relationship Id="rId17" Type="http://schemas.openxmlformats.org/officeDocument/2006/relationships/tags" Target="../tags/tag341.xml"/><Relationship Id="rId25" Type="http://schemas.openxmlformats.org/officeDocument/2006/relationships/image" Target="../media/image87.png"/><Relationship Id="rId33" Type="http://schemas.openxmlformats.org/officeDocument/2006/relationships/image" Target="../media/image95.png"/><Relationship Id="rId2" Type="http://schemas.openxmlformats.org/officeDocument/2006/relationships/tags" Target="../tags/tag326.xml"/><Relationship Id="rId16" Type="http://schemas.openxmlformats.org/officeDocument/2006/relationships/tags" Target="../tags/tag340.xml"/><Relationship Id="rId20" Type="http://schemas.openxmlformats.org/officeDocument/2006/relationships/tags" Target="../tags/tag344.xml"/><Relationship Id="rId29" Type="http://schemas.openxmlformats.org/officeDocument/2006/relationships/image" Target="../media/image91.png"/><Relationship Id="rId1" Type="http://schemas.openxmlformats.org/officeDocument/2006/relationships/vmlDrawing" Target="../drawings/vmlDrawing16.vml"/><Relationship Id="rId6" Type="http://schemas.openxmlformats.org/officeDocument/2006/relationships/tags" Target="../tags/tag330.xml"/><Relationship Id="rId11" Type="http://schemas.openxmlformats.org/officeDocument/2006/relationships/tags" Target="../tags/tag335.xml"/><Relationship Id="rId24" Type="http://schemas.openxmlformats.org/officeDocument/2006/relationships/oleObject" Target="../embeddings/Microsoft_Office_Excel_97-2003_Worksheet19.xls"/><Relationship Id="rId32" Type="http://schemas.openxmlformats.org/officeDocument/2006/relationships/image" Target="../media/image94.png"/><Relationship Id="rId5" Type="http://schemas.openxmlformats.org/officeDocument/2006/relationships/tags" Target="../tags/tag329.xml"/><Relationship Id="rId15" Type="http://schemas.openxmlformats.org/officeDocument/2006/relationships/tags" Target="../tags/tag339.xml"/><Relationship Id="rId23" Type="http://schemas.openxmlformats.org/officeDocument/2006/relationships/image" Target="../media/image86.jpeg"/><Relationship Id="rId28" Type="http://schemas.openxmlformats.org/officeDocument/2006/relationships/image" Target="../media/image90.png"/><Relationship Id="rId10" Type="http://schemas.openxmlformats.org/officeDocument/2006/relationships/tags" Target="../tags/tag334.xml"/><Relationship Id="rId19" Type="http://schemas.openxmlformats.org/officeDocument/2006/relationships/tags" Target="../tags/tag343.xml"/><Relationship Id="rId31" Type="http://schemas.openxmlformats.org/officeDocument/2006/relationships/image" Target="../media/image93.png"/><Relationship Id="rId4" Type="http://schemas.openxmlformats.org/officeDocument/2006/relationships/tags" Target="../tags/tag328.xml"/><Relationship Id="rId9" Type="http://schemas.openxmlformats.org/officeDocument/2006/relationships/tags" Target="../tags/tag333.xml"/><Relationship Id="rId14" Type="http://schemas.openxmlformats.org/officeDocument/2006/relationships/tags" Target="../tags/tag338.xml"/><Relationship Id="rId22" Type="http://schemas.openxmlformats.org/officeDocument/2006/relationships/oleObject" Target="../embeddings/oleObject19.bin"/><Relationship Id="rId27" Type="http://schemas.openxmlformats.org/officeDocument/2006/relationships/image" Target="../media/image89.png"/><Relationship Id="rId30" Type="http://schemas.openxmlformats.org/officeDocument/2006/relationships/image" Target="../media/image92.pn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346.xml"/><Relationship Id="rId7" Type="http://schemas.openxmlformats.org/officeDocument/2006/relationships/notesSlide" Target="../notesSlides/notesSlide6.xml"/><Relationship Id="rId2" Type="http://schemas.openxmlformats.org/officeDocument/2006/relationships/tags" Target="../tags/tag345.xml"/><Relationship Id="rId1" Type="http://schemas.openxmlformats.org/officeDocument/2006/relationships/vmlDrawing" Target="../drawings/vmlDrawing17.vml"/><Relationship Id="rId6" Type="http://schemas.openxmlformats.org/officeDocument/2006/relationships/slideLayout" Target="../slideLayouts/slideLayout2.xml"/><Relationship Id="rId5" Type="http://schemas.openxmlformats.org/officeDocument/2006/relationships/tags" Target="../tags/tag348.xml"/><Relationship Id="rId4" Type="http://schemas.openxmlformats.org/officeDocument/2006/relationships/tags" Target="../tags/tag347.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350.xml"/><Relationship Id="rId7" Type="http://schemas.openxmlformats.org/officeDocument/2006/relationships/slideLayout" Target="../slideLayouts/slideLayout2.xml"/><Relationship Id="rId2" Type="http://schemas.openxmlformats.org/officeDocument/2006/relationships/tags" Target="../tags/tag349.xml"/><Relationship Id="rId1" Type="http://schemas.openxmlformats.org/officeDocument/2006/relationships/vmlDrawing" Target="../drawings/vmlDrawing18.vml"/><Relationship Id="rId6" Type="http://schemas.openxmlformats.org/officeDocument/2006/relationships/tags" Target="../tags/tag353.xml"/><Relationship Id="rId5" Type="http://schemas.openxmlformats.org/officeDocument/2006/relationships/tags" Target="../tags/tag352.xml"/><Relationship Id="rId4" Type="http://schemas.openxmlformats.org/officeDocument/2006/relationships/tags" Target="../tags/tag351.xml"/><Relationship Id="rId9" Type="http://schemas.openxmlformats.org/officeDocument/2006/relationships/oleObject" Target="../embeddings/oleObject21.bin"/></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55.xml"/><Relationship Id="rId7" Type="http://schemas.openxmlformats.org/officeDocument/2006/relationships/slideLayout" Target="../slideLayouts/slideLayout2.xml"/><Relationship Id="rId12" Type="http://schemas.openxmlformats.org/officeDocument/2006/relationships/oleObject" Target="../embeddings/Microsoft_Office_Excel_97-2003_Worksheet22.xls"/><Relationship Id="rId2" Type="http://schemas.openxmlformats.org/officeDocument/2006/relationships/tags" Target="../tags/tag354.xml"/><Relationship Id="rId1" Type="http://schemas.openxmlformats.org/officeDocument/2006/relationships/vmlDrawing" Target="../drawings/vmlDrawing19.vml"/><Relationship Id="rId6" Type="http://schemas.openxmlformats.org/officeDocument/2006/relationships/tags" Target="../tags/tag358.xml"/><Relationship Id="rId11" Type="http://schemas.openxmlformats.org/officeDocument/2006/relationships/oleObject" Target="../embeddings/Microsoft_Office_Excel_97-2003_Worksheet21.xls"/><Relationship Id="rId5" Type="http://schemas.openxmlformats.org/officeDocument/2006/relationships/tags" Target="../tags/tag357.xml"/><Relationship Id="rId10" Type="http://schemas.openxmlformats.org/officeDocument/2006/relationships/oleObject" Target="../embeddings/Microsoft_Office_Excel_97-2003_Worksheet20.xls"/><Relationship Id="rId4" Type="http://schemas.openxmlformats.org/officeDocument/2006/relationships/tags" Target="../tags/tag356.xml"/><Relationship Id="rId9" Type="http://schemas.openxmlformats.org/officeDocument/2006/relationships/oleObject" Target="../embeddings/oleObject22.bin"/></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360.xml"/><Relationship Id="rId7" Type="http://schemas.openxmlformats.org/officeDocument/2006/relationships/notesSlide" Target="../notesSlides/notesSlide9.xml"/><Relationship Id="rId2" Type="http://schemas.openxmlformats.org/officeDocument/2006/relationships/tags" Target="../tags/tag359.xml"/><Relationship Id="rId1" Type="http://schemas.openxmlformats.org/officeDocument/2006/relationships/vmlDrawing" Target="../drawings/vmlDrawing20.vml"/><Relationship Id="rId6" Type="http://schemas.openxmlformats.org/officeDocument/2006/relationships/slideLayout" Target="../slideLayouts/slideLayout2.xml"/><Relationship Id="rId5" Type="http://schemas.openxmlformats.org/officeDocument/2006/relationships/tags" Target="../tags/tag362.xml"/><Relationship Id="rId4" Type="http://schemas.openxmlformats.org/officeDocument/2006/relationships/tags" Target="../tags/tag361.xml"/></Relationships>
</file>

<file path=ppt/slides/_rels/slide16.xml.rels><?xml version="1.0" encoding="UTF-8" standalone="yes"?>
<Relationships xmlns="http://schemas.openxmlformats.org/package/2006/relationships"><Relationship Id="rId8" Type="http://schemas.openxmlformats.org/officeDocument/2006/relationships/tags" Target="../tags/tag369.xml"/><Relationship Id="rId3" Type="http://schemas.openxmlformats.org/officeDocument/2006/relationships/tags" Target="../tags/tag364.xml"/><Relationship Id="rId7" Type="http://schemas.openxmlformats.org/officeDocument/2006/relationships/tags" Target="../tags/tag368.xml"/><Relationship Id="rId12" Type="http://schemas.openxmlformats.org/officeDocument/2006/relationships/oleObject" Target="../embeddings/oleObject24.bin"/><Relationship Id="rId2" Type="http://schemas.openxmlformats.org/officeDocument/2006/relationships/tags" Target="../tags/tag363.xml"/><Relationship Id="rId1" Type="http://schemas.openxmlformats.org/officeDocument/2006/relationships/vmlDrawing" Target="../drawings/vmlDrawing21.vml"/><Relationship Id="rId6" Type="http://schemas.openxmlformats.org/officeDocument/2006/relationships/tags" Target="../tags/tag367.xml"/><Relationship Id="rId11" Type="http://schemas.openxmlformats.org/officeDocument/2006/relationships/notesSlide" Target="../notesSlides/notesSlide10.xml"/><Relationship Id="rId5" Type="http://schemas.openxmlformats.org/officeDocument/2006/relationships/tags" Target="../tags/tag366.xml"/><Relationship Id="rId10" Type="http://schemas.openxmlformats.org/officeDocument/2006/relationships/slideLayout" Target="../slideLayouts/slideLayout2.xml"/><Relationship Id="rId4" Type="http://schemas.openxmlformats.org/officeDocument/2006/relationships/tags" Target="../tags/tag365.xml"/><Relationship Id="rId9" Type="http://schemas.openxmlformats.org/officeDocument/2006/relationships/tags" Target="../tags/tag370.xml"/></Relationships>
</file>

<file path=ppt/slides/_rels/slide17.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 Type="http://schemas.openxmlformats.org/officeDocument/2006/relationships/tags" Target="../tags/tag372.xml"/><Relationship Id="rId21" Type="http://schemas.openxmlformats.org/officeDocument/2006/relationships/tags" Target="../tags/tag390.xml"/><Relationship Id="rId34" Type="http://schemas.openxmlformats.org/officeDocument/2006/relationships/tags" Target="../tags/tag403.xml"/><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image" Target="../media/image101.jpeg"/><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tags" Target="../tags/tag398.xml"/><Relationship Id="rId1" Type="http://schemas.openxmlformats.org/officeDocument/2006/relationships/vmlDrawing" Target="../drawings/vmlDrawing22.v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oleObject" Target="../embeddings/oleObject25.bin"/><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notesSlide" Target="../notesSlides/notesSlide11.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tags" Target="../tags/tag415.xml"/><Relationship Id="rId18" Type="http://schemas.openxmlformats.org/officeDocument/2006/relationships/tags" Target="../tags/tag420.xml"/><Relationship Id="rId3" Type="http://schemas.openxmlformats.org/officeDocument/2006/relationships/tags" Target="../tags/tag405.xml"/><Relationship Id="rId21" Type="http://schemas.openxmlformats.org/officeDocument/2006/relationships/tags" Target="../tags/tag423.xml"/><Relationship Id="rId7" Type="http://schemas.openxmlformats.org/officeDocument/2006/relationships/tags" Target="../tags/tag409.xml"/><Relationship Id="rId12" Type="http://schemas.openxmlformats.org/officeDocument/2006/relationships/tags" Target="../tags/tag414.xml"/><Relationship Id="rId17" Type="http://schemas.openxmlformats.org/officeDocument/2006/relationships/tags" Target="../tags/tag419.xml"/><Relationship Id="rId25" Type="http://schemas.openxmlformats.org/officeDocument/2006/relationships/image" Target="../media/image103.png"/><Relationship Id="rId2" Type="http://schemas.openxmlformats.org/officeDocument/2006/relationships/tags" Target="../tags/tag404.xml"/><Relationship Id="rId16" Type="http://schemas.openxmlformats.org/officeDocument/2006/relationships/tags" Target="../tags/tag418.xml"/><Relationship Id="rId20" Type="http://schemas.openxmlformats.org/officeDocument/2006/relationships/tags" Target="../tags/tag422.xml"/><Relationship Id="rId1" Type="http://schemas.openxmlformats.org/officeDocument/2006/relationships/vmlDrawing" Target="../drawings/vmlDrawing23.vml"/><Relationship Id="rId6" Type="http://schemas.openxmlformats.org/officeDocument/2006/relationships/tags" Target="../tags/tag408.xml"/><Relationship Id="rId11" Type="http://schemas.openxmlformats.org/officeDocument/2006/relationships/tags" Target="../tags/tag413.xml"/><Relationship Id="rId24" Type="http://schemas.openxmlformats.org/officeDocument/2006/relationships/oleObject" Target="../embeddings/oleObject26.bin"/><Relationship Id="rId5" Type="http://schemas.openxmlformats.org/officeDocument/2006/relationships/tags" Target="../tags/tag407.xml"/><Relationship Id="rId15" Type="http://schemas.openxmlformats.org/officeDocument/2006/relationships/tags" Target="../tags/tag417.xml"/><Relationship Id="rId23" Type="http://schemas.openxmlformats.org/officeDocument/2006/relationships/notesSlide" Target="../notesSlides/notesSlide12.xml"/><Relationship Id="rId10" Type="http://schemas.openxmlformats.org/officeDocument/2006/relationships/tags" Target="../tags/tag412.xml"/><Relationship Id="rId19" Type="http://schemas.openxmlformats.org/officeDocument/2006/relationships/tags" Target="../tags/tag421.xml"/><Relationship Id="rId4" Type="http://schemas.openxmlformats.org/officeDocument/2006/relationships/tags" Target="../tags/tag406.xml"/><Relationship Id="rId9" Type="http://schemas.openxmlformats.org/officeDocument/2006/relationships/tags" Target="../tags/tag411.xml"/><Relationship Id="rId14" Type="http://schemas.openxmlformats.org/officeDocument/2006/relationships/tags" Target="../tags/tag416.xml"/><Relationship Id="rId22"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tags" Target="../tags/tag430.xml"/><Relationship Id="rId13" Type="http://schemas.openxmlformats.org/officeDocument/2006/relationships/tags" Target="../tags/tag435.xml"/><Relationship Id="rId18" Type="http://schemas.openxmlformats.org/officeDocument/2006/relationships/slideLayout" Target="../slideLayouts/slideLayout2.xml"/><Relationship Id="rId26" Type="http://schemas.openxmlformats.org/officeDocument/2006/relationships/image" Target="../media/image109.png"/><Relationship Id="rId3" Type="http://schemas.openxmlformats.org/officeDocument/2006/relationships/tags" Target="../tags/tag425.xml"/><Relationship Id="rId21" Type="http://schemas.openxmlformats.org/officeDocument/2006/relationships/image" Target="../media/image104.png"/><Relationship Id="rId7" Type="http://schemas.openxmlformats.org/officeDocument/2006/relationships/tags" Target="../tags/tag429.xml"/><Relationship Id="rId12" Type="http://schemas.openxmlformats.org/officeDocument/2006/relationships/tags" Target="../tags/tag434.xml"/><Relationship Id="rId17" Type="http://schemas.openxmlformats.org/officeDocument/2006/relationships/tags" Target="../tags/tag439.xml"/><Relationship Id="rId25" Type="http://schemas.openxmlformats.org/officeDocument/2006/relationships/image" Target="../media/image108.png"/><Relationship Id="rId2" Type="http://schemas.openxmlformats.org/officeDocument/2006/relationships/tags" Target="../tags/tag424.xml"/><Relationship Id="rId16" Type="http://schemas.openxmlformats.org/officeDocument/2006/relationships/tags" Target="../tags/tag438.xml"/><Relationship Id="rId20" Type="http://schemas.openxmlformats.org/officeDocument/2006/relationships/oleObject" Target="../embeddings/oleObject27.bin"/><Relationship Id="rId1" Type="http://schemas.openxmlformats.org/officeDocument/2006/relationships/vmlDrawing" Target="../drawings/vmlDrawing24.vml"/><Relationship Id="rId6" Type="http://schemas.openxmlformats.org/officeDocument/2006/relationships/tags" Target="../tags/tag428.xml"/><Relationship Id="rId11" Type="http://schemas.openxmlformats.org/officeDocument/2006/relationships/tags" Target="../tags/tag433.xml"/><Relationship Id="rId24" Type="http://schemas.openxmlformats.org/officeDocument/2006/relationships/image" Target="../media/image107.png"/><Relationship Id="rId5" Type="http://schemas.openxmlformats.org/officeDocument/2006/relationships/tags" Target="../tags/tag427.xml"/><Relationship Id="rId15" Type="http://schemas.openxmlformats.org/officeDocument/2006/relationships/tags" Target="../tags/tag437.xml"/><Relationship Id="rId23" Type="http://schemas.openxmlformats.org/officeDocument/2006/relationships/image" Target="../media/image106.png"/><Relationship Id="rId10" Type="http://schemas.openxmlformats.org/officeDocument/2006/relationships/tags" Target="../tags/tag432.xml"/><Relationship Id="rId19" Type="http://schemas.openxmlformats.org/officeDocument/2006/relationships/notesSlide" Target="../notesSlides/notesSlide13.xml"/><Relationship Id="rId4" Type="http://schemas.openxmlformats.org/officeDocument/2006/relationships/tags" Target="../tags/tag426.xml"/><Relationship Id="rId9" Type="http://schemas.openxmlformats.org/officeDocument/2006/relationships/tags" Target="../tags/tag431.xml"/><Relationship Id="rId14" Type="http://schemas.openxmlformats.org/officeDocument/2006/relationships/tags" Target="../tags/tag436.xml"/><Relationship Id="rId22" Type="http://schemas.openxmlformats.org/officeDocument/2006/relationships/image" Target="../media/image105.png"/></Relationships>
</file>

<file path=ppt/slides/_rels/slide2.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tags" Target="../tags/tag140.xml"/><Relationship Id="rId39" Type="http://schemas.openxmlformats.org/officeDocument/2006/relationships/oleObject" Target="../embeddings/Microsoft_Office_Excel_97-2003_Worksheet2.xls"/><Relationship Id="rId3" Type="http://schemas.openxmlformats.org/officeDocument/2006/relationships/tags" Target="../tags/tag117.xml"/><Relationship Id="rId21" Type="http://schemas.openxmlformats.org/officeDocument/2006/relationships/tags" Target="../tags/tag135.xml"/><Relationship Id="rId34" Type="http://schemas.openxmlformats.org/officeDocument/2006/relationships/slideLayout" Target="../slideLayouts/slideLayout2.xml"/><Relationship Id="rId42" Type="http://schemas.openxmlformats.org/officeDocument/2006/relationships/oleObject" Target="../embeddings/Microsoft_Office_Excel_97-2003_Worksheet3.xls"/><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tags" Target="../tags/tag139.xml"/><Relationship Id="rId33" Type="http://schemas.openxmlformats.org/officeDocument/2006/relationships/tags" Target="../tags/tag147.xml"/><Relationship Id="rId38" Type="http://schemas.openxmlformats.org/officeDocument/2006/relationships/oleObject" Target="../embeddings/Microsoft_Office_Excel_97-2003_Worksheet1.xls"/><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29" Type="http://schemas.openxmlformats.org/officeDocument/2006/relationships/tags" Target="../tags/tag143.xml"/><Relationship Id="rId41" Type="http://schemas.openxmlformats.org/officeDocument/2006/relationships/image" Target="../media/image13.png"/><Relationship Id="rId1" Type="http://schemas.openxmlformats.org/officeDocument/2006/relationships/vmlDrawing" Target="../drawings/vmlDrawing7.v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tags" Target="../tags/tag138.xml"/><Relationship Id="rId32" Type="http://schemas.openxmlformats.org/officeDocument/2006/relationships/tags" Target="../tags/tag146.xml"/><Relationship Id="rId37" Type="http://schemas.openxmlformats.org/officeDocument/2006/relationships/image" Target="../media/image11.jpeg"/><Relationship Id="rId40" Type="http://schemas.openxmlformats.org/officeDocument/2006/relationships/image" Target="../media/image12.png"/><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tags" Target="../tags/tag137.xml"/><Relationship Id="rId28" Type="http://schemas.openxmlformats.org/officeDocument/2006/relationships/tags" Target="../tags/tag142.xml"/><Relationship Id="rId36" Type="http://schemas.openxmlformats.org/officeDocument/2006/relationships/oleObject" Target="../embeddings/oleObject10.bin"/><Relationship Id="rId10" Type="http://schemas.openxmlformats.org/officeDocument/2006/relationships/tags" Target="../tags/tag124.xml"/><Relationship Id="rId19" Type="http://schemas.openxmlformats.org/officeDocument/2006/relationships/tags" Target="../tags/tag133.xml"/><Relationship Id="rId31" Type="http://schemas.openxmlformats.org/officeDocument/2006/relationships/tags" Target="../tags/tag145.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tags" Target="../tags/tag141.xml"/><Relationship Id="rId30" Type="http://schemas.openxmlformats.org/officeDocument/2006/relationships/tags" Target="../tags/tag144.xml"/><Relationship Id="rId35" Type="http://schemas.openxmlformats.org/officeDocument/2006/relationships/notesSlide" Target="../notesSlides/notesSlide1.xml"/><Relationship Id="rId43"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441.xml"/><Relationship Id="rId7" Type="http://schemas.openxmlformats.org/officeDocument/2006/relationships/notesSlide" Target="../notesSlides/notesSlide14.xml"/><Relationship Id="rId2" Type="http://schemas.openxmlformats.org/officeDocument/2006/relationships/tags" Target="../tags/tag440.xml"/><Relationship Id="rId1" Type="http://schemas.openxmlformats.org/officeDocument/2006/relationships/vmlDrawing" Target="../drawings/vmlDrawing25.vml"/><Relationship Id="rId6" Type="http://schemas.openxmlformats.org/officeDocument/2006/relationships/slideLayout" Target="../slideLayouts/slideLayout2.xml"/><Relationship Id="rId5" Type="http://schemas.openxmlformats.org/officeDocument/2006/relationships/tags" Target="../tags/tag443.xml"/><Relationship Id="rId4" Type="http://schemas.openxmlformats.org/officeDocument/2006/relationships/tags" Target="../tags/tag442.xml"/><Relationship Id="rId9" Type="http://schemas.openxmlformats.org/officeDocument/2006/relationships/image" Target="../media/image110.tiff"/></Relationships>
</file>

<file path=ppt/slides/_rels/slide21.xml.rels><?xml version="1.0" encoding="UTF-8" standalone="yes"?>
<Relationships xmlns="http://schemas.openxmlformats.org/package/2006/relationships"><Relationship Id="rId8" Type="http://schemas.openxmlformats.org/officeDocument/2006/relationships/image" Target="../media/image113.jpeg"/><Relationship Id="rId3" Type="http://schemas.openxmlformats.org/officeDocument/2006/relationships/tags" Target="../tags/tag445.xml"/><Relationship Id="rId7" Type="http://schemas.openxmlformats.org/officeDocument/2006/relationships/image" Target="../media/image112.jpeg"/><Relationship Id="rId2" Type="http://schemas.openxmlformats.org/officeDocument/2006/relationships/tags" Target="../tags/tag444.xml"/><Relationship Id="rId1" Type="http://schemas.openxmlformats.org/officeDocument/2006/relationships/vmlDrawing" Target="../drawings/vmlDrawing26.vml"/><Relationship Id="rId6" Type="http://schemas.openxmlformats.org/officeDocument/2006/relationships/image" Target="../media/image111.jpeg"/><Relationship Id="rId11" Type="http://schemas.openxmlformats.org/officeDocument/2006/relationships/image" Target="../media/image116.jpeg"/><Relationship Id="rId5" Type="http://schemas.openxmlformats.org/officeDocument/2006/relationships/oleObject" Target="../embeddings/oleObject29.bin"/><Relationship Id="rId10" Type="http://schemas.openxmlformats.org/officeDocument/2006/relationships/image" Target="../media/image115.jpeg"/><Relationship Id="rId4" Type="http://schemas.openxmlformats.org/officeDocument/2006/relationships/slideLayout" Target="../slideLayouts/slideLayout2.xml"/><Relationship Id="rId9" Type="http://schemas.openxmlformats.org/officeDocument/2006/relationships/image" Target="../media/image114.jpeg"/></Relationships>
</file>

<file path=ppt/slides/_rels/slide22.xml.rels><?xml version="1.0" encoding="UTF-8" standalone="yes"?>
<Relationships xmlns="http://schemas.openxmlformats.org/package/2006/relationships"><Relationship Id="rId3" Type="http://schemas.openxmlformats.org/officeDocument/2006/relationships/tags" Target="../tags/tag447.xml"/><Relationship Id="rId7" Type="http://schemas.openxmlformats.org/officeDocument/2006/relationships/image" Target="../media/image118.jpeg"/><Relationship Id="rId2" Type="http://schemas.openxmlformats.org/officeDocument/2006/relationships/tags" Target="../tags/tag446.xml"/><Relationship Id="rId1" Type="http://schemas.openxmlformats.org/officeDocument/2006/relationships/vmlDrawing" Target="../drawings/vmlDrawing27.vml"/><Relationship Id="rId6" Type="http://schemas.openxmlformats.org/officeDocument/2006/relationships/oleObject" Target="../embeddings/oleObject30.bin"/><Relationship Id="rId5" Type="http://schemas.openxmlformats.org/officeDocument/2006/relationships/slideLayout" Target="../slideLayouts/slideLayout2.xml"/><Relationship Id="rId4" Type="http://schemas.openxmlformats.org/officeDocument/2006/relationships/tags" Target="../tags/tag448.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tags" Target="../tags/tag149.xml"/><Relationship Id="rId21" Type="http://schemas.openxmlformats.org/officeDocument/2006/relationships/image" Target="../media/image28.png"/><Relationship Id="rId7" Type="http://schemas.openxmlformats.org/officeDocument/2006/relationships/image" Target="../media/image15.png"/><Relationship Id="rId12" Type="http://schemas.openxmlformats.org/officeDocument/2006/relationships/image" Target="../media/image19.jpeg"/><Relationship Id="rId17" Type="http://schemas.openxmlformats.org/officeDocument/2006/relationships/image" Target="../media/image24.jpeg"/><Relationship Id="rId2" Type="http://schemas.openxmlformats.org/officeDocument/2006/relationships/tags" Target="../tags/tag148.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vmlDrawing" Target="../drawings/vmlDrawing8.vml"/><Relationship Id="rId6" Type="http://schemas.openxmlformats.org/officeDocument/2006/relationships/oleObject" Target="../embeddings/oleObject11.bin"/><Relationship Id="rId11" Type="http://schemas.openxmlformats.org/officeDocument/2006/relationships/image" Target="../media/image18.png"/><Relationship Id="rId5" Type="http://schemas.openxmlformats.org/officeDocument/2006/relationships/slideLayout" Target="../slideLayouts/slideLayout2.xml"/><Relationship Id="rId15" Type="http://schemas.openxmlformats.org/officeDocument/2006/relationships/image" Target="../media/image22.pn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tags" Target="../tags/tag150.xml"/><Relationship Id="rId9" Type="http://schemas.openxmlformats.org/officeDocument/2006/relationships/image" Target="../media/image14.png"/><Relationship Id="rId1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29.jpeg"/><Relationship Id="rId2" Type="http://schemas.openxmlformats.org/officeDocument/2006/relationships/tags" Target="../tags/tag151.xml"/><Relationship Id="rId1" Type="http://schemas.openxmlformats.org/officeDocument/2006/relationships/vmlDrawing" Target="../drawings/vmlDrawing9.vml"/><Relationship Id="rId6" Type="http://schemas.openxmlformats.org/officeDocument/2006/relationships/oleObject" Target="../embeddings/oleObject12.bin"/><Relationship Id="rId5" Type="http://schemas.openxmlformats.org/officeDocument/2006/relationships/slideLayout" Target="../slideLayouts/slideLayout2.xml"/><Relationship Id="rId4" Type="http://schemas.openxmlformats.org/officeDocument/2006/relationships/tags" Target="../tags/tag153.xml"/></Relationships>
</file>

<file path=ppt/slides/_rels/slide5.xml.rels><?xml version="1.0" encoding="UTF-8" standalone="yes"?>
<Relationships xmlns="http://schemas.openxmlformats.org/package/2006/relationships"><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tags" Target="../tags/tag178.xml"/><Relationship Id="rId39" Type="http://schemas.openxmlformats.org/officeDocument/2006/relationships/tags" Target="../tags/tag191.xml"/><Relationship Id="rId21" Type="http://schemas.openxmlformats.org/officeDocument/2006/relationships/tags" Target="../tags/tag173.xml"/><Relationship Id="rId34" Type="http://schemas.openxmlformats.org/officeDocument/2006/relationships/tags" Target="../tags/tag186.xml"/><Relationship Id="rId42" Type="http://schemas.openxmlformats.org/officeDocument/2006/relationships/slideLayout" Target="../slideLayouts/slideLayout2.xml"/><Relationship Id="rId47" Type="http://schemas.openxmlformats.org/officeDocument/2006/relationships/image" Target="../media/image33.png"/><Relationship Id="rId50" Type="http://schemas.openxmlformats.org/officeDocument/2006/relationships/image" Target="../media/image36.png"/><Relationship Id="rId55" Type="http://schemas.openxmlformats.org/officeDocument/2006/relationships/image" Target="../media/image41.png"/><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tags" Target="../tags/tag185.xml"/><Relationship Id="rId38" Type="http://schemas.openxmlformats.org/officeDocument/2006/relationships/tags" Target="../tags/tag190.xml"/><Relationship Id="rId46" Type="http://schemas.openxmlformats.org/officeDocument/2006/relationships/image" Target="../media/image32.png"/><Relationship Id="rId59" Type="http://schemas.openxmlformats.org/officeDocument/2006/relationships/image" Target="../media/image45.png"/><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tags" Target="../tags/tag181.xml"/><Relationship Id="rId41" Type="http://schemas.openxmlformats.org/officeDocument/2006/relationships/tags" Target="../tags/tag193.xml"/><Relationship Id="rId54" Type="http://schemas.openxmlformats.org/officeDocument/2006/relationships/image" Target="../media/image40.png"/><Relationship Id="rId1" Type="http://schemas.openxmlformats.org/officeDocument/2006/relationships/vmlDrawing" Target="../drawings/vmlDrawing10.v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tags" Target="../tags/tag176.xml"/><Relationship Id="rId32" Type="http://schemas.openxmlformats.org/officeDocument/2006/relationships/tags" Target="../tags/tag184.xml"/><Relationship Id="rId37" Type="http://schemas.openxmlformats.org/officeDocument/2006/relationships/tags" Target="../tags/tag189.xml"/><Relationship Id="rId40" Type="http://schemas.openxmlformats.org/officeDocument/2006/relationships/tags" Target="../tags/tag192.xml"/><Relationship Id="rId45" Type="http://schemas.openxmlformats.org/officeDocument/2006/relationships/oleObject" Target="../embeddings/Microsoft_Office_Excel_97-2003_Worksheet5.xls"/><Relationship Id="rId53" Type="http://schemas.openxmlformats.org/officeDocument/2006/relationships/image" Target="../media/image39.png"/><Relationship Id="rId58" Type="http://schemas.openxmlformats.org/officeDocument/2006/relationships/image" Target="../media/image44.png"/><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tags" Target="../tags/tag180.xml"/><Relationship Id="rId36" Type="http://schemas.openxmlformats.org/officeDocument/2006/relationships/tags" Target="../tags/tag188.xml"/><Relationship Id="rId49" Type="http://schemas.openxmlformats.org/officeDocument/2006/relationships/image" Target="../media/image35.png"/><Relationship Id="rId57" Type="http://schemas.openxmlformats.org/officeDocument/2006/relationships/image" Target="../media/image43.png"/><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tags" Target="../tags/tag183.xml"/><Relationship Id="rId44" Type="http://schemas.openxmlformats.org/officeDocument/2006/relationships/oleObject" Target="../embeddings/Microsoft_Office_Excel_97-2003_Worksheet4.xls"/><Relationship Id="rId52" Type="http://schemas.openxmlformats.org/officeDocument/2006/relationships/image" Target="../media/image38.png"/><Relationship Id="rId60" Type="http://schemas.openxmlformats.org/officeDocument/2006/relationships/image" Target="../media/image46.png"/><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tags" Target="../tags/tag182.xml"/><Relationship Id="rId35" Type="http://schemas.openxmlformats.org/officeDocument/2006/relationships/tags" Target="../tags/tag187.xml"/><Relationship Id="rId43" Type="http://schemas.openxmlformats.org/officeDocument/2006/relationships/oleObject" Target="../embeddings/oleObject13.bin"/><Relationship Id="rId48" Type="http://schemas.openxmlformats.org/officeDocument/2006/relationships/image" Target="../media/image34.png"/><Relationship Id="rId56" Type="http://schemas.openxmlformats.org/officeDocument/2006/relationships/image" Target="../media/image42.png"/><Relationship Id="rId8" Type="http://schemas.openxmlformats.org/officeDocument/2006/relationships/tags" Target="../tags/tag160.xml"/><Relationship Id="rId51" Type="http://schemas.openxmlformats.org/officeDocument/2006/relationships/image" Target="../media/image37.png"/><Relationship Id="rId3" Type="http://schemas.openxmlformats.org/officeDocument/2006/relationships/tags" Target="../tags/tag155.xml"/></Relationships>
</file>

<file path=ppt/slides/_rels/slide6.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tags" Target="../tags/tag218.xml"/><Relationship Id="rId3" Type="http://schemas.openxmlformats.org/officeDocument/2006/relationships/tags" Target="../tags/tag195.xml"/><Relationship Id="rId21" Type="http://schemas.openxmlformats.org/officeDocument/2006/relationships/tags" Target="../tags/tag213.xml"/><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notesSlide" Target="../notesSlides/notesSlide2.xml"/><Relationship Id="rId1" Type="http://schemas.openxmlformats.org/officeDocument/2006/relationships/vmlDrawing" Target="../drawings/vmlDrawing11.v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slideLayout" Target="../slideLayouts/slideLayout2.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oleObject" Target="../embeddings/Microsoft_Office_Excel_97-2003_Worksheet6.xls"/><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tags" Target="../tags/tag219.xml"/><Relationship Id="rId30"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image" Target="../media/image53.png"/><Relationship Id="rId3" Type="http://schemas.openxmlformats.org/officeDocument/2006/relationships/tags" Target="../tags/tag221.xml"/><Relationship Id="rId21" Type="http://schemas.openxmlformats.org/officeDocument/2006/relationships/oleObject" Target="../embeddings/Microsoft_Office_Excel_97-2003_Worksheet7.xls"/><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image" Target="../media/image52.png"/><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oleObject" Target="../embeddings/oleObject15.bin"/><Relationship Id="rId29" Type="http://schemas.openxmlformats.org/officeDocument/2006/relationships/image" Target="../media/image56.png"/><Relationship Id="rId1" Type="http://schemas.openxmlformats.org/officeDocument/2006/relationships/vmlDrawing" Target="../drawings/vmlDrawing12.v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image" Target="../media/image51.png"/><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image" Target="../media/image50.png"/><Relationship Id="rId28" Type="http://schemas.openxmlformats.org/officeDocument/2006/relationships/image" Target="../media/image55.png"/><Relationship Id="rId10" Type="http://schemas.openxmlformats.org/officeDocument/2006/relationships/tags" Target="../tags/tag228.xml"/><Relationship Id="rId19" Type="http://schemas.openxmlformats.org/officeDocument/2006/relationships/slideLayout" Target="../slideLayouts/slideLayout2.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oleObject" Target="../embeddings/Microsoft_Office_Excel_97-2003_Worksheet8.xls"/><Relationship Id="rId27" Type="http://schemas.openxmlformats.org/officeDocument/2006/relationships/image" Target="../media/image54.png"/></Relationships>
</file>

<file path=ppt/slides/_rels/slide8.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tags" Target="../tags/tag248.xml"/><Relationship Id="rId18" Type="http://schemas.openxmlformats.org/officeDocument/2006/relationships/tags" Target="../tags/tag253.xml"/><Relationship Id="rId26" Type="http://schemas.openxmlformats.org/officeDocument/2006/relationships/slideLayout" Target="../slideLayouts/slideLayout2.xml"/><Relationship Id="rId39" Type="http://schemas.openxmlformats.org/officeDocument/2006/relationships/image" Target="../media/image33.png"/><Relationship Id="rId3" Type="http://schemas.openxmlformats.org/officeDocument/2006/relationships/tags" Target="../tags/tag238.xml"/><Relationship Id="rId21" Type="http://schemas.openxmlformats.org/officeDocument/2006/relationships/tags" Target="../tags/tag256.xml"/><Relationship Id="rId34" Type="http://schemas.openxmlformats.org/officeDocument/2006/relationships/image" Target="../media/image62.png"/><Relationship Id="rId42" Type="http://schemas.openxmlformats.org/officeDocument/2006/relationships/image" Target="../media/image67.png"/><Relationship Id="rId47" Type="http://schemas.openxmlformats.org/officeDocument/2006/relationships/image" Target="../media/image71.png"/><Relationship Id="rId7" Type="http://schemas.openxmlformats.org/officeDocument/2006/relationships/tags" Target="../tags/tag242.xml"/><Relationship Id="rId12" Type="http://schemas.openxmlformats.org/officeDocument/2006/relationships/tags" Target="../tags/tag247.xml"/><Relationship Id="rId17" Type="http://schemas.openxmlformats.org/officeDocument/2006/relationships/tags" Target="../tags/tag252.xml"/><Relationship Id="rId25" Type="http://schemas.openxmlformats.org/officeDocument/2006/relationships/tags" Target="../tags/tag260.xml"/><Relationship Id="rId33" Type="http://schemas.openxmlformats.org/officeDocument/2006/relationships/oleObject" Target="../embeddings/Microsoft_Office_Excel_97-2003_Worksheet12.xls"/><Relationship Id="rId38" Type="http://schemas.openxmlformats.org/officeDocument/2006/relationships/image" Target="../media/image65.png"/><Relationship Id="rId46" Type="http://schemas.openxmlformats.org/officeDocument/2006/relationships/image" Target="../media/image70.png"/><Relationship Id="rId2" Type="http://schemas.openxmlformats.org/officeDocument/2006/relationships/tags" Target="../tags/tag237.xml"/><Relationship Id="rId16" Type="http://schemas.openxmlformats.org/officeDocument/2006/relationships/tags" Target="../tags/tag251.xml"/><Relationship Id="rId20" Type="http://schemas.openxmlformats.org/officeDocument/2006/relationships/tags" Target="../tags/tag255.xml"/><Relationship Id="rId29" Type="http://schemas.openxmlformats.org/officeDocument/2006/relationships/image" Target="../media/image61.jpeg"/><Relationship Id="rId41" Type="http://schemas.openxmlformats.org/officeDocument/2006/relationships/image" Target="../media/image37.png"/><Relationship Id="rId1" Type="http://schemas.openxmlformats.org/officeDocument/2006/relationships/vmlDrawing" Target="../drawings/vmlDrawing13.vml"/><Relationship Id="rId6" Type="http://schemas.openxmlformats.org/officeDocument/2006/relationships/tags" Target="../tags/tag241.xml"/><Relationship Id="rId11" Type="http://schemas.openxmlformats.org/officeDocument/2006/relationships/tags" Target="../tags/tag246.xml"/><Relationship Id="rId24" Type="http://schemas.openxmlformats.org/officeDocument/2006/relationships/tags" Target="../tags/tag259.xml"/><Relationship Id="rId32" Type="http://schemas.openxmlformats.org/officeDocument/2006/relationships/oleObject" Target="../embeddings/Microsoft_Office_Excel_97-2003_Worksheet11.xls"/><Relationship Id="rId37" Type="http://schemas.openxmlformats.org/officeDocument/2006/relationships/image" Target="../media/image35.png"/><Relationship Id="rId40" Type="http://schemas.openxmlformats.org/officeDocument/2006/relationships/image" Target="../media/image66.png"/><Relationship Id="rId45" Type="http://schemas.openxmlformats.org/officeDocument/2006/relationships/image" Target="../media/image69.png"/><Relationship Id="rId5" Type="http://schemas.openxmlformats.org/officeDocument/2006/relationships/tags" Target="../tags/tag240.xml"/><Relationship Id="rId15" Type="http://schemas.openxmlformats.org/officeDocument/2006/relationships/tags" Target="../tags/tag250.xml"/><Relationship Id="rId23" Type="http://schemas.openxmlformats.org/officeDocument/2006/relationships/tags" Target="../tags/tag258.xml"/><Relationship Id="rId28" Type="http://schemas.openxmlformats.org/officeDocument/2006/relationships/oleObject" Target="../embeddings/oleObject16.bin"/><Relationship Id="rId36" Type="http://schemas.openxmlformats.org/officeDocument/2006/relationships/image" Target="../media/image64.png"/><Relationship Id="rId10" Type="http://schemas.openxmlformats.org/officeDocument/2006/relationships/tags" Target="../tags/tag245.xml"/><Relationship Id="rId19" Type="http://schemas.openxmlformats.org/officeDocument/2006/relationships/tags" Target="../tags/tag254.xml"/><Relationship Id="rId31" Type="http://schemas.openxmlformats.org/officeDocument/2006/relationships/oleObject" Target="../embeddings/Microsoft_Office_Excel_97-2003_Worksheet10.xls"/><Relationship Id="rId44" Type="http://schemas.openxmlformats.org/officeDocument/2006/relationships/image" Target="../media/image68.png"/><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tags" Target="../tags/tag249.xml"/><Relationship Id="rId22" Type="http://schemas.openxmlformats.org/officeDocument/2006/relationships/tags" Target="../tags/tag257.xml"/><Relationship Id="rId27" Type="http://schemas.openxmlformats.org/officeDocument/2006/relationships/notesSlide" Target="../notesSlides/notesSlide3.xml"/><Relationship Id="rId30" Type="http://schemas.openxmlformats.org/officeDocument/2006/relationships/oleObject" Target="../embeddings/Microsoft_Office_Excel_97-2003_Worksheet9.xls"/><Relationship Id="rId35" Type="http://schemas.openxmlformats.org/officeDocument/2006/relationships/image" Target="../media/image63.png"/><Relationship Id="rId43" Type="http://schemas.openxmlformats.org/officeDocument/2006/relationships/image" Target="../media/image42.png"/></Relationships>
</file>

<file path=ppt/slides/_rels/slide9.xml.rels><?xml version="1.0" encoding="UTF-8" standalone="yes"?>
<Relationships xmlns="http://schemas.openxmlformats.org/package/2006/relationships"><Relationship Id="rId8" Type="http://schemas.openxmlformats.org/officeDocument/2006/relationships/oleObject" Target="../embeddings/Microsoft_Office_Excel_97-2003_Worksheet14.xls"/><Relationship Id="rId13" Type="http://schemas.openxmlformats.org/officeDocument/2006/relationships/image" Target="../media/image78.png"/><Relationship Id="rId3" Type="http://schemas.openxmlformats.org/officeDocument/2006/relationships/tags" Target="../tags/tag262.xml"/><Relationship Id="rId7" Type="http://schemas.openxmlformats.org/officeDocument/2006/relationships/oleObject" Target="../embeddings/Microsoft_Office_Excel_97-2003_Worksheet13.xls"/><Relationship Id="rId12" Type="http://schemas.openxmlformats.org/officeDocument/2006/relationships/image" Target="../media/image77.png"/><Relationship Id="rId2" Type="http://schemas.openxmlformats.org/officeDocument/2006/relationships/tags" Target="../tags/tag261.xml"/><Relationship Id="rId16" Type="http://schemas.openxmlformats.org/officeDocument/2006/relationships/image" Target="../media/image81.png"/><Relationship Id="rId1" Type="http://schemas.openxmlformats.org/officeDocument/2006/relationships/vmlDrawing" Target="../drawings/vmlDrawing14.vml"/><Relationship Id="rId6" Type="http://schemas.openxmlformats.org/officeDocument/2006/relationships/oleObject" Target="../embeddings/oleObject17.bin"/><Relationship Id="rId11" Type="http://schemas.openxmlformats.org/officeDocument/2006/relationships/image" Target="../media/image76.png"/><Relationship Id="rId5" Type="http://schemas.openxmlformats.org/officeDocument/2006/relationships/notesSlide" Target="../notesSlides/notesSlide4.xml"/><Relationship Id="rId15" Type="http://schemas.openxmlformats.org/officeDocument/2006/relationships/image" Target="../media/image80.gif"/><Relationship Id="rId10" Type="http://schemas.openxmlformats.org/officeDocument/2006/relationships/oleObject" Target="../embeddings/Microsoft_Office_Excel_97-2003_Worksheet16.xls"/><Relationship Id="rId4" Type="http://schemas.openxmlformats.org/officeDocument/2006/relationships/slideLayout" Target="../slideLayouts/slideLayout2.xml"/><Relationship Id="rId9" Type="http://schemas.openxmlformats.org/officeDocument/2006/relationships/oleObject" Target="../embeddings/Microsoft_Office_Excel_97-2003_Worksheet15.xls"/><Relationship Id="rId14" Type="http://schemas.openxmlformats.org/officeDocument/2006/relationships/image" Target="../media/image79.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136"/>
          <p:cNvGraphicFramePr>
            <a:graphicFrameLocks noChangeAspect="1"/>
          </p:cNvGraphicFramePr>
          <p:nvPr/>
        </p:nvGraphicFramePr>
        <p:xfrm>
          <a:off x="1588" y="1588"/>
          <a:ext cx="1587" cy="1587"/>
        </p:xfrm>
        <a:graphic>
          <a:graphicData uri="http://schemas.openxmlformats.org/presentationml/2006/ole">
            <p:oleObj spid="_x0000_s6146" name="think-cell Slide" r:id="rId4" imgW="360" imgH="360" progId="">
              <p:embed/>
            </p:oleObj>
          </a:graphicData>
        </a:graphic>
      </p:graphicFrame>
      <p:sp>
        <p:nvSpPr>
          <p:cNvPr id="8" name="Rectangle 7"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GB" sz="2800" b="1" dirty="0">
              <a:solidFill>
                <a:schemeClr val="tx1"/>
              </a:solidFill>
              <a:latin typeface="Georgia" panose="02040502050405020303" pitchFamily="18" charset="0"/>
              <a:ea typeface="+mj-ea"/>
              <a:cs typeface="Calibri" panose="020F0502020204030204" pitchFamily="34" charset="0"/>
              <a:sym typeface="Georgia" panose="02040502050405020303" pitchFamily="18" charset="0"/>
            </a:endParaRPr>
          </a:p>
        </p:txBody>
      </p:sp>
      <p:sp>
        <p:nvSpPr>
          <p:cNvPr id="15" name="Freeform 14">
            <a:extLst>
              <a:ext uri="{FF2B5EF4-FFF2-40B4-BE49-F238E27FC236}"/>
            </a:extLst>
          </p:cNvPr>
          <p:cNvSpPr/>
          <p:nvPr/>
        </p:nvSpPr>
        <p:spPr bwMode="gray">
          <a:xfrm>
            <a:off x="-1588" y="0"/>
            <a:ext cx="7221538" cy="6724650"/>
          </a:xfrm>
          <a:custGeom>
            <a:avLst/>
            <a:gdLst>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799248 w 6431688"/>
              <a:gd name="connsiteY5" fmla="*/ 6728033 h 6728033"/>
              <a:gd name="connsiteX6" fmla="*/ 5616 w 6431688"/>
              <a:gd name="connsiteY6" fmla="*/ 6728033 h 6728033"/>
              <a:gd name="connsiteX7" fmla="*/ 854 w 6431688"/>
              <a:gd name="connsiteY7" fmla="*/ 6728033 h 6728033"/>
              <a:gd name="connsiteX8" fmla="*/ 854 w 6431688"/>
              <a:gd name="connsiteY8" fmla="*/ 253446 h 6728033"/>
              <a:gd name="connsiteX9" fmla="*/ 0 w 6431688"/>
              <a:gd name="connsiteY9" fmla="*/ 253446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 name="connsiteX0" fmla="*/ 0 w 6431688"/>
              <a:gd name="connsiteY0" fmla="*/ 0 h 6728033"/>
              <a:gd name="connsiteX1" fmla="*/ 6431688 w 6431688"/>
              <a:gd name="connsiteY1" fmla="*/ 0 h 6728033"/>
              <a:gd name="connsiteX2" fmla="*/ 2558866 w 6431688"/>
              <a:gd name="connsiteY2" fmla="*/ 6724856 h 6728033"/>
              <a:gd name="connsiteX3" fmla="*/ 2552806 w 6431688"/>
              <a:gd name="connsiteY3" fmla="*/ 6727237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 name="connsiteX0" fmla="*/ 0 w 6431688"/>
              <a:gd name="connsiteY0" fmla="*/ 0 h 6728033"/>
              <a:gd name="connsiteX1" fmla="*/ 6431688 w 6431688"/>
              <a:gd name="connsiteY1" fmla="*/ 0 h 6728033"/>
              <a:gd name="connsiteX2" fmla="*/ 2673244 w 6431688"/>
              <a:gd name="connsiteY2" fmla="*/ 6531291 h 6728033"/>
              <a:gd name="connsiteX3" fmla="*/ 2558866 w 6431688"/>
              <a:gd name="connsiteY3" fmla="*/ 6724856 h 6728033"/>
              <a:gd name="connsiteX4" fmla="*/ 2552806 w 6431688"/>
              <a:gd name="connsiteY4" fmla="*/ 6727237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31531"/>
              <a:gd name="connsiteX1" fmla="*/ 6431688 w 6431688"/>
              <a:gd name="connsiteY1" fmla="*/ 0 h 6731531"/>
              <a:gd name="connsiteX2" fmla="*/ 3301066 w 6431688"/>
              <a:gd name="connsiteY2" fmla="*/ 6731531 h 6731531"/>
              <a:gd name="connsiteX3" fmla="*/ 2558866 w 6431688"/>
              <a:gd name="connsiteY3" fmla="*/ 6724856 h 6731531"/>
              <a:gd name="connsiteX4" fmla="*/ 2552806 w 6431688"/>
              <a:gd name="connsiteY4" fmla="*/ 6727237 h 6731531"/>
              <a:gd name="connsiteX5" fmla="*/ 5616 w 6431688"/>
              <a:gd name="connsiteY5" fmla="*/ 6728033 h 6731531"/>
              <a:gd name="connsiteX6" fmla="*/ 854 w 6431688"/>
              <a:gd name="connsiteY6" fmla="*/ 6728033 h 6731531"/>
              <a:gd name="connsiteX7" fmla="*/ 854 w 6431688"/>
              <a:gd name="connsiteY7" fmla="*/ 253446 h 6731531"/>
              <a:gd name="connsiteX8" fmla="*/ 0 w 6431688"/>
              <a:gd name="connsiteY8" fmla="*/ 253446 h 6731531"/>
              <a:gd name="connsiteX9" fmla="*/ 0 w 6431688"/>
              <a:gd name="connsiteY9" fmla="*/ 0 h 673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31688" h="6731531">
                <a:moveTo>
                  <a:pt x="0" y="0"/>
                </a:moveTo>
                <a:lnTo>
                  <a:pt x="6431688" y="0"/>
                </a:lnTo>
                <a:lnTo>
                  <a:pt x="3301066" y="6731531"/>
                </a:lnTo>
                <a:lnTo>
                  <a:pt x="2558866" y="6724856"/>
                </a:lnTo>
                <a:lnTo>
                  <a:pt x="2552806" y="6727237"/>
                </a:lnTo>
                <a:lnTo>
                  <a:pt x="5616" y="6728033"/>
                </a:lnTo>
                <a:lnTo>
                  <a:pt x="854" y="6728033"/>
                </a:lnTo>
                <a:lnTo>
                  <a:pt x="854" y="253446"/>
                </a:lnTo>
                <a:lnTo>
                  <a:pt x="0" y="253446"/>
                </a:lnTo>
                <a:lnTo>
                  <a:pt x="0" y="0"/>
                </a:lnTo>
                <a:close/>
              </a:path>
            </a:pathLst>
          </a:custGeom>
          <a:solidFill>
            <a:schemeClr val="accent4">
              <a:alpha val="90000"/>
            </a:schemeClr>
          </a:solidFill>
          <a:ln>
            <a:noFill/>
          </a:ln>
          <a:effectLst/>
        </p:spPr>
        <p:txBody>
          <a:bodyPr lIns="67211" tIns="33605" rIns="67211" bIns="33605"/>
          <a:lstStyle/>
          <a:p>
            <a:pPr>
              <a:defRPr/>
            </a:pPr>
            <a:endParaRPr lang="en-US" sz="1297" dirty="0">
              <a:latin typeface="Arial" charset="0"/>
              <a:cs typeface="+mn-cs"/>
            </a:endParaRPr>
          </a:p>
        </p:txBody>
      </p:sp>
      <p:sp>
        <p:nvSpPr>
          <p:cNvPr id="16" name="Freeform 182">
            <a:extLst>
              <a:ext uri="{FF2B5EF4-FFF2-40B4-BE49-F238E27FC236}"/>
            </a:extLst>
          </p:cNvPr>
          <p:cNvSpPr>
            <a:spLocks/>
          </p:cNvSpPr>
          <p:nvPr/>
        </p:nvSpPr>
        <p:spPr bwMode="gray">
          <a:xfrm>
            <a:off x="0" y="4727575"/>
            <a:ext cx="1154113" cy="1993900"/>
          </a:xfrm>
          <a:custGeom>
            <a:avLst/>
            <a:gdLst>
              <a:gd name="T0" fmla="*/ 0 w 496"/>
              <a:gd name="T1" fmla="*/ 0 h 832"/>
              <a:gd name="T2" fmla="*/ 496 w 496"/>
              <a:gd name="T3" fmla="*/ 832 h 832"/>
              <a:gd name="T4" fmla="*/ 0 w 496"/>
              <a:gd name="T5" fmla="*/ 832 h 832"/>
              <a:gd name="T6" fmla="*/ 0 w 496"/>
              <a:gd name="T7" fmla="*/ 0 h 832"/>
            </a:gdLst>
            <a:ahLst/>
            <a:cxnLst>
              <a:cxn ang="0">
                <a:pos x="T0" y="T1"/>
              </a:cxn>
              <a:cxn ang="0">
                <a:pos x="T2" y="T3"/>
              </a:cxn>
              <a:cxn ang="0">
                <a:pos x="T4" y="T5"/>
              </a:cxn>
              <a:cxn ang="0">
                <a:pos x="T6" y="T7"/>
              </a:cxn>
            </a:cxnLst>
            <a:rect l="0" t="0" r="r" b="b"/>
            <a:pathLst>
              <a:path w="496" h="832">
                <a:moveTo>
                  <a:pt x="0" y="0"/>
                </a:moveTo>
                <a:lnTo>
                  <a:pt x="496" y="832"/>
                </a:lnTo>
                <a:lnTo>
                  <a:pt x="0" y="832"/>
                </a:lnTo>
                <a:lnTo>
                  <a:pt x="0" y="0"/>
                </a:lnTo>
                <a:close/>
              </a:path>
            </a:pathLst>
          </a:custGeom>
          <a:solidFill>
            <a:schemeClr val="accent5"/>
          </a:solidFill>
          <a:ln>
            <a:noFill/>
          </a:ln>
          <a:effectLst>
            <a:outerShdw blurRad="50800" dist="38100" dir="18900000" algn="bl" rotWithShape="0">
              <a:prstClr val="black">
                <a:alpha val="40000"/>
              </a:prstClr>
            </a:outerShdw>
          </a:effectLst>
          <a:extLst/>
        </p:spPr>
        <p:txBody>
          <a:bodyPr lIns="67211" tIns="33605" rIns="67211" bIns="33605"/>
          <a:lstStyle/>
          <a:p>
            <a:pPr>
              <a:defRPr/>
            </a:pPr>
            <a:endParaRPr lang="en-US" sz="1297" dirty="0">
              <a:latin typeface="Arial" charset="0"/>
              <a:cs typeface="+mn-cs"/>
            </a:endParaRPr>
          </a:p>
        </p:txBody>
      </p:sp>
      <p:sp>
        <p:nvSpPr>
          <p:cNvPr id="6150" name="Rectangle 54"/>
          <p:cNvSpPr txBox="1">
            <a:spLocks noChangeArrowheads="1"/>
          </p:cNvSpPr>
          <p:nvPr/>
        </p:nvSpPr>
        <p:spPr bwMode="gray">
          <a:xfrm>
            <a:off x="312738" y="325438"/>
            <a:ext cx="5445125" cy="546100"/>
          </a:xfrm>
          <a:prstGeom prst="rect">
            <a:avLst/>
          </a:prstGeom>
          <a:noFill/>
          <a:ln w="9525">
            <a:noFill/>
            <a:miter lim="800000"/>
            <a:headEnd/>
            <a:tailEnd/>
          </a:ln>
        </p:spPr>
        <p:txBody>
          <a:bodyPr lIns="0" tIns="48460" rIns="0" bIns="0"/>
          <a:lstStyle/>
          <a:p>
            <a:pPr defTabSz="912813">
              <a:lnSpc>
                <a:spcPct val="90000"/>
              </a:lnSpc>
            </a:pPr>
            <a:r>
              <a:rPr lang="en-US" sz="1800" b="1">
                <a:solidFill>
                  <a:schemeClr val="bg1"/>
                </a:solidFill>
              </a:rPr>
              <a:t>National Economic Council: </a:t>
            </a:r>
            <a:br>
              <a:rPr lang="en-US" sz="1800" b="1">
                <a:solidFill>
                  <a:schemeClr val="bg1"/>
                </a:solidFill>
              </a:rPr>
            </a:br>
            <a:r>
              <a:rPr lang="en-US" sz="1800" b="1">
                <a:solidFill>
                  <a:schemeClr val="bg1"/>
                </a:solidFill>
              </a:rPr>
              <a:t>Human Capital Development Core Working Group</a:t>
            </a:r>
          </a:p>
        </p:txBody>
      </p:sp>
      <p:sp>
        <p:nvSpPr>
          <p:cNvPr id="19" name="Title">
            <a:extLst>
              <a:ext uri="{FF2B5EF4-FFF2-40B4-BE49-F238E27FC236}"/>
            </a:extLst>
          </p:cNvPr>
          <p:cNvSpPr txBox="1">
            <a:spLocks noChangeArrowheads="1"/>
          </p:cNvSpPr>
          <p:nvPr/>
        </p:nvSpPr>
        <p:spPr bwMode="gray">
          <a:xfrm>
            <a:off x="312738" y="1373188"/>
            <a:ext cx="5445125" cy="1477962"/>
          </a:xfrm>
          <a:prstGeom prst="rect">
            <a:avLst/>
          </a:prstGeom>
          <a:noFill/>
          <a:ln>
            <a:noFill/>
          </a:ln>
          <a:effectLst/>
          <a:extLst>
            <a:ext uri="{909E8E84-426E-40DD-AFC4-6F175D3DCCD1}"/>
            <a:ext uri="{91240B29-F687-4F45-9708-019B960494DF}"/>
            <a:ext uri="{AF507438-7753-43E0-B8FC-AC1667EBCBE1}"/>
          </a:extLst>
        </p:spPr>
        <p:txBody>
          <a:bodyPr lIns="0" tIns="0" rIns="0" bIns="0" anchor="ctr"/>
          <a:lstStyle>
            <a:lvl1pPr algn="l" defTabSz="895350" rtl="0" eaLnBrk="1" fontAlgn="base" hangingPunct="1">
              <a:spcBef>
                <a:spcPct val="0"/>
              </a:spcBef>
              <a:spcAft>
                <a:spcPct val="0"/>
              </a:spcAft>
              <a:tabLst>
                <a:tab pos="269875" algn="l"/>
              </a:tabLst>
              <a:defRPr sz="1800" b="0" baseline="0">
                <a:solidFill>
                  <a:schemeClr val="bg1"/>
                </a:solidFill>
                <a:latin typeface="Georgia" panose="02040502050405020303" pitchFamily="18" charset="0"/>
                <a:ea typeface="+mj-ea"/>
                <a:cs typeface="Calibri" panose="020F0502020204030204" pitchFamily="34" charset="0"/>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defRPr/>
            </a:pPr>
            <a:r>
              <a:rPr lang="en-GB" sz="3200" dirty="0">
                <a:latin typeface="+mj-lt"/>
              </a:rPr>
              <a:t>Achieving Nigeria’s Vision for Human Capital Development </a:t>
            </a:r>
            <a:endParaRPr lang="en-US" sz="3200" kern="0" dirty="0">
              <a:latin typeface="+mj-lt"/>
            </a:endParaRPr>
          </a:p>
        </p:txBody>
      </p:sp>
      <p:sp>
        <p:nvSpPr>
          <p:cNvPr id="20" name="Subtitle">
            <a:extLst>
              <a:ext uri="{FF2B5EF4-FFF2-40B4-BE49-F238E27FC236}"/>
            </a:extLst>
          </p:cNvPr>
          <p:cNvSpPr txBox="1">
            <a:spLocks noChangeArrowheads="1"/>
          </p:cNvSpPr>
          <p:nvPr/>
        </p:nvSpPr>
        <p:spPr bwMode="gray">
          <a:xfrm>
            <a:off x="312738" y="3898900"/>
            <a:ext cx="4508500" cy="1230313"/>
          </a:xfrm>
          <a:prstGeom prst="rect">
            <a:avLst/>
          </a:prstGeom>
        </p:spPr>
        <p:txBody>
          <a:bodyPr lIns="0" tIns="0" rIns="0" bIns="0">
            <a:spAutoFit/>
          </a:bodyPr>
          <a:lstStyle>
            <a:lvl1pPr marL="0" indent="0" algn="l" defTabSz="895350" rtl="0" eaLnBrk="1" fontAlgn="base" hangingPunct="1">
              <a:spcBef>
                <a:spcPct val="0"/>
              </a:spcBef>
              <a:spcAft>
                <a:spcPct val="0"/>
              </a:spcAft>
              <a:buClr>
                <a:schemeClr val="tx2"/>
              </a:buClr>
              <a:buSzPct val="100000"/>
              <a:defRPr sz="1800" cap="all" baseline="0">
                <a:solidFill>
                  <a:schemeClr val="bg1"/>
                </a:solidFill>
                <a:latin typeface="Georgia" panose="02040502050405020303" pitchFamily="18" charset="0"/>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defRPr/>
            </a:pPr>
            <a:r>
              <a:rPr lang="en-US" sz="1600" dirty="0">
                <a:latin typeface="+mj-lt"/>
              </a:rPr>
              <a:t>–CWG COORDINATOR</a:t>
            </a:r>
          </a:p>
          <a:p>
            <a:pPr>
              <a:defRPr/>
            </a:pPr>
            <a:endParaRPr lang="en-US" sz="1600" dirty="0">
              <a:latin typeface="+mj-lt"/>
            </a:endParaRPr>
          </a:p>
          <a:p>
            <a:pPr>
              <a:defRPr/>
            </a:pPr>
            <a:r>
              <a:rPr lang="en-US" sz="1600" dirty="0" smtClean="0">
                <a:latin typeface="+mj-lt"/>
              </a:rPr>
              <a:t>APRIL 30</a:t>
            </a:r>
            <a:r>
              <a:rPr lang="en-US" sz="1600" baseline="30000" dirty="0" smtClean="0">
                <a:latin typeface="+mj-lt"/>
              </a:rPr>
              <a:t>TH</a:t>
            </a:r>
            <a:r>
              <a:rPr lang="en-US" sz="1600" dirty="0" smtClean="0">
                <a:latin typeface="+mj-lt"/>
              </a:rPr>
              <a:t> , 2019</a:t>
            </a:r>
            <a:endParaRPr lang="en-US" sz="1600" dirty="0">
              <a:latin typeface="+mj-lt"/>
            </a:endParaRPr>
          </a:p>
          <a:p>
            <a:pPr>
              <a:defRPr/>
            </a:pPr>
            <a:endParaRPr lang="en-US" sz="1600" dirty="0">
              <a:latin typeface="+mj-lt"/>
            </a:endParaRPr>
          </a:p>
          <a:p>
            <a:pPr>
              <a:defRPr/>
            </a:pPr>
            <a:r>
              <a:rPr lang="en-US" sz="1600" dirty="0">
                <a:latin typeface="+mj-lt"/>
              </a:rPr>
              <a:t> </a:t>
            </a:r>
          </a:p>
        </p:txBody>
      </p:sp>
      <p:sp>
        <p:nvSpPr>
          <p:cNvPr id="22" name="Freeform 14">
            <a:extLst>
              <a:ext uri="{FF2B5EF4-FFF2-40B4-BE49-F238E27FC236}"/>
            </a:extLst>
          </p:cNvPr>
          <p:cNvSpPr/>
          <p:nvPr/>
        </p:nvSpPr>
        <p:spPr bwMode="gray">
          <a:xfrm flipH="1" flipV="1">
            <a:off x="3686175" y="6350"/>
            <a:ext cx="5275263" cy="6724650"/>
          </a:xfrm>
          <a:custGeom>
            <a:avLst/>
            <a:gdLst>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799248 w 6431688"/>
              <a:gd name="connsiteY5" fmla="*/ 6728033 h 6728033"/>
              <a:gd name="connsiteX6" fmla="*/ 5616 w 6431688"/>
              <a:gd name="connsiteY6" fmla="*/ 6728033 h 6728033"/>
              <a:gd name="connsiteX7" fmla="*/ 854 w 6431688"/>
              <a:gd name="connsiteY7" fmla="*/ 6728033 h 6728033"/>
              <a:gd name="connsiteX8" fmla="*/ 854 w 6431688"/>
              <a:gd name="connsiteY8" fmla="*/ 253446 h 6728033"/>
              <a:gd name="connsiteX9" fmla="*/ 0 w 6431688"/>
              <a:gd name="connsiteY9" fmla="*/ 253446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 name="connsiteX0" fmla="*/ 0 w 6431688"/>
              <a:gd name="connsiteY0" fmla="*/ 0 h 6728033"/>
              <a:gd name="connsiteX1" fmla="*/ 6431688 w 6431688"/>
              <a:gd name="connsiteY1" fmla="*/ 0 h 6728033"/>
              <a:gd name="connsiteX2" fmla="*/ 2558866 w 6431688"/>
              <a:gd name="connsiteY2" fmla="*/ 6724856 h 6728033"/>
              <a:gd name="connsiteX3" fmla="*/ 2552806 w 6431688"/>
              <a:gd name="connsiteY3" fmla="*/ 6727237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 name="connsiteX0" fmla="*/ 0 w 6431688"/>
              <a:gd name="connsiteY0" fmla="*/ 0 h 6728033"/>
              <a:gd name="connsiteX1" fmla="*/ 6431688 w 6431688"/>
              <a:gd name="connsiteY1" fmla="*/ 0 h 6728033"/>
              <a:gd name="connsiteX2" fmla="*/ 2673244 w 6431688"/>
              <a:gd name="connsiteY2" fmla="*/ 6531291 h 6728033"/>
              <a:gd name="connsiteX3" fmla="*/ 2558866 w 6431688"/>
              <a:gd name="connsiteY3" fmla="*/ 6724856 h 6728033"/>
              <a:gd name="connsiteX4" fmla="*/ 2552806 w 6431688"/>
              <a:gd name="connsiteY4" fmla="*/ 6727237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31531"/>
              <a:gd name="connsiteX1" fmla="*/ 6431688 w 6431688"/>
              <a:gd name="connsiteY1" fmla="*/ 0 h 6731531"/>
              <a:gd name="connsiteX2" fmla="*/ 3301066 w 6431688"/>
              <a:gd name="connsiteY2" fmla="*/ 6731531 h 6731531"/>
              <a:gd name="connsiteX3" fmla="*/ 2558866 w 6431688"/>
              <a:gd name="connsiteY3" fmla="*/ 6724856 h 6731531"/>
              <a:gd name="connsiteX4" fmla="*/ 2552806 w 6431688"/>
              <a:gd name="connsiteY4" fmla="*/ 6727237 h 6731531"/>
              <a:gd name="connsiteX5" fmla="*/ 5616 w 6431688"/>
              <a:gd name="connsiteY5" fmla="*/ 6728033 h 6731531"/>
              <a:gd name="connsiteX6" fmla="*/ 854 w 6431688"/>
              <a:gd name="connsiteY6" fmla="*/ 6728033 h 6731531"/>
              <a:gd name="connsiteX7" fmla="*/ 854 w 6431688"/>
              <a:gd name="connsiteY7" fmla="*/ 253446 h 6731531"/>
              <a:gd name="connsiteX8" fmla="*/ 0 w 6431688"/>
              <a:gd name="connsiteY8" fmla="*/ 253446 h 6731531"/>
              <a:gd name="connsiteX9" fmla="*/ 0 w 6431688"/>
              <a:gd name="connsiteY9" fmla="*/ 0 h 6731531"/>
              <a:gd name="connsiteX0" fmla="*/ 0 w 6431688"/>
              <a:gd name="connsiteY0" fmla="*/ 0 h 6728033"/>
              <a:gd name="connsiteX1" fmla="*/ 6431688 w 6431688"/>
              <a:gd name="connsiteY1" fmla="*/ 0 h 6728033"/>
              <a:gd name="connsiteX2" fmla="*/ 2081698 w 6431688"/>
              <a:gd name="connsiteY2" fmla="*/ 6664785 h 6728033"/>
              <a:gd name="connsiteX3" fmla="*/ 2558866 w 6431688"/>
              <a:gd name="connsiteY3" fmla="*/ 6724856 h 6728033"/>
              <a:gd name="connsiteX4" fmla="*/ 2552806 w 6431688"/>
              <a:gd name="connsiteY4" fmla="*/ 6727237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28033"/>
              <a:gd name="connsiteX1" fmla="*/ 6431688 w 6431688"/>
              <a:gd name="connsiteY1" fmla="*/ 0 h 6728033"/>
              <a:gd name="connsiteX2" fmla="*/ 2081698 w 6431688"/>
              <a:gd name="connsiteY2" fmla="*/ 6664785 h 6728033"/>
              <a:gd name="connsiteX3" fmla="*/ 2558866 w 6431688"/>
              <a:gd name="connsiteY3" fmla="*/ 6724856 h 6728033"/>
              <a:gd name="connsiteX4" fmla="*/ 1693442 w 6431688"/>
              <a:gd name="connsiteY4" fmla="*/ 6727237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28033"/>
              <a:gd name="connsiteX1" fmla="*/ 6431688 w 6431688"/>
              <a:gd name="connsiteY1" fmla="*/ 0 h 6728033"/>
              <a:gd name="connsiteX2" fmla="*/ 2081698 w 6431688"/>
              <a:gd name="connsiteY2" fmla="*/ 6664785 h 6728033"/>
              <a:gd name="connsiteX3" fmla="*/ 1699501 w 6431688"/>
              <a:gd name="connsiteY3" fmla="*/ 6724857 h 6728033"/>
              <a:gd name="connsiteX4" fmla="*/ 1693442 w 6431688"/>
              <a:gd name="connsiteY4" fmla="*/ 6727237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31532"/>
              <a:gd name="connsiteX1" fmla="*/ 6431688 w 6431688"/>
              <a:gd name="connsiteY1" fmla="*/ 0 h 6731532"/>
              <a:gd name="connsiteX2" fmla="*/ 2116537 w 6431688"/>
              <a:gd name="connsiteY2" fmla="*/ 6731532 h 6731532"/>
              <a:gd name="connsiteX3" fmla="*/ 1699501 w 6431688"/>
              <a:gd name="connsiteY3" fmla="*/ 6724857 h 6731532"/>
              <a:gd name="connsiteX4" fmla="*/ 1693442 w 6431688"/>
              <a:gd name="connsiteY4" fmla="*/ 6727237 h 6731532"/>
              <a:gd name="connsiteX5" fmla="*/ 5616 w 6431688"/>
              <a:gd name="connsiteY5" fmla="*/ 6728033 h 6731532"/>
              <a:gd name="connsiteX6" fmla="*/ 854 w 6431688"/>
              <a:gd name="connsiteY6" fmla="*/ 6728033 h 6731532"/>
              <a:gd name="connsiteX7" fmla="*/ 854 w 6431688"/>
              <a:gd name="connsiteY7" fmla="*/ 253446 h 6731532"/>
              <a:gd name="connsiteX8" fmla="*/ 0 w 6431688"/>
              <a:gd name="connsiteY8" fmla="*/ 253446 h 6731532"/>
              <a:gd name="connsiteX9" fmla="*/ 0 w 6431688"/>
              <a:gd name="connsiteY9" fmla="*/ 0 h 673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31688" h="6731532">
                <a:moveTo>
                  <a:pt x="0" y="0"/>
                </a:moveTo>
                <a:lnTo>
                  <a:pt x="6431688" y="0"/>
                </a:lnTo>
                <a:lnTo>
                  <a:pt x="2116537" y="6731532"/>
                </a:lnTo>
                <a:lnTo>
                  <a:pt x="1699501" y="6724857"/>
                </a:lnTo>
                <a:lnTo>
                  <a:pt x="1693442" y="6727237"/>
                </a:lnTo>
                <a:lnTo>
                  <a:pt x="5616" y="6728033"/>
                </a:lnTo>
                <a:lnTo>
                  <a:pt x="854" y="6728033"/>
                </a:lnTo>
                <a:lnTo>
                  <a:pt x="854" y="253446"/>
                </a:lnTo>
                <a:lnTo>
                  <a:pt x="0" y="253446"/>
                </a:lnTo>
                <a:lnTo>
                  <a:pt x="0" y="0"/>
                </a:lnTo>
                <a:close/>
              </a:path>
            </a:pathLst>
          </a:custGeom>
          <a:solidFill>
            <a:schemeClr val="bg1">
              <a:alpha val="80000"/>
            </a:schemeClr>
          </a:solidFill>
          <a:ln>
            <a:noFill/>
          </a:ln>
          <a:effectLst>
            <a:outerShdw blurRad="50800" dist="38100" dir="13500000" algn="br" rotWithShape="0">
              <a:prstClr val="black">
                <a:alpha val="40000"/>
              </a:prstClr>
            </a:outerShdw>
          </a:effectLst>
        </p:spPr>
        <p:txBody>
          <a:bodyPr lIns="67211" tIns="33605" rIns="67211" bIns="33605"/>
          <a:lstStyle/>
          <a:p>
            <a:pPr>
              <a:defRPr/>
            </a:pPr>
            <a:endParaRPr lang="en-US" sz="1297" dirty="0">
              <a:latin typeface="Arial" charset="0"/>
              <a:cs typeface="+mn-cs"/>
            </a:endParaRPr>
          </a:p>
        </p:txBody>
      </p:sp>
      <p:pic>
        <p:nvPicPr>
          <p:cNvPr id="23" name="Picture 22">
            <a:extLst>
              <a:ext uri="{FF2B5EF4-FFF2-40B4-BE49-F238E27FC236}"/>
            </a:extLst>
          </p:cNvPr>
          <p:cNvPicPr>
            <a:picLocks noChangeAspect="1"/>
          </p:cNvPicPr>
          <p:nvPr/>
        </p:nvPicPr>
        <p:blipFill rotWithShape="1">
          <a:blip r:embed="rId5"/>
          <a:srcRect l="11547" t="21650" r="59038" b="26057"/>
          <a:stretch/>
        </p:blipFill>
        <p:spPr>
          <a:xfrm>
            <a:off x="6094758" y="3996800"/>
            <a:ext cx="2398235" cy="2327698"/>
          </a:xfrm>
          <a:prstGeom prst="ellipse">
            <a:avLst/>
          </a:prstGeom>
        </p:spPr>
      </p:pic>
      <p:cxnSp>
        <p:nvCxnSpPr>
          <p:cNvPr id="4" name="Straight Connector 3">
            <a:extLst>
              <a:ext uri="{FF2B5EF4-FFF2-40B4-BE49-F238E27FC236}"/>
            </a:extLst>
          </p:cNvPr>
          <p:cNvCxnSpPr>
            <a:cxnSpLocks/>
          </p:cNvCxnSpPr>
          <p:nvPr/>
        </p:nvCxnSpPr>
        <p:spPr>
          <a:xfrm>
            <a:off x="312738" y="1322388"/>
            <a:ext cx="97313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142"/>
          <p:cNvGraphicFramePr>
            <a:graphicFrameLocks noChangeAspect="1"/>
          </p:cNvGraphicFramePr>
          <p:nvPr/>
        </p:nvGraphicFramePr>
        <p:xfrm>
          <a:off x="1588" y="1588"/>
          <a:ext cx="1587" cy="1587"/>
        </p:xfrm>
        <a:graphic>
          <a:graphicData uri="http://schemas.openxmlformats.org/presentationml/2006/ole">
            <p:oleObj spid="_x0000_s15362" name="think-cell Slide" r:id="rId67" imgW="360" imgH="360" progId="">
              <p:embed/>
            </p:oleObj>
          </a:graphicData>
        </a:graphic>
      </p:graphicFrame>
      <p:sp>
        <p:nvSpPr>
          <p:cNvPr id="23" name="Rectangle 22" hidden="1">
            <a:extLst>
              <a:ext uri="{FF2B5EF4-FFF2-40B4-BE49-F238E27FC236}"/>
            </a:extLst>
          </p:cNvPr>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GB" sz="1400" dirty="0">
              <a:solidFill>
                <a:schemeClr val="tx1"/>
              </a:solidFill>
              <a:sym typeface="Arial" panose="020B0604020202020204" pitchFamily="34" charset="0"/>
            </a:endParaRPr>
          </a:p>
        </p:txBody>
      </p:sp>
      <p:sp>
        <p:nvSpPr>
          <p:cNvPr id="15364" name="Title 1"/>
          <p:cNvSpPr>
            <a:spLocks noGrp="1"/>
          </p:cNvSpPr>
          <p:nvPr>
            <p:ph type="title"/>
          </p:nvPr>
        </p:nvSpPr>
        <p:spPr>
          <a:xfrm>
            <a:off x="119063" y="230188"/>
            <a:ext cx="8618537" cy="615950"/>
          </a:xfrm>
        </p:spPr>
        <p:txBody>
          <a:bodyPr/>
          <a:lstStyle/>
          <a:p>
            <a:pPr marL="357188"/>
            <a:r>
              <a:rPr lang="en-GB" smtClean="0"/>
              <a:t>Labour force participation: only 55% of the working age population (56m) are in the labour force</a:t>
            </a:r>
          </a:p>
        </p:txBody>
      </p:sp>
      <p:sp>
        <p:nvSpPr>
          <p:cNvPr id="10" name="TextBox 9">
            <a:extLst>
              <a:ext uri="{FF2B5EF4-FFF2-40B4-BE49-F238E27FC236}"/>
            </a:extLst>
          </p:cNvPr>
          <p:cNvSpPr txBox="1">
            <a:spLocks/>
          </p:cNvSpPr>
          <p:nvPr>
            <p:custDataLst>
              <p:tags r:id="rId3"/>
            </p:custDataLst>
          </p:nvPr>
        </p:nvSpPr>
        <p:spPr>
          <a:xfrm>
            <a:off x="119063" y="5583238"/>
            <a:ext cx="8618537" cy="523875"/>
          </a:xfrm>
          <a:prstGeom prst="rect">
            <a:avLst/>
          </a:prstGeom>
          <a:solidFill>
            <a:schemeClr val="accent4"/>
          </a:solidFill>
          <a:ln w="28575">
            <a:noFill/>
          </a:ln>
        </p:spPr>
        <p:txBody>
          <a:bodyPr lIns="45720" rIns="4572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spcBef>
                <a:spcPct val="50000"/>
              </a:spcBef>
              <a:buClr>
                <a:schemeClr val="lt1"/>
              </a:buClr>
              <a:buFont typeface="Arial" charset="0"/>
              <a:buNone/>
              <a:defRPr/>
            </a:pPr>
            <a:r>
              <a:rPr lang="en-GB" b="1" dirty="0">
                <a:solidFill>
                  <a:schemeClr val="bg1"/>
                </a:solidFill>
                <a:cs typeface="+mn-cs"/>
              </a:rPr>
              <a:t>Labour force participation increases human capital through on the job experience, captured in the World Economic Forum Human Capacity Index </a:t>
            </a:r>
          </a:p>
        </p:txBody>
      </p:sp>
      <p:sp>
        <p:nvSpPr>
          <p:cNvPr id="20" name="5. Source">
            <a:extLst>
              <a:ext uri="{FF2B5EF4-FFF2-40B4-BE49-F238E27FC236}"/>
            </a:extLst>
          </p:cNvPr>
          <p:cNvSpPr>
            <a:spLocks noChangeArrowheads="1"/>
          </p:cNvSpPr>
          <p:nvPr/>
        </p:nvSpPr>
        <p:spPr bwMode="gray">
          <a:xfrm>
            <a:off x="119063" y="6548438"/>
            <a:ext cx="8467725" cy="122237"/>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GB" sz="800" dirty="0">
                <a:solidFill>
                  <a:schemeClr val="accent6"/>
                </a:solidFill>
                <a:latin typeface="+mn-lt"/>
                <a:cs typeface="+mn-cs"/>
              </a:rPr>
              <a:t>SOURCE: United Nations DESA Population division (2015), NBS- Nation Bureau of Statistics- </a:t>
            </a:r>
            <a:r>
              <a:rPr lang="en-GB" sz="800" dirty="0">
                <a:solidFill>
                  <a:schemeClr val="accent6"/>
                </a:solidFill>
                <a:latin typeface="Arial" charset="0"/>
                <a:cs typeface="+mn-cs"/>
              </a:rPr>
              <a:t>Labour Force Statistics Vol. 1: Unemployment and Underemployment Report (Q1-Q3 2017)</a:t>
            </a:r>
            <a:r>
              <a:rPr lang="en-GB" sz="800" dirty="0">
                <a:solidFill>
                  <a:schemeClr val="accent6"/>
                </a:solidFill>
                <a:latin typeface="+mn-lt"/>
                <a:cs typeface="+mn-cs"/>
              </a:rPr>
              <a:t> </a:t>
            </a:r>
          </a:p>
        </p:txBody>
      </p:sp>
      <p:sp>
        <p:nvSpPr>
          <p:cNvPr id="100" name="TextBox 185">
            <a:extLst>
              <a:ext uri="{FF2B5EF4-FFF2-40B4-BE49-F238E27FC236}"/>
            </a:extLst>
          </p:cNvPr>
          <p:cNvSpPr txBox="1"/>
          <p:nvPr/>
        </p:nvSpPr>
        <p:spPr>
          <a:xfrm>
            <a:off x="1477963" y="5327650"/>
            <a:ext cx="1739900" cy="215900"/>
          </a:xfrm>
          <a:prstGeom prst="rect">
            <a:avLst/>
          </a:prstGeom>
        </p:spPr>
        <p:txBody>
          <a:bodyPr wrap="none" lIns="0" tIns="0" rIns="0" bIns="0">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defRPr/>
            </a:pPr>
            <a:r>
              <a:rPr lang="en-GB" sz="1400" b="1" dirty="0">
                <a:solidFill>
                  <a:schemeClr val="accent4"/>
                </a:solidFill>
                <a:latin typeface="+mn-lt"/>
              </a:rPr>
              <a:t>Population, </a:t>
            </a:r>
            <a:r>
              <a:rPr lang="en-GB" sz="1400" dirty="0">
                <a:solidFill>
                  <a:schemeClr val="accent6"/>
                </a:solidFill>
                <a:latin typeface="+mn-lt"/>
              </a:rPr>
              <a:t>(millions)</a:t>
            </a:r>
          </a:p>
        </p:txBody>
      </p:sp>
      <p:sp>
        <p:nvSpPr>
          <p:cNvPr id="6" name="TextBox 5">
            <a:extLst>
              <a:ext uri="{FF2B5EF4-FFF2-40B4-BE49-F238E27FC236}"/>
            </a:extLst>
          </p:cNvPr>
          <p:cNvSpPr txBox="1"/>
          <p:nvPr/>
        </p:nvSpPr>
        <p:spPr>
          <a:xfrm rot="16200000">
            <a:off x="-338137" y="3224213"/>
            <a:ext cx="1016000" cy="215900"/>
          </a:xfrm>
          <a:prstGeom prst="rect">
            <a:avLst/>
          </a:prstGeom>
        </p:spPr>
        <p:txBody>
          <a:bodyPr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GB" b="1" dirty="0">
                <a:solidFill>
                  <a:schemeClr val="accent4"/>
                </a:solidFill>
                <a:cs typeface="+mn-cs"/>
              </a:rPr>
              <a:t>Age group</a:t>
            </a:r>
          </a:p>
        </p:txBody>
      </p:sp>
      <p:sp>
        <p:nvSpPr>
          <p:cNvPr id="11" name="TextBox 10">
            <a:extLst>
              <a:ext uri="{FF2B5EF4-FFF2-40B4-BE49-F238E27FC236}"/>
            </a:extLst>
          </p:cNvPr>
          <p:cNvSpPr txBox="1"/>
          <p:nvPr/>
        </p:nvSpPr>
        <p:spPr>
          <a:xfrm rot="16200000">
            <a:off x="3546475" y="3149601"/>
            <a:ext cx="1165225" cy="215900"/>
          </a:xfrm>
          <a:prstGeom prst="rect">
            <a:avLst/>
          </a:prstGeom>
        </p:spPr>
        <p:txBody>
          <a:bodyPr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GB" b="1" dirty="0">
                <a:solidFill>
                  <a:schemeClr val="accent4"/>
                </a:solidFill>
                <a:cs typeface="+mn-cs"/>
              </a:rPr>
              <a:t>Age group</a:t>
            </a:r>
          </a:p>
        </p:txBody>
      </p:sp>
      <p:sp>
        <p:nvSpPr>
          <p:cNvPr id="158" name="TextBox 185">
            <a:extLst>
              <a:ext uri="{FF2B5EF4-FFF2-40B4-BE49-F238E27FC236}"/>
            </a:extLst>
          </p:cNvPr>
          <p:cNvSpPr txBox="1"/>
          <p:nvPr/>
        </p:nvSpPr>
        <p:spPr>
          <a:xfrm>
            <a:off x="5480050" y="5327650"/>
            <a:ext cx="1739900" cy="215900"/>
          </a:xfrm>
          <a:prstGeom prst="rect">
            <a:avLst/>
          </a:prstGeom>
        </p:spPr>
        <p:txBody>
          <a:bodyPr wrap="none" lIns="0" tIns="0" rIns="0" bIns="0">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defRPr/>
            </a:pPr>
            <a:r>
              <a:rPr lang="en-GB" sz="1400" b="1" dirty="0">
                <a:solidFill>
                  <a:schemeClr val="accent4"/>
                </a:solidFill>
                <a:latin typeface="+mn-lt"/>
              </a:rPr>
              <a:t>Population, </a:t>
            </a:r>
            <a:r>
              <a:rPr lang="en-GB" sz="1400" dirty="0">
                <a:solidFill>
                  <a:schemeClr val="accent6"/>
                </a:solidFill>
                <a:latin typeface="+mn-lt"/>
              </a:rPr>
              <a:t>(millions)</a:t>
            </a:r>
          </a:p>
        </p:txBody>
      </p:sp>
      <p:cxnSp>
        <p:nvCxnSpPr>
          <p:cNvPr id="151" name="Straight Connector 150">
            <a:extLst>
              <a:ext uri="{FF2B5EF4-FFF2-40B4-BE49-F238E27FC236}"/>
            </a:extLst>
          </p:cNvPr>
          <p:cNvCxnSpPr>
            <a:cxnSpLocks/>
          </p:cNvCxnSpPr>
          <p:nvPr/>
        </p:nvCxnSpPr>
        <p:spPr>
          <a:xfrm>
            <a:off x="4021138" y="1703388"/>
            <a:ext cx="0" cy="3770312"/>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1. On-page tracker">
            <a:extLst>
              <a:ext uri="{FF2B5EF4-FFF2-40B4-BE49-F238E27FC236}"/>
            </a:extLst>
          </p:cNvPr>
          <p:cNvSpPr>
            <a:spLocks noChangeArrowheads="1"/>
          </p:cNvSpPr>
          <p:nvPr/>
        </p:nvSpPr>
        <p:spPr bwMode="gray">
          <a:xfrm>
            <a:off x="119063" y="76200"/>
            <a:ext cx="1931987"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GB" sz="800" cap="all" dirty="0">
                <a:solidFill>
                  <a:schemeClr val="accent6"/>
                </a:solidFill>
                <a:latin typeface="+mn-lt"/>
                <a:cs typeface="+mn-cs"/>
              </a:rPr>
              <a:t>LABOUR FORCE PARTICIPATION RATE</a:t>
            </a:r>
          </a:p>
        </p:txBody>
      </p:sp>
      <p:sp>
        <p:nvSpPr>
          <p:cNvPr id="78" name="4. Footnote">
            <a:extLst>
              <a:ext uri="{FF2B5EF4-FFF2-40B4-BE49-F238E27FC236}"/>
            </a:extLst>
          </p:cNvPr>
          <p:cNvSpPr txBox="1">
            <a:spLocks noChangeArrowheads="1"/>
          </p:cNvSpPr>
          <p:nvPr/>
        </p:nvSpPr>
        <p:spPr bwMode="gray">
          <a:xfrm>
            <a:off x="119063" y="6183313"/>
            <a:ext cx="8618537" cy="246062"/>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800" dirty="0">
                <a:solidFill>
                  <a:schemeClr val="accent6"/>
                </a:solidFill>
                <a:latin typeface="+mn-lt"/>
                <a:cs typeface="+mn-cs"/>
              </a:rPr>
              <a:t>1 Demographic dividend refers to the growth in an economy that is the resultant effect of a change in the age structure of a country's population. The change in age structure is typically brought on by a decline in fertility and mortality rates.</a:t>
            </a:r>
          </a:p>
        </p:txBody>
      </p:sp>
      <p:grpSp>
        <p:nvGrpSpPr>
          <p:cNvPr id="15374" name="Group 12"/>
          <p:cNvGrpSpPr>
            <a:grpSpLocks/>
          </p:cNvGrpSpPr>
          <p:nvPr/>
        </p:nvGrpSpPr>
        <p:grpSpPr bwMode="auto">
          <a:xfrm>
            <a:off x="5294313" y="920750"/>
            <a:ext cx="3443287" cy="169863"/>
            <a:chOff x="4902843" y="921075"/>
            <a:chExt cx="3442717" cy="169277"/>
          </a:xfrm>
        </p:grpSpPr>
        <p:sp>
          <p:nvSpPr>
            <p:cNvPr id="82" name="RectangleLegend1">
              <a:extLst>
                <a:ext uri="{FF2B5EF4-FFF2-40B4-BE49-F238E27FC236}"/>
              </a:extLst>
            </p:cNvPr>
            <p:cNvSpPr>
              <a:spLocks noChangeArrowheads="1"/>
            </p:cNvSpPr>
            <p:nvPr/>
          </p:nvSpPr>
          <p:spPr bwMode="gray">
            <a:xfrm>
              <a:off x="4902843" y="925822"/>
              <a:ext cx="160310" cy="159784"/>
            </a:xfrm>
            <a:prstGeom prst="rect">
              <a:avLst/>
            </a:prstGeom>
            <a:solidFill>
              <a:schemeClr val="accent1"/>
            </a:solidFill>
            <a:ln w="9525">
              <a:solidFill>
                <a:schemeClr val="bg1"/>
              </a:solidFill>
              <a:miter lim="800000"/>
              <a:headEnd/>
              <a:tailEnd/>
            </a:ln>
            <a:effectLst/>
            <a:extLst>
              <a:ext uri="{AF507438-7753-43E0-B8FC-AC1667EBCBE1}"/>
            </a:extLst>
          </p:spPr>
          <p:txBody>
            <a:bodyPr wrap="none" anchor="ctr"/>
            <a:lstStyle/>
            <a:p>
              <a:pPr>
                <a:defRPr/>
              </a:pPr>
              <a:endParaRPr lang="en-GB" sz="1100" dirty="0">
                <a:latin typeface="+mn-lt"/>
                <a:cs typeface="+mn-cs"/>
              </a:endParaRPr>
            </a:p>
          </p:txBody>
        </p:sp>
        <p:sp>
          <p:nvSpPr>
            <p:cNvPr id="87" name="RectangleLegend4">
              <a:extLst>
                <a:ext uri="{FF2B5EF4-FFF2-40B4-BE49-F238E27FC236}"/>
              </a:extLst>
            </p:cNvPr>
            <p:cNvSpPr>
              <a:spLocks noChangeArrowheads="1"/>
            </p:cNvSpPr>
            <p:nvPr/>
          </p:nvSpPr>
          <p:spPr bwMode="gray">
            <a:xfrm>
              <a:off x="6720229" y="925822"/>
              <a:ext cx="160311" cy="159784"/>
            </a:xfrm>
            <a:prstGeom prst="rect">
              <a:avLst/>
            </a:prstGeom>
            <a:solidFill>
              <a:schemeClr val="accent4"/>
            </a:solidFill>
            <a:ln w="9525">
              <a:solidFill>
                <a:schemeClr val="bg1"/>
              </a:solidFill>
              <a:miter lim="800000"/>
              <a:headEnd/>
              <a:tailEnd/>
            </a:ln>
            <a:effectLst/>
            <a:extLst>
              <a:ext uri="{AF507438-7753-43E0-B8FC-AC1667EBCBE1}"/>
            </a:extLst>
          </p:spPr>
          <p:txBody>
            <a:bodyPr wrap="none" anchor="ctr"/>
            <a:lstStyle/>
            <a:p>
              <a:pPr>
                <a:defRPr/>
              </a:pPr>
              <a:endParaRPr lang="en-GB" sz="1100" dirty="0">
                <a:latin typeface="+mn-lt"/>
                <a:cs typeface="+mn-cs"/>
              </a:endParaRPr>
            </a:p>
          </p:txBody>
        </p:sp>
        <p:sp>
          <p:nvSpPr>
            <p:cNvPr id="88" name="Legend1">
              <a:extLst>
                <a:ext uri="{FF2B5EF4-FFF2-40B4-BE49-F238E27FC236}"/>
              </a:extLst>
            </p:cNvPr>
            <p:cNvSpPr>
              <a:spLocks noChangeArrowheads="1"/>
            </p:cNvSpPr>
            <p:nvPr>
              <p:custDataLst>
                <p:tags r:id="rId63"/>
              </p:custDataLst>
            </p:nvPr>
          </p:nvSpPr>
          <p:spPr bwMode="gray">
            <a:xfrm>
              <a:off x="5145690" y="921075"/>
              <a:ext cx="1484067" cy="169277"/>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p>
              <a:pPr defTabSz="895350">
                <a:buClr>
                  <a:schemeClr val="tx2"/>
                </a:buClr>
                <a:defRPr/>
              </a:pPr>
              <a:r>
                <a:rPr lang="en-GB" sz="1100" dirty="0">
                  <a:latin typeface="+mn-lt"/>
                  <a:cs typeface="+mn-cs"/>
                </a:rPr>
                <a:t>Working age population</a:t>
              </a:r>
            </a:p>
          </p:txBody>
        </p:sp>
        <p:sp>
          <p:nvSpPr>
            <p:cNvPr id="91" name="Legend4">
              <a:extLst>
                <a:ext uri="{FF2B5EF4-FFF2-40B4-BE49-F238E27FC236}"/>
              </a:extLst>
            </p:cNvPr>
            <p:cNvSpPr>
              <a:spLocks noChangeArrowheads="1"/>
            </p:cNvSpPr>
            <p:nvPr>
              <p:custDataLst>
                <p:tags r:id="rId64"/>
              </p:custDataLst>
            </p:nvPr>
          </p:nvSpPr>
          <p:spPr bwMode="gray">
            <a:xfrm>
              <a:off x="6963077" y="921075"/>
              <a:ext cx="1382483" cy="169277"/>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p>
              <a:pPr defTabSz="895350">
                <a:buClr>
                  <a:schemeClr val="tx2"/>
                </a:buClr>
                <a:defRPr/>
              </a:pPr>
              <a:r>
                <a:rPr lang="en-GB" sz="1100" dirty="0">
                  <a:latin typeface="+mn-lt"/>
                  <a:cs typeface="+mn-cs"/>
                </a:rPr>
                <a:t>Dependent population</a:t>
              </a:r>
            </a:p>
          </p:txBody>
        </p:sp>
      </p:grpSp>
      <p:grpSp>
        <p:nvGrpSpPr>
          <p:cNvPr id="15375" name="ACET"/>
          <p:cNvGrpSpPr>
            <a:grpSpLocks/>
          </p:cNvGrpSpPr>
          <p:nvPr/>
        </p:nvGrpSpPr>
        <p:grpSpPr bwMode="auto">
          <a:xfrm>
            <a:off x="119063" y="1165225"/>
            <a:ext cx="8618537" cy="233363"/>
            <a:chOff x="915" y="883"/>
            <a:chExt cx="2686" cy="147"/>
          </a:xfrm>
        </p:grpSpPr>
        <p:cxnSp>
          <p:nvCxnSpPr>
            <p:cNvPr id="15449" name="AutoShape 249"/>
            <p:cNvCxnSpPr>
              <a:cxnSpLocks noChangeShapeType="1"/>
              <a:stCxn id="89" idx="4"/>
              <a:endCxn id="89" idx="6"/>
            </p:cNvCxnSpPr>
            <p:nvPr/>
          </p:nvCxnSpPr>
          <p:spPr bwMode="gray">
            <a:xfrm>
              <a:off x="915" y="1030"/>
              <a:ext cx="2686" cy="0"/>
            </a:xfrm>
            <a:prstGeom prst="straightConnector1">
              <a:avLst/>
            </a:prstGeom>
            <a:noFill/>
            <a:ln w="9525">
              <a:solidFill>
                <a:schemeClr val="tx2"/>
              </a:solidFill>
              <a:round/>
              <a:headEnd/>
              <a:tailEnd/>
            </a:ln>
          </p:spPr>
        </p:cxnSp>
        <p:sp>
          <p:nvSpPr>
            <p:cNvPr id="89" name="AutoShape 250">
              <a:extLst>
                <a:ext uri="{FF2B5EF4-FFF2-40B4-BE49-F238E27FC236}"/>
              </a:extLst>
            </p:cNvPr>
            <p:cNvSpPr>
              <a:spLocks noChangeArrowheads="1"/>
            </p:cNvSpPr>
            <p:nvPr/>
          </p:nvSpPr>
          <p:spPr bwMode="gray">
            <a:xfrm>
              <a:off x="915" y="883"/>
              <a:ext cx="2686" cy="147"/>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GB" sz="1400" b="1" dirty="0">
                  <a:solidFill>
                    <a:schemeClr val="accent4"/>
                  </a:solidFill>
                  <a:latin typeface="+mn-lt"/>
                  <a:cs typeface="+mn-cs"/>
                </a:rPr>
                <a:t>Nigeria has one of the largest working age populations in the world</a:t>
              </a:r>
            </a:p>
          </p:txBody>
        </p:sp>
      </p:grpSp>
      <p:graphicFrame>
        <p:nvGraphicFramePr>
          <p:cNvPr id="15376" name="Chart 97"/>
          <p:cNvGraphicFramePr>
            <a:graphicFrameLocks/>
          </p:cNvGraphicFramePr>
          <p:nvPr/>
        </p:nvGraphicFramePr>
        <p:xfrm>
          <a:off x="844550" y="2098675"/>
          <a:ext cx="2951163" cy="3019425"/>
        </p:xfrm>
        <a:graphic>
          <a:graphicData uri="http://schemas.openxmlformats.org/presentationml/2006/ole">
            <p:oleObj spid="_x0000_s15376" r:id="rId68" imgW="2950720" imgH="3023878" progId="Excel.Sheet.8">
              <p:embed/>
            </p:oleObj>
          </a:graphicData>
        </a:graphic>
      </p:graphicFrame>
      <p:sp>
        <p:nvSpPr>
          <p:cNvPr id="15377" name="Text Placeholder 2"/>
          <p:cNvSpPr>
            <a:spLocks noGrp="1"/>
          </p:cNvSpPr>
          <p:nvPr>
            <p:custDataLst>
              <p:tags r:id="rId4"/>
            </p:custDataLst>
          </p:nvPr>
        </p:nvSpPr>
        <p:spPr bwMode="gray">
          <a:xfrm>
            <a:off x="2271713" y="5094288"/>
            <a:ext cx="98425" cy="212725"/>
          </a:xfrm>
          <a:prstGeom prst="rect">
            <a:avLst/>
          </a:prstGeom>
          <a:noFill/>
          <a:ln w="9525">
            <a:noFill/>
            <a:miter lim="800000"/>
            <a:headEnd/>
            <a:tailEnd/>
          </a:ln>
        </p:spPr>
        <p:txBody>
          <a:bodyPr wrap="none" lIns="0" tIns="0" rIns="0" bIns="0"/>
          <a:lstStyle/>
          <a:p>
            <a:pPr algn="ctr" defTabSz="895350">
              <a:buClr>
                <a:schemeClr val="tx2"/>
              </a:buClr>
              <a:buSzPct val="100000"/>
            </a:pPr>
            <a:fld id="{AC07DFED-869B-4757-8EEA-F05DACEE0379}" type="datetime'''''''0'''''''''''''''''''''''''''''''''''''''''''''">
              <a:rPr lang="en-GB" altLang="en-US" sz="1400">
                <a:sym typeface="+mn-lt"/>
              </a:rPr>
              <a:pPr algn="ctr" defTabSz="895350">
                <a:buClr>
                  <a:schemeClr val="tx2"/>
                </a:buClr>
                <a:buSzPct val="100000"/>
              </a:pPr>
              <a:t>0</a:t>
            </a:fld>
            <a:endParaRPr lang="en-GB" sz="1400">
              <a:sym typeface="+mn-lt"/>
            </a:endParaRPr>
          </a:p>
        </p:txBody>
      </p:sp>
      <p:sp>
        <p:nvSpPr>
          <p:cNvPr id="15378" name="Text Placeholder 2"/>
          <p:cNvSpPr>
            <a:spLocks noGrp="1"/>
          </p:cNvSpPr>
          <p:nvPr>
            <p:custDataLst>
              <p:tags r:id="rId5"/>
            </p:custDataLst>
          </p:nvPr>
        </p:nvSpPr>
        <p:spPr bwMode="gray">
          <a:xfrm>
            <a:off x="1147763" y="5094288"/>
            <a:ext cx="255587" cy="212725"/>
          </a:xfrm>
          <a:prstGeom prst="rect">
            <a:avLst/>
          </a:prstGeom>
          <a:noFill/>
          <a:ln w="9525">
            <a:noFill/>
            <a:miter lim="800000"/>
            <a:headEnd/>
            <a:tailEnd/>
          </a:ln>
        </p:spPr>
        <p:txBody>
          <a:bodyPr wrap="none" lIns="0" tIns="0" rIns="0" bIns="0"/>
          <a:lstStyle/>
          <a:p>
            <a:pPr algn="ctr" defTabSz="895350">
              <a:buClr>
                <a:schemeClr val="tx2"/>
              </a:buClr>
              <a:buSzPct val="100000"/>
            </a:pPr>
            <a:fld id="{27E2FFAF-E12D-4EEB-A8EE-AC44C52C862E}" type="datetime'''''''''''''''''''''''''''-3''''''''''''''''''''''0'''''">
              <a:rPr lang="en-GB" altLang="en-US" sz="1400">
                <a:sym typeface="+mn-lt"/>
              </a:rPr>
              <a:pPr algn="ctr" defTabSz="895350">
                <a:buClr>
                  <a:schemeClr val="tx2"/>
                </a:buClr>
                <a:buSzPct val="100000"/>
              </a:pPr>
              <a:t>-30</a:t>
            </a:fld>
            <a:endParaRPr lang="en-GB" sz="1400">
              <a:sym typeface="+mn-lt"/>
            </a:endParaRPr>
          </a:p>
        </p:txBody>
      </p:sp>
      <p:sp>
        <p:nvSpPr>
          <p:cNvPr id="15379" name="Text Placeholder 2"/>
          <p:cNvSpPr>
            <a:spLocks noGrp="1"/>
          </p:cNvSpPr>
          <p:nvPr>
            <p:custDataLst>
              <p:tags r:id="rId6"/>
            </p:custDataLst>
          </p:nvPr>
        </p:nvSpPr>
        <p:spPr bwMode="gray">
          <a:xfrm>
            <a:off x="1497013" y="5094288"/>
            <a:ext cx="255587" cy="212725"/>
          </a:xfrm>
          <a:prstGeom prst="rect">
            <a:avLst/>
          </a:prstGeom>
          <a:noFill/>
          <a:ln w="9525">
            <a:noFill/>
            <a:miter lim="800000"/>
            <a:headEnd/>
            <a:tailEnd/>
          </a:ln>
        </p:spPr>
        <p:txBody>
          <a:bodyPr wrap="none" lIns="0" tIns="0" rIns="0" bIns="0"/>
          <a:lstStyle/>
          <a:p>
            <a:pPr algn="ctr" defTabSz="895350">
              <a:buClr>
                <a:schemeClr val="tx2"/>
              </a:buClr>
              <a:buSzPct val="100000"/>
            </a:pPr>
            <a:fld id="{B99292F8-43F3-4750-92B3-009C9B07AF22}" type="datetime'''-''''''2''''''''''''''0'''''''''''''">
              <a:rPr lang="en-GB" altLang="en-US" sz="1400">
                <a:sym typeface="+mn-lt"/>
              </a:rPr>
              <a:pPr algn="ctr" defTabSz="895350">
                <a:buClr>
                  <a:schemeClr val="tx2"/>
                </a:buClr>
                <a:buSzPct val="100000"/>
              </a:pPr>
              <a:t>-20</a:t>
            </a:fld>
            <a:endParaRPr lang="en-GB" sz="1400">
              <a:sym typeface="+mn-lt"/>
            </a:endParaRPr>
          </a:p>
        </p:txBody>
      </p:sp>
      <p:sp>
        <p:nvSpPr>
          <p:cNvPr id="15380" name="Text Placeholder 2"/>
          <p:cNvSpPr>
            <a:spLocks noGrp="1"/>
          </p:cNvSpPr>
          <p:nvPr>
            <p:custDataLst>
              <p:tags r:id="rId7"/>
            </p:custDataLst>
          </p:nvPr>
        </p:nvSpPr>
        <p:spPr bwMode="gray">
          <a:xfrm>
            <a:off x="800100" y="5094288"/>
            <a:ext cx="255588" cy="212725"/>
          </a:xfrm>
          <a:prstGeom prst="rect">
            <a:avLst/>
          </a:prstGeom>
          <a:noFill/>
          <a:ln w="9525">
            <a:noFill/>
            <a:miter lim="800000"/>
            <a:headEnd/>
            <a:tailEnd/>
          </a:ln>
        </p:spPr>
        <p:txBody>
          <a:bodyPr wrap="none" lIns="0" tIns="0" rIns="0" bIns="0"/>
          <a:lstStyle/>
          <a:p>
            <a:pPr algn="ctr" defTabSz="895350">
              <a:buClr>
                <a:schemeClr val="tx2"/>
              </a:buClr>
              <a:buSzPct val="100000"/>
            </a:pPr>
            <a:fld id="{51153568-8101-43C2-B83A-93587C25F0DA}" type="datetime'''''''''''-''''''''''''4''''''''''0'''''''''''''''''''''">
              <a:rPr lang="en-GB" altLang="en-US" sz="1400">
                <a:sym typeface="+mn-lt"/>
              </a:rPr>
              <a:pPr algn="ctr" defTabSz="895350">
                <a:buClr>
                  <a:schemeClr val="tx2"/>
                </a:buClr>
                <a:buSzPct val="100000"/>
              </a:pPr>
              <a:t>-40</a:t>
            </a:fld>
            <a:endParaRPr lang="en-GB" sz="1400">
              <a:sym typeface="+mn-lt"/>
            </a:endParaRPr>
          </a:p>
        </p:txBody>
      </p:sp>
      <p:sp>
        <p:nvSpPr>
          <p:cNvPr id="15381" name="Text Placeholder 2"/>
          <p:cNvSpPr>
            <a:spLocks noGrp="1"/>
          </p:cNvSpPr>
          <p:nvPr>
            <p:custDataLst>
              <p:tags r:id="rId8"/>
            </p:custDataLst>
          </p:nvPr>
        </p:nvSpPr>
        <p:spPr bwMode="gray">
          <a:xfrm>
            <a:off x="2917825"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fld id="{EB88B4A8-933C-483B-BA73-DE46CE6C6BBC}" type="datetime'''2''''''''''''''''''''''''''''''''''''''''''0'''''''">
              <a:rPr lang="en-GB" altLang="en-US" sz="1400">
                <a:sym typeface="+mn-lt"/>
              </a:rPr>
              <a:pPr algn="ctr" defTabSz="895350">
                <a:buClr>
                  <a:schemeClr val="tx2"/>
                </a:buClr>
                <a:buSzPct val="100000"/>
              </a:pPr>
              <a:t>20</a:t>
            </a:fld>
            <a:endParaRPr lang="en-GB" sz="1400">
              <a:sym typeface="+mn-lt"/>
            </a:endParaRPr>
          </a:p>
        </p:txBody>
      </p:sp>
      <p:sp>
        <p:nvSpPr>
          <p:cNvPr id="15382" name="Text Placeholder 2"/>
          <p:cNvSpPr>
            <a:spLocks noGrp="1"/>
          </p:cNvSpPr>
          <p:nvPr>
            <p:custDataLst>
              <p:tags r:id="rId9"/>
            </p:custDataLst>
          </p:nvPr>
        </p:nvSpPr>
        <p:spPr bwMode="gray">
          <a:xfrm>
            <a:off x="2570163"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fld id="{D4718342-793F-4B54-AD69-ECBDCDCC3C32}" type="datetime'''''''''1''''''''''''''''''''0'''''''''''''''''''''">
              <a:rPr lang="en-GB" altLang="en-US" sz="1400">
                <a:sym typeface="+mn-lt"/>
              </a:rPr>
              <a:pPr algn="ctr" defTabSz="895350">
                <a:buClr>
                  <a:schemeClr val="tx2"/>
                </a:buClr>
                <a:buSzPct val="100000"/>
              </a:pPr>
              <a:t>10</a:t>
            </a:fld>
            <a:endParaRPr lang="en-GB" sz="1400">
              <a:sym typeface="+mn-lt"/>
            </a:endParaRPr>
          </a:p>
        </p:txBody>
      </p:sp>
      <p:sp>
        <p:nvSpPr>
          <p:cNvPr id="15383" name="Text Placeholder 2"/>
          <p:cNvSpPr>
            <a:spLocks noGrp="1"/>
          </p:cNvSpPr>
          <p:nvPr>
            <p:custDataLst>
              <p:tags r:id="rId10"/>
            </p:custDataLst>
          </p:nvPr>
        </p:nvSpPr>
        <p:spPr bwMode="gray">
          <a:xfrm>
            <a:off x="1844675" y="5094288"/>
            <a:ext cx="255588" cy="212725"/>
          </a:xfrm>
          <a:prstGeom prst="rect">
            <a:avLst/>
          </a:prstGeom>
          <a:noFill/>
          <a:ln w="9525">
            <a:noFill/>
            <a:miter lim="800000"/>
            <a:headEnd/>
            <a:tailEnd/>
          </a:ln>
        </p:spPr>
        <p:txBody>
          <a:bodyPr wrap="none" lIns="0" tIns="0" rIns="0" bIns="0"/>
          <a:lstStyle/>
          <a:p>
            <a:pPr algn="ctr" defTabSz="895350">
              <a:buClr>
                <a:schemeClr val="tx2"/>
              </a:buClr>
              <a:buSzPct val="100000"/>
            </a:pPr>
            <a:fld id="{6C67825B-31C7-424F-95C3-B87ADEDC80FC}" type="datetime'''''''''''-10'">
              <a:rPr lang="en-GB" altLang="en-US" sz="1400">
                <a:sym typeface="+mn-lt"/>
              </a:rPr>
              <a:pPr algn="ctr" defTabSz="895350">
                <a:buClr>
                  <a:schemeClr val="tx2"/>
                </a:buClr>
                <a:buSzPct val="100000"/>
              </a:pPr>
              <a:t>-10</a:t>
            </a:fld>
            <a:endParaRPr lang="en-GB" sz="1400">
              <a:sym typeface="+mn-lt"/>
            </a:endParaRPr>
          </a:p>
        </p:txBody>
      </p:sp>
      <p:sp>
        <p:nvSpPr>
          <p:cNvPr id="15384" name="Text Placeholder 2"/>
          <p:cNvSpPr>
            <a:spLocks noGrp="1"/>
          </p:cNvSpPr>
          <p:nvPr>
            <p:custDataLst>
              <p:tags r:id="rId11"/>
            </p:custDataLst>
          </p:nvPr>
        </p:nvSpPr>
        <p:spPr bwMode="gray">
          <a:xfrm>
            <a:off x="3267075"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fld id="{C03B3609-0308-4802-8C3B-61CB01998970}" type="datetime'''''''''''''''''''''''''''''''''3''''''''''''0'''''''''''''''">
              <a:rPr lang="en-GB" altLang="en-US" sz="1400">
                <a:sym typeface="+mn-lt"/>
              </a:rPr>
              <a:pPr algn="ctr" defTabSz="895350">
                <a:buClr>
                  <a:schemeClr val="tx2"/>
                </a:buClr>
                <a:buSzPct val="100000"/>
              </a:pPr>
              <a:t>30</a:t>
            </a:fld>
            <a:endParaRPr lang="en-GB" sz="1400">
              <a:sym typeface="+mn-lt"/>
            </a:endParaRPr>
          </a:p>
        </p:txBody>
      </p:sp>
      <p:sp>
        <p:nvSpPr>
          <p:cNvPr id="15385" name="Text Placeholder 2"/>
          <p:cNvSpPr>
            <a:spLocks noGrp="1"/>
          </p:cNvSpPr>
          <p:nvPr>
            <p:custDataLst>
              <p:tags r:id="rId12"/>
            </p:custDataLst>
          </p:nvPr>
        </p:nvSpPr>
        <p:spPr bwMode="gray">
          <a:xfrm>
            <a:off x="3614738"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fld id="{78C964ED-A51B-4454-A091-2C7EB3A8C14B}" type="datetime'''''''4''''''''0'''''''''''''''''''''''''''">
              <a:rPr lang="en-GB" altLang="en-US" sz="1400">
                <a:sym typeface="+mn-lt"/>
              </a:rPr>
              <a:pPr algn="ctr" defTabSz="895350">
                <a:buClr>
                  <a:schemeClr val="tx2"/>
                </a:buClr>
                <a:buSzPct val="100000"/>
              </a:pPr>
              <a:t>40</a:t>
            </a:fld>
            <a:endParaRPr lang="en-GB" sz="1400">
              <a:sym typeface="+mn-lt"/>
            </a:endParaRPr>
          </a:p>
        </p:txBody>
      </p:sp>
      <p:sp>
        <p:nvSpPr>
          <p:cNvPr id="15386" name="Text Placeholder 2"/>
          <p:cNvSpPr>
            <a:spLocks noGrp="1"/>
          </p:cNvSpPr>
          <p:nvPr>
            <p:custDataLst>
              <p:tags r:id="rId13"/>
            </p:custDataLst>
          </p:nvPr>
        </p:nvSpPr>
        <p:spPr bwMode="auto">
          <a:xfrm>
            <a:off x="357188" y="3333750"/>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5E1EBD04-CF96-4253-AA9F-1259C461EFE2}" type="datetime'4''''''5''''-''''''''''''''''''''''''4''''''9'''''''''''''">
              <a:rPr lang="en-GB" altLang="en-US" sz="1400">
                <a:sym typeface="+mn-lt"/>
              </a:rPr>
              <a:pPr defTabSz="895350">
                <a:buClr>
                  <a:schemeClr val="tx2"/>
                </a:buClr>
                <a:buSzPct val="100000"/>
              </a:pPr>
              <a:t>45-49</a:t>
            </a:fld>
            <a:endParaRPr lang="en-GB" sz="1400">
              <a:sym typeface="+mn-lt"/>
            </a:endParaRPr>
          </a:p>
        </p:txBody>
      </p:sp>
      <p:sp>
        <p:nvSpPr>
          <p:cNvPr id="15387" name="Text Placeholder 2"/>
          <p:cNvSpPr>
            <a:spLocks noGrp="1"/>
          </p:cNvSpPr>
          <p:nvPr>
            <p:custDataLst>
              <p:tags r:id="rId14"/>
            </p:custDataLst>
          </p:nvPr>
        </p:nvSpPr>
        <p:spPr bwMode="auto">
          <a:xfrm>
            <a:off x="357188" y="2159000"/>
            <a:ext cx="3000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B9916B78-69C4-4EAE-8DCA-FC447F8FA638}" type="datetime'''''''''''''''''''8''''''''0''+'">
              <a:rPr lang="en-GB" altLang="en-US" sz="1400">
                <a:sym typeface="+mn-lt"/>
              </a:rPr>
              <a:pPr defTabSz="895350">
                <a:buClr>
                  <a:schemeClr val="tx2"/>
                </a:buClr>
                <a:buSzPct val="100000"/>
              </a:pPr>
              <a:t>80+</a:t>
            </a:fld>
            <a:endParaRPr lang="en-GB" sz="1400">
              <a:sym typeface="+mn-lt"/>
            </a:endParaRPr>
          </a:p>
        </p:txBody>
      </p:sp>
      <p:sp>
        <p:nvSpPr>
          <p:cNvPr id="15388" name="Text Placeholder 2"/>
          <p:cNvSpPr>
            <a:spLocks noGrp="1"/>
          </p:cNvSpPr>
          <p:nvPr>
            <p:custDataLst>
              <p:tags r:id="rId15"/>
            </p:custDataLst>
          </p:nvPr>
        </p:nvSpPr>
        <p:spPr bwMode="auto">
          <a:xfrm>
            <a:off x="357188" y="2327275"/>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0885D278-2D6E-4D1E-99E8-7CCE60D6A334}" type="datetime'''''''''''''''''''7''''''5''-''''''79'''''''''''''''''''''">
              <a:rPr lang="en-GB" altLang="en-US" sz="1400">
                <a:sym typeface="+mn-lt"/>
              </a:rPr>
              <a:pPr defTabSz="895350">
                <a:buClr>
                  <a:schemeClr val="tx2"/>
                </a:buClr>
                <a:buSzPct val="100000"/>
              </a:pPr>
              <a:t>75-79</a:t>
            </a:fld>
            <a:endParaRPr lang="en-GB" sz="1400">
              <a:sym typeface="+mn-lt"/>
            </a:endParaRPr>
          </a:p>
        </p:txBody>
      </p:sp>
      <p:sp>
        <p:nvSpPr>
          <p:cNvPr id="15389" name="Text Placeholder 2"/>
          <p:cNvSpPr>
            <a:spLocks noGrp="1"/>
          </p:cNvSpPr>
          <p:nvPr>
            <p:custDataLst>
              <p:tags r:id="rId16"/>
            </p:custDataLst>
          </p:nvPr>
        </p:nvSpPr>
        <p:spPr bwMode="auto">
          <a:xfrm>
            <a:off x="357188" y="2493963"/>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6949D302-E6C8-4BC5-A8F6-9CCA7DA6FEC1}" type="datetime'''''''''''7''''''0''-''''''''''''''''''''''''7''''''''''''4'">
              <a:rPr lang="en-GB" altLang="en-US" sz="1400">
                <a:sym typeface="+mn-lt"/>
              </a:rPr>
              <a:pPr defTabSz="895350">
                <a:buClr>
                  <a:schemeClr val="tx2"/>
                </a:buClr>
                <a:buSzPct val="100000"/>
              </a:pPr>
              <a:t>70-74</a:t>
            </a:fld>
            <a:endParaRPr lang="en-GB" sz="1400">
              <a:sym typeface="+mn-lt"/>
            </a:endParaRPr>
          </a:p>
        </p:txBody>
      </p:sp>
      <p:sp>
        <p:nvSpPr>
          <p:cNvPr id="15390" name="Text Placeholder 2"/>
          <p:cNvSpPr>
            <a:spLocks noGrp="1"/>
          </p:cNvSpPr>
          <p:nvPr>
            <p:custDataLst>
              <p:tags r:id="rId17"/>
            </p:custDataLst>
          </p:nvPr>
        </p:nvSpPr>
        <p:spPr bwMode="auto">
          <a:xfrm>
            <a:off x="357188" y="2662238"/>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AB625CB4-E76E-4949-980F-797DB0D4BEEE}" type="datetime'''65''''''''''-''''''''''''''''''''''''''6''''''''''''''9'''''">
              <a:rPr lang="en-GB" altLang="en-US" sz="1400">
                <a:sym typeface="+mn-lt"/>
              </a:rPr>
              <a:pPr defTabSz="895350">
                <a:buClr>
                  <a:schemeClr val="tx2"/>
                </a:buClr>
                <a:buSzPct val="100000"/>
              </a:pPr>
              <a:t>65-69</a:t>
            </a:fld>
            <a:endParaRPr lang="en-GB" sz="1400">
              <a:sym typeface="+mn-lt"/>
            </a:endParaRPr>
          </a:p>
        </p:txBody>
      </p:sp>
      <p:sp>
        <p:nvSpPr>
          <p:cNvPr id="15391" name="Text Placeholder 2"/>
          <p:cNvSpPr>
            <a:spLocks noGrp="1"/>
          </p:cNvSpPr>
          <p:nvPr>
            <p:custDataLst>
              <p:tags r:id="rId18"/>
            </p:custDataLst>
          </p:nvPr>
        </p:nvSpPr>
        <p:spPr bwMode="auto">
          <a:xfrm>
            <a:off x="357188" y="2830513"/>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2A4F576E-E73A-4B78-8F4C-E98348A4B207}" type="datetime'''''''''''''6''''0''''''''''''-''''''''6''''''''''4'''''''''">
              <a:rPr lang="en-GB" altLang="en-US" sz="1400">
                <a:sym typeface="+mn-lt"/>
              </a:rPr>
              <a:pPr defTabSz="895350">
                <a:buClr>
                  <a:schemeClr val="tx2"/>
                </a:buClr>
                <a:buSzPct val="100000"/>
              </a:pPr>
              <a:t>60-64</a:t>
            </a:fld>
            <a:endParaRPr lang="en-GB" sz="1400">
              <a:sym typeface="+mn-lt"/>
            </a:endParaRPr>
          </a:p>
        </p:txBody>
      </p:sp>
      <p:sp>
        <p:nvSpPr>
          <p:cNvPr id="15392" name="Text Placeholder 2"/>
          <p:cNvSpPr>
            <a:spLocks noGrp="1"/>
          </p:cNvSpPr>
          <p:nvPr>
            <p:custDataLst>
              <p:tags r:id="rId19"/>
            </p:custDataLst>
          </p:nvPr>
        </p:nvSpPr>
        <p:spPr bwMode="auto">
          <a:xfrm>
            <a:off x="357188" y="3502025"/>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7A3A0846-C334-4ADF-8E6B-EB346FAC4577}" type="datetime'''''''''''4''''''''''''''''''''0-''4''''''''''''''''''4'''''''">
              <a:rPr lang="en-GB" altLang="en-US" sz="1400">
                <a:sym typeface="+mn-lt"/>
              </a:rPr>
              <a:pPr defTabSz="895350">
                <a:buClr>
                  <a:schemeClr val="tx2"/>
                </a:buClr>
                <a:buSzPct val="100000"/>
              </a:pPr>
              <a:t>40-44</a:t>
            </a:fld>
            <a:endParaRPr lang="en-GB" sz="1400">
              <a:sym typeface="+mn-lt"/>
            </a:endParaRPr>
          </a:p>
        </p:txBody>
      </p:sp>
      <p:sp>
        <p:nvSpPr>
          <p:cNvPr id="15393" name="Text Placeholder 2"/>
          <p:cNvSpPr>
            <a:spLocks noGrp="1"/>
          </p:cNvSpPr>
          <p:nvPr>
            <p:custDataLst>
              <p:tags r:id="rId20"/>
            </p:custDataLst>
          </p:nvPr>
        </p:nvSpPr>
        <p:spPr bwMode="auto">
          <a:xfrm>
            <a:off x="357188" y="2998788"/>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09229947-5F75-429B-B60C-7A2F68536598}" type="datetime'''''55''''''''''''''''''-''''''''''5''''''''9'''">
              <a:rPr lang="en-GB" altLang="en-US" sz="1400">
                <a:sym typeface="+mn-lt"/>
              </a:rPr>
              <a:pPr defTabSz="895350">
                <a:buClr>
                  <a:schemeClr val="tx2"/>
                </a:buClr>
                <a:buSzPct val="100000"/>
              </a:pPr>
              <a:t>55-59</a:t>
            </a:fld>
            <a:endParaRPr lang="en-GB" sz="1400">
              <a:sym typeface="+mn-lt"/>
            </a:endParaRPr>
          </a:p>
        </p:txBody>
      </p:sp>
      <p:sp>
        <p:nvSpPr>
          <p:cNvPr id="15394" name="Text Placeholder 2"/>
          <p:cNvSpPr>
            <a:spLocks noGrp="1"/>
          </p:cNvSpPr>
          <p:nvPr>
            <p:custDataLst>
              <p:tags r:id="rId21"/>
            </p:custDataLst>
          </p:nvPr>
        </p:nvSpPr>
        <p:spPr bwMode="auto">
          <a:xfrm>
            <a:off x="357188" y="3165475"/>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A5F43A59-5A29-47FC-9696-E6485D767505}" type="datetime'''''''''''''''''50''''-''5''''4'''''''''">
              <a:rPr lang="en-GB" altLang="en-US" sz="1400">
                <a:sym typeface="+mn-lt"/>
              </a:rPr>
              <a:pPr defTabSz="895350">
                <a:buClr>
                  <a:schemeClr val="tx2"/>
                </a:buClr>
                <a:buSzPct val="100000"/>
              </a:pPr>
              <a:t>50-54</a:t>
            </a:fld>
            <a:endParaRPr lang="en-GB" sz="1400">
              <a:sym typeface="+mn-lt"/>
            </a:endParaRPr>
          </a:p>
        </p:txBody>
      </p:sp>
      <p:sp>
        <p:nvSpPr>
          <p:cNvPr id="15395" name="Text Placeholder 2"/>
          <p:cNvSpPr>
            <a:spLocks noGrp="1"/>
          </p:cNvSpPr>
          <p:nvPr>
            <p:custDataLst>
              <p:tags r:id="rId22"/>
            </p:custDataLst>
          </p:nvPr>
        </p:nvSpPr>
        <p:spPr bwMode="auto">
          <a:xfrm>
            <a:off x="357188" y="4676775"/>
            <a:ext cx="255587" cy="212725"/>
          </a:xfrm>
          <a:prstGeom prst="rect">
            <a:avLst/>
          </a:prstGeom>
          <a:noFill/>
          <a:ln w="9525">
            <a:noFill/>
            <a:miter lim="800000"/>
            <a:headEnd/>
            <a:tailEnd/>
          </a:ln>
        </p:spPr>
        <p:txBody>
          <a:bodyPr wrap="none" lIns="0" tIns="0" rIns="0" bIns="0" anchor="ctr"/>
          <a:lstStyle/>
          <a:p>
            <a:pPr defTabSz="895350">
              <a:buClr>
                <a:schemeClr val="tx2"/>
              </a:buClr>
              <a:buSzPct val="100000"/>
            </a:pPr>
            <a:r>
              <a:rPr lang="en-GB" altLang="en-US" sz="1400">
                <a:sym typeface="+mn-lt"/>
              </a:rPr>
              <a:t>5-9</a:t>
            </a:r>
            <a:endParaRPr lang="en-GB" sz="1400">
              <a:sym typeface="+mn-lt"/>
            </a:endParaRPr>
          </a:p>
        </p:txBody>
      </p:sp>
      <p:sp>
        <p:nvSpPr>
          <p:cNvPr id="15396" name="Text Placeholder 2"/>
          <p:cNvSpPr>
            <a:spLocks noGrp="1"/>
          </p:cNvSpPr>
          <p:nvPr>
            <p:custDataLst>
              <p:tags r:id="rId23"/>
            </p:custDataLst>
          </p:nvPr>
        </p:nvSpPr>
        <p:spPr bwMode="auto">
          <a:xfrm>
            <a:off x="357188" y="4173538"/>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471BE5B8-5A85-44FE-812D-8A5AC6CC6DF0}" type="datetime'''''''''''''''2''0''''''''''''''''''''''''''-''''24'">
              <a:rPr lang="en-GB" altLang="en-US" sz="1400">
                <a:sym typeface="+mn-lt"/>
              </a:rPr>
              <a:pPr defTabSz="895350">
                <a:buClr>
                  <a:schemeClr val="tx2"/>
                </a:buClr>
                <a:buSzPct val="100000"/>
              </a:pPr>
              <a:t>20-24</a:t>
            </a:fld>
            <a:endParaRPr lang="en-GB" sz="1400">
              <a:sym typeface="+mn-lt"/>
            </a:endParaRPr>
          </a:p>
        </p:txBody>
      </p:sp>
      <p:sp>
        <p:nvSpPr>
          <p:cNvPr id="15397" name="Text Placeholder 2"/>
          <p:cNvSpPr>
            <a:spLocks noGrp="1"/>
          </p:cNvSpPr>
          <p:nvPr>
            <p:custDataLst>
              <p:tags r:id="rId24"/>
            </p:custDataLst>
          </p:nvPr>
        </p:nvSpPr>
        <p:spPr bwMode="auto">
          <a:xfrm>
            <a:off x="357188" y="3670300"/>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416BC4C0-9192-4524-AE60-DE31C169AC78}" type="datetime'3''''''''''''''''''''5''''''''''-3''''''9'''''''''''''''">
              <a:rPr lang="en-GB" altLang="en-US" sz="1400">
                <a:sym typeface="+mn-lt"/>
              </a:rPr>
              <a:pPr defTabSz="895350">
                <a:buClr>
                  <a:schemeClr val="tx2"/>
                </a:buClr>
                <a:buSzPct val="100000"/>
              </a:pPr>
              <a:t>35-39</a:t>
            </a:fld>
            <a:endParaRPr lang="en-GB" sz="1400">
              <a:sym typeface="+mn-lt"/>
            </a:endParaRPr>
          </a:p>
        </p:txBody>
      </p:sp>
      <p:sp>
        <p:nvSpPr>
          <p:cNvPr id="15398" name="Text Placeholder 2"/>
          <p:cNvSpPr>
            <a:spLocks noGrp="1"/>
          </p:cNvSpPr>
          <p:nvPr>
            <p:custDataLst>
              <p:tags r:id="rId25"/>
            </p:custDataLst>
          </p:nvPr>
        </p:nvSpPr>
        <p:spPr bwMode="auto">
          <a:xfrm>
            <a:off x="357188" y="3836988"/>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AF39559F-FFE5-49F0-9610-EFCB71E4D22C}" type="datetime'''''''''''''''''''''''3''''''''0''''''-''''''''''''''''34'">
              <a:rPr lang="en-GB" altLang="en-US" sz="1400">
                <a:sym typeface="+mn-lt"/>
              </a:rPr>
              <a:pPr defTabSz="895350">
                <a:buClr>
                  <a:schemeClr val="tx2"/>
                </a:buClr>
                <a:buSzPct val="100000"/>
              </a:pPr>
              <a:t>30-34</a:t>
            </a:fld>
            <a:endParaRPr lang="en-GB" sz="1400">
              <a:sym typeface="+mn-lt"/>
            </a:endParaRPr>
          </a:p>
        </p:txBody>
      </p:sp>
      <p:sp>
        <p:nvSpPr>
          <p:cNvPr id="15399" name="Text Placeholder 2"/>
          <p:cNvSpPr>
            <a:spLocks noGrp="1"/>
          </p:cNvSpPr>
          <p:nvPr>
            <p:custDataLst>
              <p:tags r:id="rId26"/>
            </p:custDataLst>
          </p:nvPr>
        </p:nvSpPr>
        <p:spPr bwMode="auto">
          <a:xfrm>
            <a:off x="357188" y="4005263"/>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992BE15C-1F24-4322-8BD6-ED7FB9ACC1C3}" type="datetime'''25''''''''''''''''''''''-''''''''''2''9'''">
              <a:rPr lang="en-GB" altLang="en-US" sz="1400">
                <a:sym typeface="+mn-lt"/>
              </a:rPr>
              <a:pPr defTabSz="895350">
                <a:buClr>
                  <a:schemeClr val="tx2"/>
                </a:buClr>
                <a:buSzPct val="100000"/>
              </a:pPr>
              <a:t>25-29</a:t>
            </a:fld>
            <a:endParaRPr lang="en-GB" sz="1400">
              <a:sym typeface="+mn-lt"/>
            </a:endParaRPr>
          </a:p>
        </p:txBody>
      </p:sp>
      <p:sp>
        <p:nvSpPr>
          <p:cNvPr id="15400" name="Text Placeholder 2"/>
          <p:cNvSpPr>
            <a:spLocks noGrp="1"/>
          </p:cNvSpPr>
          <p:nvPr>
            <p:custDataLst>
              <p:tags r:id="rId27"/>
            </p:custDataLst>
          </p:nvPr>
        </p:nvSpPr>
        <p:spPr bwMode="auto">
          <a:xfrm>
            <a:off x="357188" y="4341813"/>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299EC962-34DC-4317-B64F-635D99BCD6A3}" type="datetime'''''''''''''''''1''''''''''5-''''''''''''''''''1''9'''''''''''">
              <a:rPr lang="en-GB" altLang="en-US" sz="1400">
                <a:sym typeface="+mn-lt"/>
              </a:rPr>
              <a:pPr defTabSz="895350">
                <a:buClr>
                  <a:schemeClr val="tx2"/>
                </a:buClr>
                <a:buSzPct val="100000"/>
              </a:pPr>
              <a:t>15-19</a:t>
            </a:fld>
            <a:endParaRPr lang="en-GB" sz="1400">
              <a:sym typeface="+mn-lt"/>
            </a:endParaRPr>
          </a:p>
        </p:txBody>
      </p:sp>
      <p:sp>
        <p:nvSpPr>
          <p:cNvPr id="15401" name="Text Placeholder 2"/>
          <p:cNvSpPr>
            <a:spLocks noGrp="1"/>
          </p:cNvSpPr>
          <p:nvPr>
            <p:custDataLst>
              <p:tags r:id="rId28"/>
            </p:custDataLst>
          </p:nvPr>
        </p:nvSpPr>
        <p:spPr bwMode="auto">
          <a:xfrm>
            <a:off x="357188" y="4508500"/>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r>
              <a:rPr lang="en-GB" altLang="en-US" sz="1400">
                <a:sym typeface="+mn-lt"/>
              </a:rPr>
              <a:t>10-14</a:t>
            </a:r>
            <a:endParaRPr lang="en-GB" sz="1400">
              <a:sym typeface="+mn-lt"/>
            </a:endParaRPr>
          </a:p>
        </p:txBody>
      </p:sp>
      <p:sp>
        <p:nvSpPr>
          <p:cNvPr id="15402" name="Text Placeholder 2"/>
          <p:cNvSpPr>
            <a:spLocks noGrp="1"/>
          </p:cNvSpPr>
          <p:nvPr>
            <p:custDataLst>
              <p:tags r:id="rId29"/>
            </p:custDataLst>
          </p:nvPr>
        </p:nvSpPr>
        <p:spPr bwMode="auto">
          <a:xfrm>
            <a:off x="357188" y="4845050"/>
            <a:ext cx="255587" cy="212725"/>
          </a:xfrm>
          <a:prstGeom prst="rect">
            <a:avLst/>
          </a:prstGeom>
          <a:noFill/>
          <a:ln w="9525">
            <a:noFill/>
            <a:miter lim="800000"/>
            <a:headEnd/>
            <a:tailEnd/>
          </a:ln>
        </p:spPr>
        <p:txBody>
          <a:bodyPr wrap="none" lIns="0" tIns="0" rIns="0" bIns="0" anchor="ctr"/>
          <a:lstStyle/>
          <a:p>
            <a:pPr defTabSz="895350">
              <a:buClr>
                <a:schemeClr val="tx2"/>
              </a:buClr>
              <a:buSzPct val="100000"/>
            </a:pPr>
            <a:fld id="{224D54ED-35B0-4A18-98DA-B1A326FA90F7}" type="datetime'''''''''''''''0-''''''''4'''''''''''''">
              <a:rPr lang="en-GB" altLang="en-US" sz="1400">
                <a:sym typeface="+mn-lt"/>
              </a:rPr>
              <a:pPr defTabSz="895350">
                <a:buClr>
                  <a:schemeClr val="tx2"/>
                </a:buClr>
                <a:buSzPct val="100000"/>
              </a:pPr>
              <a:t>0-4</a:t>
            </a:fld>
            <a:endParaRPr lang="en-GB" sz="1400">
              <a:sym typeface="+mn-lt"/>
            </a:endParaRPr>
          </a:p>
        </p:txBody>
      </p:sp>
      <p:cxnSp>
        <p:nvCxnSpPr>
          <p:cNvPr id="21" name="Straight Connector 20">
            <a:extLst>
              <a:ext uri="{FF2B5EF4-FFF2-40B4-BE49-F238E27FC236}"/>
            </a:extLst>
          </p:cNvPr>
          <p:cNvCxnSpPr>
            <a:cxnSpLocks/>
          </p:cNvCxnSpPr>
          <p:nvPr/>
        </p:nvCxnSpPr>
        <p:spPr>
          <a:xfrm>
            <a:off x="2917825" y="3933825"/>
            <a:ext cx="0" cy="574675"/>
          </a:xfrm>
          <a:prstGeom prst="line">
            <a:avLst/>
          </a:prstGeom>
          <a:ln w="12700">
            <a:solidFill>
              <a:schemeClr val="accent6"/>
            </a:solidFill>
            <a:tailEnd type="oval"/>
          </a:ln>
        </p:spPr>
      </p:cxnSp>
      <p:sp>
        <p:nvSpPr>
          <p:cNvPr id="17" name="TextBox 16">
            <a:extLst>
              <a:ext uri="{FF2B5EF4-FFF2-40B4-BE49-F238E27FC236}"/>
            </a:extLst>
          </p:cNvPr>
          <p:cNvSpPr txBox="1"/>
          <p:nvPr/>
        </p:nvSpPr>
        <p:spPr>
          <a:xfrm>
            <a:off x="2727325" y="2190750"/>
            <a:ext cx="1084263" cy="2016125"/>
          </a:xfrm>
          <a:prstGeom prst="rect">
            <a:avLst/>
          </a:prstGeom>
          <a:solidFill>
            <a:schemeClr val="bg1"/>
          </a:solidFill>
          <a:ln w="12700">
            <a:solidFill>
              <a:schemeClr val="accent6"/>
            </a:solidFill>
          </a:ln>
        </p:spPr>
        <p:txBody>
          <a:bodyPr lIns="38100" tIns="38100" rIns="38100" bIns="3810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defRPr/>
            </a:pPr>
            <a:r>
              <a:rPr lang="en-GB" dirty="0">
                <a:cs typeface="+mn-cs"/>
              </a:rPr>
              <a:t>Nigeria has a skewed young age structure, with a dependency ratio of 88, double East Asia’s</a:t>
            </a:r>
          </a:p>
        </p:txBody>
      </p:sp>
      <p:graphicFrame>
        <p:nvGraphicFramePr>
          <p:cNvPr id="15405" name="Chart 98"/>
          <p:cNvGraphicFramePr>
            <a:graphicFrameLocks/>
          </p:cNvGraphicFramePr>
          <p:nvPr/>
        </p:nvGraphicFramePr>
        <p:xfrm>
          <a:off x="4870450" y="2098675"/>
          <a:ext cx="2951163" cy="3019425"/>
        </p:xfrm>
        <a:graphic>
          <a:graphicData uri="http://schemas.openxmlformats.org/presentationml/2006/ole">
            <p:oleObj spid="_x0000_s15405" r:id="rId69" imgW="2950720" imgH="3023878" progId="Excel.Sheet.8">
              <p:embed/>
            </p:oleObj>
          </a:graphicData>
        </a:graphic>
      </p:graphicFrame>
      <p:sp>
        <p:nvSpPr>
          <p:cNvPr id="15406" name="Text Placeholder 2"/>
          <p:cNvSpPr>
            <a:spLocks noGrp="1"/>
          </p:cNvSpPr>
          <p:nvPr>
            <p:custDataLst>
              <p:tags r:id="rId30"/>
            </p:custDataLst>
          </p:nvPr>
        </p:nvSpPr>
        <p:spPr bwMode="gray">
          <a:xfrm>
            <a:off x="6943725"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fld id="{B609FDDB-FDD4-41F8-931D-7B5CC77F38EF}" type="datetime'''''''''''''''2''''''''''''''''''''''''''0'">
              <a:rPr lang="en-GB" altLang="en-US" sz="1400">
                <a:sym typeface="+mn-lt"/>
              </a:rPr>
              <a:pPr algn="ctr" defTabSz="895350">
                <a:buClr>
                  <a:schemeClr val="tx2"/>
                </a:buClr>
                <a:buSzPct val="100000"/>
              </a:pPr>
              <a:t>20</a:t>
            </a:fld>
            <a:endParaRPr lang="en-GB" sz="1400">
              <a:sym typeface="+mn-lt"/>
            </a:endParaRPr>
          </a:p>
        </p:txBody>
      </p:sp>
      <p:sp>
        <p:nvSpPr>
          <p:cNvPr id="15407" name="Text Placeholder 2"/>
          <p:cNvSpPr>
            <a:spLocks noGrp="1"/>
          </p:cNvSpPr>
          <p:nvPr>
            <p:custDataLst>
              <p:tags r:id="rId31"/>
            </p:custDataLst>
          </p:nvPr>
        </p:nvSpPr>
        <p:spPr bwMode="gray">
          <a:xfrm>
            <a:off x="4854575"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r>
              <a:rPr lang="en-GB" sz="1400">
                <a:sym typeface="+mn-lt"/>
              </a:rPr>
              <a:t>40</a:t>
            </a:r>
          </a:p>
        </p:txBody>
      </p:sp>
      <p:sp>
        <p:nvSpPr>
          <p:cNvPr id="15408" name="Text Placeholder 2"/>
          <p:cNvSpPr>
            <a:spLocks noGrp="1"/>
          </p:cNvSpPr>
          <p:nvPr>
            <p:custDataLst>
              <p:tags r:id="rId32"/>
            </p:custDataLst>
          </p:nvPr>
        </p:nvSpPr>
        <p:spPr bwMode="gray">
          <a:xfrm>
            <a:off x="5551488"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r>
              <a:rPr lang="en-GB" altLang="en-US" sz="1400">
                <a:sym typeface="+mn-lt"/>
              </a:rPr>
              <a:t>20</a:t>
            </a:r>
            <a:endParaRPr lang="en-GB" sz="1400">
              <a:sym typeface="+mn-lt"/>
            </a:endParaRPr>
          </a:p>
        </p:txBody>
      </p:sp>
      <p:sp>
        <p:nvSpPr>
          <p:cNvPr id="15409" name="Text Placeholder 2"/>
          <p:cNvSpPr>
            <a:spLocks noGrp="1"/>
          </p:cNvSpPr>
          <p:nvPr>
            <p:custDataLst>
              <p:tags r:id="rId33"/>
            </p:custDataLst>
          </p:nvPr>
        </p:nvSpPr>
        <p:spPr bwMode="gray">
          <a:xfrm>
            <a:off x="5202238"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r>
              <a:rPr lang="en-GB" sz="1400">
                <a:sym typeface="+mn-lt"/>
              </a:rPr>
              <a:t>30</a:t>
            </a:r>
          </a:p>
        </p:txBody>
      </p:sp>
      <p:sp>
        <p:nvSpPr>
          <p:cNvPr id="15410" name="Text Placeholder 2"/>
          <p:cNvSpPr>
            <a:spLocks noGrp="1"/>
          </p:cNvSpPr>
          <p:nvPr>
            <p:custDataLst>
              <p:tags r:id="rId34"/>
            </p:custDataLst>
          </p:nvPr>
        </p:nvSpPr>
        <p:spPr bwMode="gray">
          <a:xfrm>
            <a:off x="5899150"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r>
              <a:rPr lang="en-GB" sz="1400">
                <a:sym typeface="+mn-lt"/>
              </a:rPr>
              <a:t>10</a:t>
            </a:r>
          </a:p>
        </p:txBody>
      </p:sp>
      <p:sp>
        <p:nvSpPr>
          <p:cNvPr id="15411" name="Text Placeholder 2"/>
          <p:cNvSpPr>
            <a:spLocks noGrp="1"/>
          </p:cNvSpPr>
          <p:nvPr>
            <p:custDataLst>
              <p:tags r:id="rId35"/>
            </p:custDataLst>
          </p:nvPr>
        </p:nvSpPr>
        <p:spPr bwMode="gray">
          <a:xfrm>
            <a:off x="7292975"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fld id="{4C1D2AFA-9336-4CFC-B7F8-59C1B16B5F02}" type="datetime'''3''''''''''''''''''''''''''''''''''''''''''''0'''''''">
              <a:rPr lang="en-GB" altLang="en-US" sz="1400">
                <a:sym typeface="+mn-lt"/>
              </a:rPr>
              <a:pPr algn="ctr" defTabSz="895350">
                <a:buClr>
                  <a:schemeClr val="tx2"/>
                </a:buClr>
                <a:buSzPct val="100000"/>
              </a:pPr>
              <a:t>30</a:t>
            </a:fld>
            <a:endParaRPr lang="en-GB" sz="1400">
              <a:sym typeface="+mn-lt"/>
            </a:endParaRPr>
          </a:p>
        </p:txBody>
      </p:sp>
      <p:sp>
        <p:nvSpPr>
          <p:cNvPr id="15412" name="Text Placeholder 2"/>
          <p:cNvSpPr>
            <a:spLocks noGrp="1"/>
          </p:cNvSpPr>
          <p:nvPr>
            <p:custDataLst>
              <p:tags r:id="rId36"/>
            </p:custDataLst>
          </p:nvPr>
        </p:nvSpPr>
        <p:spPr bwMode="gray">
          <a:xfrm>
            <a:off x="6297613" y="5094288"/>
            <a:ext cx="98425" cy="212725"/>
          </a:xfrm>
          <a:prstGeom prst="rect">
            <a:avLst/>
          </a:prstGeom>
          <a:noFill/>
          <a:ln w="9525">
            <a:noFill/>
            <a:miter lim="800000"/>
            <a:headEnd/>
            <a:tailEnd/>
          </a:ln>
        </p:spPr>
        <p:txBody>
          <a:bodyPr wrap="none" lIns="0" tIns="0" rIns="0" bIns="0"/>
          <a:lstStyle/>
          <a:p>
            <a:pPr algn="ctr" defTabSz="895350">
              <a:buClr>
                <a:schemeClr val="tx2"/>
              </a:buClr>
              <a:buSzPct val="100000"/>
            </a:pPr>
            <a:fld id="{32D937E9-69A1-4693-B605-FEAC423AB94F}" type="datetime'''''''''''''''0'''''''''''''''''">
              <a:rPr lang="en-GB" altLang="en-US" sz="1400">
                <a:sym typeface="+mn-lt"/>
              </a:rPr>
              <a:pPr algn="ctr" defTabSz="895350">
                <a:buClr>
                  <a:schemeClr val="tx2"/>
                </a:buClr>
                <a:buSzPct val="100000"/>
              </a:pPr>
              <a:t>0</a:t>
            </a:fld>
            <a:endParaRPr lang="en-GB" sz="1400">
              <a:sym typeface="+mn-lt"/>
            </a:endParaRPr>
          </a:p>
        </p:txBody>
      </p:sp>
      <p:sp>
        <p:nvSpPr>
          <p:cNvPr id="15413" name="Text Placeholder 2"/>
          <p:cNvSpPr>
            <a:spLocks noGrp="1"/>
          </p:cNvSpPr>
          <p:nvPr>
            <p:custDataLst>
              <p:tags r:id="rId37"/>
            </p:custDataLst>
          </p:nvPr>
        </p:nvSpPr>
        <p:spPr bwMode="gray">
          <a:xfrm>
            <a:off x="6596063"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fld id="{A10D9471-CE9F-4E02-8A7B-D3ADAD2A2A82}" type="datetime'''''''''''''''''''''''''''''''''10'''''''''''''">
              <a:rPr lang="en-GB" altLang="en-US" sz="1400">
                <a:sym typeface="+mn-lt"/>
              </a:rPr>
              <a:pPr algn="ctr" defTabSz="895350">
                <a:buClr>
                  <a:schemeClr val="tx2"/>
                </a:buClr>
                <a:buSzPct val="100000"/>
              </a:pPr>
              <a:t>10</a:t>
            </a:fld>
            <a:endParaRPr lang="en-GB" sz="1400">
              <a:sym typeface="+mn-lt"/>
            </a:endParaRPr>
          </a:p>
        </p:txBody>
      </p:sp>
      <p:sp>
        <p:nvSpPr>
          <p:cNvPr id="15414" name="Text Placeholder 2"/>
          <p:cNvSpPr>
            <a:spLocks noGrp="1"/>
          </p:cNvSpPr>
          <p:nvPr>
            <p:custDataLst>
              <p:tags r:id="rId38"/>
            </p:custDataLst>
          </p:nvPr>
        </p:nvSpPr>
        <p:spPr bwMode="gray">
          <a:xfrm>
            <a:off x="7640638" y="5094288"/>
            <a:ext cx="196850" cy="212725"/>
          </a:xfrm>
          <a:prstGeom prst="rect">
            <a:avLst/>
          </a:prstGeom>
          <a:noFill/>
          <a:ln w="9525">
            <a:noFill/>
            <a:miter lim="800000"/>
            <a:headEnd/>
            <a:tailEnd/>
          </a:ln>
        </p:spPr>
        <p:txBody>
          <a:bodyPr wrap="none" lIns="0" tIns="0" rIns="0" bIns="0"/>
          <a:lstStyle/>
          <a:p>
            <a:pPr algn="ctr" defTabSz="895350">
              <a:buClr>
                <a:schemeClr val="tx2"/>
              </a:buClr>
              <a:buSzPct val="100000"/>
            </a:pPr>
            <a:fld id="{714B8EF2-18E8-4823-855B-FD0C929BC3C8}" type="datetime'4''''''''''''''''''''''''''''0'''''''''''">
              <a:rPr lang="en-GB" altLang="en-US" sz="1400">
                <a:sym typeface="+mn-lt"/>
              </a:rPr>
              <a:pPr algn="ctr" defTabSz="895350">
                <a:buClr>
                  <a:schemeClr val="tx2"/>
                </a:buClr>
                <a:buSzPct val="100000"/>
              </a:pPr>
              <a:t>40</a:t>
            </a:fld>
            <a:endParaRPr lang="en-GB" sz="1400">
              <a:sym typeface="+mn-lt"/>
            </a:endParaRPr>
          </a:p>
        </p:txBody>
      </p:sp>
      <p:sp>
        <p:nvSpPr>
          <p:cNvPr id="15415" name="Text Placeholder 2"/>
          <p:cNvSpPr>
            <a:spLocks noGrp="1"/>
          </p:cNvSpPr>
          <p:nvPr>
            <p:custDataLst>
              <p:tags r:id="rId39"/>
            </p:custDataLst>
          </p:nvPr>
        </p:nvSpPr>
        <p:spPr bwMode="auto">
          <a:xfrm>
            <a:off x="4383088" y="2327275"/>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5C2CBA7D-FC5F-407F-A2A8-4F998603A9BE}" type="datetime'''''''''''''7''''''''''''5''-''''''''''''7''''''''''9'">
              <a:rPr lang="en-GB" altLang="en-US" sz="1400">
                <a:sym typeface="+mn-lt"/>
              </a:rPr>
              <a:pPr defTabSz="895350">
                <a:buClr>
                  <a:schemeClr val="tx2"/>
                </a:buClr>
                <a:buSzPct val="100000"/>
              </a:pPr>
              <a:t>75-79</a:t>
            </a:fld>
            <a:endParaRPr lang="en-GB" sz="1400">
              <a:sym typeface="+mn-lt"/>
            </a:endParaRPr>
          </a:p>
        </p:txBody>
      </p:sp>
      <p:sp>
        <p:nvSpPr>
          <p:cNvPr id="15416" name="Text Placeholder 2"/>
          <p:cNvSpPr>
            <a:spLocks noGrp="1"/>
          </p:cNvSpPr>
          <p:nvPr>
            <p:custDataLst>
              <p:tags r:id="rId40"/>
            </p:custDataLst>
          </p:nvPr>
        </p:nvSpPr>
        <p:spPr bwMode="auto">
          <a:xfrm>
            <a:off x="4383088" y="3836988"/>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1EF68374-9572-44EC-A15A-1EED98A7D436}" type="datetime'''''''3''''0''''''''''''''''''''''''''''-''''3''''''''''4'''''">
              <a:rPr lang="en-GB" altLang="en-US" sz="1400">
                <a:sym typeface="+mn-lt"/>
              </a:rPr>
              <a:pPr defTabSz="895350">
                <a:buClr>
                  <a:schemeClr val="tx2"/>
                </a:buClr>
                <a:buSzPct val="100000"/>
              </a:pPr>
              <a:t>30-34</a:t>
            </a:fld>
            <a:endParaRPr lang="en-GB" sz="1400">
              <a:sym typeface="+mn-lt"/>
            </a:endParaRPr>
          </a:p>
        </p:txBody>
      </p:sp>
      <p:sp>
        <p:nvSpPr>
          <p:cNvPr id="15417" name="Text Placeholder 2"/>
          <p:cNvSpPr>
            <a:spLocks noGrp="1"/>
          </p:cNvSpPr>
          <p:nvPr>
            <p:custDataLst>
              <p:tags r:id="rId41"/>
            </p:custDataLst>
          </p:nvPr>
        </p:nvSpPr>
        <p:spPr bwMode="auto">
          <a:xfrm>
            <a:off x="4383088" y="2159000"/>
            <a:ext cx="3000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C3E13772-2B60-492A-B64A-88B8C3D57D0C}" type="datetime'''''''''''''''''''''8''0''''''''''''''''''''+'">
              <a:rPr lang="en-GB" altLang="en-US" sz="1400">
                <a:sym typeface="+mn-lt"/>
              </a:rPr>
              <a:pPr defTabSz="895350">
                <a:buClr>
                  <a:schemeClr val="tx2"/>
                </a:buClr>
                <a:buSzPct val="100000"/>
              </a:pPr>
              <a:t>80+</a:t>
            </a:fld>
            <a:endParaRPr lang="en-GB" sz="1400">
              <a:sym typeface="+mn-lt"/>
            </a:endParaRPr>
          </a:p>
        </p:txBody>
      </p:sp>
      <p:sp>
        <p:nvSpPr>
          <p:cNvPr id="15418" name="Text Placeholder 2"/>
          <p:cNvSpPr>
            <a:spLocks noGrp="1"/>
          </p:cNvSpPr>
          <p:nvPr>
            <p:custDataLst>
              <p:tags r:id="rId42"/>
            </p:custDataLst>
          </p:nvPr>
        </p:nvSpPr>
        <p:spPr bwMode="auto">
          <a:xfrm>
            <a:off x="4383088" y="2493963"/>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F6516B24-7546-41D0-9F0F-58F349DB521F}" type="datetime'7''0''-''''''''''''''7''''''''4'''''''''''''''''''">
              <a:rPr lang="en-GB" altLang="en-US" sz="1400">
                <a:sym typeface="+mn-lt"/>
              </a:rPr>
              <a:pPr defTabSz="895350">
                <a:buClr>
                  <a:schemeClr val="tx2"/>
                </a:buClr>
                <a:buSzPct val="100000"/>
              </a:pPr>
              <a:t>70-74</a:t>
            </a:fld>
            <a:endParaRPr lang="en-GB" sz="1400">
              <a:sym typeface="+mn-lt"/>
            </a:endParaRPr>
          </a:p>
        </p:txBody>
      </p:sp>
      <p:sp>
        <p:nvSpPr>
          <p:cNvPr id="15419" name="Text Placeholder 2"/>
          <p:cNvSpPr>
            <a:spLocks noGrp="1"/>
          </p:cNvSpPr>
          <p:nvPr>
            <p:custDataLst>
              <p:tags r:id="rId43"/>
            </p:custDataLst>
          </p:nvPr>
        </p:nvSpPr>
        <p:spPr bwMode="auto">
          <a:xfrm>
            <a:off x="4383088" y="2662238"/>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FA466D4B-9B14-4A0D-997D-72425D477077}" type="datetime'''''6''''''5''-''''''''''''''''''''''6''''''''''''''''''9'''''">
              <a:rPr lang="en-GB" altLang="en-US" sz="1400">
                <a:sym typeface="+mn-lt"/>
              </a:rPr>
              <a:pPr defTabSz="895350">
                <a:buClr>
                  <a:schemeClr val="tx2"/>
                </a:buClr>
                <a:buSzPct val="100000"/>
              </a:pPr>
              <a:t>65-69</a:t>
            </a:fld>
            <a:endParaRPr lang="en-GB" sz="1400">
              <a:sym typeface="+mn-lt"/>
            </a:endParaRPr>
          </a:p>
        </p:txBody>
      </p:sp>
      <p:sp>
        <p:nvSpPr>
          <p:cNvPr id="15420" name="Text Placeholder 2"/>
          <p:cNvSpPr>
            <a:spLocks noGrp="1"/>
          </p:cNvSpPr>
          <p:nvPr>
            <p:custDataLst>
              <p:tags r:id="rId44"/>
            </p:custDataLst>
          </p:nvPr>
        </p:nvSpPr>
        <p:spPr bwMode="auto">
          <a:xfrm>
            <a:off x="4383088" y="3333750"/>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493276D9-14F5-40F1-96DD-AE88F7457617}" type="datetime'4''''5''''''''''''''''-''''4''''''9'''''''">
              <a:rPr lang="en-GB" altLang="en-US" sz="1400">
                <a:sym typeface="+mn-lt"/>
              </a:rPr>
              <a:pPr defTabSz="895350">
                <a:buClr>
                  <a:schemeClr val="tx2"/>
                </a:buClr>
                <a:buSzPct val="100000"/>
              </a:pPr>
              <a:t>45-49</a:t>
            </a:fld>
            <a:endParaRPr lang="en-GB" sz="1400">
              <a:sym typeface="+mn-lt"/>
            </a:endParaRPr>
          </a:p>
        </p:txBody>
      </p:sp>
      <p:sp>
        <p:nvSpPr>
          <p:cNvPr id="15421" name="Text Placeholder 2"/>
          <p:cNvSpPr>
            <a:spLocks noGrp="1"/>
          </p:cNvSpPr>
          <p:nvPr>
            <p:custDataLst>
              <p:tags r:id="rId45"/>
            </p:custDataLst>
          </p:nvPr>
        </p:nvSpPr>
        <p:spPr bwMode="auto">
          <a:xfrm>
            <a:off x="4383088" y="2830513"/>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9991443B-B6CC-44A9-9840-3090D4734DFE}" type="datetime'''''''''60''''-''6''''''''4'''''''''''''''''''''''''''''''''''">
              <a:rPr lang="en-GB" altLang="en-US" sz="1400">
                <a:sym typeface="+mn-lt"/>
              </a:rPr>
              <a:pPr defTabSz="895350">
                <a:buClr>
                  <a:schemeClr val="tx2"/>
                </a:buClr>
                <a:buSzPct val="100000"/>
              </a:pPr>
              <a:t>60-64</a:t>
            </a:fld>
            <a:endParaRPr lang="en-GB" sz="1400">
              <a:sym typeface="+mn-lt"/>
            </a:endParaRPr>
          </a:p>
        </p:txBody>
      </p:sp>
      <p:sp>
        <p:nvSpPr>
          <p:cNvPr id="15422" name="Text Placeholder 2"/>
          <p:cNvSpPr>
            <a:spLocks noGrp="1"/>
          </p:cNvSpPr>
          <p:nvPr>
            <p:custDataLst>
              <p:tags r:id="rId46"/>
            </p:custDataLst>
          </p:nvPr>
        </p:nvSpPr>
        <p:spPr bwMode="auto">
          <a:xfrm>
            <a:off x="4383088" y="2998788"/>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4F1E073D-4453-4DD8-A3C6-511D4E6FD7E6}" type="datetime'''55''''-''''5''''''''''''''''9'''''''''''''">
              <a:rPr lang="en-GB" altLang="en-US" sz="1400">
                <a:sym typeface="+mn-lt"/>
              </a:rPr>
              <a:pPr defTabSz="895350">
                <a:buClr>
                  <a:schemeClr val="tx2"/>
                </a:buClr>
                <a:buSzPct val="100000"/>
              </a:pPr>
              <a:t>55-59</a:t>
            </a:fld>
            <a:endParaRPr lang="en-GB" sz="1400">
              <a:sym typeface="+mn-lt"/>
            </a:endParaRPr>
          </a:p>
        </p:txBody>
      </p:sp>
      <p:sp>
        <p:nvSpPr>
          <p:cNvPr id="15423" name="Text Placeholder 2"/>
          <p:cNvSpPr>
            <a:spLocks noGrp="1"/>
          </p:cNvSpPr>
          <p:nvPr>
            <p:custDataLst>
              <p:tags r:id="rId47"/>
            </p:custDataLst>
          </p:nvPr>
        </p:nvSpPr>
        <p:spPr bwMode="auto">
          <a:xfrm>
            <a:off x="4383088" y="3165475"/>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8C20020E-8C7A-41EC-A372-D23BF74FA5EE}" type="datetime'''''50-''''''''''''''''''''''''''54'''''''''''''''''">
              <a:rPr lang="en-GB" altLang="en-US" sz="1400">
                <a:sym typeface="+mn-lt"/>
              </a:rPr>
              <a:pPr defTabSz="895350">
                <a:buClr>
                  <a:schemeClr val="tx2"/>
                </a:buClr>
                <a:buSzPct val="100000"/>
              </a:pPr>
              <a:t>50-54</a:t>
            </a:fld>
            <a:endParaRPr lang="en-GB" sz="1400">
              <a:sym typeface="+mn-lt"/>
            </a:endParaRPr>
          </a:p>
        </p:txBody>
      </p:sp>
      <p:sp>
        <p:nvSpPr>
          <p:cNvPr id="15424" name="Text Placeholder 2"/>
          <p:cNvSpPr>
            <a:spLocks noGrp="1"/>
          </p:cNvSpPr>
          <p:nvPr>
            <p:custDataLst>
              <p:tags r:id="rId48"/>
            </p:custDataLst>
          </p:nvPr>
        </p:nvSpPr>
        <p:spPr bwMode="auto">
          <a:xfrm>
            <a:off x="4383088" y="3502025"/>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722B369F-A748-4255-B93B-0757963734D5}" type="datetime'''''''''4''''''''''''''''''0-4''''''4'''">
              <a:rPr lang="en-GB" altLang="en-US" sz="1400">
                <a:sym typeface="+mn-lt"/>
              </a:rPr>
              <a:pPr defTabSz="895350">
                <a:buClr>
                  <a:schemeClr val="tx2"/>
                </a:buClr>
                <a:buSzPct val="100000"/>
              </a:pPr>
              <a:t>40-44</a:t>
            </a:fld>
            <a:endParaRPr lang="en-GB" sz="1400">
              <a:sym typeface="+mn-lt"/>
            </a:endParaRPr>
          </a:p>
        </p:txBody>
      </p:sp>
      <p:sp>
        <p:nvSpPr>
          <p:cNvPr id="15425" name="Text Placeholder 2"/>
          <p:cNvSpPr>
            <a:spLocks noGrp="1"/>
          </p:cNvSpPr>
          <p:nvPr>
            <p:custDataLst>
              <p:tags r:id="rId49"/>
            </p:custDataLst>
          </p:nvPr>
        </p:nvSpPr>
        <p:spPr bwMode="auto">
          <a:xfrm>
            <a:off x="4383088" y="4341813"/>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3E9D5795-BAF7-428E-B144-757AC72C72B6}" type="datetime'''''''''''1''''''''''''''''''''''''''''''''5''-''''''''1''9'">
              <a:rPr lang="en-GB" altLang="en-US" sz="1400">
                <a:sym typeface="+mn-lt"/>
              </a:rPr>
              <a:pPr defTabSz="895350">
                <a:buClr>
                  <a:schemeClr val="tx2"/>
                </a:buClr>
                <a:buSzPct val="100000"/>
              </a:pPr>
              <a:t>15-19</a:t>
            </a:fld>
            <a:endParaRPr lang="en-GB" sz="1400">
              <a:sym typeface="+mn-lt"/>
            </a:endParaRPr>
          </a:p>
        </p:txBody>
      </p:sp>
      <p:sp>
        <p:nvSpPr>
          <p:cNvPr id="15426" name="Text Placeholder 2"/>
          <p:cNvSpPr>
            <a:spLocks noGrp="1"/>
          </p:cNvSpPr>
          <p:nvPr>
            <p:custDataLst>
              <p:tags r:id="rId50"/>
            </p:custDataLst>
          </p:nvPr>
        </p:nvSpPr>
        <p:spPr bwMode="auto">
          <a:xfrm>
            <a:off x="4383088" y="3670300"/>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06C78C16-A511-4612-A7AD-C665AE9260DC}" type="datetime'''''''''''3''''''''''''''''''''5''-''''''''''''39'''''''''''''">
              <a:rPr lang="en-GB" altLang="en-US" sz="1400">
                <a:sym typeface="+mn-lt"/>
              </a:rPr>
              <a:pPr defTabSz="895350">
                <a:buClr>
                  <a:schemeClr val="tx2"/>
                </a:buClr>
                <a:buSzPct val="100000"/>
              </a:pPr>
              <a:t>35-39</a:t>
            </a:fld>
            <a:endParaRPr lang="en-GB" sz="1400">
              <a:sym typeface="+mn-lt"/>
            </a:endParaRPr>
          </a:p>
        </p:txBody>
      </p:sp>
      <p:sp>
        <p:nvSpPr>
          <p:cNvPr id="15427" name="Text Placeholder 2"/>
          <p:cNvSpPr>
            <a:spLocks noGrp="1"/>
          </p:cNvSpPr>
          <p:nvPr>
            <p:custDataLst>
              <p:tags r:id="rId51"/>
            </p:custDataLst>
          </p:nvPr>
        </p:nvSpPr>
        <p:spPr bwMode="auto">
          <a:xfrm>
            <a:off x="4383088" y="4005263"/>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021CF4FC-79EF-4B17-912F-3E3B8DDE2B35}" type="datetime'''''''''2''''''''''''''''''''''5''-''''29'''''''''''''''''">
              <a:rPr lang="en-GB" altLang="en-US" sz="1400">
                <a:sym typeface="+mn-lt"/>
              </a:rPr>
              <a:pPr defTabSz="895350">
                <a:buClr>
                  <a:schemeClr val="tx2"/>
                </a:buClr>
                <a:buSzPct val="100000"/>
              </a:pPr>
              <a:t>25-29</a:t>
            </a:fld>
            <a:endParaRPr lang="en-GB" sz="1400">
              <a:sym typeface="+mn-lt"/>
            </a:endParaRPr>
          </a:p>
        </p:txBody>
      </p:sp>
      <p:sp>
        <p:nvSpPr>
          <p:cNvPr id="15428" name="Text Placeholder 2"/>
          <p:cNvSpPr>
            <a:spLocks noGrp="1"/>
          </p:cNvSpPr>
          <p:nvPr>
            <p:custDataLst>
              <p:tags r:id="rId52"/>
            </p:custDataLst>
          </p:nvPr>
        </p:nvSpPr>
        <p:spPr bwMode="auto">
          <a:xfrm>
            <a:off x="4383088" y="4173538"/>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102C3042-52CB-4619-B85A-D0402BE4645F}" type="datetime'''''2''''0''-''''2''''''''''''4'''''''''''''''">
              <a:rPr lang="en-GB" altLang="en-US" sz="1400">
                <a:sym typeface="+mn-lt"/>
              </a:rPr>
              <a:pPr defTabSz="895350">
                <a:buClr>
                  <a:schemeClr val="tx2"/>
                </a:buClr>
                <a:buSzPct val="100000"/>
              </a:pPr>
              <a:t>20-24</a:t>
            </a:fld>
            <a:endParaRPr lang="en-GB" sz="1400">
              <a:sym typeface="+mn-lt"/>
            </a:endParaRPr>
          </a:p>
        </p:txBody>
      </p:sp>
      <p:sp>
        <p:nvSpPr>
          <p:cNvPr id="15429" name="Text Placeholder 2"/>
          <p:cNvSpPr>
            <a:spLocks noGrp="1"/>
          </p:cNvSpPr>
          <p:nvPr>
            <p:custDataLst>
              <p:tags r:id="rId53"/>
            </p:custDataLst>
          </p:nvPr>
        </p:nvSpPr>
        <p:spPr bwMode="auto">
          <a:xfrm>
            <a:off x="4383088" y="4508500"/>
            <a:ext cx="452437" cy="212725"/>
          </a:xfrm>
          <a:prstGeom prst="rect">
            <a:avLst/>
          </a:prstGeom>
          <a:noFill/>
          <a:ln w="9525">
            <a:noFill/>
            <a:miter lim="800000"/>
            <a:headEnd/>
            <a:tailEnd/>
          </a:ln>
        </p:spPr>
        <p:txBody>
          <a:bodyPr wrap="none" lIns="0" tIns="0" rIns="0" bIns="0" anchor="ctr"/>
          <a:lstStyle/>
          <a:p>
            <a:pPr defTabSz="895350">
              <a:buClr>
                <a:schemeClr val="tx2"/>
              </a:buClr>
              <a:buSzPct val="100000"/>
            </a:pPr>
            <a:r>
              <a:rPr lang="en-GB" altLang="en-US" sz="1400">
                <a:sym typeface="+mn-lt"/>
              </a:rPr>
              <a:t>10-14</a:t>
            </a:r>
            <a:endParaRPr lang="en-GB" sz="1400">
              <a:sym typeface="+mn-lt"/>
            </a:endParaRPr>
          </a:p>
        </p:txBody>
      </p:sp>
      <p:sp>
        <p:nvSpPr>
          <p:cNvPr id="15430" name="Text Placeholder 2"/>
          <p:cNvSpPr>
            <a:spLocks noGrp="1"/>
          </p:cNvSpPr>
          <p:nvPr>
            <p:custDataLst>
              <p:tags r:id="rId54"/>
            </p:custDataLst>
          </p:nvPr>
        </p:nvSpPr>
        <p:spPr bwMode="auto">
          <a:xfrm>
            <a:off x="4383088" y="4676775"/>
            <a:ext cx="255587" cy="212725"/>
          </a:xfrm>
          <a:prstGeom prst="rect">
            <a:avLst/>
          </a:prstGeom>
          <a:noFill/>
          <a:ln w="9525">
            <a:noFill/>
            <a:miter lim="800000"/>
            <a:headEnd/>
            <a:tailEnd/>
          </a:ln>
        </p:spPr>
        <p:txBody>
          <a:bodyPr wrap="none" lIns="0" tIns="0" rIns="0" bIns="0" anchor="ctr"/>
          <a:lstStyle/>
          <a:p>
            <a:pPr defTabSz="895350">
              <a:buClr>
                <a:schemeClr val="tx2"/>
              </a:buClr>
              <a:buSzPct val="100000"/>
            </a:pPr>
            <a:r>
              <a:rPr lang="en-GB" altLang="en-US" sz="1400">
                <a:sym typeface="+mn-lt"/>
              </a:rPr>
              <a:t>5-9</a:t>
            </a:r>
            <a:endParaRPr lang="en-GB" sz="1400">
              <a:sym typeface="+mn-lt"/>
            </a:endParaRPr>
          </a:p>
        </p:txBody>
      </p:sp>
      <p:sp>
        <p:nvSpPr>
          <p:cNvPr id="15431" name="Text Placeholder 2"/>
          <p:cNvSpPr>
            <a:spLocks noGrp="1"/>
          </p:cNvSpPr>
          <p:nvPr>
            <p:custDataLst>
              <p:tags r:id="rId55"/>
            </p:custDataLst>
          </p:nvPr>
        </p:nvSpPr>
        <p:spPr bwMode="auto">
          <a:xfrm>
            <a:off x="4383088" y="4845050"/>
            <a:ext cx="255587" cy="212725"/>
          </a:xfrm>
          <a:prstGeom prst="rect">
            <a:avLst/>
          </a:prstGeom>
          <a:noFill/>
          <a:ln w="9525">
            <a:noFill/>
            <a:miter lim="800000"/>
            <a:headEnd/>
            <a:tailEnd/>
          </a:ln>
        </p:spPr>
        <p:txBody>
          <a:bodyPr wrap="none" lIns="0" tIns="0" rIns="0" bIns="0" anchor="ctr"/>
          <a:lstStyle/>
          <a:p>
            <a:pPr defTabSz="895350">
              <a:buClr>
                <a:schemeClr val="tx2"/>
              </a:buClr>
              <a:buSzPct val="100000"/>
            </a:pPr>
            <a:fld id="{559E90D3-2B52-4187-9334-CF33F4D2232B}" type="datetime'''''''''0''''''''''''''''''-''''''''''''''''''4'">
              <a:rPr lang="en-GB" altLang="en-US" sz="1400">
                <a:sym typeface="+mn-lt"/>
              </a:rPr>
              <a:pPr defTabSz="895350">
                <a:buClr>
                  <a:schemeClr val="tx2"/>
                </a:buClr>
                <a:buSzPct val="100000"/>
              </a:pPr>
              <a:t>0-4</a:t>
            </a:fld>
            <a:endParaRPr lang="en-GB" sz="1400">
              <a:sym typeface="+mn-lt"/>
            </a:endParaRPr>
          </a:p>
        </p:txBody>
      </p:sp>
      <p:cxnSp>
        <p:nvCxnSpPr>
          <p:cNvPr id="147" name="Straight Connector 146">
            <a:extLst>
              <a:ext uri="{FF2B5EF4-FFF2-40B4-BE49-F238E27FC236}"/>
            </a:extLst>
          </p:cNvPr>
          <p:cNvCxnSpPr>
            <a:cxnSpLocks/>
          </p:cNvCxnSpPr>
          <p:nvPr/>
        </p:nvCxnSpPr>
        <p:spPr>
          <a:xfrm flipH="1">
            <a:off x="7191375" y="2927350"/>
            <a:ext cx="469900" cy="0"/>
          </a:xfrm>
          <a:prstGeom prst="line">
            <a:avLst/>
          </a:prstGeom>
          <a:ln w="12700">
            <a:solidFill>
              <a:schemeClr val="accent6"/>
            </a:solidFill>
            <a:tailEnd type="oval"/>
          </a:ln>
        </p:spPr>
      </p:cxnSp>
      <p:sp>
        <p:nvSpPr>
          <p:cNvPr id="18" name="TextBox 17">
            <a:extLst>
              <a:ext uri="{FF2B5EF4-FFF2-40B4-BE49-F238E27FC236}"/>
            </a:extLst>
          </p:cNvPr>
          <p:cNvSpPr txBox="1"/>
          <p:nvPr/>
        </p:nvSpPr>
        <p:spPr>
          <a:xfrm>
            <a:off x="7496175" y="2087563"/>
            <a:ext cx="1270000" cy="2522537"/>
          </a:xfrm>
          <a:prstGeom prst="rect">
            <a:avLst/>
          </a:prstGeom>
          <a:solidFill>
            <a:schemeClr val="bg1"/>
          </a:solidFill>
          <a:ln w="12700">
            <a:solidFill>
              <a:schemeClr val="accent6"/>
            </a:solidFill>
          </a:ln>
        </p:spPr>
        <p:txBody>
          <a:bodyPr lIns="76200" tIns="76200" rIns="76200" bIns="7620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defRPr/>
            </a:pPr>
            <a:r>
              <a:rPr lang="en-GB" dirty="0">
                <a:cs typeface="+mn-cs"/>
              </a:rPr>
              <a:t>Even by 2100 the depen-dency ratio will still be high, so to capture the demographic dividend</a:t>
            </a:r>
            <a:r>
              <a:rPr lang="en-GB" baseline="30000" dirty="0">
                <a:cs typeface="+mn-cs"/>
              </a:rPr>
              <a:t>1</a:t>
            </a:r>
            <a:r>
              <a:rPr lang="en-GB" dirty="0">
                <a:cs typeface="+mn-cs"/>
              </a:rPr>
              <a:t> adults must participate in the workforce </a:t>
            </a:r>
          </a:p>
        </p:txBody>
      </p:sp>
      <p:grpSp>
        <p:nvGrpSpPr>
          <p:cNvPr id="15434" name="Group 3"/>
          <p:cNvGrpSpPr>
            <a:grpSpLocks/>
          </p:cNvGrpSpPr>
          <p:nvPr>
            <p:custDataLst>
              <p:tags r:id="rId56"/>
            </p:custDataLst>
          </p:nvPr>
        </p:nvGrpSpPr>
        <p:grpSpPr bwMode="auto">
          <a:xfrm>
            <a:off x="119063" y="1457325"/>
            <a:ext cx="3902075" cy="246063"/>
            <a:chOff x="119062" y="1457327"/>
            <a:chExt cx="3901706" cy="246354"/>
          </a:xfrm>
        </p:grpSpPr>
        <p:sp>
          <p:nvSpPr>
            <p:cNvPr id="3" name="Freeform: Shape 2">
              <a:extLst>
                <a:ext uri="{FF2B5EF4-FFF2-40B4-BE49-F238E27FC236}"/>
              </a:extLst>
            </p:cNvPr>
            <p:cNvSpPr/>
            <p:nvPr>
              <p:custDataLst>
                <p:tags r:id="rId61"/>
              </p:custDataLst>
            </p:nvPr>
          </p:nvSpPr>
          <p:spPr>
            <a:xfrm>
              <a:off x="119062" y="1457327"/>
              <a:ext cx="3901706" cy="24635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7145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7145 w 1828800"/>
                <a:gd name="connsiteY1" fmla="*/ 0 h 914400"/>
                <a:gd name="connsiteX2" fmla="*/ 1828800 w 1828800"/>
                <a:gd name="connsiteY2" fmla="*/ 457200 h 914400"/>
                <a:gd name="connsiteX3" fmla="*/ 18071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7145 w 1828800"/>
                <a:gd name="connsiteY1" fmla="*/ 0 h 914400"/>
                <a:gd name="connsiteX2" fmla="*/ 1828800 w 1828800"/>
                <a:gd name="connsiteY2" fmla="*/ 457200 h 914400"/>
                <a:gd name="connsiteX3" fmla="*/ 1807145 w 1828800"/>
                <a:gd name="connsiteY3" fmla="*/ 914400 h 914400"/>
                <a:gd name="connsiteX4" fmla="*/ 0 w 1828800"/>
                <a:gd name="connsiteY4" fmla="*/ 914400 h 914400"/>
                <a:gd name="connsiteX5" fmla="*/ 20785 w 1828800"/>
                <a:gd name="connsiteY5" fmla="*/ 457200 h 914400"/>
                <a:gd name="connsiteX0" fmla="*/ 0 w 1828800"/>
                <a:gd name="connsiteY0" fmla="*/ 0 h 914400"/>
                <a:gd name="connsiteX1" fmla="*/ 1808015 w 1828800"/>
                <a:gd name="connsiteY1" fmla="*/ 0 h 914400"/>
                <a:gd name="connsiteX2" fmla="*/ 1828800 w 1828800"/>
                <a:gd name="connsiteY2" fmla="*/ 457200 h 914400"/>
                <a:gd name="connsiteX3" fmla="*/ 1807145 w 1828800"/>
                <a:gd name="connsiteY3" fmla="*/ 914400 h 914400"/>
                <a:gd name="connsiteX4" fmla="*/ 0 w 1828800"/>
                <a:gd name="connsiteY4" fmla="*/ 914400 h 914400"/>
                <a:gd name="connsiteX5" fmla="*/ 20785 w 1828800"/>
                <a:gd name="connsiteY5" fmla="*/ 457200 h 914400"/>
                <a:gd name="connsiteX0" fmla="*/ 0 w 1828800"/>
                <a:gd name="connsiteY0" fmla="*/ 0 h 914400"/>
                <a:gd name="connsiteX1" fmla="*/ 1808015 w 1828800"/>
                <a:gd name="connsiteY1" fmla="*/ 0 h 914400"/>
                <a:gd name="connsiteX2" fmla="*/ 1828800 w 1828800"/>
                <a:gd name="connsiteY2" fmla="*/ 457200 h 914400"/>
                <a:gd name="connsiteX3" fmla="*/ 1808015 w 1828800"/>
                <a:gd name="connsiteY3" fmla="*/ 914400 h 914400"/>
                <a:gd name="connsiteX4" fmla="*/ 0 w 1828800"/>
                <a:gd name="connsiteY4" fmla="*/ 914400 h 914400"/>
                <a:gd name="connsiteX5" fmla="*/ 20785 w 1828800"/>
                <a:gd name="connsiteY5" fmla="*/ 457200 h 914400"/>
                <a:gd name="connsiteX0" fmla="*/ 0 w 1828800"/>
                <a:gd name="connsiteY0" fmla="*/ 0 h 914400"/>
                <a:gd name="connsiteX1" fmla="*/ 1808015 w 1828800"/>
                <a:gd name="connsiteY1" fmla="*/ 0 h 914400"/>
                <a:gd name="connsiteX2" fmla="*/ 1828800 w 1828800"/>
                <a:gd name="connsiteY2" fmla="*/ 457200 h 914400"/>
                <a:gd name="connsiteX3" fmla="*/ 180801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8015 w 1828800"/>
                <a:gd name="connsiteY1" fmla="*/ 0 h 914400"/>
                <a:gd name="connsiteX2" fmla="*/ 1828800 w 1828800"/>
                <a:gd name="connsiteY2" fmla="*/ 457200 h 914400"/>
                <a:gd name="connsiteX3" fmla="*/ 180801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8015 w 1828800"/>
                <a:gd name="connsiteY1" fmla="*/ 0 h 914400"/>
                <a:gd name="connsiteX2" fmla="*/ 1828800 w 1828800"/>
                <a:gd name="connsiteY2" fmla="*/ 457200 h 914400"/>
                <a:gd name="connsiteX3" fmla="*/ 180801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8015 w 1828800"/>
                <a:gd name="connsiteY1" fmla="*/ 0 h 914400"/>
                <a:gd name="connsiteX2" fmla="*/ 1828800 w 1828800"/>
                <a:gd name="connsiteY2" fmla="*/ 457200 h 914400"/>
                <a:gd name="connsiteX3" fmla="*/ 180801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8015 w 1828800"/>
                <a:gd name="connsiteY1" fmla="*/ 0 h 914400"/>
                <a:gd name="connsiteX2" fmla="*/ 1828800 w 1828800"/>
                <a:gd name="connsiteY2" fmla="*/ 457200 h 914400"/>
                <a:gd name="connsiteX3" fmla="*/ 180801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8015 w 1828800"/>
                <a:gd name="connsiteY1" fmla="*/ 0 h 914400"/>
                <a:gd name="connsiteX2" fmla="*/ 1828800 w 1828800"/>
                <a:gd name="connsiteY2" fmla="*/ 457200 h 914400"/>
                <a:gd name="connsiteX3" fmla="*/ 180801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808015" y="0"/>
                  </a:lnTo>
                  <a:lnTo>
                    <a:pt x="1828800" y="457200"/>
                  </a:lnTo>
                  <a:lnTo>
                    <a:pt x="1808015" y="914400"/>
                  </a:lnTo>
                  <a:lnTo>
                    <a:pt x="0" y="914400"/>
                  </a:lnTo>
                  <a:lnTo>
                    <a:pt x="0" y="457200"/>
                  </a:lnTo>
                  <a:close/>
                </a:path>
              </a:pathLst>
            </a:custGeom>
            <a:gradFill flip="none" rotWithShape="1">
              <a:gsLst>
                <a:gs pos="0">
                  <a:schemeClr val="accent4"/>
                </a:gs>
                <a:gs pos="50000">
                  <a:schemeClr val="accent2"/>
                </a:gs>
                <a:gs pos="100000">
                  <a:schemeClr val="accent1"/>
                </a:gs>
              </a:gsLst>
              <a:lin ang="10800000" scaled="1"/>
              <a:tileRect/>
            </a:gra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solidFill>
                  <a:schemeClr val="tx1"/>
                </a:solidFill>
              </a:endParaRPr>
            </a:p>
          </p:txBody>
        </p:sp>
        <p:sp>
          <p:nvSpPr>
            <p:cNvPr id="96" name="TextBox 95">
              <a:extLst>
                <a:ext uri="{FF2B5EF4-FFF2-40B4-BE49-F238E27FC236}"/>
              </a:extLst>
            </p:cNvPr>
            <p:cNvSpPr txBox="1"/>
            <p:nvPr>
              <p:custDataLst>
                <p:tags r:id="rId62"/>
              </p:custDataLst>
            </p:nvPr>
          </p:nvSpPr>
          <p:spPr>
            <a:xfrm>
              <a:off x="182556" y="1474811"/>
              <a:ext cx="3793766" cy="211387"/>
            </a:xfrm>
            <a:prstGeom prst="rect">
              <a:avLst/>
            </a:prstGeom>
            <a:gradFill flip="none" rotWithShape="1">
              <a:gsLst>
                <a:gs pos="0">
                  <a:schemeClr val="accent4"/>
                </a:gs>
                <a:gs pos="50000">
                  <a:schemeClr val="accent2"/>
                </a:gs>
                <a:gs pos="100000">
                  <a:schemeClr val="accent1"/>
                </a:gs>
              </a:gsLst>
              <a:lin ang="10800000" scaled="1"/>
              <a:tileRect/>
            </a:gradFill>
            <a:ln/>
          </p:spPr>
          <p:txBody>
            <a:bodyPr lIns="0" tIns="0" rIns="0" bIns="0" anchor="ct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defRPr/>
              </a:pPr>
              <a:r>
                <a:rPr lang="en-GB" b="1" dirty="0">
                  <a:solidFill>
                    <a:schemeClr val="tx2"/>
                  </a:solidFill>
                  <a:cs typeface="+mn-cs"/>
                </a:rPr>
                <a:t>Nigeria (2015), </a:t>
              </a:r>
              <a:r>
                <a:rPr lang="en-GB" dirty="0">
                  <a:solidFill>
                    <a:schemeClr val="accent6"/>
                  </a:solidFill>
                  <a:cs typeface="+mn-cs"/>
                </a:rPr>
                <a:t>181m</a:t>
              </a:r>
            </a:p>
          </p:txBody>
        </p:sp>
      </p:grpSp>
      <p:grpSp>
        <p:nvGrpSpPr>
          <p:cNvPr id="15435" name="Group 4"/>
          <p:cNvGrpSpPr>
            <a:grpSpLocks/>
          </p:cNvGrpSpPr>
          <p:nvPr>
            <p:custDataLst>
              <p:tags r:id="rId57"/>
            </p:custDataLst>
          </p:nvPr>
        </p:nvGrpSpPr>
        <p:grpSpPr bwMode="auto">
          <a:xfrm>
            <a:off x="4021138" y="1457325"/>
            <a:ext cx="4716462" cy="246063"/>
            <a:chOff x="4020768" y="1457327"/>
            <a:chExt cx="4716831" cy="246354"/>
          </a:xfrm>
        </p:grpSpPr>
        <p:sp>
          <p:nvSpPr>
            <p:cNvPr id="105" name="Freeform: Shape 104">
              <a:extLst>
                <a:ext uri="{FF2B5EF4-FFF2-40B4-BE49-F238E27FC236}"/>
              </a:extLst>
            </p:cNvPr>
            <p:cNvSpPr/>
            <p:nvPr>
              <p:custDataLst>
                <p:tags r:id="rId59"/>
              </p:custDataLst>
            </p:nvPr>
          </p:nvSpPr>
          <p:spPr>
            <a:xfrm>
              <a:off x="4020768" y="1457327"/>
              <a:ext cx="4716831" cy="24635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7145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7145 w 1828800"/>
                <a:gd name="connsiteY1" fmla="*/ 0 h 914400"/>
                <a:gd name="connsiteX2" fmla="*/ 1828800 w 1828800"/>
                <a:gd name="connsiteY2" fmla="*/ 457200 h 914400"/>
                <a:gd name="connsiteX3" fmla="*/ 18071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7145 w 1828800"/>
                <a:gd name="connsiteY1" fmla="*/ 0 h 914400"/>
                <a:gd name="connsiteX2" fmla="*/ 1828800 w 1828800"/>
                <a:gd name="connsiteY2" fmla="*/ 457200 h 914400"/>
                <a:gd name="connsiteX3" fmla="*/ 1807145 w 1828800"/>
                <a:gd name="connsiteY3" fmla="*/ 914400 h 914400"/>
                <a:gd name="connsiteX4" fmla="*/ 0 w 1828800"/>
                <a:gd name="connsiteY4" fmla="*/ 914400 h 914400"/>
                <a:gd name="connsiteX5" fmla="*/ 17193 w 1828800"/>
                <a:gd name="connsiteY5" fmla="*/ 457200 h 914400"/>
                <a:gd name="connsiteX0" fmla="*/ 0 w 1828800"/>
                <a:gd name="connsiteY0" fmla="*/ 0 h 914400"/>
                <a:gd name="connsiteX1" fmla="*/ 1811607 w 1828800"/>
                <a:gd name="connsiteY1" fmla="*/ 0 h 914400"/>
                <a:gd name="connsiteX2" fmla="*/ 1828800 w 1828800"/>
                <a:gd name="connsiteY2" fmla="*/ 457200 h 914400"/>
                <a:gd name="connsiteX3" fmla="*/ 1807145 w 1828800"/>
                <a:gd name="connsiteY3" fmla="*/ 914400 h 914400"/>
                <a:gd name="connsiteX4" fmla="*/ 0 w 1828800"/>
                <a:gd name="connsiteY4" fmla="*/ 914400 h 914400"/>
                <a:gd name="connsiteX5" fmla="*/ 17193 w 1828800"/>
                <a:gd name="connsiteY5" fmla="*/ 457200 h 914400"/>
                <a:gd name="connsiteX0" fmla="*/ 0 w 1828800"/>
                <a:gd name="connsiteY0" fmla="*/ 0 h 914400"/>
                <a:gd name="connsiteX1" fmla="*/ 1811607 w 1828800"/>
                <a:gd name="connsiteY1" fmla="*/ 0 h 914400"/>
                <a:gd name="connsiteX2" fmla="*/ 1828800 w 1828800"/>
                <a:gd name="connsiteY2" fmla="*/ 457200 h 914400"/>
                <a:gd name="connsiteX3" fmla="*/ 1811607 w 1828800"/>
                <a:gd name="connsiteY3" fmla="*/ 914400 h 914400"/>
                <a:gd name="connsiteX4" fmla="*/ 0 w 1828800"/>
                <a:gd name="connsiteY4" fmla="*/ 914400 h 914400"/>
                <a:gd name="connsiteX5" fmla="*/ 17193 w 1828800"/>
                <a:gd name="connsiteY5" fmla="*/ 457200 h 914400"/>
                <a:gd name="connsiteX0" fmla="*/ 0 w 1828800"/>
                <a:gd name="connsiteY0" fmla="*/ 0 h 914400"/>
                <a:gd name="connsiteX1" fmla="*/ 1811607 w 1828800"/>
                <a:gd name="connsiteY1" fmla="*/ 0 h 914400"/>
                <a:gd name="connsiteX2" fmla="*/ 1828800 w 1828800"/>
                <a:gd name="connsiteY2" fmla="*/ 457200 h 914400"/>
                <a:gd name="connsiteX3" fmla="*/ 1811607 w 1828800"/>
                <a:gd name="connsiteY3" fmla="*/ 914400 h 914400"/>
                <a:gd name="connsiteX4" fmla="*/ 0 w 1828800"/>
                <a:gd name="connsiteY4" fmla="*/ 914400 h 914400"/>
                <a:gd name="connsiteX5" fmla="*/ 17193 w 1828800"/>
                <a:gd name="connsiteY5" fmla="*/ 457200 h 914400"/>
                <a:gd name="connsiteX0" fmla="*/ 0 w 1828800"/>
                <a:gd name="connsiteY0" fmla="*/ 0 h 914400"/>
                <a:gd name="connsiteX1" fmla="*/ 1811607 w 1828800"/>
                <a:gd name="connsiteY1" fmla="*/ 0 h 914400"/>
                <a:gd name="connsiteX2" fmla="*/ 1828800 w 1828800"/>
                <a:gd name="connsiteY2" fmla="*/ 457200 h 914400"/>
                <a:gd name="connsiteX3" fmla="*/ 1811607 w 1828800"/>
                <a:gd name="connsiteY3" fmla="*/ 914400 h 914400"/>
                <a:gd name="connsiteX4" fmla="*/ 0 w 1828800"/>
                <a:gd name="connsiteY4" fmla="*/ 914400 h 914400"/>
                <a:gd name="connsiteX5" fmla="*/ 17193 w 1828800"/>
                <a:gd name="connsiteY5" fmla="*/ 457200 h 914400"/>
                <a:gd name="connsiteX0" fmla="*/ 0 w 1828800"/>
                <a:gd name="connsiteY0" fmla="*/ 0 h 914400"/>
                <a:gd name="connsiteX1" fmla="*/ 1811607 w 1828800"/>
                <a:gd name="connsiteY1" fmla="*/ 0 h 914400"/>
                <a:gd name="connsiteX2" fmla="*/ 1828800 w 1828800"/>
                <a:gd name="connsiteY2" fmla="*/ 457200 h 914400"/>
                <a:gd name="connsiteX3" fmla="*/ 1811607 w 1828800"/>
                <a:gd name="connsiteY3" fmla="*/ 914400 h 914400"/>
                <a:gd name="connsiteX4" fmla="*/ 0 w 1828800"/>
                <a:gd name="connsiteY4" fmla="*/ 914400 h 914400"/>
                <a:gd name="connsiteX5" fmla="*/ 1719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811607" y="0"/>
                  </a:lnTo>
                  <a:lnTo>
                    <a:pt x="1828800" y="457200"/>
                  </a:lnTo>
                  <a:lnTo>
                    <a:pt x="1811607" y="914400"/>
                  </a:lnTo>
                  <a:lnTo>
                    <a:pt x="0" y="914400"/>
                  </a:lnTo>
                  <a:lnTo>
                    <a:pt x="17193" y="457200"/>
                  </a:lnTo>
                  <a:close/>
                </a:path>
              </a:pathLst>
            </a:custGeom>
            <a:gradFill flip="none" rotWithShape="1">
              <a:gsLst>
                <a:gs pos="0">
                  <a:schemeClr val="accent4"/>
                </a:gs>
                <a:gs pos="50000">
                  <a:schemeClr val="accent2"/>
                </a:gs>
                <a:gs pos="100000">
                  <a:schemeClr val="accent1"/>
                </a:gs>
              </a:gsLst>
              <a:lin ang="10800000" scaled="1"/>
              <a:tileRect/>
            </a:gra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solidFill>
                  <a:schemeClr val="tx1"/>
                </a:solidFill>
              </a:endParaRPr>
            </a:p>
          </p:txBody>
        </p:sp>
        <p:sp>
          <p:nvSpPr>
            <p:cNvPr id="106" name="TextBox 105">
              <a:extLst>
                <a:ext uri="{FF2B5EF4-FFF2-40B4-BE49-F238E27FC236}"/>
              </a:extLst>
            </p:cNvPr>
            <p:cNvSpPr txBox="1"/>
            <p:nvPr>
              <p:custDataLst>
                <p:tags r:id="rId60"/>
              </p:custDataLst>
            </p:nvPr>
          </p:nvSpPr>
          <p:spPr>
            <a:xfrm>
              <a:off x="4116025" y="1474811"/>
              <a:ext cx="4577120" cy="211387"/>
            </a:xfrm>
            <a:prstGeom prst="rect">
              <a:avLst/>
            </a:prstGeom>
            <a:gradFill flip="none" rotWithShape="1">
              <a:gsLst>
                <a:gs pos="0">
                  <a:schemeClr val="accent4"/>
                </a:gs>
                <a:gs pos="50000">
                  <a:schemeClr val="accent2"/>
                </a:gs>
                <a:gs pos="100000">
                  <a:schemeClr val="accent1"/>
                </a:gs>
              </a:gsLst>
              <a:lin ang="10800000" scaled="1"/>
              <a:tileRect/>
            </a:gradFill>
            <a:ln/>
          </p:spPr>
          <p:txBody>
            <a:bodyPr lIns="0" tIns="0" rIns="0" bIns="0" anchor="ct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defRPr/>
              </a:pPr>
              <a:r>
                <a:rPr lang="en-GB" b="1" dirty="0">
                  <a:solidFill>
                    <a:schemeClr val="bg1"/>
                  </a:solidFill>
                  <a:cs typeface="+mn-cs"/>
                </a:rPr>
                <a:t>Nigeria (2100), </a:t>
              </a:r>
              <a:r>
                <a:rPr lang="en-GB" dirty="0">
                  <a:solidFill>
                    <a:schemeClr val="bg1"/>
                  </a:solidFill>
                  <a:cs typeface="+mn-cs"/>
                </a:rPr>
                <a:t>794m</a:t>
              </a:r>
            </a:p>
          </p:txBody>
        </p:sp>
      </p:grpSp>
      <p:sp>
        <p:nvSpPr>
          <p:cNvPr id="168" name="TextBox 185">
            <a:extLst>
              <a:ext uri="{FF2B5EF4-FFF2-40B4-BE49-F238E27FC236}"/>
            </a:extLst>
          </p:cNvPr>
          <p:cNvSpPr txBox="1">
            <a:spLocks/>
          </p:cNvSpPr>
          <p:nvPr/>
        </p:nvSpPr>
        <p:spPr>
          <a:xfrm>
            <a:off x="6357938" y="1793875"/>
            <a:ext cx="1477962" cy="200025"/>
          </a:xfrm>
          <a:prstGeom prst="rect">
            <a:avLst/>
          </a:prstGeom>
        </p:spPr>
        <p:txBody>
          <a:bodyPr wrap="none" lIns="0" tIns="0" rIns="0" bIns="0"/>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defRPr/>
            </a:pPr>
            <a:r>
              <a:rPr lang="en-GB" sz="1400" b="1" dirty="0">
                <a:solidFill>
                  <a:schemeClr val="accent4"/>
                </a:solidFill>
                <a:latin typeface="+mn-lt"/>
              </a:rPr>
              <a:t>Male</a:t>
            </a:r>
            <a:endParaRPr lang="en-GB" sz="1400" dirty="0">
              <a:solidFill>
                <a:schemeClr val="accent6"/>
              </a:solidFill>
              <a:latin typeface="+mn-lt"/>
            </a:endParaRPr>
          </a:p>
        </p:txBody>
      </p:sp>
      <p:cxnSp>
        <p:nvCxnSpPr>
          <p:cNvPr id="15437" name="AutoShape 249"/>
          <p:cNvCxnSpPr>
            <a:cxnSpLocks noChangeShapeType="1"/>
          </p:cNvCxnSpPr>
          <p:nvPr/>
        </p:nvCxnSpPr>
        <p:spPr bwMode="gray">
          <a:xfrm>
            <a:off x="6357938" y="2022475"/>
            <a:ext cx="1477962" cy="0"/>
          </a:xfrm>
          <a:prstGeom prst="straightConnector1">
            <a:avLst/>
          </a:prstGeom>
          <a:noFill/>
          <a:ln w="9525">
            <a:solidFill>
              <a:schemeClr val="tx2"/>
            </a:solidFill>
            <a:round/>
            <a:headEnd/>
            <a:tailEnd/>
          </a:ln>
        </p:spPr>
      </p:cxnSp>
      <p:sp>
        <p:nvSpPr>
          <p:cNvPr id="207" name="TextBox 185">
            <a:extLst>
              <a:ext uri="{FF2B5EF4-FFF2-40B4-BE49-F238E27FC236}"/>
            </a:extLst>
          </p:cNvPr>
          <p:cNvSpPr txBox="1">
            <a:spLocks/>
          </p:cNvSpPr>
          <p:nvPr/>
        </p:nvSpPr>
        <p:spPr>
          <a:xfrm>
            <a:off x="4846638" y="1793875"/>
            <a:ext cx="1477962" cy="200025"/>
          </a:xfrm>
          <a:prstGeom prst="rect">
            <a:avLst/>
          </a:prstGeom>
        </p:spPr>
        <p:txBody>
          <a:bodyPr wrap="none" lIns="0" tIns="0" rIns="0" bIns="0"/>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defRPr/>
            </a:pPr>
            <a:r>
              <a:rPr lang="en-GB" sz="1400" b="1" dirty="0">
                <a:solidFill>
                  <a:schemeClr val="accent4"/>
                </a:solidFill>
                <a:latin typeface="+mn-lt"/>
              </a:rPr>
              <a:t>Female</a:t>
            </a:r>
            <a:endParaRPr lang="en-GB" sz="1400" dirty="0">
              <a:solidFill>
                <a:schemeClr val="accent6"/>
              </a:solidFill>
              <a:latin typeface="+mn-lt"/>
            </a:endParaRPr>
          </a:p>
        </p:txBody>
      </p:sp>
      <p:cxnSp>
        <p:nvCxnSpPr>
          <p:cNvPr id="15439" name="AutoShape 249"/>
          <p:cNvCxnSpPr>
            <a:cxnSpLocks noChangeShapeType="1"/>
          </p:cNvCxnSpPr>
          <p:nvPr/>
        </p:nvCxnSpPr>
        <p:spPr bwMode="gray">
          <a:xfrm>
            <a:off x="4846638" y="2022475"/>
            <a:ext cx="1477962" cy="0"/>
          </a:xfrm>
          <a:prstGeom prst="straightConnector1">
            <a:avLst/>
          </a:prstGeom>
          <a:noFill/>
          <a:ln w="9525">
            <a:solidFill>
              <a:schemeClr val="tx2"/>
            </a:solidFill>
            <a:round/>
            <a:headEnd/>
            <a:tailEnd/>
          </a:ln>
        </p:spPr>
      </p:cxnSp>
      <p:sp>
        <p:nvSpPr>
          <p:cNvPr id="191" name="TextBox 185">
            <a:extLst>
              <a:ext uri="{FF2B5EF4-FFF2-40B4-BE49-F238E27FC236}"/>
            </a:extLst>
          </p:cNvPr>
          <p:cNvSpPr txBox="1">
            <a:spLocks/>
          </p:cNvSpPr>
          <p:nvPr/>
        </p:nvSpPr>
        <p:spPr>
          <a:xfrm>
            <a:off x="809625" y="1793875"/>
            <a:ext cx="1468438" cy="200025"/>
          </a:xfrm>
          <a:prstGeom prst="rect">
            <a:avLst/>
          </a:prstGeom>
        </p:spPr>
        <p:txBody>
          <a:bodyPr wrap="none" lIns="0" tIns="0" rIns="0" bIns="0"/>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defRPr/>
            </a:pPr>
            <a:r>
              <a:rPr lang="en-GB" sz="1400" b="1" dirty="0">
                <a:solidFill>
                  <a:schemeClr val="accent4"/>
                </a:solidFill>
                <a:latin typeface="+mn-lt"/>
              </a:rPr>
              <a:t>Female</a:t>
            </a:r>
            <a:endParaRPr lang="en-GB" sz="1400" dirty="0">
              <a:solidFill>
                <a:schemeClr val="accent6"/>
              </a:solidFill>
              <a:latin typeface="+mn-lt"/>
            </a:endParaRPr>
          </a:p>
        </p:txBody>
      </p:sp>
      <p:cxnSp>
        <p:nvCxnSpPr>
          <p:cNvPr id="15441" name="AutoShape 249"/>
          <p:cNvCxnSpPr>
            <a:cxnSpLocks noChangeShapeType="1"/>
          </p:cNvCxnSpPr>
          <p:nvPr/>
        </p:nvCxnSpPr>
        <p:spPr bwMode="gray">
          <a:xfrm>
            <a:off x="809625" y="2022475"/>
            <a:ext cx="1468438" cy="0"/>
          </a:xfrm>
          <a:prstGeom prst="straightConnector1">
            <a:avLst/>
          </a:prstGeom>
          <a:noFill/>
          <a:ln w="9525">
            <a:solidFill>
              <a:schemeClr val="tx2"/>
            </a:solidFill>
            <a:round/>
            <a:headEnd/>
            <a:tailEnd/>
          </a:ln>
        </p:spPr>
      </p:cxnSp>
      <p:sp>
        <p:nvSpPr>
          <p:cNvPr id="189" name="TextBox 185">
            <a:extLst>
              <a:ext uri="{FF2B5EF4-FFF2-40B4-BE49-F238E27FC236}"/>
            </a:extLst>
          </p:cNvPr>
          <p:cNvSpPr txBox="1">
            <a:spLocks/>
          </p:cNvSpPr>
          <p:nvPr/>
        </p:nvSpPr>
        <p:spPr>
          <a:xfrm>
            <a:off x="2324100" y="1793875"/>
            <a:ext cx="1487488" cy="200025"/>
          </a:xfrm>
          <a:prstGeom prst="rect">
            <a:avLst/>
          </a:prstGeom>
        </p:spPr>
        <p:txBody>
          <a:bodyPr wrap="none" lIns="0" tIns="0" rIns="0" bIns="0"/>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defRPr/>
            </a:pPr>
            <a:r>
              <a:rPr lang="en-GB" sz="1400" b="1" dirty="0">
                <a:solidFill>
                  <a:schemeClr val="accent4"/>
                </a:solidFill>
                <a:latin typeface="+mn-lt"/>
              </a:rPr>
              <a:t>Male</a:t>
            </a:r>
            <a:endParaRPr lang="en-GB" sz="1400" dirty="0">
              <a:solidFill>
                <a:schemeClr val="accent6"/>
              </a:solidFill>
              <a:latin typeface="+mn-lt"/>
            </a:endParaRPr>
          </a:p>
        </p:txBody>
      </p:sp>
      <p:cxnSp>
        <p:nvCxnSpPr>
          <p:cNvPr id="15443" name="AutoShape 249"/>
          <p:cNvCxnSpPr>
            <a:cxnSpLocks noChangeShapeType="1"/>
          </p:cNvCxnSpPr>
          <p:nvPr/>
        </p:nvCxnSpPr>
        <p:spPr bwMode="gray">
          <a:xfrm>
            <a:off x="2324100" y="2022475"/>
            <a:ext cx="1487488" cy="0"/>
          </a:xfrm>
          <a:prstGeom prst="straightConnector1">
            <a:avLst/>
          </a:prstGeom>
          <a:noFill/>
          <a:ln w="9525">
            <a:solidFill>
              <a:schemeClr val="tx2"/>
            </a:solidFill>
            <a:round/>
            <a:headEnd/>
            <a:tailEnd/>
          </a:ln>
        </p:spPr>
      </p:cxnSp>
      <p:sp>
        <p:nvSpPr>
          <p:cNvPr id="94" name="Marvintitletrackercircle">
            <a:extLst>
              <a:ext uri="{FF2B5EF4-FFF2-40B4-BE49-F238E27FC236}"/>
            </a:extLst>
          </p:cNvPr>
          <p:cNvSpPr/>
          <p:nvPr>
            <p:custDataLst>
              <p:tags r:id="rId58"/>
            </p:custDataLst>
          </p:nvPr>
        </p:nvSpPr>
        <p:spPr>
          <a:xfrm>
            <a:off x="117475" y="217488"/>
            <a:ext cx="330200" cy="330200"/>
          </a:xfrm>
          <a:prstGeom prst="ellipse">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ZA" sz="2000" b="1" dirty="0">
                <a:solidFill>
                  <a:schemeClr val="tx2"/>
                </a:solidFill>
                <a:latin typeface="+mj-lt"/>
              </a:rPr>
              <a:t>6</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26"/>
          <p:cNvGraphicFramePr>
            <a:graphicFrameLocks noChangeAspect="1"/>
          </p:cNvGraphicFramePr>
          <p:nvPr/>
        </p:nvGraphicFramePr>
        <p:xfrm>
          <a:off x="1588" y="1588"/>
          <a:ext cx="1587" cy="1587"/>
        </p:xfrm>
        <a:graphic>
          <a:graphicData uri="http://schemas.openxmlformats.org/presentationml/2006/ole">
            <p:oleObj spid="_x0000_s16386" name="think-cell Slide" r:id="rId22" imgW="360" imgH="360" progId="">
              <p:embed/>
            </p:oleObj>
          </a:graphicData>
        </a:graphic>
      </p:graphicFrame>
      <p:sp>
        <p:nvSpPr>
          <p:cNvPr id="3" name="Rectangle 2"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GB" sz="1400" dirty="0" err="1">
              <a:solidFill>
                <a:schemeClr val="tx1"/>
              </a:solidFill>
              <a:sym typeface="+mn-lt"/>
            </a:endParaRPr>
          </a:p>
        </p:txBody>
      </p:sp>
      <p:pic>
        <p:nvPicPr>
          <p:cNvPr id="102" name="Picture 101">
            <a:extLst>
              <a:ext uri="{FF2B5EF4-FFF2-40B4-BE49-F238E27FC236}"/>
            </a:extLst>
          </p:cNvPr>
          <p:cNvPicPr>
            <a:picLocks noChangeAspect="1"/>
          </p:cNvPicPr>
          <p:nvPr/>
        </p:nvPicPr>
        <p:blipFill>
          <a:blip r:embed="rId23" cstate="print">
            <a:duotone>
              <a:schemeClr val="bg2">
                <a:shade val="45000"/>
                <a:satMod val="135000"/>
              </a:schemeClr>
              <a:prstClr val="white"/>
            </a:duotone>
            <a:extLst>
              <a:ext uri="{28A0092B-C50C-407E-A947-70E740481C1C}"/>
            </a:extLst>
          </a:blip>
          <a:stretch>
            <a:fillRect/>
          </a:stretch>
        </p:blipFill>
        <p:spPr>
          <a:xfrm>
            <a:off x="2742114" y="917575"/>
            <a:ext cx="6135072" cy="6184224"/>
          </a:xfrm>
          <a:prstGeom prst="rect">
            <a:avLst/>
          </a:prstGeom>
          <a:ln>
            <a:noFill/>
          </a:ln>
          <a:effectLst>
            <a:softEdge rad="508000"/>
          </a:effectLst>
        </p:spPr>
      </p:pic>
      <p:grpSp>
        <p:nvGrpSpPr>
          <p:cNvPr id="16389" name="Group 10"/>
          <p:cNvGrpSpPr>
            <a:grpSpLocks/>
          </p:cNvGrpSpPr>
          <p:nvPr/>
        </p:nvGrpSpPr>
        <p:grpSpPr bwMode="auto">
          <a:xfrm>
            <a:off x="0" y="1468438"/>
            <a:ext cx="8961438" cy="488950"/>
            <a:chOff x="-794" y="1207297"/>
            <a:chExt cx="8961437" cy="488425"/>
          </a:xfrm>
        </p:grpSpPr>
        <p:sp>
          <p:nvSpPr>
            <p:cNvPr id="16442" name="Rectangle 11"/>
            <p:cNvSpPr>
              <a:spLocks/>
            </p:cNvSpPr>
            <p:nvPr/>
          </p:nvSpPr>
          <p:spPr bwMode="auto">
            <a:xfrm>
              <a:off x="-794" y="1209947"/>
              <a:ext cx="8961437" cy="485775"/>
            </a:xfrm>
            <a:prstGeom prst="rect">
              <a:avLst/>
            </a:prstGeom>
            <a:gradFill rotWithShape="1">
              <a:gsLst>
                <a:gs pos="0">
                  <a:srgbClr val="EEEEEE"/>
                </a:gs>
                <a:gs pos="100000">
                  <a:srgbClr val="FFFFFF"/>
                </a:gs>
              </a:gsLst>
              <a:lin ang="5400000" scaled="1"/>
            </a:gradFill>
            <a:ln w="9525">
              <a:noFill/>
              <a:miter lim="800000"/>
              <a:headEnd/>
              <a:tailEnd/>
            </a:ln>
          </p:spPr>
          <p:txBody>
            <a:bodyPr wrap="none" anchor="ctr"/>
            <a:lstStyle/>
            <a:p>
              <a:pPr algn="ctr"/>
              <a:endParaRPr lang="en-US"/>
            </a:p>
          </p:txBody>
        </p:sp>
        <p:cxnSp>
          <p:nvCxnSpPr>
            <p:cNvPr id="13" name="Straight Connector 12">
              <a:extLst>
                <a:ext uri="{FF2B5EF4-FFF2-40B4-BE49-F238E27FC236}"/>
              </a:extLst>
            </p:cNvPr>
            <p:cNvCxnSpPr>
              <a:cxnSpLocks/>
            </p:cNvCxnSpPr>
            <p:nvPr/>
          </p:nvCxnSpPr>
          <p:spPr>
            <a:xfrm>
              <a:off x="-794" y="1207297"/>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6390" name="Title 1"/>
          <p:cNvSpPr>
            <a:spLocks noGrp="1"/>
          </p:cNvSpPr>
          <p:nvPr>
            <p:ph type="title"/>
          </p:nvPr>
        </p:nvSpPr>
        <p:spPr/>
        <p:txBody>
          <a:bodyPr/>
          <a:lstStyle/>
          <a:p>
            <a:r>
              <a:rPr lang="en-US" smtClean="0"/>
              <a:t>Labour force participation rates if not improved will only be exacerbated by a population that is expected to more than double by 2050</a:t>
            </a:r>
            <a:endParaRPr lang="en-GB" smtClean="0"/>
          </a:p>
        </p:txBody>
      </p:sp>
      <p:sp>
        <p:nvSpPr>
          <p:cNvPr id="7" name="Rectangle 6">
            <a:extLst>
              <a:ext uri="{FF2B5EF4-FFF2-40B4-BE49-F238E27FC236}"/>
            </a:extLst>
          </p:cNvPr>
          <p:cNvSpPr/>
          <p:nvPr/>
        </p:nvSpPr>
        <p:spPr>
          <a:xfrm>
            <a:off x="6683375" y="1468438"/>
            <a:ext cx="2278063" cy="4772025"/>
          </a:xfrm>
          <a:prstGeom prst="rect">
            <a:avLst/>
          </a:prstGeom>
          <a:solidFill>
            <a:schemeClr val="accent4">
              <a:alpha val="72000"/>
            </a:schemeClr>
          </a:solidFill>
        </p:spPr>
        <p:txBody>
          <a:bodyPr lIns="90000" tIns="46800" rIns="90000" bIns="46800"/>
          <a:lstStyle/>
          <a:p>
            <a:pPr defTabSz="895350">
              <a:buClr>
                <a:schemeClr val="tx2"/>
              </a:buClr>
              <a:buSzPct val="100000"/>
              <a:defRPr/>
            </a:pPr>
            <a:endParaRPr lang="en-ZA" dirty="0">
              <a:latin typeface="Arial" charset="0"/>
              <a:cs typeface="+mn-cs"/>
            </a:endParaRPr>
          </a:p>
        </p:txBody>
      </p:sp>
      <p:sp>
        <p:nvSpPr>
          <p:cNvPr id="16392" name="TextBox 7"/>
          <p:cNvSpPr txBox="1">
            <a:spLocks noChangeArrowheads="1"/>
          </p:cNvSpPr>
          <p:nvPr>
            <p:custDataLst>
              <p:tags r:id="rId3"/>
            </p:custDataLst>
          </p:nvPr>
        </p:nvSpPr>
        <p:spPr bwMode="auto">
          <a:xfrm>
            <a:off x="6826250" y="1773238"/>
            <a:ext cx="1931988" cy="4308475"/>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bg1"/>
              </a:buClr>
              <a:buSzPct val="125000"/>
              <a:buFont typeface="Arial" pitchFamily="34" charset="0"/>
              <a:buChar char="▪"/>
            </a:pPr>
            <a:r>
              <a:rPr lang="en-US" sz="1400">
                <a:solidFill>
                  <a:schemeClr val="bg1"/>
                </a:solidFill>
              </a:rPr>
              <a:t>At our current trajectory, Nigeria is expected to be the world’s 3</a:t>
            </a:r>
            <a:r>
              <a:rPr lang="en-US" sz="1400" baseline="30000">
                <a:solidFill>
                  <a:schemeClr val="bg1"/>
                </a:solidFill>
              </a:rPr>
              <a:t>rd</a:t>
            </a:r>
            <a:r>
              <a:rPr lang="en-US" sz="1400">
                <a:solidFill>
                  <a:schemeClr val="bg1"/>
                </a:solidFill>
              </a:rPr>
              <a:t> most populous nation by 2050 </a:t>
            </a:r>
          </a:p>
          <a:p>
            <a:pPr marL="193675" lvl="1" indent="-192088" defTabSz="895350">
              <a:spcBef>
                <a:spcPct val="50000"/>
              </a:spcBef>
              <a:buClr>
                <a:schemeClr val="bg1"/>
              </a:buClr>
              <a:buSzPct val="125000"/>
              <a:buFont typeface="Arial" pitchFamily="34" charset="0"/>
              <a:buChar char="▪"/>
            </a:pPr>
            <a:r>
              <a:rPr lang="en-GB" sz="1400">
                <a:solidFill>
                  <a:schemeClr val="bg2"/>
                </a:solidFill>
              </a:rPr>
              <a:t>With a fertility rate of 5.5 and low contraceptive use, the population is projected to reach 400 million people (more than double the current size) by 2050</a:t>
            </a:r>
          </a:p>
          <a:p>
            <a:pPr marL="193675" lvl="1" indent="-192088" defTabSz="895350">
              <a:spcBef>
                <a:spcPct val="50000"/>
              </a:spcBef>
              <a:buClr>
                <a:schemeClr val="bg1"/>
              </a:buClr>
              <a:buSzPct val="125000"/>
              <a:buFont typeface="Arial" pitchFamily="34" charset="0"/>
              <a:buChar char="▪"/>
            </a:pPr>
            <a:r>
              <a:rPr lang="en-GB" sz="1400">
                <a:solidFill>
                  <a:schemeClr val="bg2"/>
                </a:solidFill>
              </a:rPr>
              <a:t> Population growth is likely to be highest in the North, where fertility rates are as high as 8.9. </a:t>
            </a:r>
            <a:endParaRPr lang="en-US" sz="1400">
              <a:solidFill>
                <a:schemeClr val="bg2"/>
              </a:solidFill>
            </a:endParaRPr>
          </a:p>
        </p:txBody>
      </p:sp>
      <p:sp>
        <p:nvSpPr>
          <p:cNvPr id="10"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fr-FR" sz="800">
                <a:solidFill>
                  <a:schemeClr val="accent6"/>
                </a:solidFill>
                <a:latin typeface="+mn-lt"/>
                <a:cs typeface="+mn-cs"/>
              </a:rPr>
              <a:t>SOURCE: Forbes statista, UN population division</a:t>
            </a:r>
            <a:endParaRPr lang="en-US" sz="800" dirty="0">
              <a:solidFill>
                <a:schemeClr val="accent6"/>
              </a:solidFill>
              <a:latin typeface="+mn-lt"/>
              <a:cs typeface="+mn-cs"/>
            </a:endParaRPr>
          </a:p>
        </p:txBody>
      </p:sp>
      <p:sp>
        <p:nvSpPr>
          <p:cNvPr id="16394" name="TextBox 8"/>
          <p:cNvSpPr txBox="1">
            <a:spLocks noChangeArrowheads="1"/>
          </p:cNvSpPr>
          <p:nvPr/>
        </p:nvSpPr>
        <p:spPr bwMode="auto">
          <a:xfrm>
            <a:off x="177800" y="1216025"/>
            <a:ext cx="4302125" cy="215900"/>
          </a:xfrm>
          <a:prstGeom prst="rect">
            <a:avLst/>
          </a:prstGeom>
          <a:noFill/>
          <a:ln w="9525">
            <a:noFill/>
            <a:miter lim="800000"/>
            <a:headEnd/>
            <a:tailEnd/>
          </a:ln>
        </p:spPr>
        <p:txBody>
          <a:bodyPr lIns="0" tIns="0" rIns="0" bIns="0">
            <a:spAutoFit/>
          </a:bodyPr>
          <a:lstStyle/>
          <a:p>
            <a:pPr defTabSz="895350">
              <a:buClr>
                <a:schemeClr val="tx2"/>
              </a:buClr>
              <a:buSzPct val="100000"/>
            </a:pPr>
            <a:r>
              <a:rPr lang="en-ZA" sz="1400" b="1">
                <a:solidFill>
                  <a:schemeClr val="tx2"/>
                </a:solidFill>
              </a:rPr>
              <a:t>The World’s Most Populous Nations in 2050</a:t>
            </a:r>
          </a:p>
        </p:txBody>
      </p:sp>
      <p:sp>
        <p:nvSpPr>
          <p:cNvPr id="15" name="TextBox 14">
            <a:extLst>
              <a:ext uri="{FF2B5EF4-FFF2-40B4-BE49-F238E27FC236}"/>
            </a:extLst>
          </p:cNvPr>
          <p:cNvSpPr txBox="1"/>
          <p:nvPr/>
        </p:nvSpPr>
        <p:spPr>
          <a:xfrm>
            <a:off x="177800" y="1482725"/>
            <a:ext cx="4302125" cy="214313"/>
          </a:xfrm>
          <a:prstGeom prst="rect">
            <a:avLst/>
          </a:prstGeom>
        </p:spPr>
        <p:txBody>
          <a:bodyPr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defRPr/>
            </a:pPr>
            <a:r>
              <a:rPr lang="en-ZA" dirty="0">
                <a:solidFill>
                  <a:schemeClr val="accent6"/>
                </a:solidFill>
                <a:cs typeface="+mn-cs"/>
              </a:rPr>
              <a:t>Population in 2017 and forecast for 2050</a:t>
            </a:r>
          </a:p>
        </p:txBody>
      </p:sp>
      <p:graphicFrame>
        <p:nvGraphicFramePr>
          <p:cNvPr id="16396" name="Chart 59"/>
          <p:cNvGraphicFramePr>
            <a:graphicFrameLocks/>
          </p:cNvGraphicFramePr>
          <p:nvPr/>
        </p:nvGraphicFramePr>
        <p:xfrm>
          <a:off x="1785938" y="1766888"/>
          <a:ext cx="4805362" cy="4616450"/>
        </p:xfrm>
        <a:graphic>
          <a:graphicData uri="http://schemas.openxmlformats.org/presentationml/2006/ole">
            <p:oleObj spid="_x0000_s16396" r:id="rId24" imgW="4804064" imgH="4615072" progId="Excel.Sheet.8">
              <p:embed/>
            </p:oleObj>
          </a:graphicData>
        </a:graphic>
      </p:graphicFrame>
      <p:sp>
        <p:nvSpPr>
          <p:cNvPr id="16397" name="Text Placeholder 2"/>
          <p:cNvSpPr>
            <a:spLocks noGrp="1"/>
          </p:cNvSpPr>
          <p:nvPr>
            <p:custDataLst>
              <p:tags r:id="rId4"/>
            </p:custDataLst>
          </p:nvPr>
        </p:nvSpPr>
        <p:spPr bwMode="auto">
          <a:xfrm>
            <a:off x="1366838" y="1965325"/>
            <a:ext cx="384175"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D48B4D72-2E0A-4198-8E57-39F6E1C6A451}" type="datetime'''''''''I''n''''d''''''''''''''''''''i''''''''''''''''''''''a'">
              <a:rPr lang="en-ZA" altLang="en-US" sz="1400"/>
              <a:pPr algn="r" defTabSz="895350">
                <a:buClr>
                  <a:schemeClr val="tx2"/>
                </a:buClr>
                <a:buSzPct val="100000"/>
              </a:pPr>
              <a:t>India</a:t>
            </a:fld>
            <a:endParaRPr lang="en-ZA" sz="1400">
              <a:sym typeface="+mn-lt"/>
            </a:endParaRPr>
          </a:p>
        </p:txBody>
      </p:sp>
      <p:sp>
        <p:nvSpPr>
          <p:cNvPr id="16398" name="Text Placeholder 2"/>
          <p:cNvSpPr>
            <a:spLocks noGrp="1"/>
          </p:cNvSpPr>
          <p:nvPr>
            <p:custDataLst>
              <p:tags r:id="rId5"/>
            </p:custDataLst>
          </p:nvPr>
        </p:nvSpPr>
        <p:spPr bwMode="auto">
          <a:xfrm>
            <a:off x="814388" y="5081588"/>
            <a:ext cx="936625"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AFDD87FB-511D-465D-8655-E9DC23A33348}" type="datetime'''''''Ba''n''''''g''''''la''''''''''''''des''''''''h'''''">
              <a:rPr lang="en-ZA" altLang="en-US" sz="1400"/>
              <a:pPr algn="r" defTabSz="895350">
                <a:buClr>
                  <a:schemeClr val="tx2"/>
                </a:buClr>
                <a:buSzPct val="100000"/>
              </a:pPr>
              <a:t>Bangladesh</a:t>
            </a:fld>
            <a:endParaRPr lang="en-ZA" sz="1400">
              <a:sym typeface="+mn-lt"/>
            </a:endParaRPr>
          </a:p>
        </p:txBody>
      </p:sp>
      <p:sp>
        <p:nvSpPr>
          <p:cNvPr id="16399" name="Text Placeholder 2"/>
          <p:cNvSpPr>
            <a:spLocks noGrp="1"/>
          </p:cNvSpPr>
          <p:nvPr>
            <p:custDataLst>
              <p:tags r:id="rId6"/>
            </p:custDataLst>
          </p:nvPr>
        </p:nvSpPr>
        <p:spPr bwMode="auto">
          <a:xfrm>
            <a:off x="1189038" y="2855913"/>
            <a:ext cx="561975"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1AA8C116-418B-4E70-96CD-92F1DEE4C383}" type="datetime'''''''Ni''''''''g''''''''''''''''''''''''''e''''''r''''''ia'">
              <a:rPr lang="en-ZA" altLang="en-US" sz="1400"/>
              <a:pPr algn="r" defTabSz="895350">
                <a:buClr>
                  <a:schemeClr val="tx2"/>
                </a:buClr>
                <a:buSzPct val="100000"/>
              </a:pPr>
              <a:t>Nigeria</a:t>
            </a:fld>
            <a:endParaRPr lang="en-ZA" sz="1400">
              <a:sym typeface="+mn-lt"/>
            </a:endParaRPr>
          </a:p>
        </p:txBody>
      </p:sp>
      <p:sp>
        <p:nvSpPr>
          <p:cNvPr id="16400" name="Text Placeholder 2"/>
          <p:cNvSpPr>
            <a:spLocks noGrp="1"/>
          </p:cNvSpPr>
          <p:nvPr>
            <p:custDataLst>
              <p:tags r:id="rId7"/>
            </p:custDataLst>
          </p:nvPr>
        </p:nvSpPr>
        <p:spPr bwMode="auto">
          <a:xfrm>
            <a:off x="982663" y="3746500"/>
            <a:ext cx="768350"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8F0FAD78-1710-4827-8ACB-538F14040992}" type="datetime'''I''''ndo''''''''''''n''e''s''''''''i''''''''''a'''''''">
              <a:rPr lang="en-ZA" altLang="en-US" sz="1400"/>
              <a:pPr algn="r" defTabSz="895350">
                <a:buClr>
                  <a:schemeClr val="tx2"/>
                </a:buClr>
                <a:buSzPct val="100000"/>
              </a:pPr>
              <a:t>Indonesia</a:t>
            </a:fld>
            <a:endParaRPr lang="en-ZA" sz="1400">
              <a:sym typeface="+mn-lt"/>
            </a:endParaRPr>
          </a:p>
        </p:txBody>
      </p:sp>
      <p:sp>
        <p:nvSpPr>
          <p:cNvPr id="16401" name="Text Placeholder 2"/>
          <p:cNvSpPr>
            <a:spLocks noGrp="1"/>
          </p:cNvSpPr>
          <p:nvPr>
            <p:custDataLst>
              <p:tags r:id="rId8"/>
            </p:custDataLst>
          </p:nvPr>
        </p:nvSpPr>
        <p:spPr bwMode="auto">
          <a:xfrm>
            <a:off x="1287463" y="2409825"/>
            <a:ext cx="463550"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E884F508-740D-4C9F-9E89-FB88FF2ED58F}" type="datetime'C''''''''''''''''''h''''''''''''i''n''''''''''''a'''">
              <a:rPr lang="en-ZA" altLang="en-US" sz="1400"/>
              <a:pPr algn="r" defTabSz="895350">
                <a:buClr>
                  <a:schemeClr val="tx2"/>
                </a:buClr>
                <a:buSzPct val="100000"/>
              </a:pPr>
              <a:t>China</a:t>
            </a:fld>
            <a:endParaRPr lang="en-ZA" sz="1400">
              <a:sym typeface="+mn-lt"/>
            </a:endParaRPr>
          </a:p>
        </p:txBody>
      </p:sp>
      <p:sp>
        <p:nvSpPr>
          <p:cNvPr id="16402" name="Text Placeholder 2"/>
          <p:cNvSpPr>
            <a:spLocks noGrp="1"/>
          </p:cNvSpPr>
          <p:nvPr>
            <p:custDataLst>
              <p:tags r:id="rId9"/>
            </p:custDataLst>
          </p:nvPr>
        </p:nvSpPr>
        <p:spPr bwMode="auto">
          <a:xfrm>
            <a:off x="1069975" y="4191000"/>
            <a:ext cx="681038"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0952100A-E52A-4D96-83C7-5DD2587C1F93}" type="datetime'''P''a''''''''''k''''''''''i''''''''sta''''''''''n'''''">
              <a:rPr lang="en-ZA" altLang="en-US" sz="1400"/>
              <a:pPr algn="r" defTabSz="895350">
                <a:buClr>
                  <a:schemeClr val="tx2"/>
                </a:buClr>
                <a:buSzPct val="100000"/>
              </a:pPr>
              <a:t>Pakistan</a:t>
            </a:fld>
            <a:endParaRPr lang="en-ZA" sz="1400">
              <a:sym typeface="+mn-lt"/>
            </a:endParaRPr>
          </a:p>
        </p:txBody>
      </p:sp>
      <p:sp>
        <p:nvSpPr>
          <p:cNvPr id="16403" name="Text Placeholder 2"/>
          <p:cNvSpPr>
            <a:spLocks noGrp="1"/>
          </p:cNvSpPr>
          <p:nvPr>
            <p:custDataLst>
              <p:tags r:id="rId10"/>
            </p:custDataLst>
          </p:nvPr>
        </p:nvSpPr>
        <p:spPr bwMode="auto">
          <a:xfrm>
            <a:off x="685800" y="3300413"/>
            <a:ext cx="1065213"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50FB6B57-B737-4052-9DF4-C48E5988E22B}" type="datetime'U''n''''''''''ite''''d'''''''' S''ta''''''''t''e''''''s'''''">
              <a:rPr lang="en-ZA" altLang="en-US" sz="1400"/>
              <a:pPr algn="r" defTabSz="895350">
                <a:buClr>
                  <a:schemeClr val="tx2"/>
                </a:buClr>
                <a:buSzPct val="100000"/>
              </a:pPr>
              <a:t>United States</a:t>
            </a:fld>
            <a:endParaRPr lang="en-ZA" sz="1400">
              <a:sym typeface="+mn-lt"/>
            </a:endParaRPr>
          </a:p>
        </p:txBody>
      </p:sp>
      <p:sp>
        <p:nvSpPr>
          <p:cNvPr id="16404" name="Text Placeholder 2"/>
          <p:cNvSpPr>
            <a:spLocks noGrp="1"/>
          </p:cNvSpPr>
          <p:nvPr>
            <p:custDataLst>
              <p:tags r:id="rId11"/>
            </p:custDataLst>
          </p:nvPr>
        </p:nvSpPr>
        <p:spPr bwMode="auto">
          <a:xfrm>
            <a:off x="1306513" y="4635500"/>
            <a:ext cx="444500"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2E7AEC42-42B1-4300-AB7D-C8BA013B0008}" type="datetime'''''B''''''''''''''''''''''raz''''''i''l'">
              <a:rPr lang="en-ZA" altLang="en-US" sz="1400"/>
              <a:pPr algn="r" defTabSz="895350">
                <a:buClr>
                  <a:schemeClr val="tx2"/>
                </a:buClr>
                <a:buSzPct val="100000"/>
              </a:pPr>
              <a:t>Brazil</a:t>
            </a:fld>
            <a:endParaRPr lang="en-ZA" sz="1400">
              <a:sym typeface="+mn-lt"/>
            </a:endParaRPr>
          </a:p>
        </p:txBody>
      </p:sp>
      <p:sp>
        <p:nvSpPr>
          <p:cNvPr id="16405" name="Text Placeholder 2"/>
          <p:cNvSpPr>
            <a:spLocks noGrp="1"/>
          </p:cNvSpPr>
          <p:nvPr>
            <p:custDataLst>
              <p:tags r:id="rId12"/>
            </p:custDataLst>
          </p:nvPr>
        </p:nvSpPr>
        <p:spPr bwMode="auto">
          <a:xfrm>
            <a:off x="922338" y="5526088"/>
            <a:ext cx="828675"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FD30009C-FEF2-4A45-9554-A3E8A9C9A98A}" type="datetime'''D''''''''R'''''' ''''''''''''C''''o''''n''''''''go'''''''">
              <a:rPr lang="en-ZA" altLang="en-US" sz="1400"/>
              <a:pPr algn="r" defTabSz="895350">
                <a:buClr>
                  <a:schemeClr val="tx2"/>
                </a:buClr>
                <a:buSzPct val="100000"/>
              </a:pPr>
              <a:t>DR Congo</a:t>
            </a:fld>
            <a:endParaRPr lang="en-ZA" sz="1400">
              <a:sym typeface="+mn-lt"/>
            </a:endParaRPr>
          </a:p>
        </p:txBody>
      </p:sp>
      <p:sp>
        <p:nvSpPr>
          <p:cNvPr id="16406" name="Text Placeholder 2"/>
          <p:cNvSpPr>
            <a:spLocks noGrp="1"/>
          </p:cNvSpPr>
          <p:nvPr>
            <p:custDataLst>
              <p:tags r:id="rId13"/>
            </p:custDataLst>
          </p:nvPr>
        </p:nvSpPr>
        <p:spPr bwMode="auto">
          <a:xfrm>
            <a:off x="1109663" y="5972175"/>
            <a:ext cx="641350" cy="212725"/>
          </a:xfrm>
          <a:prstGeom prst="rect">
            <a:avLst/>
          </a:prstGeom>
          <a:noFill/>
          <a:ln w="9525">
            <a:noFill/>
            <a:miter lim="800000"/>
            <a:headEnd/>
            <a:tailEnd/>
          </a:ln>
        </p:spPr>
        <p:txBody>
          <a:bodyPr wrap="none" lIns="0" tIns="0" rIns="0" bIns="0" anchor="ctr"/>
          <a:lstStyle/>
          <a:p>
            <a:pPr algn="r" defTabSz="895350">
              <a:buClr>
                <a:schemeClr val="tx2"/>
              </a:buClr>
              <a:buSzPct val="100000"/>
            </a:pPr>
            <a:fld id="{0C87FED2-ABF6-4F93-BE23-AD0D7E01B764}" type="datetime'''''E''''t''''''''h''''''''i''''''''op''i''''''''a'''''''''''">
              <a:rPr lang="en-ZA" altLang="en-US" sz="1400"/>
              <a:pPr algn="r" defTabSz="895350">
                <a:buClr>
                  <a:schemeClr val="tx2"/>
                </a:buClr>
                <a:buSzPct val="100000"/>
              </a:pPr>
              <a:t>Ethiopia</a:t>
            </a:fld>
            <a:endParaRPr lang="en-ZA" sz="1400">
              <a:sym typeface="+mn-lt"/>
            </a:endParaRPr>
          </a:p>
        </p:txBody>
      </p:sp>
      <p:sp>
        <p:nvSpPr>
          <p:cNvPr id="14" name="Rectangle 13">
            <a:extLst>
              <a:ext uri="{FF2B5EF4-FFF2-40B4-BE49-F238E27FC236}"/>
            </a:extLst>
          </p:cNvPr>
          <p:cNvSpPr/>
          <p:nvPr>
            <p:custDataLst>
              <p:tags r:id="rId14"/>
            </p:custDataLst>
          </p:nvPr>
        </p:nvSpPr>
        <p:spPr bwMode="auto">
          <a:xfrm>
            <a:off x="8074025" y="919163"/>
            <a:ext cx="165100" cy="165100"/>
          </a:xfrm>
          <a:prstGeom prst="rect">
            <a:avLst/>
          </a:prstGeom>
          <a:solidFill>
            <a:schemeClr val="accent2"/>
          </a:solidFill>
          <a:ln w="317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22" name="Rectangle 21">
            <a:extLst>
              <a:ext uri="{FF2B5EF4-FFF2-40B4-BE49-F238E27FC236}"/>
            </a:extLst>
          </p:cNvPr>
          <p:cNvSpPr/>
          <p:nvPr>
            <p:custDataLst>
              <p:tags r:id="rId15"/>
            </p:custDataLst>
          </p:nvPr>
        </p:nvSpPr>
        <p:spPr bwMode="auto">
          <a:xfrm>
            <a:off x="8074025" y="1190625"/>
            <a:ext cx="165100" cy="165100"/>
          </a:xfrm>
          <a:prstGeom prst="rect">
            <a:avLst/>
          </a:prstGeom>
          <a:solidFill>
            <a:schemeClr val="accent1"/>
          </a:solidFill>
          <a:ln w="317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16409" name="Text Placeholder 2"/>
          <p:cNvSpPr>
            <a:spLocks noGrp="1"/>
          </p:cNvSpPr>
          <p:nvPr>
            <p:custDataLst>
              <p:tags r:id="rId16"/>
            </p:custDataLst>
          </p:nvPr>
        </p:nvSpPr>
        <p:spPr bwMode="auto">
          <a:xfrm>
            <a:off x="8340725" y="917575"/>
            <a:ext cx="336550" cy="182563"/>
          </a:xfrm>
          <a:prstGeom prst="rect">
            <a:avLst/>
          </a:prstGeom>
          <a:noFill/>
          <a:ln w="9525">
            <a:noFill/>
            <a:miter lim="800000"/>
            <a:headEnd/>
            <a:tailEnd/>
          </a:ln>
        </p:spPr>
        <p:txBody>
          <a:bodyPr wrap="none" lIns="0" tIns="0" rIns="0" bIns="0" anchor="ctr"/>
          <a:lstStyle/>
          <a:p>
            <a:pPr defTabSz="895350">
              <a:buClr>
                <a:schemeClr val="tx2"/>
              </a:buClr>
              <a:buSzPct val="100000"/>
            </a:pPr>
            <a:fld id="{31EC7B30-C8B5-48DB-B60C-006DFA582F20}" type="datetime'''''''''''''''''2''0''''''''''''''''''1''''''''''''7'''''''''">
              <a:rPr lang="en-ZA" altLang="en-US" sz="1200">
                <a:sym typeface="+mn-lt"/>
              </a:rPr>
              <a:pPr defTabSz="895350">
                <a:buClr>
                  <a:schemeClr val="tx2"/>
                </a:buClr>
                <a:buSzPct val="100000"/>
              </a:pPr>
              <a:t>2017</a:t>
            </a:fld>
            <a:endParaRPr lang="en-ZA" sz="1200">
              <a:sym typeface="+mn-lt"/>
            </a:endParaRPr>
          </a:p>
        </p:txBody>
      </p:sp>
      <p:sp>
        <p:nvSpPr>
          <p:cNvPr id="16410" name="Text Placeholder 2"/>
          <p:cNvSpPr>
            <a:spLocks noGrp="1"/>
          </p:cNvSpPr>
          <p:nvPr>
            <p:custDataLst>
              <p:tags r:id="rId17"/>
            </p:custDataLst>
          </p:nvPr>
        </p:nvSpPr>
        <p:spPr bwMode="auto">
          <a:xfrm>
            <a:off x="8340725" y="1189038"/>
            <a:ext cx="336550" cy="182562"/>
          </a:xfrm>
          <a:prstGeom prst="rect">
            <a:avLst/>
          </a:prstGeom>
          <a:noFill/>
          <a:ln w="9525">
            <a:noFill/>
            <a:miter lim="800000"/>
            <a:headEnd/>
            <a:tailEnd/>
          </a:ln>
        </p:spPr>
        <p:txBody>
          <a:bodyPr wrap="none" lIns="0" tIns="0" rIns="0" bIns="0" anchor="ctr"/>
          <a:lstStyle/>
          <a:p>
            <a:pPr defTabSz="895350">
              <a:buClr>
                <a:schemeClr val="tx2"/>
              </a:buClr>
              <a:buSzPct val="100000"/>
            </a:pPr>
            <a:fld id="{7C435F2D-9284-45CA-ACCB-4754A42991F7}" type="datetime'''''''''''''''''''''''''2''''''''''''''''''''''0''5''0'''''">
              <a:rPr lang="en-ZA" altLang="en-US" sz="1200"/>
              <a:pPr defTabSz="895350">
                <a:buClr>
                  <a:schemeClr val="tx2"/>
                </a:buClr>
                <a:buSzPct val="100000"/>
              </a:pPr>
              <a:t>2050</a:t>
            </a:fld>
            <a:endParaRPr lang="en-ZA" sz="1200">
              <a:sym typeface="+mn-lt"/>
            </a:endParaRPr>
          </a:p>
        </p:txBody>
      </p:sp>
      <p:pic>
        <p:nvPicPr>
          <p:cNvPr id="82" name="Picture 81">
            <a:extLst>
              <a:ext uri="{FF2B5EF4-FFF2-40B4-BE49-F238E27FC236}"/>
            </a:extLst>
          </p:cNvPr>
          <p:cNvPicPr>
            <a:picLocks noChangeAspect="1"/>
          </p:cNvPicPr>
          <p:nvPr/>
        </p:nvPicPr>
        <p:blipFill>
          <a:blip r:embed="rId25"/>
          <a:stretch>
            <a:fillRect/>
          </a:stretch>
        </p:blipFill>
        <p:spPr>
          <a:xfrm>
            <a:off x="330200" y="1982788"/>
            <a:ext cx="280988" cy="187325"/>
          </a:xfrm>
          <a:prstGeom prst="rect">
            <a:avLst/>
          </a:prstGeom>
          <a:ln>
            <a:solidFill>
              <a:schemeClr val="accent6"/>
            </a:solidFill>
          </a:ln>
        </p:spPr>
      </p:pic>
      <p:pic>
        <p:nvPicPr>
          <p:cNvPr id="84" name="Picture 83">
            <a:extLst>
              <a:ext uri="{FF2B5EF4-FFF2-40B4-BE49-F238E27FC236}"/>
            </a:extLst>
          </p:cNvPr>
          <p:cNvPicPr>
            <a:picLocks noChangeAspect="1"/>
          </p:cNvPicPr>
          <p:nvPr/>
        </p:nvPicPr>
        <p:blipFill>
          <a:blip r:embed="rId26"/>
          <a:stretch>
            <a:fillRect/>
          </a:stretch>
        </p:blipFill>
        <p:spPr>
          <a:xfrm>
            <a:off x="330200" y="2427288"/>
            <a:ext cx="280988" cy="187325"/>
          </a:xfrm>
          <a:prstGeom prst="rect">
            <a:avLst/>
          </a:prstGeom>
          <a:ln>
            <a:solidFill>
              <a:schemeClr val="accent6"/>
            </a:solidFill>
          </a:ln>
        </p:spPr>
      </p:pic>
      <p:pic>
        <p:nvPicPr>
          <p:cNvPr id="86" name="Picture 85">
            <a:extLst>
              <a:ext uri="{FF2B5EF4-FFF2-40B4-BE49-F238E27FC236}"/>
            </a:extLst>
          </p:cNvPr>
          <p:cNvPicPr>
            <a:picLocks noChangeAspect="1"/>
          </p:cNvPicPr>
          <p:nvPr/>
        </p:nvPicPr>
        <p:blipFill>
          <a:blip r:embed="rId27"/>
          <a:stretch>
            <a:fillRect/>
          </a:stretch>
        </p:blipFill>
        <p:spPr>
          <a:xfrm>
            <a:off x="330200" y="2873375"/>
            <a:ext cx="280988" cy="187325"/>
          </a:xfrm>
          <a:prstGeom prst="rect">
            <a:avLst/>
          </a:prstGeom>
          <a:ln>
            <a:solidFill>
              <a:schemeClr val="accent6"/>
            </a:solidFill>
          </a:ln>
        </p:spPr>
      </p:pic>
      <p:pic>
        <p:nvPicPr>
          <p:cNvPr id="88" name="Picture 87">
            <a:extLst>
              <a:ext uri="{FF2B5EF4-FFF2-40B4-BE49-F238E27FC236}"/>
            </a:extLst>
          </p:cNvPr>
          <p:cNvPicPr>
            <a:picLocks noChangeAspect="1"/>
          </p:cNvPicPr>
          <p:nvPr/>
        </p:nvPicPr>
        <p:blipFill>
          <a:blip r:embed="rId28"/>
          <a:stretch>
            <a:fillRect/>
          </a:stretch>
        </p:blipFill>
        <p:spPr>
          <a:xfrm>
            <a:off x="330200" y="3317875"/>
            <a:ext cx="280988" cy="187325"/>
          </a:xfrm>
          <a:prstGeom prst="rect">
            <a:avLst/>
          </a:prstGeom>
          <a:ln>
            <a:solidFill>
              <a:schemeClr val="accent6"/>
            </a:solidFill>
          </a:ln>
        </p:spPr>
      </p:pic>
      <p:pic>
        <p:nvPicPr>
          <p:cNvPr id="90" name="Picture 89">
            <a:extLst>
              <a:ext uri="{FF2B5EF4-FFF2-40B4-BE49-F238E27FC236}"/>
            </a:extLst>
          </p:cNvPr>
          <p:cNvPicPr>
            <a:picLocks noChangeAspect="1"/>
          </p:cNvPicPr>
          <p:nvPr/>
        </p:nvPicPr>
        <p:blipFill>
          <a:blip r:embed="rId29"/>
          <a:stretch>
            <a:fillRect/>
          </a:stretch>
        </p:blipFill>
        <p:spPr>
          <a:xfrm>
            <a:off x="330200" y="3763963"/>
            <a:ext cx="280988" cy="187325"/>
          </a:xfrm>
          <a:prstGeom prst="rect">
            <a:avLst/>
          </a:prstGeom>
          <a:ln>
            <a:solidFill>
              <a:schemeClr val="accent6"/>
            </a:solidFill>
          </a:ln>
        </p:spPr>
      </p:pic>
      <p:pic>
        <p:nvPicPr>
          <p:cNvPr id="92" name="Picture 91">
            <a:extLst>
              <a:ext uri="{FF2B5EF4-FFF2-40B4-BE49-F238E27FC236}"/>
            </a:extLst>
          </p:cNvPr>
          <p:cNvPicPr>
            <a:picLocks noChangeAspect="1"/>
          </p:cNvPicPr>
          <p:nvPr/>
        </p:nvPicPr>
        <p:blipFill>
          <a:blip r:embed="rId30"/>
          <a:stretch>
            <a:fillRect/>
          </a:stretch>
        </p:blipFill>
        <p:spPr>
          <a:xfrm>
            <a:off x="330200" y="4208463"/>
            <a:ext cx="280988" cy="187325"/>
          </a:xfrm>
          <a:prstGeom prst="rect">
            <a:avLst/>
          </a:prstGeom>
          <a:ln>
            <a:solidFill>
              <a:schemeClr val="accent6"/>
            </a:solidFill>
          </a:ln>
        </p:spPr>
      </p:pic>
      <p:pic>
        <p:nvPicPr>
          <p:cNvPr id="94" name="Picture 93">
            <a:extLst>
              <a:ext uri="{FF2B5EF4-FFF2-40B4-BE49-F238E27FC236}"/>
            </a:extLst>
          </p:cNvPr>
          <p:cNvPicPr>
            <a:picLocks noChangeAspect="1"/>
          </p:cNvPicPr>
          <p:nvPr/>
        </p:nvPicPr>
        <p:blipFill>
          <a:blip r:embed="rId31"/>
          <a:stretch>
            <a:fillRect/>
          </a:stretch>
        </p:blipFill>
        <p:spPr>
          <a:xfrm>
            <a:off x="330200" y="4652963"/>
            <a:ext cx="280988" cy="187325"/>
          </a:xfrm>
          <a:prstGeom prst="rect">
            <a:avLst/>
          </a:prstGeom>
          <a:ln>
            <a:solidFill>
              <a:schemeClr val="accent6"/>
            </a:solidFill>
          </a:ln>
        </p:spPr>
      </p:pic>
      <p:pic>
        <p:nvPicPr>
          <p:cNvPr id="96" name="Picture 95">
            <a:extLst>
              <a:ext uri="{FF2B5EF4-FFF2-40B4-BE49-F238E27FC236}"/>
            </a:extLst>
          </p:cNvPr>
          <p:cNvPicPr>
            <a:picLocks/>
          </p:cNvPicPr>
          <p:nvPr/>
        </p:nvPicPr>
        <p:blipFill>
          <a:blip r:embed="rId32"/>
          <a:stretch>
            <a:fillRect/>
          </a:stretch>
        </p:blipFill>
        <p:spPr>
          <a:xfrm>
            <a:off x="330200" y="5099050"/>
            <a:ext cx="280988" cy="187325"/>
          </a:xfrm>
          <a:prstGeom prst="rect">
            <a:avLst/>
          </a:prstGeom>
          <a:ln>
            <a:solidFill>
              <a:schemeClr val="accent6"/>
            </a:solidFill>
          </a:ln>
        </p:spPr>
      </p:pic>
      <p:pic>
        <p:nvPicPr>
          <p:cNvPr id="98" name="Picture 97">
            <a:extLst>
              <a:ext uri="{FF2B5EF4-FFF2-40B4-BE49-F238E27FC236}"/>
            </a:extLst>
          </p:cNvPr>
          <p:cNvPicPr>
            <a:picLocks noChangeAspect="1"/>
          </p:cNvPicPr>
          <p:nvPr/>
        </p:nvPicPr>
        <p:blipFill>
          <a:blip r:embed="rId33"/>
          <a:stretch>
            <a:fillRect/>
          </a:stretch>
        </p:blipFill>
        <p:spPr>
          <a:xfrm>
            <a:off x="330200" y="5989638"/>
            <a:ext cx="280988" cy="187325"/>
          </a:xfrm>
          <a:prstGeom prst="rect">
            <a:avLst/>
          </a:prstGeom>
          <a:ln>
            <a:solidFill>
              <a:schemeClr val="accent6"/>
            </a:solidFill>
          </a:ln>
        </p:spPr>
      </p:pic>
      <p:pic>
        <p:nvPicPr>
          <p:cNvPr id="100" name="Picture 99">
            <a:extLst>
              <a:ext uri="{FF2B5EF4-FFF2-40B4-BE49-F238E27FC236}"/>
            </a:extLst>
          </p:cNvPr>
          <p:cNvPicPr>
            <a:picLocks/>
          </p:cNvPicPr>
          <p:nvPr/>
        </p:nvPicPr>
        <p:blipFill>
          <a:blip r:embed="rId34"/>
          <a:stretch>
            <a:fillRect/>
          </a:stretch>
        </p:blipFill>
        <p:spPr>
          <a:xfrm>
            <a:off x="330200" y="5516563"/>
            <a:ext cx="280988" cy="188912"/>
          </a:xfrm>
          <a:prstGeom prst="rect">
            <a:avLst/>
          </a:prstGeom>
          <a:ln>
            <a:solidFill>
              <a:schemeClr val="accent6"/>
            </a:solidFill>
          </a:ln>
        </p:spPr>
      </p:pic>
      <p:grpSp>
        <p:nvGrpSpPr>
          <p:cNvPr id="16421" name="CustomIcon"/>
          <p:cNvGrpSpPr>
            <a:grpSpLocks noChangeAspect="1"/>
          </p:cNvGrpSpPr>
          <p:nvPr>
            <p:custDataLst>
              <p:tags r:id="rId18"/>
            </p:custDataLst>
          </p:nvPr>
        </p:nvGrpSpPr>
        <p:grpSpPr bwMode="auto">
          <a:xfrm>
            <a:off x="4203700" y="5551488"/>
            <a:ext cx="592138" cy="665162"/>
            <a:chOff x="0" y="0"/>
            <a:chExt cx="5513388" cy="6192838"/>
          </a:xfrm>
        </p:grpSpPr>
        <p:sp>
          <p:nvSpPr>
            <p:cNvPr id="16436" name="Freeform 15"/>
            <p:cNvSpPr>
              <a:spLocks noEditPoints="1"/>
            </p:cNvSpPr>
            <p:nvPr/>
          </p:nvSpPr>
          <p:spPr bwMode="auto">
            <a:xfrm>
              <a:off x="693738" y="188913"/>
              <a:ext cx="1125538" cy="1127125"/>
            </a:xfrm>
            <a:custGeom>
              <a:avLst/>
              <a:gdLst>
                <a:gd name="T0" fmla="*/ 562769 w 582"/>
                <a:gd name="T1" fmla="*/ 1127125 h 582"/>
                <a:gd name="T2" fmla="*/ 1125538 w 582"/>
                <a:gd name="T3" fmla="*/ 563563 h 582"/>
                <a:gd name="T4" fmla="*/ 562769 w 582"/>
                <a:gd name="T5" fmla="*/ 0 h 582"/>
                <a:gd name="T6" fmla="*/ 0 w 582"/>
                <a:gd name="T7" fmla="*/ 563563 h 582"/>
                <a:gd name="T8" fmla="*/ 562769 w 582"/>
                <a:gd name="T9" fmla="*/ 1127125 h 582"/>
                <a:gd name="T10" fmla="*/ 562769 w 582"/>
                <a:gd name="T11" fmla="*/ 271130 h 582"/>
                <a:gd name="T12" fmla="*/ 854790 w 582"/>
                <a:gd name="T13" fmla="*/ 563563 h 582"/>
                <a:gd name="T14" fmla="*/ 562769 w 582"/>
                <a:gd name="T15" fmla="*/ 855995 h 582"/>
                <a:gd name="T16" fmla="*/ 270748 w 582"/>
                <a:gd name="T17" fmla="*/ 563563 h 582"/>
                <a:gd name="T18" fmla="*/ 562769 w 582"/>
                <a:gd name="T19" fmla="*/ 271130 h 5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2"/>
                <a:gd name="T31" fmla="*/ 0 h 582"/>
                <a:gd name="T32" fmla="*/ 582 w 582"/>
                <a:gd name="T33" fmla="*/ 582 h 5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2" h="582">
                  <a:moveTo>
                    <a:pt x="291" y="582"/>
                  </a:moveTo>
                  <a:cubicBezTo>
                    <a:pt x="451" y="582"/>
                    <a:pt x="582" y="451"/>
                    <a:pt x="582" y="291"/>
                  </a:cubicBezTo>
                  <a:cubicBezTo>
                    <a:pt x="582" y="130"/>
                    <a:pt x="451" y="0"/>
                    <a:pt x="291" y="0"/>
                  </a:cubicBezTo>
                  <a:cubicBezTo>
                    <a:pt x="131" y="0"/>
                    <a:pt x="0" y="130"/>
                    <a:pt x="0" y="291"/>
                  </a:cubicBezTo>
                  <a:cubicBezTo>
                    <a:pt x="0" y="451"/>
                    <a:pt x="131" y="582"/>
                    <a:pt x="291" y="582"/>
                  </a:cubicBezTo>
                  <a:close/>
                  <a:moveTo>
                    <a:pt x="291" y="140"/>
                  </a:moveTo>
                  <a:cubicBezTo>
                    <a:pt x="374" y="140"/>
                    <a:pt x="442" y="208"/>
                    <a:pt x="442" y="291"/>
                  </a:cubicBezTo>
                  <a:cubicBezTo>
                    <a:pt x="442" y="374"/>
                    <a:pt x="374" y="442"/>
                    <a:pt x="291" y="442"/>
                  </a:cubicBezTo>
                  <a:cubicBezTo>
                    <a:pt x="208" y="442"/>
                    <a:pt x="140" y="374"/>
                    <a:pt x="140" y="291"/>
                  </a:cubicBezTo>
                  <a:cubicBezTo>
                    <a:pt x="140" y="208"/>
                    <a:pt x="208" y="140"/>
                    <a:pt x="291" y="140"/>
                  </a:cubicBezTo>
                  <a:close/>
                </a:path>
              </a:pathLst>
            </a:custGeom>
            <a:solidFill>
              <a:srgbClr val="0065BD"/>
            </a:solidFill>
            <a:ln w="9525">
              <a:noFill/>
              <a:miter lim="800000"/>
              <a:headEnd/>
              <a:tailEnd/>
            </a:ln>
          </p:spPr>
          <p:txBody>
            <a:bodyPr/>
            <a:lstStyle/>
            <a:p>
              <a:endParaRPr lang="en-ZA"/>
            </a:p>
          </p:txBody>
        </p:sp>
        <p:sp>
          <p:nvSpPr>
            <p:cNvPr id="16437" name="Freeform 16"/>
            <p:cNvSpPr>
              <a:spLocks/>
            </p:cNvSpPr>
            <p:nvPr/>
          </p:nvSpPr>
          <p:spPr bwMode="auto">
            <a:xfrm>
              <a:off x="0" y="1485900"/>
              <a:ext cx="1760538" cy="4429125"/>
            </a:xfrm>
            <a:custGeom>
              <a:avLst/>
              <a:gdLst>
                <a:gd name="T0" fmla="*/ 1625261 w 911"/>
                <a:gd name="T1" fmla="*/ 4158231 h 2289"/>
                <a:gd name="T2" fmla="*/ 1491916 w 911"/>
                <a:gd name="T3" fmla="*/ 4158231 h 2289"/>
                <a:gd name="T4" fmla="*/ 1337313 w 911"/>
                <a:gd name="T5" fmla="*/ 4003434 h 2289"/>
                <a:gd name="T6" fmla="*/ 1337313 w 911"/>
                <a:gd name="T7" fmla="*/ 2525124 h 2289"/>
                <a:gd name="T8" fmla="*/ 1337313 w 911"/>
                <a:gd name="T9" fmla="*/ 2290993 h 2289"/>
                <a:gd name="T10" fmla="*/ 1202036 w 911"/>
                <a:gd name="T11" fmla="*/ 2155546 h 2289"/>
                <a:gd name="T12" fmla="*/ 1066759 w 911"/>
                <a:gd name="T13" fmla="*/ 2290993 h 2289"/>
                <a:gd name="T14" fmla="*/ 1066759 w 911"/>
                <a:gd name="T15" fmla="*/ 2484489 h 2289"/>
                <a:gd name="T16" fmla="*/ 1066759 w 911"/>
                <a:gd name="T17" fmla="*/ 2513514 h 2289"/>
                <a:gd name="T18" fmla="*/ 1066759 w 911"/>
                <a:gd name="T19" fmla="*/ 2525124 h 2289"/>
                <a:gd name="T20" fmla="*/ 1066759 w 911"/>
                <a:gd name="T21" fmla="*/ 4003434 h 2289"/>
                <a:gd name="T22" fmla="*/ 912156 w 911"/>
                <a:gd name="T23" fmla="*/ 4158231 h 2289"/>
                <a:gd name="T24" fmla="*/ 877370 w 911"/>
                <a:gd name="T25" fmla="*/ 4158231 h 2289"/>
                <a:gd name="T26" fmla="*/ 722768 w 911"/>
                <a:gd name="T27" fmla="*/ 4003434 h 2289"/>
                <a:gd name="T28" fmla="*/ 722768 w 911"/>
                <a:gd name="T29" fmla="*/ 2387741 h 2289"/>
                <a:gd name="T30" fmla="*/ 722768 w 911"/>
                <a:gd name="T31" fmla="*/ 2290993 h 2289"/>
                <a:gd name="T32" fmla="*/ 722768 w 911"/>
                <a:gd name="T33" fmla="*/ 866862 h 2289"/>
                <a:gd name="T34" fmla="*/ 587490 w 911"/>
                <a:gd name="T35" fmla="*/ 731415 h 2289"/>
                <a:gd name="T36" fmla="*/ 452213 w 911"/>
                <a:gd name="T37" fmla="*/ 866862 h 2289"/>
                <a:gd name="T38" fmla="*/ 452213 w 911"/>
                <a:gd name="T39" fmla="*/ 2240684 h 2289"/>
                <a:gd name="T40" fmla="*/ 270555 w 911"/>
                <a:gd name="T41" fmla="*/ 1993010 h 2289"/>
                <a:gd name="T42" fmla="*/ 270555 w 911"/>
                <a:gd name="T43" fmla="*/ 532114 h 2289"/>
                <a:gd name="T44" fmla="*/ 531447 w 911"/>
                <a:gd name="T45" fmla="*/ 270894 h 2289"/>
                <a:gd name="T46" fmla="*/ 1202036 w 911"/>
                <a:gd name="T47" fmla="*/ 270894 h 2289"/>
                <a:gd name="T48" fmla="*/ 1337313 w 911"/>
                <a:gd name="T49" fmla="*/ 135447 h 2289"/>
                <a:gd name="T50" fmla="*/ 1202036 w 911"/>
                <a:gd name="T51" fmla="*/ 0 h 2289"/>
                <a:gd name="T52" fmla="*/ 531447 w 911"/>
                <a:gd name="T53" fmla="*/ 0 h 2289"/>
                <a:gd name="T54" fmla="*/ 0 w 911"/>
                <a:gd name="T55" fmla="*/ 532114 h 2289"/>
                <a:gd name="T56" fmla="*/ 0 w 911"/>
                <a:gd name="T57" fmla="*/ 1993010 h 2289"/>
                <a:gd name="T58" fmla="*/ 452213 w 911"/>
                <a:gd name="T59" fmla="*/ 2517384 h 2289"/>
                <a:gd name="T60" fmla="*/ 452213 w 911"/>
                <a:gd name="T61" fmla="*/ 4003434 h 2289"/>
                <a:gd name="T62" fmla="*/ 877370 w 911"/>
                <a:gd name="T63" fmla="*/ 4429125 h 2289"/>
                <a:gd name="T64" fmla="*/ 912156 w 911"/>
                <a:gd name="T65" fmla="*/ 4429125 h 2289"/>
                <a:gd name="T66" fmla="*/ 1202036 w 911"/>
                <a:gd name="T67" fmla="*/ 4314962 h 2289"/>
                <a:gd name="T68" fmla="*/ 1491916 w 911"/>
                <a:gd name="T69" fmla="*/ 4429125 h 2289"/>
                <a:gd name="T70" fmla="*/ 1625261 w 911"/>
                <a:gd name="T71" fmla="*/ 4429125 h 2289"/>
                <a:gd name="T72" fmla="*/ 1760538 w 911"/>
                <a:gd name="T73" fmla="*/ 4293678 h 2289"/>
                <a:gd name="T74" fmla="*/ 1625261 w 911"/>
                <a:gd name="T75" fmla="*/ 4158231 h 2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1"/>
                <a:gd name="T115" fmla="*/ 0 h 2289"/>
                <a:gd name="T116" fmla="*/ 911 w 911"/>
                <a:gd name="T117" fmla="*/ 2289 h 2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1" h="2289">
                  <a:moveTo>
                    <a:pt x="841" y="2149"/>
                  </a:moveTo>
                  <a:cubicBezTo>
                    <a:pt x="772" y="2149"/>
                    <a:pt x="772" y="2149"/>
                    <a:pt x="772" y="2149"/>
                  </a:cubicBezTo>
                  <a:cubicBezTo>
                    <a:pt x="728" y="2149"/>
                    <a:pt x="692" y="2114"/>
                    <a:pt x="692" y="2069"/>
                  </a:cubicBezTo>
                  <a:cubicBezTo>
                    <a:pt x="692" y="1305"/>
                    <a:pt x="692" y="1305"/>
                    <a:pt x="692" y="1305"/>
                  </a:cubicBezTo>
                  <a:cubicBezTo>
                    <a:pt x="692" y="1184"/>
                    <a:pt x="692" y="1184"/>
                    <a:pt x="692" y="1184"/>
                  </a:cubicBezTo>
                  <a:cubicBezTo>
                    <a:pt x="692" y="1145"/>
                    <a:pt x="660" y="1114"/>
                    <a:pt x="622" y="1114"/>
                  </a:cubicBezTo>
                  <a:cubicBezTo>
                    <a:pt x="583" y="1114"/>
                    <a:pt x="552" y="1145"/>
                    <a:pt x="552" y="1184"/>
                  </a:cubicBezTo>
                  <a:cubicBezTo>
                    <a:pt x="552" y="1284"/>
                    <a:pt x="552" y="1284"/>
                    <a:pt x="552" y="1284"/>
                  </a:cubicBezTo>
                  <a:cubicBezTo>
                    <a:pt x="551" y="1289"/>
                    <a:pt x="551" y="1294"/>
                    <a:pt x="552" y="1299"/>
                  </a:cubicBezTo>
                  <a:cubicBezTo>
                    <a:pt x="552" y="1301"/>
                    <a:pt x="552" y="1303"/>
                    <a:pt x="552" y="1305"/>
                  </a:cubicBezTo>
                  <a:cubicBezTo>
                    <a:pt x="552" y="2069"/>
                    <a:pt x="552" y="2069"/>
                    <a:pt x="552" y="2069"/>
                  </a:cubicBezTo>
                  <a:cubicBezTo>
                    <a:pt x="552" y="2114"/>
                    <a:pt x="516" y="2149"/>
                    <a:pt x="472" y="2149"/>
                  </a:cubicBezTo>
                  <a:cubicBezTo>
                    <a:pt x="454" y="2149"/>
                    <a:pt x="454" y="2149"/>
                    <a:pt x="454" y="2149"/>
                  </a:cubicBezTo>
                  <a:cubicBezTo>
                    <a:pt x="410" y="2149"/>
                    <a:pt x="374" y="2114"/>
                    <a:pt x="374" y="2069"/>
                  </a:cubicBezTo>
                  <a:cubicBezTo>
                    <a:pt x="374" y="1234"/>
                    <a:pt x="374" y="1234"/>
                    <a:pt x="374" y="1234"/>
                  </a:cubicBezTo>
                  <a:cubicBezTo>
                    <a:pt x="374" y="1184"/>
                    <a:pt x="374" y="1184"/>
                    <a:pt x="374" y="1184"/>
                  </a:cubicBezTo>
                  <a:cubicBezTo>
                    <a:pt x="374" y="448"/>
                    <a:pt x="374" y="448"/>
                    <a:pt x="374" y="448"/>
                  </a:cubicBezTo>
                  <a:cubicBezTo>
                    <a:pt x="374" y="409"/>
                    <a:pt x="343" y="378"/>
                    <a:pt x="304" y="378"/>
                  </a:cubicBezTo>
                  <a:cubicBezTo>
                    <a:pt x="266" y="378"/>
                    <a:pt x="234" y="409"/>
                    <a:pt x="234" y="448"/>
                  </a:cubicBezTo>
                  <a:cubicBezTo>
                    <a:pt x="234" y="1158"/>
                    <a:pt x="234" y="1158"/>
                    <a:pt x="234" y="1158"/>
                  </a:cubicBezTo>
                  <a:cubicBezTo>
                    <a:pt x="180" y="1141"/>
                    <a:pt x="140" y="1090"/>
                    <a:pt x="140" y="1030"/>
                  </a:cubicBezTo>
                  <a:cubicBezTo>
                    <a:pt x="140" y="275"/>
                    <a:pt x="140" y="275"/>
                    <a:pt x="140" y="275"/>
                  </a:cubicBezTo>
                  <a:cubicBezTo>
                    <a:pt x="140" y="201"/>
                    <a:pt x="200" y="140"/>
                    <a:pt x="275" y="140"/>
                  </a:cubicBezTo>
                  <a:cubicBezTo>
                    <a:pt x="622" y="140"/>
                    <a:pt x="622" y="140"/>
                    <a:pt x="622" y="140"/>
                  </a:cubicBezTo>
                  <a:cubicBezTo>
                    <a:pt x="660" y="140"/>
                    <a:pt x="692" y="109"/>
                    <a:pt x="692" y="70"/>
                  </a:cubicBezTo>
                  <a:cubicBezTo>
                    <a:pt x="692" y="32"/>
                    <a:pt x="660" y="0"/>
                    <a:pt x="622" y="0"/>
                  </a:cubicBezTo>
                  <a:cubicBezTo>
                    <a:pt x="275" y="0"/>
                    <a:pt x="275" y="0"/>
                    <a:pt x="275" y="0"/>
                  </a:cubicBezTo>
                  <a:cubicBezTo>
                    <a:pt x="123" y="0"/>
                    <a:pt x="0" y="123"/>
                    <a:pt x="0" y="275"/>
                  </a:cubicBezTo>
                  <a:cubicBezTo>
                    <a:pt x="0" y="1030"/>
                    <a:pt x="0" y="1030"/>
                    <a:pt x="0" y="1030"/>
                  </a:cubicBezTo>
                  <a:cubicBezTo>
                    <a:pt x="0" y="1167"/>
                    <a:pt x="102" y="1281"/>
                    <a:pt x="234" y="1301"/>
                  </a:cubicBezTo>
                  <a:cubicBezTo>
                    <a:pt x="234" y="2069"/>
                    <a:pt x="234" y="2069"/>
                    <a:pt x="234" y="2069"/>
                  </a:cubicBezTo>
                  <a:cubicBezTo>
                    <a:pt x="234" y="2191"/>
                    <a:pt x="333" y="2289"/>
                    <a:pt x="454" y="2289"/>
                  </a:cubicBezTo>
                  <a:cubicBezTo>
                    <a:pt x="472" y="2289"/>
                    <a:pt x="472" y="2289"/>
                    <a:pt x="472" y="2289"/>
                  </a:cubicBezTo>
                  <a:cubicBezTo>
                    <a:pt x="530" y="2289"/>
                    <a:pt x="582" y="2267"/>
                    <a:pt x="622" y="2230"/>
                  </a:cubicBezTo>
                  <a:cubicBezTo>
                    <a:pt x="661" y="2267"/>
                    <a:pt x="714" y="2289"/>
                    <a:pt x="772" y="2289"/>
                  </a:cubicBezTo>
                  <a:cubicBezTo>
                    <a:pt x="841" y="2289"/>
                    <a:pt x="841" y="2289"/>
                    <a:pt x="841" y="2289"/>
                  </a:cubicBezTo>
                  <a:cubicBezTo>
                    <a:pt x="880" y="2289"/>
                    <a:pt x="911" y="2258"/>
                    <a:pt x="911" y="2219"/>
                  </a:cubicBezTo>
                  <a:cubicBezTo>
                    <a:pt x="911" y="2181"/>
                    <a:pt x="880" y="2149"/>
                    <a:pt x="841" y="2149"/>
                  </a:cubicBezTo>
                  <a:close/>
                </a:path>
              </a:pathLst>
            </a:custGeom>
            <a:solidFill>
              <a:srgbClr val="0065BD"/>
            </a:solidFill>
            <a:ln w="9525">
              <a:noFill/>
              <a:miter lim="800000"/>
              <a:headEnd/>
              <a:tailEnd/>
            </a:ln>
          </p:spPr>
          <p:txBody>
            <a:bodyPr/>
            <a:lstStyle/>
            <a:p>
              <a:endParaRPr lang="en-ZA"/>
            </a:p>
          </p:txBody>
        </p:sp>
        <p:sp>
          <p:nvSpPr>
            <p:cNvPr id="16438" name="Freeform 17"/>
            <p:cNvSpPr>
              <a:spLocks noEditPoints="1"/>
            </p:cNvSpPr>
            <p:nvPr/>
          </p:nvSpPr>
          <p:spPr bwMode="auto">
            <a:xfrm>
              <a:off x="3694113" y="188913"/>
              <a:ext cx="1125538" cy="1127125"/>
            </a:xfrm>
            <a:custGeom>
              <a:avLst/>
              <a:gdLst>
                <a:gd name="T0" fmla="*/ 562769 w 582"/>
                <a:gd name="T1" fmla="*/ 1127125 h 582"/>
                <a:gd name="T2" fmla="*/ 1125538 w 582"/>
                <a:gd name="T3" fmla="*/ 563563 h 582"/>
                <a:gd name="T4" fmla="*/ 562769 w 582"/>
                <a:gd name="T5" fmla="*/ 0 h 582"/>
                <a:gd name="T6" fmla="*/ 0 w 582"/>
                <a:gd name="T7" fmla="*/ 563563 h 582"/>
                <a:gd name="T8" fmla="*/ 562769 w 582"/>
                <a:gd name="T9" fmla="*/ 1127125 h 582"/>
                <a:gd name="T10" fmla="*/ 562769 w 582"/>
                <a:gd name="T11" fmla="*/ 271130 h 582"/>
                <a:gd name="T12" fmla="*/ 854790 w 582"/>
                <a:gd name="T13" fmla="*/ 563563 h 582"/>
                <a:gd name="T14" fmla="*/ 562769 w 582"/>
                <a:gd name="T15" fmla="*/ 855995 h 582"/>
                <a:gd name="T16" fmla="*/ 270748 w 582"/>
                <a:gd name="T17" fmla="*/ 563563 h 582"/>
                <a:gd name="T18" fmla="*/ 562769 w 582"/>
                <a:gd name="T19" fmla="*/ 271130 h 5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2"/>
                <a:gd name="T31" fmla="*/ 0 h 582"/>
                <a:gd name="T32" fmla="*/ 582 w 582"/>
                <a:gd name="T33" fmla="*/ 582 h 5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2" h="582">
                  <a:moveTo>
                    <a:pt x="291" y="582"/>
                  </a:moveTo>
                  <a:cubicBezTo>
                    <a:pt x="451" y="582"/>
                    <a:pt x="582" y="451"/>
                    <a:pt x="582" y="291"/>
                  </a:cubicBezTo>
                  <a:cubicBezTo>
                    <a:pt x="582" y="130"/>
                    <a:pt x="451" y="0"/>
                    <a:pt x="291" y="0"/>
                  </a:cubicBezTo>
                  <a:cubicBezTo>
                    <a:pt x="131" y="0"/>
                    <a:pt x="0" y="130"/>
                    <a:pt x="0" y="291"/>
                  </a:cubicBezTo>
                  <a:cubicBezTo>
                    <a:pt x="0" y="451"/>
                    <a:pt x="131" y="582"/>
                    <a:pt x="291" y="582"/>
                  </a:cubicBezTo>
                  <a:close/>
                  <a:moveTo>
                    <a:pt x="291" y="140"/>
                  </a:moveTo>
                  <a:cubicBezTo>
                    <a:pt x="374" y="140"/>
                    <a:pt x="442" y="208"/>
                    <a:pt x="442" y="291"/>
                  </a:cubicBezTo>
                  <a:cubicBezTo>
                    <a:pt x="442" y="374"/>
                    <a:pt x="374" y="442"/>
                    <a:pt x="291" y="442"/>
                  </a:cubicBezTo>
                  <a:cubicBezTo>
                    <a:pt x="208" y="442"/>
                    <a:pt x="140" y="374"/>
                    <a:pt x="140" y="291"/>
                  </a:cubicBezTo>
                  <a:cubicBezTo>
                    <a:pt x="140" y="208"/>
                    <a:pt x="208" y="140"/>
                    <a:pt x="291" y="140"/>
                  </a:cubicBezTo>
                  <a:close/>
                </a:path>
              </a:pathLst>
            </a:custGeom>
            <a:solidFill>
              <a:srgbClr val="0065BD"/>
            </a:solidFill>
            <a:ln w="9525">
              <a:noFill/>
              <a:miter lim="800000"/>
              <a:headEnd/>
              <a:tailEnd/>
            </a:ln>
          </p:spPr>
          <p:txBody>
            <a:bodyPr/>
            <a:lstStyle/>
            <a:p>
              <a:endParaRPr lang="en-ZA"/>
            </a:p>
          </p:txBody>
        </p:sp>
        <p:sp>
          <p:nvSpPr>
            <p:cNvPr id="16439" name="Freeform 18"/>
            <p:cNvSpPr>
              <a:spLocks/>
            </p:cNvSpPr>
            <p:nvPr/>
          </p:nvSpPr>
          <p:spPr bwMode="auto">
            <a:xfrm>
              <a:off x="3752850" y="1485900"/>
              <a:ext cx="1760538" cy="4429125"/>
            </a:xfrm>
            <a:custGeom>
              <a:avLst/>
              <a:gdLst>
                <a:gd name="T0" fmla="*/ 1231024 w 911"/>
                <a:gd name="T1" fmla="*/ 0 h 2289"/>
                <a:gd name="T2" fmla="*/ 558502 w 911"/>
                <a:gd name="T3" fmla="*/ 0 h 2289"/>
                <a:gd name="T4" fmla="*/ 423225 w 911"/>
                <a:gd name="T5" fmla="*/ 135447 h 2289"/>
                <a:gd name="T6" fmla="*/ 558502 w 911"/>
                <a:gd name="T7" fmla="*/ 270894 h 2289"/>
                <a:gd name="T8" fmla="*/ 1231024 w 911"/>
                <a:gd name="T9" fmla="*/ 270894 h 2289"/>
                <a:gd name="T10" fmla="*/ 1489983 w 911"/>
                <a:gd name="T11" fmla="*/ 532114 h 2289"/>
                <a:gd name="T12" fmla="*/ 1489983 w 911"/>
                <a:gd name="T13" fmla="*/ 1993010 h 2289"/>
                <a:gd name="T14" fmla="*/ 1308325 w 911"/>
                <a:gd name="T15" fmla="*/ 2240684 h 2289"/>
                <a:gd name="T16" fmla="*/ 1308325 w 911"/>
                <a:gd name="T17" fmla="*/ 866862 h 2289"/>
                <a:gd name="T18" fmla="*/ 1173048 w 911"/>
                <a:gd name="T19" fmla="*/ 731415 h 2289"/>
                <a:gd name="T20" fmla="*/ 1037771 w 911"/>
                <a:gd name="T21" fmla="*/ 866862 h 2289"/>
                <a:gd name="T22" fmla="*/ 1037771 w 911"/>
                <a:gd name="T23" fmla="*/ 2290993 h 2289"/>
                <a:gd name="T24" fmla="*/ 1037771 w 911"/>
                <a:gd name="T25" fmla="*/ 2387741 h 2289"/>
                <a:gd name="T26" fmla="*/ 1037771 w 911"/>
                <a:gd name="T27" fmla="*/ 4003434 h 2289"/>
                <a:gd name="T28" fmla="*/ 883168 w 911"/>
                <a:gd name="T29" fmla="*/ 4158231 h 2289"/>
                <a:gd name="T30" fmla="*/ 848382 w 911"/>
                <a:gd name="T31" fmla="*/ 4158231 h 2289"/>
                <a:gd name="T32" fmla="*/ 693780 w 911"/>
                <a:gd name="T33" fmla="*/ 4003434 h 2289"/>
                <a:gd name="T34" fmla="*/ 693780 w 911"/>
                <a:gd name="T35" fmla="*/ 2525124 h 2289"/>
                <a:gd name="T36" fmla="*/ 693780 w 911"/>
                <a:gd name="T37" fmla="*/ 2513514 h 2289"/>
                <a:gd name="T38" fmla="*/ 693780 w 911"/>
                <a:gd name="T39" fmla="*/ 2484489 h 2289"/>
                <a:gd name="T40" fmla="*/ 693780 w 911"/>
                <a:gd name="T41" fmla="*/ 2290993 h 2289"/>
                <a:gd name="T42" fmla="*/ 558502 w 911"/>
                <a:gd name="T43" fmla="*/ 2155546 h 2289"/>
                <a:gd name="T44" fmla="*/ 423225 w 911"/>
                <a:gd name="T45" fmla="*/ 2290993 h 2289"/>
                <a:gd name="T46" fmla="*/ 423225 w 911"/>
                <a:gd name="T47" fmla="*/ 2525124 h 2289"/>
                <a:gd name="T48" fmla="*/ 423225 w 911"/>
                <a:gd name="T49" fmla="*/ 4003434 h 2289"/>
                <a:gd name="T50" fmla="*/ 268622 w 911"/>
                <a:gd name="T51" fmla="*/ 4158231 h 2289"/>
                <a:gd name="T52" fmla="*/ 135277 w 911"/>
                <a:gd name="T53" fmla="*/ 4158231 h 2289"/>
                <a:gd name="T54" fmla="*/ 0 w 911"/>
                <a:gd name="T55" fmla="*/ 4293678 h 2289"/>
                <a:gd name="T56" fmla="*/ 135277 w 911"/>
                <a:gd name="T57" fmla="*/ 4429125 h 2289"/>
                <a:gd name="T58" fmla="*/ 268622 w 911"/>
                <a:gd name="T59" fmla="*/ 4429125 h 2289"/>
                <a:gd name="T60" fmla="*/ 558502 w 911"/>
                <a:gd name="T61" fmla="*/ 4314962 h 2289"/>
                <a:gd name="T62" fmla="*/ 848382 w 911"/>
                <a:gd name="T63" fmla="*/ 4429125 h 2289"/>
                <a:gd name="T64" fmla="*/ 883168 w 911"/>
                <a:gd name="T65" fmla="*/ 4429125 h 2289"/>
                <a:gd name="T66" fmla="*/ 1308325 w 911"/>
                <a:gd name="T67" fmla="*/ 4003434 h 2289"/>
                <a:gd name="T68" fmla="*/ 1308325 w 911"/>
                <a:gd name="T69" fmla="*/ 2517384 h 2289"/>
                <a:gd name="T70" fmla="*/ 1760538 w 911"/>
                <a:gd name="T71" fmla="*/ 1993010 h 2289"/>
                <a:gd name="T72" fmla="*/ 1760538 w 911"/>
                <a:gd name="T73" fmla="*/ 532114 h 2289"/>
                <a:gd name="T74" fmla="*/ 1231024 w 911"/>
                <a:gd name="T75" fmla="*/ 0 h 2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1"/>
                <a:gd name="T115" fmla="*/ 0 h 2289"/>
                <a:gd name="T116" fmla="*/ 911 w 911"/>
                <a:gd name="T117" fmla="*/ 2289 h 2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1" h="2289">
                  <a:moveTo>
                    <a:pt x="637" y="0"/>
                  </a:moveTo>
                  <a:cubicBezTo>
                    <a:pt x="289" y="0"/>
                    <a:pt x="289" y="0"/>
                    <a:pt x="289" y="0"/>
                  </a:cubicBezTo>
                  <a:cubicBezTo>
                    <a:pt x="251" y="0"/>
                    <a:pt x="219" y="32"/>
                    <a:pt x="219" y="70"/>
                  </a:cubicBezTo>
                  <a:cubicBezTo>
                    <a:pt x="219" y="109"/>
                    <a:pt x="251" y="140"/>
                    <a:pt x="289" y="140"/>
                  </a:cubicBezTo>
                  <a:cubicBezTo>
                    <a:pt x="637" y="140"/>
                    <a:pt x="637" y="140"/>
                    <a:pt x="637" y="140"/>
                  </a:cubicBezTo>
                  <a:cubicBezTo>
                    <a:pt x="711" y="140"/>
                    <a:pt x="771" y="201"/>
                    <a:pt x="771" y="275"/>
                  </a:cubicBezTo>
                  <a:cubicBezTo>
                    <a:pt x="771" y="1030"/>
                    <a:pt x="771" y="1030"/>
                    <a:pt x="771" y="1030"/>
                  </a:cubicBezTo>
                  <a:cubicBezTo>
                    <a:pt x="771" y="1090"/>
                    <a:pt x="731" y="1141"/>
                    <a:pt x="677" y="1158"/>
                  </a:cubicBezTo>
                  <a:cubicBezTo>
                    <a:pt x="677" y="448"/>
                    <a:pt x="677" y="448"/>
                    <a:pt x="677" y="448"/>
                  </a:cubicBezTo>
                  <a:cubicBezTo>
                    <a:pt x="677" y="409"/>
                    <a:pt x="645" y="378"/>
                    <a:pt x="607" y="378"/>
                  </a:cubicBezTo>
                  <a:cubicBezTo>
                    <a:pt x="568" y="378"/>
                    <a:pt x="537" y="409"/>
                    <a:pt x="537" y="448"/>
                  </a:cubicBezTo>
                  <a:cubicBezTo>
                    <a:pt x="537" y="1184"/>
                    <a:pt x="537" y="1184"/>
                    <a:pt x="537" y="1184"/>
                  </a:cubicBezTo>
                  <a:cubicBezTo>
                    <a:pt x="537" y="1234"/>
                    <a:pt x="537" y="1234"/>
                    <a:pt x="537" y="1234"/>
                  </a:cubicBezTo>
                  <a:cubicBezTo>
                    <a:pt x="537" y="2069"/>
                    <a:pt x="537" y="2069"/>
                    <a:pt x="537" y="2069"/>
                  </a:cubicBezTo>
                  <a:cubicBezTo>
                    <a:pt x="537" y="2114"/>
                    <a:pt x="501" y="2149"/>
                    <a:pt x="457" y="2149"/>
                  </a:cubicBezTo>
                  <a:cubicBezTo>
                    <a:pt x="439" y="2149"/>
                    <a:pt x="439" y="2149"/>
                    <a:pt x="439" y="2149"/>
                  </a:cubicBezTo>
                  <a:cubicBezTo>
                    <a:pt x="395" y="2149"/>
                    <a:pt x="359" y="2114"/>
                    <a:pt x="359" y="2069"/>
                  </a:cubicBezTo>
                  <a:cubicBezTo>
                    <a:pt x="359" y="1305"/>
                    <a:pt x="359" y="1305"/>
                    <a:pt x="359" y="1305"/>
                  </a:cubicBezTo>
                  <a:cubicBezTo>
                    <a:pt x="359" y="1303"/>
                    <a:pt x="359" y="1301"/>
                    <a:pt x="359" y="1299"/>
                  </a:cubicBezTo>
                  <a:cubicBezTo>
                    <a:pt x="360" y="1294"/>
                    <a:pt x="360" y="1289"/>
                    <a:pt x="359" y="1284"/>
                  </a:cubicBezTo>
                  <a:cubicBezTo>
                    <a:pt x="359" y="1184"/>
                    <a:pt x="359" y="1184"/>
                    <a:pt x="359" y="1184"/>
                  </a:cubicBezTo>
                  <a:cubicBezTo>
                    <a:pt x="359" y="1145"/>
                    <a:pt x="328" y="1114"/>
                    <a:pt x="289" y="1114"/>
                  </a:cubicBezTo>
                  <a:cubicBezTo>
                    <a:pt x="251" y="1114"/>
                    <a:pt x="219" y="1145"/>
                    <a:pt x="219" y="1184"/>
                  </a:cubicBezTo>
                  <a:cubicBezTo>
                    <a:pt x="219" y="1305"/>
                    <a:pt x="219" y="1305"/>
                    <a:pt x="219" y="1305"/>
                  </a:cubicBezTo>
                  <a:cubicBezTo>
                    <a:pt x="219" y="2069"/>
                    <a:pt x="219" y="2069"/>
                    <a:pt x="219" y="2069"/>
                  </a:cubicBezTo>
                  <a:cubicBezTo>
                    <a:pt x="219" y="2114"/>
                    <a:pt x="183" y="2149"/>
                    <a:pt x="139" y="2149"/>
                  </a:cubicBezTo>
                  <a:cubicBezTo>
                    <a:pt x="70" y="2149"/>
                    <a:pt x="70" y="2149"/>
                    <a:pt x="70" y="2149"/>
                  </a:cubicBezTo>
                  <a:cubicBezTo>
                    <a:pt x="31" y="2149"/>
                    <a:pt x="0" y="2181"/>
                    <a:pt x="0" y="2219"/>
                  </a:cubicBezTo>
                  <a:cubicBezTo>
                    <a:pt x="0" y="2258"/>
                    <a:pt x="31" y="2289"/>
                    <a:pt x="70" y="2289"/>
                  </a:cubicBezTo>
                  <a:cubicBezTo>
                    <a:pt x="139" y="2289"/>
                    <a:pt x="139" y="2289"/>
                    <a:pt x="139" y="2289"/>
                  </a:cubicBezTo>
                  <a:cubicBezTo>
                    <a:pt x="197" y="2289"/>
                    <a:pt x="250" y="2267"/>
                    <a:pt x="289" y="2230"/>
                  </a:cubicBezTo>
                  <a:cubicBezTo>
                    <a:pt x="329" y="2267"/>
                    <a:pt x="381" y="2289"/>
                    <a:pt x="439" y="2289"/>
                  </a:cubicBezTo>
                  <a:cubicBezTo>
                    <a:pt x="457" y="2289"/>
                    <a:pt x="457" y="2289"/>
                    <a:pt x="457" y="2289"/>
                  </a:cubicBezTo>
                  <a:cubicBezTo>
                    <a:pt x="578" y="2289"/>
                    <a:pt x="677" y="2191"/>
                    <a:pt x="677" y="2069"/>
                  </a:cubicBezTo>
                  <a:cubicBezTo>
                    <a:pt x="677" y="1301"/>
                    <a:pt x="677" y="1301"/>
                    <a:pt x="677" y="1301"/>
                  </a:cubicBezTo>
                  <a:cubicBezTo>
                    <a:pt x="809" y="1281"/>
                    <a:pt x="911" y="1167"/>
                    <a:pt x="911" y="1030"/>
                  </a:cubicBezTo>
                  <a:cubicBezTo>
                    <a:pt x="911" y="275"/>
                    <a:pt x="911" y="275"/>
                    <a:pt x="911" y="275"/>
                  </a:cubicBezTo>
                  <a:cubicBezTo>
                    <a:pt x="911" y="123"/>
                    <a:pt x="788" y="0"/>
                    <a:pt x="637" y="0"/>
                  </a:cubicBezTo>
                  <a:close/>
                </a:path>
              </a:pathLst>
            </a:custGeom>
            <a:solidFill>
              <a:srgbClr val="0065BD"/>
            </a:solidFill>
            <a:ln w="9525">
              <a:noFill/>
              <a:miter lim="800000"/>
              <a:headEnd/>
              <a:tailEnd/>
            </a:ln>
          </p:spPr>
          <p:txBody>
            <a:bodyPr/>
            <a:lstStyle/>
            <a:p>
              <a:endParaRPr lang="en-ZA"/>
            </a:p>
          </p:txBody>
        </p:sp>
        <p:sp>
          <p:nvSpPr>
            <p:cNvPr id="16440" name="Freeform 19"/>
            <p:cNvSpPr>
              <a:spLocks noEditPoints="1"/>
            </p:cNvSpPr>
            <p:nvPr/>
          </p:nvSpPr>
          <p:spPr bwMode="auto">
            <a:xfrm>
              <a:off x="2149475" y="0"/>
              <a:ext cx="1225550" cy="1227138"/>
            </a:xfrm>
            <a:custGeom>
              <a:avLst/>
              <a:gdLst>
                <a:gd name="T0" fmla="*/ 612775 w 634"/>
                <a:gd name="T1" fmla="*/ 1227138 h 634"/>
                <a:gd name="T2" fmla="*/ 1225550 w 634"/>
                <a:gd name="T3" fmla="*/ 613569 h 634"/>
                <a:gd name="T4" fmla="*/ 612775 w 634"/>
                <a:gd name="T5" fmla="*/ 0 h 634"/>
                <a:gd name="T6" fmla="*/ 0 w 634"/>
                <a:gd name="T7" fmla="*/ 613569 h 634"/>
                <a:gd name="T8" fmla="*/ 612775 w 634"/>
                <a:gd name="T9" fmla="*/ 1227138 h 634"/>
                <a:gd name="T10" fmla="*/ 612775 w 634"/>
                <a:gd name="T11" fmla="*/ 270977 h 634"/>
                <a:gd name="T12" fmla="*/ 954924 w 634"/>
                <a:gd name="T13" fmla="*/ 613569 h 634"/>
                <a:gd name="T14" fmla="*/ 612775 w 634"/>
                <a:gd name="T15" fmla="*/ 956161 h 634"/>
                <a:gd name="T16" fmla="*/ 270626 w 634"/>
                <a:gd name="T17" fmla="*/ 613569 h 634"/>
                <a:gd name="T18" fmla="*/ 612775 w 634"/>
                <a:gd name="T19" fmla="*/ 270977 h 6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4"/>
                <a:gd name="T31" fmla="*/ 0 h 634"/>
                <a:gd name="T32" fmla="*/ 634 w 634"/>
                <a:gd name="T33" fmla="*/ 634 h 6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4" h="634">
                  <a:moveTo>
                    <a:pt x="317" y="634"/>
                  </a:moveTo>
                  <a:cubicBezTo>
                    <a:pt x="492" y="634"/>
                    <a:pt x="634" y="491"/>
                    <a:pt x="634" y="317"/>
                  </a:cubicBezTo>
                  <a:cubicBezTo>
                    <a:pt x="634" y="142"/>
                    <a:pt x="492" y="0"/>
                    <a:pt x="317" y="0"/>
                  </a:cubicBezTo>
                  <a:cubicBezTo>
                    <a:pt x="142" y="0"/>
                    <a:pt x="0" y="142"/>
                    <a:pt x="0" y="317"/>
                  </a:cubicBezTo>
                  <a:cubicBezTo>
                    <a:pt x="0" y="491"/>
                    <a:pt x="142" y="634"/>
                    <a:pt x="317" y="634"/>
                  </a:cubicBezTo>
                  <a:close/>
                  <a:moveTo>
                    <a:pt x="317" y="140"/>
                  </a:moveTo>
                  <a:cubicBezTo>
                    <a:pt x="414" y="140"/>
                    <a:pt x="494" y="219"/>
                    <a:pt x="494" y="317"/>
                  </a:cubicBezTo>
                  <a:cubicBezTo>
                    <a:pt x="494" y="414"/>
                    <a:pt x="414" y="494"/>
                    <a:pt x="317" y="494"/>
                  </a:cubicBezTo>
                  <a:cubicBezTo>
                    <a:pt x="219" y="494"/>
                    <a:pt x="140" y="414"/>
                    <a:pt x="140" y="317"/>
                  </a:cubicBezTo>
                  <a:cubicBezTo>
                    <a:pt x="140" y="219"/>
                    <a:pt x="219" y="140"/>
                    <a:pt x="317" y="140"/>
                  </a:cubicBezTo>
                  <a:close/>
                </a:path>
              </a:pathLst>
            </a:custGeom>
            <a:solidFill>
              <a:srgbClr val="0065BD"/>
            </a:solidFill>
            <a:ln w="9525">
              <a:noFill/>
              <a:miter lim="800000"/>
              <a:headEnd/>
              <a:tailEnd/>
            </a:ln>
          </p:spPr>
          <p:txBody>
            <a:bodyPr/>
            <a:lstStyle/>
            <a:p>
              <a:endParaRPr lang="en-ZA"/>
            </a:p>
          </p:txBody>
        </p:sp>
        <p:sp>
          <p:nvSpPr>
            <p:cNvPr id="16441" name="Freeform 20"/>
            <p:cNvSpPr>
              <a:spLocks noEditPoints="1"/>
            </p:cNvSpPr>
            <p:nvPr/>
          </p:nvSpPr>
          <p:spPr bwMode="auto">
            <a:xfrm>
              <a:off x="1568450" y="1381125"/>
              <a:ext cx="2379663" cy="4811713"/>
            </a:xfrm>
            <a:custGeom>
              <a:avLst/>
              <a:gdLst>
                <a:gd name="T0" fmla="*/ 2228880 w 1231"/>
                <a:gd name="T1" fmla="*/ 3427813 h 2486"/>
                <a:gd name="T2" fmla="*/ 2333268 w 1231"/>
                <a:gd name="T3" fmla="*/ 3379425 h 2486"/>
                <a:gd name="T4" fmla="*/ 2362265 w 1231"/>
                <a:gd name="T5" fmla="*/ 3269100 h 2486"/>
                <a:gd name="T6" fmla="*/ 2201817 w 1231"/>
                <a:gd name="T7" fmla="*/ 2394243 h 2486"/>
                <a:gd name="T8" fmla="*/ 2379663 w 1231"/>
                <a:gd name="T9" fmla="*/ 1981977 h 2486"/>
                <a:gd name="T10" fmla="*/ 2379663 w 1231"/>
                <a:gd name="T11" fmla="*/ 570980 h 2486"/>
                <a:gd name="T12" fmla="*/ 1809394 w 1231"/>
                <a:gd name="T13" fmla="*/ 0 h 2486"/>
                <a:gd name="T14" fmla="*/ 576068 w 1231"/>
                <a:gd name="T15" fmla="*/ 0 h 2486"/>
                <a:gd name="T16" fmla="*/ 5799 w 1231"/>
                <a:gd name="T17" fmla="*/ 570980 h 2486"/>
                <a:gd name="T18" fmla="*/ 5799 w 1231"/>
                <a:gd name="T19" fmla="*/ 1981977 h 2486"/>
                <a:gd name="T20" fmla="*/ 175913 w 1231"/>
                <a:gd name="T21" fmla="*/ 2386501 h 2486"/>
                <a:gd name="T22" fmla="*/ 7732 w 1231"/>
                <a:gd name="T23" fmla="*/ 3267164 h 2486"/>
                <a:gd name="T24" fmla="*/ 36729 w 1231"/>
                <a:gd name="T25" fmla="*/ 3379425 h 2486"/>
                <a:gd name="T26" fmla="*/ 141117 w 1231"/>
                <a:gd name="T27" fmla="*/ 3427813 h 2486"/>
                <a:gd name="T28" fmla="*/ 442683 w 1231"/>
                <a:gd name="T29" fmla="*/ 3427813 h 2486"/>
                <a:gd name="T30" fmla="*/ 442683 w 1231"/>
                <a:gd name="T31" fmla="*/ 4385898 h 2486"/>
                <a:gd name="T32" fmla="*/ 867968 w 1231"/>
                <a:gd name="T33" fmla="*/ 4811713 h 2486"/>
                <a:gd name="T34" fmla="*/ 902764 w 1231"/>
                <a:gd name="T35" fmla="*/ 4811713 h 2486"/>
                <a:gd name="T36" fmla="*/ 1192731 w 1231"/>
                <a:gd name="T37" fmla="*/ 4697517 h 2486"/>
                <a:gd name="T38" fmla="*/ 1482698 w 1231"/>
                <a:gd name="T39" fmla="*/ 4811713 h 2486"/>
                <a:gd name="T40" fmla="*/ 1515561 w 1231"/>
                <a:gd name="T41" fmla="*/ 4811713 h 2486"/>
                <a:gd name="T42" fmla="*/ 1940846 w 1231"/>
                <a:gd name="T43" fmla="*/ 4385898 h 2486"/>
                <a:gd name="T44" fmla="*/ 1940846 w 1231"/>
                <a:gd name="T45" fmla="*/ 3427813 h 2486"/>
                <a:gd name="T46" fmla="*/ 2228880 w 1231"/>
                <a:gd name="T47" fmla="*/ 3427813 h 2486"/>
                <a:gd name="T48" fmla="*/ 456215 w 1231"/>
                <a:gd name="T49" fmla="*/ 2359404 h 2486"/>
                <a:gd name="T50" fmla="*/ 742316 w 1231"/>
                <a:gd name="T51" fmla="*/ 843888 h 2486"/>
                <a:gd name="T52" fmla="*/ 634061 w 1231"/>
                <a:gd name="T53" fmla="*/ 685176 h 2486"/>
                <a:gd name="T54" fmla="*/ 475546 w 1231"/>
                <a:gd name="T55" fmla="*/ 793565 h 2486"/>
                <a:gd name="T56" fmla="*/ 276435 w 1231"/>
                <a:gd name="T57" fmla="*/ 1848425 h 2486"/>
                <a:gd name="T58" fmla="*/ 276435 w 1231"/>
                <a:gd name="T59" fmla="*/ 570980 h 2486"/>
                <a:gd name="T60" fmla="*/ 576068 w 1231"/>
                <a:gd name="T61" fmla="*/ 270973 h 2486"/>
                <a:gd name="T62" fmla="*/ 1809394 w 1231"/>
                <a:gd name="T63" fmla="*/ 270973 h 2486"/>
                <a:gd name="T64" fmla="*/ 2109027 w 1231"/>
                <a:gd name="T65" fmla="*/ 570980 h 2486"/>
                <a:gd name="T66" fmla="*/ 2109027 w 1231"/>
                <a:gd name="T67" fmla="*/ 1885200 h 2486"/>
                <a:gd name="T68" fmla="*/ 1909916 w 1231"/>
                <a:gd name="T69" fmla="*/ 795500 h 2486"/>
                <a:gd name="T70" fmla="*/ 1753334 w 1231"/>
                <a:gd name="T71" fmla="*/ 685176 h 2486"/>
                <a:gd name="T72" fmla="*/ 1643146 w 1231"/>
                <a:gd name="T73" fmla="*/ 843888 h 2486"/>
                <a:gd name="T74" fmla="*/ 1921515 w 1231"/>
                <a:gd name="T75" fmla="*/ 2365211 h 2486"/>
                <a:gd name="T76" fmla="*/ 1921515 w 1231"/>
                <a:gd name="T77" fmla="*/ 2365211 h 2486"/>
                <a:gd name="T78" fmla="*/ 1921515 w 1231"/>
                <a:gd name="T79" fmla="*/ 2367146 h 2486"/>
                <a:gd name="T80" fmla="*/ 1921515 w 1231"/>
                <a:gd name="T81" fmla="*/ 2367146 h 2486"/>
                <a:gd name="T82" fmla="*/ 2066499 w 1231"/>
                <a:gd name="T83" fmla="*/ 3156840 h 2486"/>
                <a:gd name="T84" fmla="*/ 305432 w 1231"/>
                <a:gd name="T85" fmla="*/ 3156840 h 2486"/>
                <a:gd name="T86" fmla="*/ 456215 w 1231"/>
                <a:gd name="T87" fmla="*/ 2359404 h 2486"/>
                <a:gd name="T88" fmla="*/ 902764 w 1231"/>
                <a:gd name="T89" fmla="*/ 4540740 h 2486"/>
                <a:gd name="T90" fmla="*/ 867968 w 1231"/>
                <a:gd name="T91" fmla="*/ 4540740 h 2486"/>
                <a:gd name="T92" fmla="*/ 713319 w 1231"/>
                <a:gd name="T93" fmla="*/ 4385898 h 2486"/>
                <a:gd name="T94" fmla="*/ 713319 w 1231"/>
                <a:gd name="T95" fmla="*/ 3427813 h 2486"/>
                <a:gd name="T96" fmla="*/ 1057413 w 1231"/>
                <a:gd name="T97" fmla="*/ 3427813 h 2486"/>
                <a:gd name="T98" fmla="*/ 1057413 w 1231"/>
                <a:gd name="T99" fmla="*/ 4385898 h 2486"/>
                <a:gd name="T100" fmla="*/ 902764 w 1231"/>
                <a:gd name="T101" fmla="*/ 4540740 h 2486"/>
                <a:gd name="T102" fmla="*/ 1670210 w 1231"/>
                <a:gd name="T103" fmla="*/ 4385898 h 2486"/>
                <a:gd name="T104" fmla="*/ 1515561 w 1231"/>
                <a:gd name="T105" fmla="*/ 4540740 h 2486"/>
                <a:gd name="T106" fmla="*/ 1482698 w 1231"/>
                <a:gd name="T107" fmla="*/ 4540740 h 2486"/>
                <a:gd name="T108" fmla="*/ 1328049 w 1231"/>
                <a:gd name="T109" fmla="*/ 4385898 h 2486"/>
                <a:gd name="T110" fmla="*/ 1328049 w 1231"/>
                <a:gd name="T111" fmla="*/ 3427813 h 2486"/>
                <a:gd name="T112" fmla="*/ 1670210 w 1231"/>
                <a:gd name="T113" fmla="*/ 3427813 h 2486"/>
                <a:gd name="T114" fmla="*/ 1670210 w 1231"/>
                <a:gd name="T115" fmla="*/ 4385898 h 24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1"/>
                <a:gd name="T175" fmla="*/ 0 h 2486"/>
                <a:gd name="T176" fmla="*/ 1231 w 1231"/>
                <a:gd name="T177" fmla="*/ 2486 h 24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1" h="2486">
                  <a:moveTo>
                    <a:pt x="1153" y="1771"/>
                  </a:moveTo>
                  <a:cubicBezTo>
                    <a:pt x="1174" y="1771"/>
                    <a:pt x="1194" y="1762"/>
                    <a:pt x="1207" y="1746"/>
                  </a:cubicBezTo>
                  <a:cubicBezTo>
                    <a:pt x="1220" y="1730"/>
                    <a:pt x="1226" y="1709"/>
                    <a:pt x="1222" y="1689"/>
                  </a:cubicBezTo>
                  <a:cubicBezTo>
                    <a:pt x="1139" y="1237"/>
                    <a:pt x="1139" y="1237"/>
                    <a:pt x="1139" y="1237"/>
                  </a:cubicBezTo>
                  <a:cubicBezTo>
                    <a:pt x="1197" y="1182"/>
                    <a:pt x="1231" y="1105"/>
                    <a:pt x="1231" y="1024"/>
                  </a:cubicBezTo>
                  <a:cubicBezTo>
                    <a:pt x="1231" y="295"/>
                    <a:pt x="1231" y="295"/>
                    <a:pt x="1231" y="295"/>
                  </a:cubicBezTo>
                  <a:cubicBezTo>
                    <a:pt x="1231" y="132"/>
                    <a:pt x="1099" y="0"/>
                    <a:pt x="936" y="0"/>
                  </a:cubicBezTo>
                  <a:cubicBezTo>
                    <a:pt x="298" y="0"/>
                    <a:pt x="298" y="0"/>
                    <a:pt x="298" y="0"/>
                  </a:cubicBezTo>
                  <a:cubicBezTo>
                    <a:pt x="135" y="0"/>
                    <a:pt x="3" y="132"/>
                    <a:pt x="3" y="295"/>
                  </a:cubicBezTo>
                  <a:cubicBezTo>
                    <a:pt x="3" y="1024"/>
                    <a:pt x="3" y="1024"/>
                    <a:pt x="3" y="1024"/>
                  </a:cubicBezTo>
                  <a:cubicBezTo>
                    <a:pt x="3" y="1103"/>
                    <a:pt x="35" y="1178"/>
                    <a:pt x="91" y="1233"/>
                  </a:cubicBezTo>
                  <a:cubicBezTo>
                    <a:pt x="4" y="1688"/>
                    <a:pt x="4" y="1688"/>
                    <a:pt x="4" y="1688"/>
                  </a:cubicBezTo>
                  <a:cubicBezTo>
                    <a:pt x="0" y="1709"/>
                    <a:pt x="6" y="1730"/>
                    <a:pt x="19" y="1746"/>
                  </a:cubicBezTo>
                  <a:cubicBezTo>
                    <a:pt x="33" y="1762"/>
                    <a:pt x="52" y="1771"/>
                    <a:pt x="73" y="1771"/>
                  </a:cubicBezTo>
                  <a:cubicBezTo>
                    <a:pt x="229" y="1771"/>
                    <a:pt x="229" y="1771"/>
                    <a:pt x="229" y="1771"/>
                  </a:cubicBezTo>
                  <a:cubicBezTo>
                    <a:pt x="229" y="2266"/>
                    <a:pt x="229" y="2266"/>
                    <a:pt x="229" y="2266"/>
                  </a:cubicBezTo>
                  <a:cubicBezTo>
                    <a:pt x="229" y="2387"/>
                    <a:pt x="328" y="2486"/>
                    <a:pt x="449" y="2486"/>
                  </a:cubicBezTo>
                  <a:cubicBezTo>
                    <a:pt x="467" y="2486"/>
                    <a:pt x="467" y="2486"/>
                    <a:pt x="467" y="2486"/>
                  </a:cubicBezTo>
                  <a:cubicBezTo>
                    <a:pt x="525" y="2486"/>
                    <a:pt x="577" y="2464"/>
                    <a:pt x="617" y="2427"/>
                  </a:cubicBezTo>
                  <a:cubicBezTo>
                    <a:pt x="656" y="2464"/>
                    <a:pt x="709" y="2486"/>
                    <a:pt x="767" y="2486"/>
                  </a:cubicBezTo>
                  <a:cubicBezTo>
                    <a:pt x="784" y="2486"/>
                    <a:pt x="784" y="2486"/>
                    <a:pt x="784" y="2486"/>
                  </a:cubicBezTo>
                  <a:cubicBezTo>
                    <a:pt x="906" y="2486"/>
                    <a:pt x="1004" y="2387"/>
                    <a:pt x="1004" y="2266"/>
                  </a:cubicBezTo>
                  <a:cubicBezTo>
                    <a:pt x="1004" y="1771"/>
                    <a:pt x="1004" y="1771"/>
                    <a:pt x="1004" y="1771"/>
                  </a:cubicBezTo>
                  <a:lnTo>
                    <a:pt x="1153" y="1771"/>
                  </a:lnTo>
                  <a:close/>
                  <a:moveTo>
                    <a:pt x="236" y="1219"/>
                  </a:moveTo>
                  <a:cubicBezTo>
                    <a:pt x="384" y="436"/>
                    <a:pt x="384" y="436"/>
                    <a:pt x="384" y="436"/>
                  </a:cubicBezTo>
                  <a:cubicBezTo>
                    <a:pt x="391" y="398"/>
                    <a:pt x="366" y="362"/>
                    <a:pt x="328" y="354"/>
                  </a:cubicBezTo>
                  <a:cubicBezTo>
                    <a:pt x="290" y="347"/>
                    <a:pt x="254" y="372"/>
                    <a:pt x="246" y="410"/>
                  </a:cubicBezTo>
                  <a:cubicBezTo>
                    <a:pt x="143" y="955"/>
                    <a:pt x="143" y="955"/>
                    <a:pt x="143" y="955"/>
                  </a:cubicBezTo>
                  <a:cubicBezTo>
                    <a:pt x="143" y="295"/>
                    <a:pt x="143" y="295"/>
                    <a:pt x="143" y="295"/>
                  </a:cubicBezTo>
                  <a:cubicBezTo>
                    <a:pt x="143" y="209"/>
                    <a:pt x="213" y="140"/>
                    <a:pt x="298" y="140"/>
                  </a:cubicBezTo>
                  <a:cubicBezTo>
                    <a:pt x="936" y="140"/>
                    <a:pt x="936" y="140"/>
                    <a:pt x="936" y="140"/>
                  </a:cubicBezTo>
                  <a:cubicBezTo>
                    <a:pt x="1022" y="140"/>
                    <a:pt x="1091" y="209"/>
                    <a:pt x="1091" y="295"/>
                  </a:cubicBezTo>
                  <a:cubicBezTo>
                    <a:pt x="1091" y="974"/>
                    <a:pt x="1091" y="974"/>
                    <a:pt x="1091" y="974"/>
                  </a:cubicBezTo>
                  <a:cubicBezTo>
                    <a:pt x="988" y="411"/>
                    <a:pt x="988" y="411"/>
                    <a:pt x="988" y="411"/>
                  </a:cubicBezTo>
                  <a:cubicBezTo>
                    <a:pt x="981" y="373"/>
                    <a:pt x="945" y="347"/>
                    <a:pt x="907" y="354"/>
                  </a:cubicBezTo>
                  <a:cubicBezTo>
                    <a:pt x="869" y="361"/>
                    <a:pt x="843" y="398"/>
                    <a:pt x="850" y="436"/>
                  </a:cubicBezTo>
                  <a:cubicBezTo>
                    <a:pt x="994" y="1222"/>
                    <a:pt x="994" y="1222"/>
                    <a:pt x="994" y="1222"/>
                  </a:cubicBezTo>
                  <a:cubicBezTo>
                    <a:pt x="994" y="1222"/>
                    <a:pt x="994" y="1222"/>
                    <a:pt x="994" y="1222"/>
                  </a:cubicBezTo>
                  <a:cubicBezTo>
                    <a:pt x="994" y="1223"/>
                    <a:pt x="994" y="1223"/>
                    <a:pt x="994" y="1223"/>
                  </a:cubicBezTo>
                  <a:cubicBezTo>
                    <a:pt x="994" y="1223"/>
                    <a:pt x="994" y="1223"/>
                    <a:pt x="994" y="1223"/>
                  </a:cubicBezTo>
                  <a:cubicBezTo>
                    <a:pt x="1069" y="1631"/>
                    <a:pt x="1069" y="1631"/>
                    <a:pt x="1069" y="1631"/>
                  </a:cubicBezTo>
                  <a:cubicBezTo>
                    <a:pt x="158" y="1631"/>
                    <a:pt x="158" y="1631"/>
                    <a:pt x="158" y="1631"/>
                  </a:cubicBezTo>
                  <a:lnTo>
                    <a:pt x="236" y="1219"/>
                  </a:lnTo>
                  <a:close/>
                  <a:moveTo>
                    <a:pt x="467" y="2346"/>
                  </a:moveTo>
                  <a:cubicBezTo>
                    <a:pt x="449" y="2346"/>
                    <a:pt x="449" y="2346"/>
                    <a:pt x="449" y="2346"/>
                  </a:cubicBezTo>
                  <a:cubicBezTo>
                    <a:pt x="405" y="2346"/>
                    <a:pt x="369" y="2310"/>
                    <a:pt x="369" y="2266"/>
                  </a:cubicBezTo>
                  <a:cubicBezTo>
                    <a:pt x="369" y="1771"/>
                    <a:pt x="369" y="1771"/>
                    <a:pt x="369" y="1771"/>
                  </a:cubicBezTo>
                  <a:cubicBezTo>
                    <a:pt x="547" y="1771"/>
                    <a:pt x="547" y="1771"/>
                    <a:pt x="547" y="1771"/>
                  </a:cubicBezTo>
                  <a:cubicBezTo>
                    <a:pt x="547" y="2266"/>
                    <a:pt x="547" y="2266"/>
                    <a:pt x="547" y="2266"/>
                  </a:cubicBezTo>
                  <a:cubicBezTo>
                    <a:pt x="547" y="2310"/>
                    <a:pt x="511" y="2346"/>
                    <a:pt x="467" y="2346"/>
                  </a:cubicBezTo>
                  <a:close/>
                  <a:moveTo>
                    <a:pt x="864" y="2266"/>
                  </a:moveTo>
                  <a:cubicBezTo>
                    <a:pt x="864" y="2310"/>
                    <a:pt x="828" y="2346"/>
                    <a:pt x="784" y="2346"/>
                  </a:cubicBezTo>
                  <a:cubicBezTo>
                    <a:pt x="767" y="2346"/>
                    <a:pt x="767" y="2346"/>
                    <a:pt x="767" y="2346"/>
                  </a:cubicBezTo>
                  <a:cubicBezTo>
                    <a:pt x="723" y="2346"/>
                    <a:pt x="687" y="2310"/>
                    <a:pt x="687" y="2266"/>
                  </a:cubicBezTo>
                  <a:cubicBezTo>
                    <a:pt x="687" y="1771"/>
                    <a:pt x="687" y="1771"/>
                    <a:pt x="687" y="1771"/>
                  </a:cubicBezTo>
                  <a:cubicBezTo>
                    <a:pt x="864" y="1771"/>
                    <a:pt x="864" y="1771"/>
                    <a:pt x="864" y="1771"/>
                  </a:cubicBezTo>
                  <a:lnTo>
                    <a:pt x="864" y="2266"/>
                  </a:lnTo>
                  <a:close/>
                </a:path>
              </a:pathLst>
            </a:custGeom>
            <a:solidFill>
              <a:srgbClr val="0065BD"/>
            </a:solidFill>
            <a:ln w="9525">
              <a:noFill/>
              <a:miter lim="800000"/>
              <a:headEnd/>
              <a:tailEnd/>
            </a:ln>
          </p:spPr>
          <p:txBody>
            <a:bodyPr/>
            <a:lstStyle/>
            <a:p>
              <a:endParaRPr lang="en-ZA"/>
            </a:p>
          </p:txBody>
        </p:sp>
      </p:grpSp>
      <p:grpSp>
        <p:nvGrpSpPr>
          <p:cNvPr id="16422" name="CustomIcon"/>
          <p:cNvGrpSpPr>
            <a:grpSpLocks noChangeAspect="1"/>
          </p:cNvGrpSpPr>
          <p:nvPr>
            <p:custDataLst>
              <p:tags r:id="rId19"/>
            </p:custDataLst>
          </p:nvPr>
        </p:nvGrpSpPr>
        <p:grpSpPr bwMode="auto">
          <a:xfrm>
            <a:off x="4922838" y="5551488"/>
            <a:ext cx="592137" cy="665162"/>
            <a:chOff x="0" y="0"/>
            <a:chExt cx="5513388" cy="6192838"/>
          </a:xfrm>
        </p:grpSpPr>
        <p:sp>
          <p:nvSpPr>
            <p:cNvPr id="16430" name="Freeform 15"/>
            <p:cNvSpPr>
              <a:spLocks noEditPoints="1"/>
            </p:cNvSpPr>
            <p:nvPr/>
          </p:nvSpPr>
          <p:spPr bwMode="auto">
            <a:xfrm>
              <a:off x="693738" y="188913"/>
              <a:ext cx="1125538" cy="1127125"/>
            </a:xfrm>
            <a:custGeom>
              <a:avLst/>
              <a:gdLst>
                <a:gd name="T0" fmla="*/ 562769 w 582"/>
                <a:gd name="T1" fmla="*/ 1127125 h 582"/>
                <a:gd name="T2" fmla="*/ 1125538 w 582"/>
                <a:gd name="T3" fmla="*/ 563563 h 582"/>
                <a:gd name="T4" fmla="*/ 562769 w 582"/>
                <a:gd name="T5" fmla="*/ 0 h 582"/>
                <a:gd name="T6" fmla="*/ 0 w 582"/>
                <a:gd name="T7" fmla="*/ 563563 h 582"/>
                <a:gd name="T8" fmla="*/ 562769 w 582"/>
                <a:gd name="T9" fmla="*/ 1127125 h 582"/>
                <a:gd name="T10" fmla="*/ 562769 w 582"/>
                <a:gd name="T11" fmla="*/ 271130 h 582"/>
                <a:gd name="T12" fmla="*/ 854790 w 582"/>
                <a:gd name="T13" fmla="*/ 563563 h 582"/>
                <a:gd name="T14" fmla="*/ 562769 w 582"/>
                <a:gd name="T15" fmla="*/ 855995 h 582"/>
                <a:gd name="T16" fmla="*/ 270748 w 582"/>
                <a:gd name="T17" fmla="*/ 563563 h 582"/>
                <a:gd name="T18" fmla="*/ 562769 w 582"/>
                <a:gd name="T19" fmla="*/ 271130 h 5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2"/>
                <a:gd name="T31" fmla="*/ 0 h 582"/>
                <a:gd name="T32" fmla="*/ 582 w 582"/>
                <a:gd name="T33" fmla="*/ 582 h 5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2" h="582">
                  <a:moveTo>
                    <a:pt x="291" y="582"/>
                  </a:moveTo>
                  <a:cubicBezTo>
                    <a:pt x="451" y="582"/>
                    <a:pt x="582" y="451"/>
                    <a:pt x="582" y="291"/>
                  </a:cubicBezTo>
                  <a:cubicBezTo>
                    <a:pt x="582" y="130"/>
                    <a:pt x="451" y="0"/>
                    <a:pt x="291" y="0"/>
                  </a:cubicBezTo>
                  <a:cubicBezTo>
                    <a:pt x="131" y="0"/>
                    <a:pt x="0" y="130"/>
                    <a:pt x="0" y="291"/>
                  </a:cubicBezTo>
                  <a:cubicBezTo>
                    <a:pt x="0" y="451"/>
                    <a:pt x="131" y="582"/>
                    <a:pt x="291" y="582"/>
                  </a:cubicBezTo>
                  <a:close/>
                  <a:moveTo>
                    <a:pt x="291" y="140"/>
                  </a:moveTo>
                  <a:cubicBezTo>
                    <a:pt x="374" y="140"/>
                    <a:pt x="442" y="208"/>
                    <a:pt x="442" y="291"/>
                  </a:cubicBezTo>
                  <a:cubicBezTo>
                    <a:pt x="442" y="374"/>
                    <a:pt x="374" y="442"/>
                    <a:pt x="291" y="442"/>
                  </a:cubicBezTo>
                  <a:cubicBezTo>
                    <a:pt x="208" y="442"/>
                    <a:pt x="140" y="374"/>
                    <a:pt x="140" y="291"/>
                  </a:cubicBezTo>
                  <a:cubicBezTo>
                    <a:pt x="140" y="208"/>
                    <a:pt x="208" y="140"/>
                    <a:pt x="291" y="140"/>
                  </a:cubicBezTo>
                  <a:close/>
                </a:path>
              </a:pathLst>
            </a:custGeom>
            <a:solidFill>
              <a:srgbClr val="0065BD"/>
            </a:solidFill>
            <a:ln w="9525">
              <a:noFill/>
              <a:miter lim="800000"/>
              <a:headEnd/>
              <a:tailEnd/>
            </a:ln>
          </p:spPr>
          <p:txBody>
            <a:bodyPr/>
            <a:lstStyle/>
            <a:p>
              <a:endParaRPr lang="en-ZA"/>
            </a:p>
          </p:txBody>
        </p:sp>
        <p:sp>
          <p:nvSpPr>
            <p:cNvPr id="16431" name="Freeform 16"/>
            <p:cNvSpPr>
              <a:spLocks/>
            </p:cNvSpPr>
            <p:nvPr/>
          </p:nvSpPr>
          <p:spPr bwMode="auto">
            <a:xfrm>
              <a:off x="0" y="1485900"/>
              <a:ext cx="1760538" cy="4429125"/>
            </a:xfrm>
            <a:custGeom>
              <a:avLst/>
              <a:gdLst>
                <a:gd name="T0" fmla="*/ 1625261 w 911"/>
                <a:gd name="T1" fmla="*/ 4158231 h 2289"/>
                <a:gd name="T2" fmla="*/ 1491916 w 911"/>
                <a:gd name="T3" fmla="*/ 4158231 h 2289"/>
                <a:gd name="T4" fmla="*/ 1337313 w 911"/>
                <a:gd name="T5" fmla="*/ 4003434 h 2289"/>
                <a:gd name="T6" fmla="*/ 1337313 w 911"/>
                <a:gd name="T7" fmla="*/ 2525124 h 2289"/>
                <a:gd name="T8" fmla="*/ 1337313 w 911"/>
                <a:gd name="T9" fmla="*/ 2290993 h 2289"/>
                <a:gd name="T10" fmla="*/ 1202036 w 911"/>
                <a:gd name="T11" fmla="*/ 2155546 h 2289"/>
                <a:gd name="T12" fmla="*/ 1066759 w 911"/>
                <a:gd name="T13" fmla="*/ 2290993 h 2289"/>
                <a:gd name="T14" fmla="*/ 1066759 w 911"/>
                <a:gd name="T15" fmla="*/ 2484489 h 2289"/>
                <a:gd name="T16" fmla="*/ 1066759 w 911"/>
                <a:gd name="T17" fmla="*/ 2513514 h 2289"/>
                <a:gd name="T18" fmla="*/ 1066759 w 911"/>
                <a:gd name="T19" fmla="*/ 2525124 h 2289"/>
                <a:gd name="T20" fmla="*/ 1066759 w 911"/>
                <a:gd name="T21" fmla="*/ 4003434 h 2289"/>
                <a:gd name="T22" fmla="*/ 912156 w 911"/>
                <a:gd name="T23" fmla="*/ 4158231 h 2289"/>
                <a:gd name="T24" fmla="*/ 877370 w 911"/>
                <a:gd name="T25" fmla="*/ 4158231 h 2289"/>
                <a:gd name="T26" fmla="*/ 722768 w 911"/>
                <a:gd name="T27" fmla="*/ 4003434 h 2289"/>
                <a:gd name="T28" fmla="*/ 722768 w 911"/>
                <a:gd name="T29" fmla="*/ 2387741 h 2289"/>
                <a:gd name="T30" fmla="*/ 722768 w 911"/>
                <a:gd name="T31" fmla="*/ 2290993 h 2289"/>
                <a:gd name="T32" fmla="*/ 722768 w 911"/>
                <a:gd name="T33" fmla="*/ 866862 h 2289"/>
                <a:gd name="T34" fmla="*/ 587490 w 911"/>
                <a:gd name="T35" fmla="*/ 731415 h 2289"/>
                <a:gd name="T36" fmla="*/ 452213 w 911"/>
                <a:gd name="T37" fmla="*/ 866862 h 2289"/>
                <a:gd name="T38" fmla="*/ 452213 w 911"/>
                <a:gd name="T39" fmla="*/ 2240684 h 2289"/>
                <a:gd name="T40" fmla="*/ 270555 w 911"/>
                <a:gd name="T41" fmla="*/ 1993010 h 2289"/>
                <a:gd name="T42" fmla="*/ 270555 w 911"/>
                <a:gd name="T43" fmla="*/ 532114 h 2289"/>
                <a:gd name="T44" fmla="*/ 531447 w 911"/>
                <a:gd name="T45" fmla="*/ 270894 h 2289"/>
                <a:gd name="T46" fmla="*/ 1202036 w 911"/>
                <a:gd name="T47" fmla="*/ 270894 h 2289"/>
                <a:gd name="T48" fmla="*/ 1337313 w 911"/>
                <a:gd name="T49" fmla="*/ 135447 h 2289"/>
                <a:gd name="T50" fmla="*/ 1202036 w 911"/>
                <a:gd name="T51" fmla="*/ 0 h 2289"/>
                <a:gd name="T52" fmla="*/ 531447 w 911"/>
                <a:gd name="T53" fmla="*/ 0 h 2289"/>
                <a:gd name="T54" fmla="*/ 0 w 911"/>
                <a:gd name="T55" fmla="*/ 532114 h 2289"/>
                <a:gd name="T56" fmla="*/ 0 w 911"/>
                <a:gd name="T57" fmla="*/ 1993010 h 2289"/>
                <a:gd name="T58" fmla="*/ 452213 w 911"/>
                <a:gd name="T59" fmla="*/ 2517384 h 2289"/>
                <a:gd name="T60" fmla="*/ 452213 w 911"/>
                <a:gd name="T61" fmla="*/ 4003434 h 2289"/>
                <a:gd name="T62" fmla="*/ 877370 w 911"/>
                <a:gd name="T63" fmla="*/ 4429125 h 2289"/>
                <a:gd name="T64" fmla="*/ 912156 w 911"/>
                <a:gd name="T65" fmla="*/ 4429125 h 2289"/>
                <a:gd name="T66" fmla="*/ 1202036 w 911"/>
                <a:gd name="T67" fmla="*/ 4314962 h 2289"/>
                <a:gd name="T68" fmla="*/ 1491916 w 911"/>
                <a:gd name="T69" fmla="*/ 4429125 h 2289"/>
                <a:gd name="T70" fmla="*/ 1625261 w 911"/>
                <a:gd name="T71" fmla="*/ 4429125 h 2289"/>
                <a:gd name="T72" fmla="*/ 1760538 w 911"/>
                <a:gd name="T73" fmla="*/ 4293678 h 2289"/>
                <a:gd name="T74" fmla="*/ 1625261 w 911"/>
                <a:gd name="T75" fmla="*/ 4158231 h 2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1"/>
                <a:gd name="T115" fmla="*/ 0 h 2289"/>
                <a:gd name="T116" fmla="*/ 911 w 911"/>
                <a:gd name="T117" fmla="*/ 2289 h 2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1" h="2289">
                  <a:moveTo>
                    <a:pt x="841" y="2149"/>
                  </a:moveTo>
                  <a:cubicBezTo>
                    <a:pt x="772" y="2149"/>
                    <a:pt x="772" y="2149"/>
                    <a:pt x="772" y="2149"/>
                  </a:cubicBezTo>
                  <a:cubicBezTo>
                    <a:pt x="728" y="2149"/>
                    <a:pt x="692" y="2114"/>
                    <a:pt x="692" y="2069"/>
                  </a:cubicBezTo>
                  <a:cubicBezTo>
                    <a:pt x="692" y="1305"/>
                    <a:pt x="692" y="1305"/>
                    <a:pt x="692" y="1305"/>
                  </a:cubicBezTo>
                  <a:cubicBezTo>
                    <a:pt x="692" y="1184"/>
                    <a:pt x="692" y="1184"/>
                    <a:pt x="692" y="1184"/>
                  </a:cubicBezTo>
                  <a:cubicBezTo>
                    <a:pt x="692" y="1145"/>
                    <a:pt x="660" y="1114"/>
                    <a:pt x="622" y="1114"/>
                  </a:cubicBezTo>
                  <a:cubicBezTo>
                    <a:pt x="583" y="1114"/>
                    <a:pt x="552" y="1145"/>
                    <a:pt x="552" y="1184"/>
                  </a:cubicBezTo>
                  <a:cubicBezTo>
                    <a:pt x="552" y="1284"/>
                    <a:pt x="552" y="1284"/>
                    <a:pt x="552" y="1284"/>
                  </a:cubicBezTo>
                  <a:cubicBezTo>
                    <a:pt x="551" y="1289"/>
                    <a:pt x="551" y="1294"/>
                    <a:pt x="552" y="1299"/>
                  </a:cubicBezTo>
                  <a:cubicBezTo>
                    <a:pt x="552" y="1301"/>
                    <a:pt x="552" y="1303"/>
                    <a:pt x="552" y="1305"/>
                  </a:cubicBezTo>
                  <a:cubicBezTo>
                    <a:pt x="552" y="2069"/>
                    <a:pt x="552" y="2069"/>
                    <a:pt x="552" y="2069"/>
                  </a:cubicBezTo>
                  <a:cubicBezTo>
                    <a:pt x="552" y="2114"/>
                    <a:pt x="516" y="2149"/>
                    <a:pt x="472" y="2149"/>
                  </a:cubicBezTo>
                  <a:cubicBezTo>
                    <a:pt x="454" y="2149"/>
                    <a:pt x="454" y="2149"/>
                    <a:pt x="454" y="2149"/>
                  </a:cubicBezTo>
                  <a:cubicBezTo>
                    <a:pt x="410" y="2149"/>
                    <a:pt x="374" y="2114"/>
                    <a:pt x="374" y="2069"/>
                  </a:cubicBezTo>
                  <a:cubicBezTo>
                    <a:pt x="374" y="1234"/>
                    <a:pt x="374" y="1234"/>
                    <a:pt x="374" y="1234"/>
                  </a:cubicBezTo>
                  <a:cubicBezTo>
                    <a:pt x="374" y="1184"/>
                    <a:pt x="374" y="1184"/>
                    <a:pt x="374" y="1184"/>
                  </a:cubicBezTo>
                  <a:cubicBezTo>
                    <a:pt x="374" y="448"/>
                    <a:pt x="374" y="448"/>
                    <a:pt x="374" y="448"/>
                  </a:cubicBezTo>
                  <a:cubicBezTo>
                    <a:pt x="374" y="409"/>
                    <a:pt x="343" y="378"/>
                    <a:pt x="304" y="378"/>
                  </a:cubicBezTo>
                  <a:cubicBezTo>
                    <a:pt x="266" y="378"/>
                    <a:pt x="234" y="409"/>
                    <a:pt x="234" y="448"/>
                  </a:cubicBezTo>
                  <a:cubicBezTo>
                    <a:pt x="234" y="1158"/>
                    <a:pt x="234" y="1158"/>
                    <a:pt x="234" y="1158"/>
                  </a:cubicBezTo>
                  <a:cubicBezTo>
                    <a:pt x="180" y="1141"/>
                    <a:pt x="140" y="1090"/>
                    <a:pt x="140" y="1030"/>
                  </a:cubicBezTo>
                  <a:cubicBezTo>
                    <a:pt x="140" y="275"/>
                    <a:pt x="140" y="275"/>
                    <a:pt x="140" y="275"/>
                  </a:cubicBezTo>
                  <a:cubicBezTo>
                    <a:pt x="140" y="201"/>
                    <a:pt x="200" y="140"/>
                    <a:pt x="275" y="140"/>
                  </a:cubicBezTo>
                  <a:cubicBezTo>
                    <a:pt x="622" y="140"/>
                    <a:pt x="622" y="140"/>
                    <a:pt x="622" y="140"/>
                  </a:cubicBezTo>
                  <a:cubicBezTo>
                    <a:pt x="660" y="140"/>
                    <a:pt x="692" y="109"/>
                    <a:pt x="692" y="70"/>
                  </a:cubicBezTo>
                  <a:cubicBezTo>
                    <a:pt x="692" y="32"/>
                    <a:pt x="660" y="0"/>
                    <a:pt x="622" y="0"/>
                  </a:cubicBezTo>
                  <a:cubicBezTo>
                    <a:pt x="275" y="0"/>
                    <a:pt x="275" y="0"/>
                    <a:pt x="275" y="0"/>
                  </a:cubicBezTo>
                  <a:cubicBezTo>
                    <a:pt x="123" y="0"/>
                    <a:pt x="0" y="123"/>
                    <a:pt x="0" y="275"/>
                  </a:cubicBezTo>
                  <a:cubicBezTo>
                    <a:pt x="0" y="1030"/>
                    <a:pt x="0" y="1030"/>
                    <a:pt x="0" y="1030"/>
                  </a:cubicBezTo>
                  <a:cubicBezTo>
                    <a:pt x="0" y="1167"/>
                    <a:pt x="102" y="1281"/>
                    <a:pt x="234" y="1301"/>
                  </a:cubicBezTo>
                  <a:cubicBezTo>
                    <a:pt x="234" y="2069"/>
                    <a:pt x="234" y="2069"/>
                    <a:pt x="234" y="2069"/>
                  </a:cubicBezTo>
                  <a:cubicBezTo>
                    <a:pt x="234" y="2191"/>
                    <a:pt x="333" y="2289"/>
                    <a:pt x="454" y="2289"/>
                  </a:cubicBezTo>
                  <a:cubicBezTo>
                    <a:pt x="472" y="2289"/>
                    <a:pt x="472" y="2289"/>
                    <a:pt x="472" y="2289"/>
                  </a:cubicBezTo>
                  <a:cubicBezTo>
                    <a:pt x="530" y="2289"/>
                    <a:pt x="582" y="2267"/>
                    <a:pt x="622" y="2230"/>
                  </a:cubicBezTo>
                  <a:cubicBezTo>
                    <a:pt x="661" y="2267"/>
                    <a:pt x="714" y="2289"/>
                    <a:pt x="772" y="2289"/>
                  </a:cubicBezTo>
                  <a:cubicBezTo>
                    <a:pt x="841" y="2289"/>
                    <a:pt x="841" y="2289"/>
                    <a:pt x="841" y="2289"/>
                  </a:cubicBezTo>
                  <a:cubicBezTo>
                    <a:pt x="880" y="2289"/>
                    <a:pt x="911" y="2258"/>
                    <a:pt x="911" y="2219"/>
                  </a:cubicBezTo>
                  <a:cubicBezTo>
                    <a:pt x="911" y="2181"/>
                    <a:pt x="880" y="2149"/>
                    <a:pt x="841" y="2149"/>
                  </a:cubicBezTo>
                  <a:close/>
                </a:path>
              </a:pathLst>
            </a:custGeom>
            <a:solidFill>
              <a:srgbClr val="0065BD"/>
            </a:solidFill>
            <a:ln w="9525">
              <a:noFill/>
              <a:miter lim="800000"/>
              <a:headEnd/>
              <a:tailEnd/>
            </a:ln>
          </p:spPr>
          <p:txBody>
            <a:bodyPr/>
            <a:lstStyle/>
            <a:p>
              <a:endParaRPr lang="en-ZA"/>
            </a:p>
          </p:txBody>
        </p:sp>
        <p:sp>
          <p:nvSpPr>
            <p:cNvPr id="16432" name="Freeform 17"/>
            <p:cNvSpPr>
              <a:spLocks noEditPoints="1"/>
            </p:cNvSpPr>
            <p:nvPr/>
          </p:nvSpPr>
          <p:spPr bwMode="auto">
            <a:xfrm>
              <a:off x="3694113" y="188913"/>
              <a:ext cx="1125538" cy="1127125"/>
            </a:xfrm>
            <a:custGeom>
              <a:avLst/>
              <a:gdLst>
                <a:gd name="T0" fmla="*/ 562769 w 582"/>
                <a:gd name="T1" fmla="*/ 1127125 h 582"/>
                <a:gd name="T2" fmla="*/ 1125538 w 582"/>
                <a:gd name="T3" fmla="*/ 563563 h 582"/>
                <a:gd name="T4" fmla="*/ 562769 w 582"/>
                <a:gd name="T5" fmla="*/ 0 h 582"/>
                <a:gd name="T6" fmla="*/ 0 w 582"/>
                <a:gd name="T7" fmla="*/ 563563 h 582"/>
                <a:gd name="T8" fmla="*/ 562769 w 582"/>
                <a:gd name="T9" fmla="*/ 1127125 h 582"/>
                <a:gd name="T10" fmla="*/ 562769 w 582"/>
                <a:gd name="T11" fmla="*/ 271130 h 582"/>
                <a:gd name="T12" fmla="*/ 854790 w 582"/>
                <a:gd name="T13" fmla="*/ 563563 h 582"/>
                <a:gd name="T14" fmla="*/ 562769 w 582"/>
                <a:gd name="T15" fmla="*/ 855995 h 582"/>
                <a:gd name="T16" fmla="*/ 270748 w 582"/>
                <a:gd name="T17" fmla="*/ 563563 h 582"/>
                <a:gd name="T18" fmla="*/ 562769 w 582"/>
                <a:gd name="T19" fmla="*/ 271130 h 5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2"/>
                <a:gd name="T31" fmla="*/ 0 h 582"/>
                <a:gd name="T32" fmla="*/ 582 w 582"/>
                <a:gd name="T33" fmla="*/ 582 h 5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2" h="582">
                  <a:moveTo>
                    <a:pt x="291" y="582"/>
                  </a:moveTo>
                  <a:cubicBezTo>
                    <a:pt x="451" y="582"/>
                    <a:pt x="582" y="451"/>
                    <a:pt x="582" y="291"/>
                  </a:cubicBezTo>
                  <a:cubicBezTo>
                    <a:pt x="582" y="130"/>
                    <a:pt x="451" y="0"/>
                    <a:pt x="291" y="0"/>
                  </a:cubicBezTo>
                  <a:cubicBezTo>
                    <a:pt x="131" y="0"/>
                    <a:pt x="0" y="130"/>
                    <a:pt x="0" y="291"/>
                  </a:cubicBezTo>
                  <a:cubicBezTo>
                    <a:pt x="0" y="451"/>
                    <a:pt x="131" y="582"/>
                    <a:pt x="291" y="582"/>
                  </a:cubicBezTo>
                  <a:close/>
                  <a:moveTo>
                    <a:pt x="291" y="140"/>
                  </a:moveTo>
                  <a:cubicBezTo>
                    <a:pt x="374" y="140"/>
                    <a:pt x="442" y="208"/>
                    <a:pt x="442" y="291"/>
                  </a:cubicBezTo>
                  <a:cubicBezTo>
                    <a:pt x="442" y="374"/>
                    <a:pt x="374" y="442"/>
                    <a:pt x="291" y="442"/>
                  </a:cubicBezTo>
                  <a:cubicBezTo>
                    <a:pt x="208" y="442"/>
                    <a:pt x="140" y="374"/>
                    <a:pt x="140" y="291"/>
                  </a:cubicBezTo>
                  <a:cubicBezTo>
                    <a:pt x="140" y="208"/>
                    <a:pt x="208" y="140"/>
                    <a:pt x="291" y="140"/>
                  </a:cubicBezTo>
                  <a:close/>
                </a:path>
              </a:pathLst>
            </a:custGeom>
            <a:solidFill>
              <a:srgbClr val="0065BD"/>
            </a:solidFill>
            <a:ln w="9525">
              <a:noFill/>
              <a:miter lim="800000"/>
              <a:headEnd/>
              <a:tailEnd/>
            </a:ln>
          </p:spPr>
          <p:txBody>
            <a:bodyPr/>
            <a:lstStyle/>
            <a:p>
              <a:endParaRPr lang="en-ZA"/>
            </a:p>
          </p:txBody>
        </p:sp>
        <p:sp>
          <p:nvSpPr>
            <p:cNvPr id="16433" name="Freeform 18"/>
            <p:cNvSpPr>
              <a:spLocks/>
            </p:cNvSpPr>
            <p:nvPr/>
          </p:nvSpPr>
          <p:spPr bwMode="auto">
            <a:xfrm>
              <a:off x="3752850" y="1485900"/>
              <a:ext cx="1760538" cy="4429125"/>
            </a:xfrm>
            <a:custGeom>
              <a:avLst/>
              <a:gdLst>
                <a:gd name="T0" fmla="*/ 1231024 w 911"/>
                <a:gd name="T1" fmla="*/ 0 h 2289"/>
                <a:gd name="T2" fmla="*/ 558502 w 911"/>
                <a:gd name="T3" fmla="*/ 0 h 2289"/>
                <a:gd name="T4" fmla="*/ 423225 w 911"/>
                <a:gd name="T5" fmla="*/ 135447 h 2289"/>
                <a:gd name="T6" fmla="*/ 558502 w 911"/>
                <a:gd name="T7" fmla="*/ 270894 h 2289"/>
                <a:gd name="T8" fmla="*/ 1231024 w 911"/>
                <a:gd name="T9" fmla="*/ 270894 h 2289"/>
                <a:gd name="T10" fmla="*/ 1489983 w 911"/>
                <a:gd name="T11" fmla="*/ 532114 h 2289"/>
                <a:gd name="T12" fmla="*/ 1489983 w 911"/>
                <a:gd name="T13" fmla="*/ 1993010 h 2289"/>
                <a:gd name="T14" fmla="*/ 1308325 w 911"/>
                <a:gd name="T15" fmla="*/ 2240684 h 2289"/>
                <a:gd name="T16" fmla="*/ 1308325 w 911"/>
                <a:gd name="T17" fmla="*/ 866862 h 2289"/>
                <a:gd name="T18" fmla="*/ 1173048 w 911"/>
                <a:gd name="T19" fmla="*/ 731415 h 2289"/>
                <a:gd name="T20" fmla="*/ 1037771 w 911"/>
                <a:gd name="T21" fmla="*/ 866862 h 2289"/>
                <a:gd name="T22" fmla="*/ 1037771 w 911"/>
                <a:gd name="T23" fmla="*/ 2290993 h 2289"/>
                <a:gd name="T24" fmla="*/ 1037771 w 911"/>
                <a:gd name="T25" fmla="*/ 2387741 h 2289"/>
                <a:gd name="T26" fmla="*/ 1037771 w 911"/>
                <a:gd name="T27" fmla="*/ 4003434 h 2289"/>
                <a:gd name="T28" fmla="*/ 883168 w 911"/>
                <a:gd name="T29" fmla="*/ 4158231 h 2289"/>
                <a:gd name="T30" fmla="*/ 848382 w 911"/>
                <a:gd name="T31" fmla="*/ 4158231 h 2289"/>
                <a:gd name="T32" fmla="*/ 693780 w 911"/>
                <a:gd name="T33" fmla="*/ 4003434 h 2289"/>
                <a:gd name="T34" fmla="*/ 693780 w 911"/>
                <a:gd name="T35" fmla="*/ 2525124 h 2289"/>
                <a:gd name="T36" fmla="*/ 693780 w 911"/>
                <a:gd name="T37" fmla="*/ 2513514 h 2289"/>
                <a:gd name="T38" fmla="*/ 693780 w 911"/>
                <a:gd name="T39" fmla="*/ 2484489 h 2289"/>
                <a:gd name="T40" fmla="*/ 693780 w 911"/>
                <a:gd name="T41" fmla="*/ 2290993 h 2289"/>
                <a:gd name="T42" fmla="*/ 558502 w 911"/>
                <a:gd name="T43" fmla="*/ 2155546 h 2289"/>
                <a:gd name="T44" fmla="*/ 423225 w 911"/>
                <a:gd name="T45" fmla="*/ 2290993 h 2289"/>
                <a:gd name="T46" fmla="*/ 423225 w 911"/>
                <a:gd name="T47" fmla="*/ 2525124 h 2289"/>
                <a:gd name="T48" fmla="*/ 423225 w 911"/>
                <a:gd name="T49" fmla="*/ 4003434 h 2289"/>
                <a:gd name="T50" fmla="*/ 268622 w 911"/>
                <a:gd name="T51" fmla="*/ 4158231 h 2289"/>
                <a:gd name="T52" fmla="*/ 135277 w 911"/>
                <a:gd name="T53" fmla="*/ 4158231 h 2289"/>
                <a:gd name="T54" fmla="*/ 0 w 911"/>
                <a:gd name="T55" fmla="*/ 4293678 h 2289"/>
                <a:gd name="T56" fmla="*/ 135277 w 911"/>
                <a:gd name="T57" fmla="*/ 4429125 h 2289"/>
                <a:gd name="T58" fmla="*/ 268622 w 911"/>
                <a:gd name="T59" fmla="*/ 4429125 h 2289"/>
                <a:gd name="T60" fmla="*/ 558502 w 911"/>
                <a:gd name="T61" fmla="*/ 4314962 h 2289"/>
                <a:gd name="T62" fmla="*/ 848382 w 911"/>
                <a:gd name="T63" fmla="*/ 4429125 h 2289"/>
                <a:gd name="T64" fmla="*/ 883168 w 911"/>
                <a:gd name="T65" fmla="*/ 4429125 h 2289"/>
                <a:gd name="T66" fmla="*/ 1308325 w 911"/>
                <a:gd name="T67" fmla="*/ 4003434 h 2289"/>
                <a:gd name="T68" fmla="*/ 1308325 w 911"/>
                <a:gd name="T69" fmla="*/ 2517384 h 2289"/>
                <a:gd name="T70" fmla="*/ 1760538 w 911"/>
                <a:gd name="T71" fmla="*/ 1993010 h 2289"/>
                <a:gd name="T72" fmla="*/ 1760538 w 911"/>
                <a:gd name="T73" fmla="*/ 532114 h 2289"/>
                <a:gd name="T74" fmla="*/ 1231024 w 911"/>
                <a:gd name="T75" fmla="*/ 0 h 2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1"/>
                <a:gd name="T115" fmla="*/ 0 h 2289"/>
                <a:gd name="T116" fmla="*/ 911 w 911"/>
                <a:gd name="T117" fmla="*/ 2289 h 2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1" h="2289">
                  <a:moveTo>
                    <a:pt x="637" y="0"/>
                  </a:moveTo>
                  <a:cubicBezTo>
                    <a:pt x="289" y="0"/>
                    <a:pt x="289" y="0"/>
                    <a:pt x="289" y="0"/>
                  </a:cubicBezTo>
                  <a:cubicBezTo>
                    <a:pt x="251" y="0"/>
                    <a:pt x="219" y="32"/>
                    <a:pt x="219" y="70"/>
                  </a:cubicBezTo>
                  <a:cubicBezTo>
                    <a:pt x="219" y="109"/>
                    <a:pt x="251" y="140"/>
                    <a:pt x="289" y="140"/>
                  </a:cubicBezTo>
                  <a:cubicBezTo>
                    <a:pt x="637" y="140"/>
                    <a:pt x="637" y="140"/>
                    <a:pt x="637" y="140"/>
                  </a:cubicBezTo>
                  <a:cubicBezTo>
                    <a:pt x="711" y="140"/>
                    <a:pt x="771" y="201"/>
                    <a:pt x="771" y="275"/>
                  </a:cubicBezTo>
                  <a:cubicBezTo>
                    <a:pt x="771" y="1030"/>
                    <a:pt x="771" y="1030"/>
                    <a:pt x="771" y="1030"/>
                  </a:cubicBezTo>
                  <a:cubicBezTo>
                    <a:pt x="771" y="1090"/>
                    <a:pt x="731" y="1141"/>
                    <a:pt x="677" y="1158"/>
                  </a:cubicBezTo>
                  <a:cubicBezTo>
                    <a:pt x="677" y="448"/>
                    <a:pt x="677" y="448"/>
                    <a:pt x="677" y="448"/>
                  </a:cubicBezTo>
                  <a:cubicBezTo>
                    <a:pt x="677" y="409"/>
                    <a:pt x="645" y="378"/>
                    <a:pt x="607" y="378"/>
                  </a:cubicBezTo>
                  <a:cubicBezTo>
                    <a:pt x="568" y="378"/>
                    <a:pt x="537" y="409"/>
                    <a:pt x="537" y="448"/>
                  </a:cubicBezTo>
                  <a:cubicBezTo>
                    <a:pt x="537" y="1184"/>
                    <a:pt x="537" y="1184"/>
                    <a:pt x="537" y="1184"/>
                  </a:cubicBezTo>
                  <a:cubicBezTo>
                    <a:pt x="537" y="1234"/>
                    <a:pt x="537" y="1234"/>
                    <a:pt x="537" y="1234"/>
                  </a:cubicBezTo>
                  <a:cubicBezTo>
                    <a:pt x="537" y="2069"/>
                    <a:pt x="537" y="2069"/>
                    <a:pt x="537" y="2069"/>
                  </a:cubicBezTo>
                  <a:cubicBezTo>
                    <a:pt x="537" y="2114"/>
                    <a:pt x="501" y="2149"/>
                    <a:pt x="457" y="2149"/>
                  </a:cubicBezTo>
                  <a:cubicBezTo>
                    <a:pt x="439" y="2149"/>
                    <a:pt x="439" y="2149"/>
                    <a:pt x="439" y="2149"/>
                  </a:cubicBezTo>
                  <a:cubicBezTo>
                    <a:pt x="395" y="2149"/>
                    <a:pt x="359" y="2114"/>
                    <a:pt x="359" y="2069"/>
                  </a:cubicBezTo>
                  <a:cubicBezTo>
                    <a:pt x="359" y="1305"/>
                    <a:pt x="359" y="1305"/>
                    <a:pt x="359" y="1305"/>
                  </a:cubicBezTo>
                  <a:cubicBezTo>
                    <a:pt x="359" y="1303"/>
                    <a:pt x="359" y="1301"/>
                    <a:pt x="359" y="1299"/>
                  </a:cubicBezTo>
                  <a:cubicBezTo>
                    <a:pt x="360" y="1294"/>
                    <a:pt x="360" y="1289"/>
                    <a:pt x="359" y="1284"/>
                  </a:cubicBezTo>
                  <a:cubicBezTo>
                    <a:pt x="359" y="1184"/>
                    <a:pt x="359" y="1184"/>
                    <a:pt x="359" y="1184"/>
                  </a:cubicBezTo>
                  <a:cubicBezTo>
                    <a:pt x="359" y="1145"/>
                    <a:pt x="328" y="1114"/>
                    <a:pt x="289" y="1114"/>
                  </a:cubicBezTo>
                  <a:cubicBezTo>
                    <a:pt x="251" y="1114"/>
                    <a:pt x="219" y="1145"/>
                    <a:pt x="219" y="1184"/>
                  </a:cubicBezTo>
                  <a:cubicBezTo>
                    <a:pt x="219" y="1305"/>
                    <a:pt x="219" y="1305"/>
                    <a:pt x="219" y="1305"/>
                  </a:cubicBezTo>
                  <a:cubicBezTo>
                    <a:pt x="219" y="2069"/>
                    <a:pt x="219" y="2069"/>
                    <a:pt x="219" y="2069"/>
                  </a:cubicBezTo>
                  <a:cubicBezTo>
                    <a:pt x="219" y="2114"/>
                    <a:pt x="183" y="2149"/>
                    <a:pt x="139" y="2149"/>
                  </a:cubicBezTo>
                  <a:cubicBezTo>
                    <a:pt x="70" y="2149"/>
                    <a:pt x="70" y="2149"/>
                    <a:pt x="70" y="2149"/>
                  </a:cubicBezTo>
                  <a:cubicBezTo>
                    <a:pt x="31" y="2149"/>
                    <a:pt x="0" y="2181"/>
                    <a:pt x="0" y="2219"/>
                  </a:cubicBezTo>
                  <a:cubicBezTo>
                    <a:pt x="0" y="2258"/>
                    <a:pt x="31" y="2289"/>
                    <a:pt x="70" y="2289"/>
                  </a:cubicBezTo>
                  <a:cubicBezTo>
                    <a:pt x="139" y="2289"/>
                    <a:pt x="139" y="2289"/>
                    <a:pt x="139" y="2289"/>
                  </a:cubicBezTo>
                  <a:cubicBezTo>
                    <a:pt x="197" y="2289"/>
                    <a:pt x="250" y="2267"/>
                    <a:pt x="289" y="2230"/>
                  </a:cubicBezTo>
                  <a:cubicBezTo>
                    <a:pt x="329" y="2267"/>
                    <a:pt x="381" y="2289"/>
                    <a:pt x="439" y="2289"/>
                  </a:cubicBezTo>
                  <a:cubicBezTo>
                    <a:pt x="457" y="2289"/>
                    <a:pt x="457" y="2289"/>
                    <a:pt x="457" y="2289"/>
                  </a:cubicBezTo>
                  <a:cubicBezTo>
                    <a:pt x="578" y="2289"/>
                    <a:pt x="677" y="2191"/>
                    <a:pt x="677" y="2069"/>
                  </a:cubicBezTo>
                  <a:cubicBezTo>
                    <a:pt x="677" y="1301"/>
                    <a:pt x="677" y="1301"/>
                    <a:pt x="677" y="1301"/>
                  </a:cubicBezTo>
                  <a:cubicBezTo>
                    <a:pt x="809" y="1281"/>
                    <a:pt x="911" y="1167"/>
                    <a:pt x="911" y="1030"/>
                  </a:cubicBezTo>
                  <a:cubicBezTo>
                    <a:pt x="911" y="275"/>
                    <a:pt x="911" y="275"/>
                    <a:pt x="911" y="275"/>
                  </a:cubicBezTo>
                  <a:cubicBezTo>
                    <a:pt x="911" y="123"/>
                    <a:pt x="788" y="0"/>
                    <a:pt x="637" y="0"/>
                  </a:cubicBezTo>
                  <a:close/>
                </a:path>
              </a:pathLst>
            </a:custGeom>
            <a:solidFill>
              <a:srgbClr val="0065BD"/>
            </a:solidFill>
            <a:ln w="9525">
              <a:noFill/>
              <a:miter lim="800000"/>
              <a:headEnd/>
              <a:tailEnd/>
            </a:ln>
          </p:spPr>
          <p:txBody>
            <a:bodyPr/>
            <a:lstStyle/>
            <a:p>
              <a:endParaRPr lang="en-ZA"/>
            </a:p>
          </p:txBody>
        </p:sp>
        <p:sp>
          <p:nvSpPr>
            <p:cNvPr id="16434" name="Freeform 19"/>
            <p:cNvSpPr>
              <a:spLocks noEditPoints="1"/>
            </p:cNvSpPr>
            <p:nvPr/>
          </p:nvSpPr>
          <p:spPr bwMode="auto">
            <a:xfrm>
              <a:off x="2149475" y="0"/>
              <a:ext cx="1225550" cy="1227138"/>
            </a:xfrm>
            <a:custGeom>
              <a:avLst/>
              <a:gdLst>
                <a:gd name="T0" fmla="*/ 612775 w 634"/>
                <a:gd name="T1" fmla="*/ 1227138 h 634"/>
                <a:gd name="T2" fmla="*/ 1225550 w 634"/>
                <a:gd name="T3" fmla="*/ 613569 h 634"/>
                <a:gd name="T4" fmla="*/ 612775 w 634"/>
                <a:gd name="T5" fmla="*/ 0 h 634"/>
                <a:gd name="T6" fmla="*/ 0 w 634"/>
                <a:gd name="T7" fmla="*/ 613569 h 634"/>
                <a:gd name="T8" fmla="*/ 612775 w 634"/>
                <a:gd name="T9" fmla="*/ 1227138 h 634"/>
                <a:gd name="T10" fmla="*/ 612775 w 634"/>
                <a:gd name="T11" fmla="*/ 270977 h 634"/>
                <a:gd name="T12" fmla="*/ 954924 w 634"/>
                <a:gd name="T13" fmla="*/ 613569 h 634"/>
                <a:gd name="T14" fmla="*/ 612775 w 634"/>
                <a:gd name="T15" fmla="*/ 956161 h 634"/>
                <a:gd name="T16" fmla="*/ 270626 w 634"/>
                <a:gd name="T17" fmla="*/ 613569 h 634"/>
                <a:gd name="T18" fmla="*/ 612775 w 634"/>
                <a:gd name="T19" fmla="*/ 270977 h 6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4"/>
                <a:gd name="T31" fmla="*/ 0 h 634"/>
                <a:gd name="T32" fmla="*/ 634 w 634"/>
                <a:gd name="T33" fmla="*/ 634 h 6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4" h="634">
                  <a:moveTo>
                    <a:pt x="317" y="634"/>
                  </a:moveTo>
                  <a:cubicBezTo>
                    <a:pt x="492" y="634"/>
                    <a:pt x="634" y="491"/>
                    <a:pt x="634" y="317"/>
                  </a:cubicBezTo>
                  <a:cubicBezTo>
                    <a:pt x="634" y="142"/>
                    <a:pt x="492" y="0"/>
                    <a:pt x="317" y="0"/>
                  </a:cubicBezTo>
                  <a:cubicBezTo>
                    <a:pt x="142" y="0"/>
                    <a:pt x="0" y="142"/>
                    <a:pt x="0" y="317"/>
                  </a:cubicBezTo>
                  <a:cubicBezTo>
                    <a:pt x="0" y="491"/>
                    <a:pt x="142" y="634"/>
                    <a:pt x="317" y="634"/>
                  </a:cubicBezTo>
                  <a:close/>
                  <a:moveTo>
                    <a:pt x="317" y="140"/>
                  </a:moveTo>
                  <a:cubicBezTo>
                    <a:pt x="414" y="140"/>
                    <a:pt x="494" y="219"/>
                    <a:pt x="494" y="317"/>
                  </a:cubicBezTo>
                  <a:cubicBezTo>
                    <a:pt x="494" y="414"/>
                    <a:pt x="414" y="494"/>
                    <a:pt x="317" y="494"/>
                  </a:cubicBezTo>
                  <a:cubicBezTo>
                    <a:pt x="219" y="494"/>
                    <a:pt x="140" y="414"/>
                    <a:pt x="140" y="317"/>
                  </a:cubicBezTo>
                  <a:cubicBezTo>
                    <a:pt x="140" y="219"/>
                    <a:pt x="219" y="140"/>
                    <a:pt x="317" y="140"/>
                  </a:cubicBezTo>
                  <a:close/>
                </a:path>
              </a:pathLst>
            </a:custGeom>
            <a:solidFill>
              <a:srgbClr val="0065BD"/>
            </a:solidFill>
            <a:ln w="9525">
              <a:noFill/>
              <a:miter lim="800000"/>
              <a:headEnd/>
              <a:tailEnd/>
            </a:ln>
          </p:spPr>
          <p:txBody>
            <a:bodyPr/>
            <a:lstStyle/>
            <a:p>
              <a:endParaRPr lang="en-ZA"/>
            </a:p>
          </p:txBody>
        </p:sp>
        <p:sp>
          <p:nvSpPr>
            <p:cNvPr id="16435" name="Freeform 20"/>
            <p:cNvSpPr>
              <a:spLocks noEditPoints="1"/>
            </p:cNvSpPr>
            <p:nvPr/>
          </p:nvSpPr>
          <p:spPr bwMode="auto">
            <a:xfrm>
              <a:off x="1568450" y="1381125"/>
              <a:ext cx="2379663" cy="4811713"/>
            </a:xfrm>
            <a:custGeom>
              <a:avLst/>
              <a:gdLst>
                <a:gd name="T0" fmla="*/ 2228880 w 1231"/>
                <a:gd name="T1" fmla="*/ 3427813 h 2486"/>
                <a:gd name="T2" fmla="*/ 2333268 w 1231"/>
                <a:gd name="T3" fmla="*/ 3379425 h 2486"/>
                <a:gd name="T4" fmla="*/ 2362265 w 1231"/>
                <a:gd name="T5" fmla="*/ 3269100 h 2486"/>
                <a:gd name="T6" fmla="*/ 2201817 w 1231"/>
                <a:gd name="T7" fmla="*/ 2394243 h 2486"/>
                <a:gd name="T8" fmla="*/ 2379663 w 1231"/>
                <a:gd name="T9" fmla="*/ 1981977 h 2486"/>
                <a:gd name="T10" fmla="*/ 2379663 w 1231"/>
                <a:gd name="T11" fmla="*/ 570980 h 2486"/>
                <a:gd name="T12" fmla="*/ 1809394 w 1231"/>
                <a:gd name="T13" fmla="*/ 0 h 2486"/>
                <a:gd name="T14" fmla="*/ 576068 w 1231"/>
                <a:gd name="T15" fmla="*/ 0 h 2486"/>
                <a:gd name="T16" fmla="*/ 5799 w 1231"/>
                <a:gd name="T17" fmla="*/ 570980 h 2486"/>
                <a:gd name="T18" fmla="*/ 5799 w 1231"/>
                <a:gd name="T19" fmla="*/ 1981977 h 2486"/>
                <a:gd name="T20" fmla="*/ 175913 w 1231"/>
                <a:gd name="T21" fmla="*/ 2386501 h 2486"/>
                <a:gd name="T22" fmla="*/ 7732 w 1231"/>
                <a:gd name="T23" fmla="*/ 3267164 h 2486"/>
                <a:gd name="T24" fmla="*/ 36729 w 1231"/>
                <a:gd name="T25" fmla="*/ 3379425 h 2486"/>
                <a:gd name="T26" fmla="*/ 141117 w 1231"/>
                <a:gd name="T27" fmla="*/ 3427813 h 2486"/>
                <a:gd name="T28" fmla="*/ 442683 w 1231"/>
                <a:gd name="T29" fmla="*/ 3427813 h 2486"/>
                <a:gd name="T30" fmla="*/ 442683 w 1231"/>
                <a:gd name="T31" fmla="*/ 4385898 h 2486"/>
                <a:gd name="T32" fmla="*/ 867968 w 1231"/>
                <a:gd name="T33" fmla="*/ 4811713 h 2486"/>
                <a:gd name="T34" fmla="*/ 902764 w 1231"/>
                <a:gd name="T35" fmla="*/ 4811713 h 2486"/>
                <a:gd name="T36" fmla="*/ 1192731 w 1231"/>
                <a:gd name="T37" fmla="*/ 4697517 h 2486"/>
                <a:gd name="T38" fmla="*/ 1482698 w 1231"/>
                <a:gd name="T39" fmla="*/ 4811713 h 2486"/>
                <a:gd name="T40" fmla="*/ 1515561 w 1231"/>
                <a:gd name="T41" fmla="*/ 4811713 h 2486"/>
                <a:gd name="T42" fmla="*/ 1940846 w 1231"/>
                <a:gd name="T43" fmla="*/ 4385898 h 2486"/>
                <a:gd name="T44" fmla="*/ 1940846 w 1231"/>
                <a:gd name="T45" fmla="*/ 3427813 h 2486"/>
                <a:gd name="T46" fmla="*/ 2228880 w 1231"/>
                <a:gd name="T47" fmla="*/ 3427813 h 2486"/>
                <a:gd name="T48" fmla="*/ 456215 w 1231"/>
                <a:gd name="T49" fmla="*/ 2359404 h 2486"/>
                <a:gd name="T50" fmla="*/ 742316 w 1231"/>
                <a:gd name="T51" fmla="*/ 843888 h 2486"/>
                <a:gd name="T52" fmla="*/ 634061 w 1231"/>
                <a:gd name="T53" fmla="*/ 685176 h 2486"/>
                <a:gd name="T54" fmla="*/ 475546 w 1231"/>
                <a:gd name="T55" fmla="*/ 793565 h 2486"/>
                <a:gd name="T56" fmla="*/ 276435 w 1231"/>
                <a:gd name="T57" fmla="*/ 1848425 h 2486"/>
                <a:gd name="T58" fmla="*/ 276435 w 1231"/>
                <a:gd name="T59" fmla="*/ 570980 h 2486"/>
                <a:gd name="T60" fmla="*/ 576068 w 1231"/>
                <a:gd name="T61" fmla="*/ 270973 h 2486"/>
                <a:gd name="T62" fmla="*/ 1809394 w 1231"/>
                <a:gd name="T63" fmla="*/ 270973 h 2486"/>
                <a:gd name="T64" fmla="*/ 2109027 w 1231"/>
                <a:gd name="T65" fmla="*/ 570980 h 2486"/>
                <a:gd name="T66" fmla="*/ 2109027 w 1231"/>
                <a:gd name="T67" fmla="*/ 1885200 h 2486"/>
                <a:gd name="T68" fmla="*/ 1909916 w 1231"/>
                <a:gd name="T69" fmla="*/ 795500 h 2486"/>
                <a:gd name="T70" fmla="*/ 1753334 w 1231"/>
                <a:gd name="T71" fmla="*/ 685176 h 2486"/>
                <a:gd name="T72" fmla="*/ 1643146 w 1231"/>
                <a:gd name="T73" fmla="*/ 843888 h 2486"/>
                <a:gd name="T74" fmla="*/ 1921515 w 1231"/>
                <a:gd name="T75" fmla="*/ 2365211 h 2486"/>
                <a:gd name="T76" fmla="*/ 1921515 w 1231"/>
                <a:gd name="T77" fmla="*/ 2365211 h 2486"/>
                <a:gd name="T78" fmla="*/ 1921515 w 1231"/>
                <a:gd name="T79" fmla="*/ 2367146 h 2486"/>
                <a:gd name="T80" fmla="*/ 1921515 w 1231"/>
                <a:gd name="T81" fmla="*/ 2367146 h 2486"/>
                <a:gd name="T82" fmla="*/ 2066499 w 1231"/>
                <a:gd name="T83" fmla="*/ 3156840 h 2486"/>
                <a:gd name="T84" fmla="*/ 305432 w 1231"/>
                <a:gd name="T85" fmla="*/ 3156840 h 2486"/>
                <a:gd name="T86" fmla="*/ 456215 w 1231"/>
                <a:gd name="T87" fmla="*/ 2359404 h 2486"/>
                <a:gd name="T88" fmla="*/ 902764 w 1231"/>
                <a:gd name="T89" fmla="*/ 4540740 h 2486"/>
                <a:gd name="T90" fmla="*/ 867968 w 1231"/>
                <a:gd name="T91" fmla="*/ 4540740 h 2486"/>
                <a:gd name="T92" fmla="*/ 713319 w 1231"/>
                <a:gd name="T93" fmla="*/ 4385898 h 2486"/>
                <a:gd name="T94" fmla="*/ 713319 w 1231"/>
                <a:gd name="T95" fmla="*/ 3427813 h 2486"/>
                <a:gd name="T96" fmla="*/ 1057413 w 1231"/>
                <a:gd name="T97" fmla="*/ 3427813 h 2486"/>
                <a:gd name="T98" fmla="*/ 1057413 w 1231"/>
                <a:gd name="T99" fmla="*/ 4385898 h 2486"/>
                <a:gd name="T100" fmla="*/ 902764 w 1231"/>
                <a:gd name="T101" fmla="*/ 4540740 h 2486"/>
                <a:gd name="T102" fmla="*/ 1670210 w 1231"/>
                <a:gd name="T103" fmla="*/ 4385898 h 2486"/>
                <a:gd name="T104" fmla="*/ 1515561 w 1231"/>
                <a:gd name="T105" fmla="*/ 4540740 h 2486"/>
                <a:gd name="T106" fmla="*/ 1482698 w 1231"/>
                <a:gd name="T107" fmla="*/ 4540740 h 2486"/>
                <a:gd name="T108" fmla="*/ 1328049 w 1231"/>
                <a:gd name="T109" fmla="*/ 4385898 h 2486"/>
                <a:gd name="T110" fmla="*/ 1328049 w 1231"/>
                <a:gd name="T111" fmla="*/ 3427813 h 2486"/>
                <a:gd name="T112" fmla="*/ 1670210 w 1231"/>
                <a:gd name="T113" fmla="*/ 3427813 h 2486"/>
                <a:gd name="T114" fmla="*/ 1670210 w 1231"/>
                <a:gd name="T115" fmla="*/ 4385898 h 24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1"/>
                <a:gd name="T175" fmla="*/ 0 h 2486"/>
                <a:gd name="T176" fmla="*/ 1231 w 1231"/>
                <a:gd name="T177" fmla="*/ 2486 h 24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1" h="2486">
                  <a:moveTo>
                    <a:pt x="1153" y="1771"/>
                  </a:moveTo>
                  <a:cubicBezTo>
                    <a:pt x="1174" y="1771"/>
                    <a:pt x="1194" y="1762"/>
                    <a:pt x="1207" y="1746"/>
                  </a:cubicBezTo>
                  <a:cubicBezTo>
                    <a:pt x="1220" y="1730"/>
                    <a:pt x="1226" y="1709"/>
                    <a:pt x="1222" y="1689"/>
                  </a:cubicBezTo>
                  <a:cubicBezTo>
                    <a:pt x="1139" y="1237"/>
                    <a:pt x="1139" y="1237"/>
                    <a:pt x="1139" y="1237"/>
                  </a:cubicBezTo>
                  <a:cubicBezTo>
                    <a:pt x="1197" y="1182"/>
                    <a:pt x="1231" y="1105"/>
                    <a:pt x="1231" y="1024"/>
                  </a:cubicBezTo>
                  <a:cubicBezTo>
                    <a:pt x="1231" y="295"/>
                    <a:pt x="1231" y="295"/>
                    <a:pt x="1231" y="295"/>
                  </a:cubicBezTo>
                  <a:cubicBezTo>
                    <a:pt x="1231" y="132"/>
                    <a:pt x="1099" y="0"/>
                    <a:pt x="936" y="0"/>
                  </a:cubicBezTo>
                  <a:cubicBezTo>
                    <a:pt x="298" y="0"/>
                    <a:pt x="298" y="0"/>
                    <a:pt x="298" y="0"/>
                  </a:cubicBezTo>
                  <a:cubicBezTo>
                    <a:pt x="135" y="0"/>
                    <a:pt x="3" y="132"/>
                    <a:pt x="3" y="295"/>
                  </a:cubicBezTo>
                  <a:cubicBezTo>
                    <a:pt x="3" y="1024"/>
                    <a:pt x="3" y="1024"/>
                    <a:pt x="3" y="1024"/>
                  </a:cubicBezTo>
                  <a:cubicBezTo>
                    <a:pt x="3" y="1103"/>
                    <a:pt x="35" y="1178"/>
                    <a:pt x="91" y="1233"/>
                  </a:cubicBezTo>
                  <a:cubicBezTo>
                    <a:pt x="4" y="1688"/>
                    <a:pt x="4" y="1688"/>
                    <a:pt x="4" y="1688"/>
                  </a:cubicBezTo>
                  <a:cubicBezTo>
                    <a:pt x="0" y="1709"/>
                    <a:pt x="6" y="1730"/>
                    <a:pt x="19" y="1746"/>
                  </a:cubicBezTo>
                  <a:cubicBezTo>
                    <a:pt x="33" y="1762"/>
                    <a:pt x="52" y="1771"/>
                    <a:pt x="73" y="1771"/>
                  </a:cubicBezTo>
                  <a:cubicBezTo>
                    <a:pt x="229" y="1771"/>
                    <a:pt x="229" y="1771"/>
                    <a:pt x="229" y="1771"/>
                  </a:cubicBezTo>
                  <a:cubicBezTo>
                    <a:pt x="229" y="2266"/>
                    <a:pt x="229" y="2266"/>
                    <a:pt x="229" y="2266"/>
                  </a:cubicBezTo>
                  <a:cubicBezTo>
                    <a:pt x="229" y="2387"/>
                    <a:pt x="328" y="2486"/>
                    <a:pt x="449" y="2486"/>
                  </a:cubicBezTo>
                  <a:cubicBezTo>
                    <a:pt x="467" y="2486"/>
                    <a:pt x="467" y="2486"/>
                    <a:pt x="467" y="2486"/>
                  </a:cubicBezTo>
                  <a:cubicBezTo>
                    <a:pt x="525" y="2486"/>
                    <a:pt x="577" y="2464"/>
                    <a:pt x="617" y="2427"/>
                  </a:cubicBezTo>
                  <a:cubicBezTo>
                    <a:pt x="656" y="2464"/>
                    <a:pt x="709" y="2486"/>
                    <a:pt x="767" y="2486"/>
                  </a:cubicBezTo>
                  <a:cubicBezTo>
                    <a:pt x="784" y="2486"/>
                    <a:pt x="784" y="2486"/>
                    <a:pt x="784" y="2486"/>
                  </a:cubicBezTo>
                  <a:cubicBezTo>
                    <a:pt x="906" y="2486"/>
                    <a:pt x="1004" y="2387"/>
                    <a:pt x="1004" y="2266"/>
                  </a:cubicBezTo>
                  <a:cubicBezTo>
                    <a:pt x="1004" y="1771"/>
                    <a:pt x="1004" y="1771"/>
                    <a:pt x="1004" y="1771"/>
                  </a:cubicBezTo>
                  <a:lnTo>
                    <a:pt x="1153" y="1771"/>
                  </a:lnTo>
                  <a:close/>
                  <a:moveTo>
                    <a:pt x="236" y="1219"/>
                  </a:moveTo>
                  <a:cubicBezTo>
                    <a:pt x="384" y="436"/>
                    <a:pt x="384" y="436"/>
                    <a:pt x="384" y="436"/>
                  </a:cubicBezTo>
                  <a:cubicBezTo>
                    <a:pt x="391" y="398"/>
                    <a:pt x="366" y="362"/>
                    <a:pt x="328" y="354"/>
                  </a:cubicBezTo>
                  <a:cubicBezTo>
                    <a:pt x="290" y="347"/>
                    <a:pt x="254" y="372"/>
                    <a:pt x="246" y="410"/>
                  </a:cubicBezTo>
                  <a:cubicBezTo>
                    <a:pt x="143" y="955"/>
                    <a:pt x="143" y="955"/>
                    <a:pt x="143" y="955"/>
                  </a:cubicBezTo>
                  <a:cubicBezTo>
                    <a:pt x="143" y="295"/>
                    <a:pt x="143" y="295"/>
                    <a:pt x="143" y="295"/>
                  </a:cubicBezTo>
                  <a:cubicBezTo>
                    <a:pt x="143" y="209"/>
                    <a:pt x="213" y="140"/>
                    <a:pt x="298" y="140"/>
                  </a:cubicBezTo>
                  <a:cubicBezTo>
                    <a:pt x="936" y="140"/>
                    <a:pt x="936" y="140"/>
                    <a:pt x="936" y="140"/>
                  </a:cubicBezTo>
                  <a:cubicBezTo>
                    <a:pt x="1022" y="140"/>
                    <a:pt x="1091" y="209"/>
                    <a:pt x="1091" y="295"/>
                  </a:cubicBezTo>
                  <a:cubicBezTo>
                    <a:pt x="1091" y="974"/>
                    <a:pt x="1091" y="974"/>
                    <a:pt x="1091" y="974"/>
                  </a:cubicBezTo>
                  <a:cubicBezTo>
                    <a:pt x="988" y="411"/>
                    <a:pt x="988" y="411"/>
                    <a:pt x="988" y="411"/>
                  </a:cubicBezTo>
                  <a:cubicBezTo>
                    <a:pt x="981" y="373"/>
                    <a:pt x="945" y="347"/>
                    <a:pt x="907" y="354"/>
                  </a:cubicBezTo>
                  <a:cubicBezTo>
                    <a:pt x="869" y="361"/>
                    <a:pt x="843" y="398"/>
                    <a:pt x="850" y="436"/>
                  </a:cubicBezTo>
                  <a:cubicBezTo>
                    <a:pt x="994" y="1222"/>
                    <a:pt x="994" y="1222"/>
                    <a:pt x="994" y="1222"/>
                  </a:cubicBezTo>
                  <a:cubicBezTo>
                    <a:pt x="994" y="1222"/>
                    <a:pt x="994" y="1222"/>
                    <a:pt x="994" y="1222"/>
                  </a:cubicBezTo>
                  <a:cubicBezTo>
                    <a:pt x="994" y="1223"/>
                    <a:pt x="994" y="1223"/>
                    <a:pt x="994" y="1223"/>
                  </a:cubicBezTo>
                  <a:cubicBezTo>
                    <a:pt x="994" y="1223"/>
                    <a:pt x="994" y="1223"/>
                    <a:pt x="994" y="1223"/>
                  </a:cubicBezTo>
                  <a:cubicBezTo>
                    <a:pt x="1069" y="1631"/>
                    <a:pt x="1069" y="1631"/>
                    <a:pt x="1069" y="1631"/>
                  </a:cubicBezTo>
                  <a:cubicBezTo>
                    <a:pt x="158" y="1631"/>
                    <a:pt x="158" y="1631"/>
                    <a:pt x="158" y="1631"/>
                  </a:cubicBezTo>
                  <a:lnTo>
                    <a:pt x="236" y="1219"/>
                  </a:lnTo>
                  <a:close/>
                  <a:moveTo>
                    <a:pt x="467" y="2346"/>
                  </a:moveTo>
                  <a:cubicBezTo>
                    <a:pt x="449" y="2346"/>
                    <a:pt x="449" y="2346"/>
                    <a:pt x="449" y="2346"/>
                  </a:cubicBezTo>
                  <a:cubicBezTo>
                    <a:pt x="405" y="2346"/>
                    <a:pt x="369" y="2310"/>
                    <a:pt x="369" y="2266"/>
                  </a:cubicBezTo>
                  <a:cubicBezTo>
                    <a:pt x="369" y="1771"/>
                    <a:pt x="369" y="1771"/>
                    <a:pt x="369" y="1771"/>
                  </a:cubicBezTo>
                  <a:cubicBezTo>
                    <a:pt x="547" y="1771"/>
                    <a:pt x="547" y="1771"/>
                    <a:pt x="547" y="1771"/>
                  </a:cubicBezTo>
                  <a:cubicBezTo>
                    <a:pt x="547" y="2266"/>
                    <a:pt x="547" y="2266"/>
                    <a:pt x="547" y="2266"/>
                  </a:cubicBezTo>
                  <a:cubicBezTo>
                    <a:pt x="547" y="2310"/>
                    <a:pt x="511" y="2346"/>
                    <a:pt x="467" y="2346"/>
                  </a:cubicBezTo>
                  <a:close/>
                  <a:moveTo>
                    <a:pt x="864" y="2266"/>
                  </a:moveTo>
                  <a:cubicBezTo>
                    <a:pt x="864" y="2310"/>
                    <a:pt x="828" y="2346"/>
                    <a:pt x="784" y="2346"/>
                  </a:cubicBezTo>
                  <a:cubicBezTo>
                    <a:pt x="767" y="2346"/>
                    <a:pt x="767" y="2346"/>
                    <a:pt x="767" y="2346"/>
                  </a:cubicBezTo>
                  <a:cubicBezTo>
                    <a:pt x="723" y="2346"/>
                    <a:pt x="687" y="2310"/>
                    <a:pt x="687" y="2266"/>
                  </a:cubicBezTo>
                  <a:cubicBezTo>
                    <a:pt x="687" y="1771"/>
                    <a:pt x="687" y="1771"/>
                    <a:pt x="687" y="1771"/>
                  </a:cubicBezTo>
                  <a:cubicBezTo>
                    <a:pt x="864" y="1771"/>
                    <a:pt x="864" y="1771"/>
                    <a:pt x="864" y="1771"/>
                  </a:cubicBezTo>
                  <a:lnTo>
                    <a:pt x="864" y="2266"/>
                  </a:lnTo>
                  <a:close/>
                </a:path>
              </a:pathLst>
            </a:custGeom>
            <a:solidFill>
              <a:srgbClr val="0065BD"/>
            </a:solidFill>
            <a:ln w="9525">
              <a:noFill/>
              <a:miter lim="800000"/>
              <a:headEnd/>
              <a:tailEnd/>
            </a:ln>
          </p:spPr>
          <p:txBody>
            <a:bodyPr/>
            <a:lstStyle/>
            <a:p>
              <a:endParaRPr lang="en-ZA"/>
            </a:p>
          </p:txBody>
        </p:sp>
      </p:grpSp>
      <p:grpSp>
        <p:nvGrpSpPr>
          <p:cNvPr id="16423" name="CustomIcon"/>
          <p:cNvGrpSpPr>
            <a:grpSpLocks noChangeAspect="1"/>
          </p:cNvGrpSpPr>
          <p:nvPr>
            <p:custDataLst>
              <p:tags r:id="rId20"/>
            </p:custDataLst>
          </p:nvPr>
        </p:nvGrpSpPr>
        <p:grpSpPr bwMode="auto">
          <a:xfrm>
            <a:off x="5654675" y="5551488"/>
            <a:ext cx="592138" cy="665162"/>
            <a:chOff x="0" y="0"/>
            <a:chExt cx="5513388" cy="6192838"/>
          </a:xfrm>
        </p:grpSpPr>
        <p:sp>
          <p:nvSpPr>
            <p:cNvPr id="16424" name="Freeform 15"/>
            <p:cNvSpPr>
              <a:spLocks noEditPoints="1"/>
            </p:cNvSpPr>
            <p:nvPr/>
          </p:nvSpPr>
          <p:spPr bwMode="auto">
            <a:xfrm>
              <a:off x="693738" y="188913"/>
              <a:ext cx="1125538" cy="1127125"/>
            </a:xfrm>
            <a:custGeom>
              <a:avLst/>
              <a:gdLst>
                <a:gd name="T0" fmla="*/ 562769 w 582"/>
                <a:gd name="T1" fmla="*/ 1127125 h 582"/>
                <a:gd name="T2" fmla="*/ 1125538 w 582"/>
                <a:gd name="T3" fmla="*/ 563563 h 582"/>
                <a:gd name="T4" fmla="*/ 562769 w 582"/>
                <a:gd name="T5" fmla="*/ 0 h 582"/>
                <a:gd name="T6" fmla="*/ 0 w 582"/>
                <a:gd name="T7" fmla="*/ 563563 h 582"/>
                <a:gd name="T8" fmla="*/ 562769 w 582"/>
                <a:gd name="T9" fmla="*/ 1127125 h 582"/>
                <a:gd name="T10" fmla="*/ 562769 w 582"/>
                <a:gd name="T11" fmla="*/ 271130 h 582"/>
                <a:gd name="T12" fmla="*/ 854790 w 582"/>
                <a:gd name="T13" fmla="*/ 563563 h 582"/>
                <a:gd name="T14" fmla="*/ 562769 w 582"/>
                <a:gd name="T15" fmla="*/ 855995 h 582"/>
                <a:gd name="T16" fmla="*/ 270748 w 582"/>
                <a:gd name="T17" fmla="*/ 563563 h 582"/>
                <a:gd name="T18" fmla="*/ 562769 w 582"/>
                <a:gd name="T19" fmla="*/ 271130 h 5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2"/>
                <a:gd name="T31" fmla="*/ 0 h 582"/>
                <a:gd name="T32" fmla="*/ 582 w 582"/>
                <a:gd name="T33" fmla="*/ 582 h 5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2" h="582">
                  <a:moveTo>
                    <a:pt x="291" y="582"/>
                  </a:moveTo>
                  <a:cubicBezTo>
                    <a:pt x="451" y="582"/>
                    <a:pt x="582" y="451"/>
                    <a:pt x="582" y="291"/>
                  </a:cubicBezTo>
                  <a:cubicBezTo>
                    <a:pt x="582" y="130"/>
                    <a:pt x="451" y="0"/>
                    <a:pt x="291" y="0"/>
                  </a:cubicBezTo>
                  <a:cubicBezTo>
                    <a:pt x="131" y="0"/>
                    <a:pt x="0" y="130"/>
                    <a:pt x="0" y="291"/>
                  </a:cubicBezTo>
                  <a:cubicBezTo>
                    <a:pt x="0" y="451"/>
                    <a:pt x="131" y="582"/>
                    <a:pt x="291" y="582"/>
                  </a:cubicBezTo>
                  <a:close/>
                  <a:moveTo>
                    <a:pt x="291" y="140"/>
                  </a:moveTo>
                  <a:cubicBezTo>
                    <a:pt x="374" y="140"/>
                    <a:pt x="442" y="208"/>
                    <a:pt x="442" y="291"/>
                  </a:cubicBezTo>
                  <a:cubicBezTo>
                    <a:pt x="442" y="374"/>
                    <a:pt x="374" y="442"/>
                    <a:pt x="291" y="442"/>
                  </a:cubicBezTo>
                  <a:cubicBezTo>
                    <a:pt x="208" y="442"/>
                    <a:pt x="140" y="374"/>
                    <a:pt x="140" y="291"/>
                  </a:cubicBezTo>
                  <a:cubicBezTo>
                    <a:pt x="140" y="208"/>
                    <a:pt x="208" y="140"/>
                    <a:pt x="291" y="140"/>
                  </a:cubicBezTo>
                  <a:close/>
                </a:path>
              </a:pathLst>
            </a:custGeom>
            <a:solidFill>
              <a:srgbClr val="0065BD"/>
            </a:solidFill>
            <a:ln w="9525">
              <a:noFill/>
              <a:miter lim="800000"/>
              <a:headEnd/>
              <a:tailEnd/>
            </a:ln>
          </p:spPr>
          <p:txBody>
            <a:bodyPr/>
            <a:lstStyle/>
            <a:p>
              <a:endParaRPr lang="en-ZA"/>
            </a:p>
          </p:txBody>
        </p:sp>
        <p:sp>
          <p:nvSpPr>
            <p:cNvPr id="16425" name="Freeform 16"/>
            <p:cNvSpPr>
              <a:spLocks/>
            </p:cNvSpPr>
            <p:nvPr/>
          </p:nvSpPr>
          <p:spPr bwMode="auto">
            <a:xfrm>
              <a:off x="0" y="1485900"/>
              <a:ext cx="1760538" cy="4429125"/>
            </a:xfrm>
            <a:custGeom>
              <a:avLst/>
              <a:gdLst>
                <a:gd name="T0" fmla="*/ 1625261 w 911"/>
                <a:gd name="T1" fmla="*/ 4158231 h 2289"/>
                <a:gd name="T2" fmla="*/ 1491916 w 911"/>
                <a:gd name="T3" fmla="*/ 4158231 h 2289"/>
                <a:gd name="T4" fmla="*/ 1337313 w 911"/>
                <a:gd name="T5" fmla="*/ 4003434 h 2289"/>
                <a:gd name="T6" fmla="*/ 1337313 w 911"/>
                <a:gd name="T7" fmla="*/ 2525124 h 2289"/>
                <a:gd name="T8" fmla="*/ 1337313 w 911"/>
                <a:gd name="T9" fmla="*/ 2290993 h 2289"/>
                <a:gd name="T10" fmla="*/ 1202036 w 911"/>
                <a:gd name="T11" fmla="*/ 2155546 h 2289"/>
                <a:gd name="T12" fmla="*/ 1066759 w 911"/>
                <a:gd name="T13" fmla="*/ 2290993 h 2289"/>
                <a:gd name="T14" fmla="*/ 1066759 w 911"/>
                <a:gd name="T15" fmla="*/ 2484489 h 2289"/>
                <a:gd name="T16" fmla="*/ 1066759 w 911"/>
                <a:gd name="T17" fmla="*/ 2513514 h 2289"/>
                <a:gd name="T18" fmla="*/ 1066759 w 911"/>
                <a:gd name="T19" fmla="*/ 2525124 h 2289"/>
                <a:gd name="T20" fmla="*/ 1066759 w 911"/>
                <a:gd name="T21" fmla="*/ 4003434 h 2289"/>
                <a:gd name="T22" fmla="*/ 912156 w 911"/>
                <a:gd name="T23" fmla="*/ 4158231 h 2289"/>
                <a:gd name="T24" fmla="*/ 877370 w 911"/>
                <a:gd name="T25" fmla="*/ 4158231 h 2289"/>
                <a:gd name="T26" fmla="*/ 722768 w 911"/>
                <a:gd name="T27" fmla="*/ 4003434 h 2289"/>
                <a:gd name="T28" fmla="*/ 722768 w 911"/>
                <a:gd name="T29" fmla="*/ 2387741 h 2289"/>
                <a:gd name="T30" fmla="*/ 722768 w 911"/>
                <a:gd name="T31" fmla="*/ 2290993 h 2289"/>
                <a:gd name="T32" fmla="*/ 722768 w 911"/>
                <a:gd name="T33" fmla="*/ 866862 h 2289"/>
                <a:gd name="T34" fmla="*/ 587490 w 911"/>
                <a:gd name="T35" fmla="*/ 731415 h 2289"/>
                <a:gd name="T36" fmla="*/ 452213 w 911"/>
                <a:gd name="T37" fmla="*/ 866862 h 2289"/>
                <a:gd name="T38" fmla="*/ 452213 w 911"/>
                <a:gd name="T39" fmla="*/ 2240684 h 2289"/>
                <a:gd name="T40" fmla="*/ 270555 w 911"/>
                <a:gd name="T41" fmla="*/ 1993010 h 2289"/>
                <a:gd name="T42" fmla="*/ 270555 w 911"/>
                <a:gd name="T43" fmla="*/ 532114 h 2289"/>
                <a:gd name="T44" fmla="*/ 531447 w 911"/>
                <a:gd name="T45" fmla="*/ 270894 h 2289"/>
                <a:gd name="T46" fmla="*/ 1202036 w 911"/>
                <a:gd name="T47" fmla="*/ 270894 h 2289"/>
                <a:gd name="T48" fmla="*/ 1337313 w 911"/>
                <a:gd name="T49" fmla="*/ 135447 h 2289"/>
                <a:gd name="T50" fmla="*/ 1202036 w 911"/>
                <a:gd name="T51" fmla="*/ 0 h 2289"/>
                <a:gd name="T52" fmla="*/ 531447 w 911"/>
                <a:gd name="T53" fmla="*/ 0 h 2289"/>
                <a:gd name="T54" fmla="*/ 0 w 911"/>
                <a:gd name="T55" fmla="*/ 532114 h 2289"/>
                <a:gd name="T56" fmla="*/ 0 w 911"/>
                <a:gd name="T57" fmla="*/ 1993010 h 2289"/>
                <a:gd name="T58" fmla="*/ 452213 w 911"/>
                <a:gd name="T59" fmla="*/ 2517384 h 2289"/>
                <a:gd name="T60" fmla="*/ 452213 w 911"/>
                <a:gd name="T61" fmla="*/ 4003434 h 2289"/>
                <a:gd name="T62" fmla="*/ 877370 w 911"/>
                <a:gd name="T63" fmla="*/ 4429125 h 2289"/>
                <a:gd name="T64" fmla="*/ 912156 w 911"/>
                <a:gd name="T65" fmla="*/ 4429125 h 2289"/>
                <a:gd name="T66" fmla="*/ 1202036 w 911"/>
                <a:gd name="T67" fmla="*/ 4314962 h 2289"/>
                <a:gd name="T68" fmla="*/ 1491916 w 911"/>
                <a:gd name="T69" fmla="*/ 4429125 h 2289"/>
                <a:gd name="T70" fmla="*/ 1625261 w 911"/>
                <a:gd name="T71" fmla="*/ 4429125 h 2289"/>
                <a:gd name="T72" fmla="*/ 1760538 w 911"/>
                <a:gd name="T73" fmla="*/ 4293678 h 2289"/>
                <a:gd name="T74" fmla="*/ 1625261 w 911"/>
                <a:gd name="T75" fmla="*/ 4158231 h 2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1"/>
                <a:gd name="T115" fmla="*/ 0 h 2289"/>
                <a:gd name="T116" fmla="*/ 911 w 911"/>
                <a:gd name="T117" fmla="*/ 2289 h 2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1" h="2289">
                  <a:moveTo>
                    <a:pt x="841" y="2149"/>
                  </a:moveTo>
                  <a:cubicBezTo>
                    <a:pt x="772" y="2149"/>
                    <a:pt x="772" y="2149"/>
                    <a:pt x="772" y="2149"/>
                  </a:cubicBezTo>
                  <a:cubicBezTo>
                    <a:pt x="728" y="2149"/>
                    <a:pt x="692" y="2114"/>
                    <a:pt x="692" y="2069"/>
                  </a:cubicBezTo>
                  <a:cubicBezTo>
                    <a:pt x="692" y="1305"/>
                    <a:pt x="692" y="1305"/>
                    <a:pt x="692" y="1305"/>
                  </a:cubicBezTo>
                  <a:cubicBezTo>
                    <a:pt x="692" y="1184"/>
                    <a:pt x="692" y="1184"/>
                    <a:pt x="692" y="1184"/>
                  </a:cubicBezTo>
                  <a:cubicBezTo>
                    <a:pt x="692" y="1145"/>
                    <a:pt x="660" y="1114"/>
                    <a:pt x="622" y="1114"/>
                  </a:cubicBezTo>
                  <a:cubicBezTo>
                    <a:pt x="583" y="1114"/>
                    <a:pt x="552" y="1145"/>
                    <a:pt x="552" y="1184"/>
                  </a:cubicBezTo>
                  <a:cubicBezTo>
                    <a:pt x="552" y="1284"/>
                    <a:pt x="552" y="1284"/>
                    <a:pt x="552" y="1284"/>
                  </a:cubicBezTo>
                  <a:cubicBezTo>
                    <a:pt x="551" y="1289"/>
                    <a:pt x="551" y="1294"/>
                    <a:pt x="552" y="1299"/>
                  </a:cubicBezTo>
                  <a:cubicBezTo>
                    <a:pt x="552" y="1301"/>
                    <a:pt x="552" y="1303"/>
                    <a:pt x="552" y="1305"/>
                  </a:cubicBezTo>
                  <a:cubicBezTo>
                    <a:pt x="552" y="2069"/>
                    <a:pt x="552" y="2069"/>
                    <a:pt x="552" y="2069"/>
                  </a:cubicBezTo>
                  <a:cubicBezTo>
                    <a:pt x="552" y="2114"/>
                    <a:pt x="516" y="2149"/>
                    <a:pt x="472" y="2149"/>
                  </a:cubicBezTo>
                  <a:cubicBezTo>
                    <a:pt x="454" y="2149"/>
                    <a:pt x="454" y="2149"/>
                    <a:pt x="454" y="2149"/>
                  </a:cubicBezTo>
                  <a:cubicBezTo>
                    <a:pt x="410" y="2149"/>
                    <a:pt x="374" y="2114"/>
                    <a:pt x="374" y="2069"/>
                  </a:cubicBezTo>
                  <a:cubicBezTo>
                    <a:pt x="374" y="1234"/>
                    <a:pt x="374" y="1234"/>
                    <a:pt x="374" y="1234"/>
                  </a:cubicBezTo>
                  <a:cubicBezTo>
                    <a:pt x="374" y="1184"/>
                    <a:pt x="374" y="1184"/>
                    <a:pt x="374" y="1184"/>
                  </a:cubicBezTo>
                  <a:cubicBezTo>
                    <a:pt x="374" y="448"/>
                    <a:pt x="374" y="448"/>
                    <a:pt x="374" y="448"/>
                  </a:cubicBezTo>
                  <a:cubicBezTo>
                    <a:pt x="374" y="409"/>
                    <a:pt x="343" y="378"/>
                    <a:pt x="304" y="378"/>
                  </a:cubicBezTo>
                  <a:cubicBezTo>
                    <a:pt x="266" y="378"/>
                    <a:pt x="234" y="409"/>
                    <a:pt x="234" y="448"/>
                  </a:cubicBezTo>
                  <a:cubicBezTo>
                    <a:pt x="234" y="1158"/>
                    <a:pt x="234" y="1158"/>
                    <a:pt x="234" y="1158"/>
                  </a:cubicBezTo>
                  <a:cubicBezTo>
                    <a:pt x="180" y="1141"/>
                    <a:pt x="140" y="1090"/>
                    <a:pt x="140" y="1030"/>
                  </a:cubicBezTo>
                  <a:cubicBezTo>
                    <a:pt x="140" y="275"/>
                    <a:pt x="140" y="275"/>
                    <a:pt x="140" y="275"/>
                  </a:cubicBezTo>
                  <a:cubicBezTo>
                    <a:pt x="140" y="201"/>
                    <a:pt x="200" y="140"/>
                    <a:pt x="275" y="140"/>
                  </a:cubicBezTo>
                  <a:cubicBezTo>
                    <a:pt x="622" y="140"/>
                    <a:pt x="622" y="140"/>
                    <a:pt x="622" y="140"/>
                  </a:cubicBezTo>
                  <a:cubicBezTo>
                    <a:pt x="660" y="140"/>
                    <a:pt x="692" y="109"/>
                    <a:pt x="692" y="70"/>
                  </a:cubicBezTo>
                  <a:cubicBezTo>
                    <a:pt x="692" y="32"/>
                    <a:pt x="660" y="0"/>
                    <a:pt x="622" y="0"/>
                  </a:cubicBezTo>
                  <a:cubicBezTo>
                    <a:pt x="275" y="0"/>
                    <a:pt x="275" y="0"/>
                    <a:pt x="275" y="0"/>
                  </a:cubicBezTo>
                  <a:cubicBezTo>
                    <a:pt x="123" y="0"/>
                    <a:pt x="0" y="123"/>
                    <a:pt x="0" y="275"/>
                  </a:cubicBezTo>
                  <a:cubicBezTo>
                    <a:pt x="0" y="1030"/>
                    <a:pt x="0" y="1030"/>
                    <a:pt x="0" y="1030"/>
                  </a:cubicBezTo>
                  <a:cubicBezTo>
                    <a:pt x="0" y="1167"/>
                    <a:pt x="102" y="1281"/>
                    <a:pt x="234" y="1301"/>
                  </a:cubicBezTo>
                  <a:cubicBezTo>
                    <a:pt x="234" y="2069"/>
                    <a:pt x="234" y="2069"/>
                    <a:pt x="234" y="2069"/>
                  </a:cubicBezTo>
                  <a:cubicBezTo>
                    <a:pt x="234" y="2191"/>
                    <a:pt x="333" y="2289"/>
                    <a:pt x="454" y="2289"/>
                  </a:cubicBezTo>
                  <a:cubicBezTo>
                    <a:pt x="472" y="2289"/>
                    <a:pt x="472" y="2289"/>
                    <a:pt x="472" y="2289"/>
                  </a:cubicBezTo>
                  <a:cubicBezTo>
                    <a:pt x="530" y="2289"/>
                    <a:pt x="582" y="2267"/>
                    <a:pt x="622" y="2230"/>
                  </a:cubicBezTo>
                  <a:cubicBezTo>
                    <a:pt x="661" y="2267"/>
                    <a:pt x="714" y="2289"/>
                    <a:pt x="772" y="2289"/>
                  </a:cubicBezTo>
                  <a:cubicBezTo>
                    <a:pt x="841" y="2289"/>
                    <a:pt x="841" y="2289"/>
                    <a:pt x="841" y="2289"/>
                  </a:cubicBezTo>
                  <a:cubicBezTo>
                    <a:pt x="880" y="2289"/>
                    <a:pt x="911" y="2258"/>
                    <a:pt x="911" y="2219"/>
                  </a:cubicBezTo>
                  <a:cubicBezTo>
                    <a:pt x="911" y="2181"/>
                    <a:pt x="880" y="2149"/>
                    <a:pt x="841" y="2149"/>
                  </a:cubicBezTo>
                  <a:close/>
                </a:path>
              </a:pathLst>
            </a:custGeom>
            <a:solidFill>
              <a:srgbClr val="0065BD"/>
            </a:solidFill>
            <a:ln w="9525">
              <a:noFill/>
              <a:miter lim="800000"/>
              <a:headEnd/>
              <a:tailEnd/>
            </a:ln>
          </p:spPr>
          <p:txBody>
            <a:bodyPr/>
            <a:lstStyle/>
            <a:p>
              <a:endParaRPr lang="en-ZA"/>
            </a:p>
          </p:txBody>
        </p:sp>
        <p:sp>
          <p:nvSpPr>
            <p:cNvPr id="16426" name="Freeform 17"/>
            <p:cNvSpPr>
              <a:spLocks noEditPoints="1"/>
            </p:cNvSpPr>
            <p:nvPr/>
          </p:nvSpPr>
          <p:spPr bwMode="auto">
            <a:xfrm>
              <a:off x="3694113" y="188913"/>
              <a:ext cx="1125538" cy="1127125"/>
            </a:xfrm>
            <a:custGeom>
              <a:avLst/>
              <a:gdLst>
                <a:gd name="T0" fmla="*/ 562769 w 582"/>
                <a:gd name="T1" fmla="*/ 1127125 h 582"/>
                <a:gd name="T2" fmla="*/ 1125538 w 582"/>
                <a:gd name="T3" fmla="*/ 563563 h 582"/>
                <a:gd name="T4" fmla="*/ 562769 w 582"/>
                <a:gd name="T5" fmla="*/ 0 h 582"/>
                <a:gd name="T6" fmla="*/ 0 w 582"/>
                <a:gd name="T7" fmla="*/ 563563 h 582"/>
                <a:gd name="T8" fmla="*/ 562769 w 582"/>
                <a:gd name="T9" fmla="*/ 1127125 h 582"/>
                <a:gd name="T10" fmla="*/ 562769 w 582"/>
                <a:gd name="T11" fmla="*/ 271130 h 582"/>
                <a:gd name="T12" fmla="*/ 854790 w 582"/>
                <a:gd name="T13" fmla="*/ 563563 h 582"/>
                <a:gd name="T14" fmla="*/ 562769 w 582"/>
                <a:gd name="T15" fmla="*/ 855995 h 582"/>
                <a:gd name="T16" fmla="*/ 270748 w 582"/>
                <a:gd name="T17" fmla="*/ 563563 h 582"/>
                <a:gd name="T18" fmla="*/ 562769 w 582"/>
                <a:gd name="T19" fmla="*/ 271130 h 5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2"/>
                <a:gd name="T31" fmla="*/ 0 h 582"/>
                <a:gd name="T32" fmla="*/ 582 w 582"/>
                <a:gd name="T33" fmla="*/ 582 h 5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2" h="582">
                  <a:moveTo>
                    <a:pt x="291" y="582"/>
                  </a:moveTo>
                  <a:cubicBezTo>
                    <a:pt x="451" y="582"/>
                    <a:pt x="582" y="451"/>
                    <a:pt x="582" y="291"/>
                  </a:cubicBezTo>
                  <a:cubicBezTo>
                    <a:pt x="582" y="130"/>
                    <a:pt x="451" y="0"/>
                    <a:pt x="291" y="0"/>
                  </a:cubicBezTo>
                  <a:cubicBezTo>
                    <a:pt x="131" y="0"/>
                    <a:pt x="0" y="130"/>
                    <a:pt x="0" y="291"/>
                  </a:cubicBezTo>
                  <a:cubicBezTo>
                    <a:pt x="0" y="451"/>
                    <a:pt x="131" y="582"/>
                    <a:pt x="291" y="582"/>
                  </a:cubicBezTo>
                  <a:close/>
                  <a:moveTo>
                    <a:pt x="291" y="140"/>
                  </a:moveTo>
                  <a:cubicBezTo>
                    <a:pt x="374" y="140"/>
                    <a:pt x="442" y="208"/>
                    <a:pt x="442" y="291"/>
                  </a:cubicBezTo>
                  <a:cubicBezTo>
                    <a:pt x="442" y="374"/>
                    <a:pt x="374" y="442"/>
                    <a:pt x="291" y="442"/>
                  </a:cubicBezTo>
                  <a:cubicBezTo>
                    <a:pt x="208" y="442"/>
                    <a:pt x="140" y="374"/>
                    <a:pt x="140" y="291"/>
                  </a:cubicBezTo>
                  <a:cubicBezTo>
                    <a:pt x="140" y="208"/>
                    <a:pt x="208" y="140"/>
                    <a:pt x="291" y="140"/>
                  </a:cubicBezTo>
                  <a:close/>
                </a:path>
              </a:pathLst>
            </a:custGeom>
            <a:solidFill>
              <a:srgbClr val="0065BD"/>
            </a:solidFill>
            <a:ln w="9525">
              <a:noFill/>
              <a:miter lim="800000"/>
              <a:headEnd/>
              <a:tailEnd/>
            </a:ln>
          </p:spPr>
          <p:txBody>
            <a:bodyPr/>
            <a:lstStyle/>
            <a:p>
              <a:endParaRPr lang="en-ZA"/>
            </a:p>
          </p:txBody>
        </p:sp>
        <p:sp>
          <p:nvSpPr>
            <p:cNvPr id="16427" name="Freeform 18"/>
            <p:cNvSpPr>
              <a:spLocks/>
            </p:cNvSpPr>
            <p:nvPr/>
          </p:nvSpPr>
          <p:spPr bwMode="auto">
            <a:xfrm>
              <a:off x="3752850" y="1485900"/>
              <a:ext cx="1760538" cy="4429125"/>
            </a:xfrm>
            <a:custGeom>
              <a:avLst/>
              <a:gdLst>
                <a:gd name="T0" fmla="*/ 1231024 w 911"/>
                <a:gd name="T1" fmla="*/ 0 h 2289"/>
                <a:gd name="T2" fmla="*/ 558502 w 911"/>
                <a:gd name="T3" fmla="*/ 0 h 2289"/>
                <a:gd name="T4" fmla="*/ 423225 w 911"/>
                <a:gd name="T5" fmla="*/ 135447 h 2289"/>
                <a:gd name="T6" fmla="*/ 558502 w 911"/>
                <a:gd name="T7" fmla="*/ 270894 h 2289"/>
                <a:gd name="T8" fmla="*/ 1231024 w 911"/>
                <a:gd name="T9" fmla="*/ 270894 h 2289"/>
                <a:gd name="T10" fmla="*/ 1489983 w 911"/>
                <a:gd name="T11" fmla="*/ 532114 h 2289"/>
                <a:gd name="T12" fmla="*/ 1489983 w 911"/>
                <a:gd name="T13" fmla="*/ 1993010 h 2289"/>
                <a:gd name="T14" fmla="*/ 1308325 w 911"/>
                <a:gd name="T15" fmla="*/ 2240684 h 2289"/>
                <a:gd name="T16" fmla="*/ 1308325 w 911"/>
                <a:gd name="T17" fmla="*/ 866862 h 2289"/>
                <a:gd name="T18" fmla="*/ 1173048 w 911"/>
                <a:gd name="T19" fmla="*/ 731415 h 2289"/>
                <a:gd name="T20" fmla="*/ 1037771 w 911"/>
                <a:gd name="T21" fmla="*/ 866862 h 2289"/>
                <a:gd name="T22" fmla="*/ 1037771 w 911"/>
                <a:gd name="T23" fmla="*/ 2290993 h 2289"/>
                <a:gd name="T24" fmla="*/ 1037771 w 911"/>
                <a:gd name="T25" fmla="*/ 2387741 h 2289"/>
                <a:gd name="T26" fmla="*/ 1037771 w 911"/>
                <a:gd name="T27" fmla="*/ 4003434 h 2289"/>
                <a:gd name="T28" fmla="*/ 883168 w 911"/>
                <a:gd name="T29" fmla="*/ 4158231 h 2289"/>
                <a:gd name="T30" fmla="*/ 848382 w 911"/>
                <a:gd name="T31" fmla="*/ 4158231 h 2289"/>
                <a:gd name="T32" fmla="*/ 693780 w 911"/>
                <a:gd name="T33" fmla="*/ 4003434 h 2289"/>
                <a:gd name="T34" fmla="*/ 693780 w 911"/>
                <a:gd name="T35" fmla="*/ 2525124 h 2289"/>
                <a:gd name="T36" fmla="*/ 693780 w 911"/>
                <a:gd name="T37" fmla="*/ 2513514 h 2289"/>
                <a:gd name="T38" fmla="*/ 693780 w 911"/>
                <a:gd name="T39" fmla="*/ 2484489 h 2289"/>
                <a:gd name="T40" fmla="*/ 693780 w 911"/>
                <a:gd name="T41" fmla="*/ 2290993 h 2289"/>
                <a:gd name="T42" fmla="*/ 558502 w 911"/>
                <a:gd name="T43" fmla="*/ 2155546 h 2289"/>
                <a:gd name="T44" fmla="*/ 423225 w 911"/>
                <a:gd name="T45" fmla="*/ 2290993 h 2289"/>
                <a:gd name="T46" fmla="*/ 423225 w 911"/>
                <a:gd name="T47" fmla="*/ 2525124 h 2289"/>
                <a:gd name="T48" fmla="*/ 423225 w 911"/>
                <a:gd name="T49" fmla="*/ 4003434 h 2289"/>
                <a:gd name="T50" fmla="*/ 268622 w 911"/>
                <a:gd name="T51" fmla="*/ 4158231 h 2289"/>
                <a:gd name="T52" fmla="*/ 135277 w 911"/>
                <a:gd name="T53" fmla="*/ 4158231 h 2289"/>
                <a:gd name="T54" fmla="*/ 0 w 911"/>
                <a:gd name="T55" fmla="*/ 4293678 h 2289"/>
                <a:gd name="T56" fmla="*/ 135277 w 911"/>
                <a:gd name="T57" fmla="*/ 4429125 h 2289"/>
                <a:gd name="T58" fmla="*/ 268622 w 911"/>
                <a:gd name="T59" fmla="*/ 4429125 h 2289"/>
                <a:gd name="T60" fmla="*/ 558502 w 911"/>
                <a:gd name="T61" fmla="*/ 4314962 h 2289"/>
                <a:gd name="T62" fmla="*/ 848382 w 911"/>
                <a:gd name="T63" fmla="*/ 4429125 h 2289"/>
                <a:gd name="T64" fmla="*/ 883168 w 911"/>
                <a:gd name="T65" fmla="*/ 4429125 h 2289"/>
                <a:gd name="T66" fmla="*/ 1308325 w 911"/>
                <a:gd name="T67" fmla="*/ 4003434 h 2289"/>
                <a:gd name="T68" fmla="*/ 1308325 w 911"/>
                <a:gd name="T69" fmla="*/ 2517384 h 2289"/>
                <a:gd name="T70" fmla="*/ 1760538 w 911"/>
                <a:gd name="T71" fmla="*/ 1993010 h 2289"/>
                <a:gd name="T72" fmla="*/ 1760538 w 911"/>
                <a:gd name="T73" fmla="*/ 532114 h 2289"/>
                <a:gd name="T74" fmla="*/ 1231024 w 911"/>
                <a:gd name="T75" fmla="*/ 0 h 2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1"/>
                <a:gd name="T115" fmla="*/ 0 h 2289"/>
                <a:gd name="T116" fmla="*/ 911 w 911"/>
                <a:gd name="T117" fmla="*/ 2289 h 2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1" h="2289">
                  <a:moveTo>
                    <a:pt x="637" y="0"/>
                  </a:moveTo>
                  <a:cubicBezTo>
                    <a:pt x="289" y="0"/>
                    <a:pt x="289" y="0"/>
                    <a:pt x="289" y="0"/>
                  </a:cubicBezTo>
                  <a:cubicBezTo>
                    <a:pt x="251" y="0"/>
                    <a:pt x="219" y="32"/>
                    <a:pt x="219" y="70"/>
                  </a:cubicBezTo>
                  <a:cubicBezTo>
                    <a:pt x="219" y="109"/>
                    <a:pt x="251" y="140"/>
                    <a:pt x="289" y="140"/>
                  </a:cubicBezTo>
                  <a:cubicBezTo>
                    <a:pt x="637" y="140"/>
                    <a:pt x="637" y="140"/>
                    <a:pt x="637" y="140"/>
                  </a:cubicBezTo>
                  <a:cubicBezTo>
                    <a:pt x="711" y="140"/>
                    <a:pt x="771" y="201"/>
                    <a:pt x="771" y="275"/>
                  </a:cubicBezTo>
                  <a:cubicBezTo>
                    <a:pt x="771" y="1030"/>
                    <a:pt x="771" y="1030"/>
                    <a:pt x="771" y="1030"/>
                  </a:cubicBezTo>
                  <a:cubicBezTo>
                    <a:pt x="771" y="1090"/>
                    <a:pt x="731" y="1141"/>
                    <a:pt x="677" y="1158"/>
                  </a:cubicBezTo>
                  <a:cubicBezTo>
                    <a:pt x="677" y="448"/>
                    <a:pt x="677" y="448"/>
                    <a:pt x="677" y="448"/>
                  </a:cubicBezTo>
                  <a:cubicBezTo>
                    <a:pt x="677" y="409"/>
                    <a:pt x="645" y="378"/>
                    <a:pt x="607" y="378"/>
                  </a:cubicBezTo>
                  <a:cubicBezTo>
                    <a:pt x="568" y="378"/>
                    <a:pt x="537" y="409"/>
                    <a:pt x="537" y="448"/>
                  </a:cubicBezTo>
                  <a:cubicBezTo>
                    <a:pt x="537" y="1184"/>
                    <a:pt x="537" y="1184"/>
                    <a:pt x="537" y="1184"/>
                  </a:cubicBezTo>
                  <a:cubicBezTo>
                    <a:pt x="537" y="1234"/>
                    <a:pt x="537" y="1234"/>
                    <a:pt x="537" y="1234"/>
                  </a:cubicBezTo>
                  <a:cubicBezTo>
                    <a:pt x="537" y="2069"/>
                    <a:pt x="537" y="2069"/>
                    <a:pt x="537" y="2069"/>
                  </a:cubicBezTo>
                  <a:cubicBezTo>
                    <a:pt x="537" y="2114"/>
                    <a:pt x="501" y="2149"/>
                    <a:pt x="457" y="2149"/>
                  </a:cubicBezTo>
                  <a:cubicBezTo>
                    <a:pt x="439" y="2149"/>
                    <a:pt x="439" y="2149"/>
                    <a:pt x="439" y="2149"/>
                  </a:cubicBezTo>
                  <a:cubicBezTo>
                    <a:pt x="395" y="2149"/>
                    <a:pt x="359" y="2114"/>
                    <a:pt x="359" y="2069"/>
                  </a:cubicBezTo>
                  <a:cubicBezTo>
                    <a:pt x="359" y="1305"/>
                    <a:pt x="359" y="1305"/>
                    <a:pt x="359" y="1305"/>
                  </a:cubicBezTo>
                  <a:cubicBezTo>
                    <a:pt x="359" y="1303"/>
                    <a:pt x="359" y="1301"/>
                    <a:pt x="359" y="1299"/>
                  </a:cubicBezTo>
                  <a:cubicBezTo>
                    <a:pt x="360" y="1294"/>
                    <a:pt x="360" y="1289"/>
                    <a:pt x="359" y="1284"/>
                  </a:cubicBezTo>
                  <a:cubicBezTo>
                    <a:pt x="359" y="1184"/>
                    <a:pt x="359" y="1184"/>
                    <a:pt x="359" y="1184"/>
                  </a:cubicBezTo>
                  <a:cubicBezTo>
                    <a:pt x="359" y="1145"/>
                    <a:pt x="328" y="1114"/>
                    <a:pt x="289" y="1114"/>
                  </a:cubicBezTo>
                  <a:cubicBezTo>
                    <a:pt x="251" y="1114"/>
                    <a:pt x="219" y="1145"/>
                    <a:pt x="219" y="1184"/>
                  </a:cubicBezTo>
                  <a:cubicBezTo>
                    <a:pt x="219" y="1305"/>
                    <a:pt x="219" y="1305"/>
                    <a:pt x="219" y="1305"/>
                  </a:cubicBezTo>
                  <a:cubicBezTo>
                    <a:pt x="219" y="2069"/>
                    <a:pt x="219" y="2069"/>
                    <a:pt x="219" y="2069"/>
                  </a:cubicBezTo>
                  <a:cubicBezTo>
                    <a:pt x="219" y="2114"/>
                    <a:pt x="183" y="2149"/>
                    <a:pt x="139" y="2149"/>
                  </a:cubicBezTo>
                  <a:cubicBezTo>
                    <a:pt x="70" y="2149"/>
                    <a:pt x="70" y="2149"/>
                    <a:pt x="70" y="2149"/>
                  </a:cubicBezTo>
                  <a:cubicBezTo>
                    <a:pt x="31" y="2149"/>
                    <a:pt x="0" y="2181"/>
                    <a:pt x="0" y="2219"/>
                  </a:cubicBezTo>
                  <a:cubicBezTo>
                    <a:pt x="0" y="2258"/>
                    <a:pt x="31" y="2289"/>
                    <a:pt x="70" y="2289"/>
                  </a:cubicBezTo>
                  <a:cubicBezTo>
                    <a:pt x="139" y="2289"/>
                    <a:pt x="139" y="2289"/>
                    <a:pt x="139" y="2289"/>
                  </a:cubicBezTo>
                  <a:cubicBezTo>
                    <a:pt x="197" y="2289"/>
                    <a:pt x="250" y="2267"/>
                    <a:pt x="289" y="2230"/>
                  </a:cubicBezTo>
                  <a:cubicBezTo>
                    <a:pt x="329" y="2267"/>
                    <a:pt x="381" y="2289"/>
                    <a:pt x="439" y="2289"/>
                  </a:cubicBezTo>
                  <a:cubicBezTo>
                    <a:pt x="457" y="2289"/>
                    <a:pt x="457" y="2289"/>
                    <a:pt x="457" y="2289"/>
                  </a:cubicBezTo>
                  <a:cubicBezTo>
                    <a:pt x="578" y="2289"/>
                    <a:pt x="677" y="2191"/>
                    <a:pt x="677" y="2069"/>
                  </a:cubicBezTo>
                  <a:cubicBezTo>
                    <a:pt x="677" y="1301"/>
                    <a:pt x="677" y="1301"/>
                    <a:pt x="677" y="1301"/>
                  </a:cubicBezTo>
                  <a:cubicBezTo>
                    <a:pt x="809" y="1281"/>
                    <a:pt x="911" y="1167"/>
                    <a:pt x="911" y="1030"/>
                  </a:cubicBezTo>
                  <a:cubicBezTo>
                    <a:pt x="911" y="275"/>
                    <a:pt x="911" y="275"/>
                    <a:pt x="911" y="275"/>
                  </a:cubicBezTo>
                  <a:cubicBezTo>
                    <a:pt x="911" y="123"/>
                    <a:pt x="788" y="0"/>
                    <a:pt x="637" y="0"/>
                  </a:cubicBezTo>
                  <a:close/>
                </a:path>
              </a:pathLst>
            </a:custGeom>
            <a:solidFill>
              <a:srgbClr val="0065BD"/>
            </a:solidFill>
            <a:ln w="9525">
              <a:noFill/>
              <a:miter lim="800000"/>
              <a:headEnd/>
              <a:tailEnd/>
            </a:ln>
          </p:spPr>
          <p:txBody>
            <a:bodyPr/>
            <a:lstStyle/>
            <a:p>
              <a:endParaRPr lang="en-ZA"/>
            </a:p>
          </p:txBody>
        </p:sp>
        <p:sp>
          <p:nvSpPr>
            <p:cNvPr id="16428" name="Freeform 19"/>
            <p:cNvSpPr>
              <a:spLocks noEditPoints="1"/>
            </p:cNvSpPr>
            <p:nvPr/>
          </p:nvSpPr>
          <p:spPr bwMode="auto">
            <a:xfrm>
              <a:off x="2149475" y="0"/>
              <a:ext cx="1225550" cy="1227138"/>
            </a:xfrm>
            <a:custGeom>
              <a:avLst/>
              <a:gdLst>
                <a:gd name="T0" fmla="*/ 612775 w 634"/>
                <a:gd name="T1" fmla="*/ 1227138 h 634"/>
                <a:gd name="T2" fmla="*/ 1225550 w 634"/>
                <a:gd name="T3" fmla="*/ 613569 h 634"/>
                <a:gd name="T4" fmla="*/ 612775 w 634"/>
                <a:gd name="T5" fmla="*/ 0 h 634"/>
                <a:gd name="T6" fmla="*/ 0 w 634"/>
                <a:gd name="T7" fmla="*/ 613569 h 634"/>
                <a:gd name="T8" fmla="*/ 612775 w 634"/>
                <a:gd name="T9" fmla="*/ 1227138 h 634"/>
                <a:gd name="T10" fmla="*/ 612775 w 634"/>
                <a:gd name="T11" fmla="*/ 270977 h 634"/>
                <a:gd name="T12" fmla="*/ 954924 w 634"/>
                <a:gd name="T13" fmla="*/ 613569 h 634"/>
                <a:gd name="T14" fmla="*/ 612775 w 634"/>
                <a:gd name="T15" fmla="*/ 956161 h 634"/>
                <a:gd name="T16" fmla="*/ 270626 w 634"/>
                <a:gd name="T17" fmla="*/ 613569 h 634"/>
                <a:gd name="T18" fmla="*/ 612775 w 634"/>
                <a:gd name="T19" fmla="*/ 270977 h 6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4"/>
                <a:gd name="T31" fmla="*/ 0 h 634"/>
                <a:gd name="T32" fmla="*/ 634 w 634"/>
                <a:gd name="T33" fmla="*/ 634 h 6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4" h="634">
                  <a:moveTo>
                    <a:pt x="317" y="634"/>
                  </a:moveTo>
                  <a:cubicBezTo>
                    <a:pt x="492" y="634"/>
                    <a:pt x="634" y="491"/>
                    <a:pt x="634" y="317"/>
                  </a:cubicBezTo>
                  <a:cubicBezTo>
                    <a:pt x="634" y="142"/>
                    <a:pt x="492" y="0"/>
                    <a:pt x="317" y="0"/>
                  </a:cubicBezTo>
                  <a:cubicBezTo>
                    <a:pt x="142" y="0"/>
                    <a:pt x="0" y="142"/>
                    <a:pt x="0" y="317"/>
                  </a:cubicBezTo>
                  <a:cubicBezTo>
                    <a:pt x="0" y="491"/>
                    <a:pt x="142" y="634"/>
                    <a:pt x="317" y="634"/>
                  </a:cubicBezTo>
                  <a:close/>
                  <a:moveTo>
                    <a:pt x="317" y="140"/>
                  </a:moveTo>
                  <a:cubicBezTo>
                    <a:pt x="414" y="140"/>
                    <a:pt x="494" y="219"/>
                    <a:pt x="494" y="317"/>
                  </a:cubicBezTo>
                  <a:cubicBezTo>
                    <a:pt x="494" y="414"/>
                    <a:pt x="414" y="494"/>
                    <a:pt x="317" y="494"/>
                  </a:cubicBezTo>
                  <a:cubicBezTo>
                    <a:pt x="219" y="494"/>
                    <a:pt x="140" y="414"/>
                    <a:pt x="140" y="317"/>
                  </a:cubicBezTo>
                  <a:cubicBezTo>
                    <a:pt x="140" y="219"/>
                    <a:pt x="219" y="140"/>
                    <a:pt x="317" y="140"/>
                  </a:cubicBezTo>
                  <a:close/>
                </a:path>
              </a:pathLst>
            </a:custGeom>
            <a:solidFill>
              <a:srgbClr val="0065BD"/>
            </a:solidFill>
            <a:ln w="9525">
              <a:noFill/>
              <a:miter lim="800000"/>
              <a:headEnd/>
              <a:tailEnd/>
            </a:ln>
          </p:spPr>
          <p:txBody>
            <a:bodyPr/>
            <a:lstStyle/>
            <a:p>
              <a:endParaRPr lang="en-ZA"/>
            </a:p>
          </p:txBody>
        </p:sp>
        <p:sp>
          <p:nvSpPr>
            <p:cNvPr id="16429" name="Freeform 20"/>
            <p:cNvSpPr>
              <a:spLocks noEditPoints="1"/>
            </p:cNvSpPr>
            <p:nvPr/>
          </p:nvSpPr>
          <p:spPr bwMode="auto">
            <a:xfrm>
              <a:off x="1568450" y="1381125"/>
              <a:ext cx="2379663" cy="4811713"/>
            </a:xfrm>
            <a:custGeom>
              <a:avLst/>
              <a:gdLst>
                <a:gd name="T0" fmla="*/ 2228880 w 1231"/>
                <a:gd name="T1" fmla="*/ 3427813 h 2486"/>
                <a:gd name="T2" fmla="*/ 2333268 w 1231"/>
                <a:gd name="T3" fmla="*/ 3379425 h 2486"/>
                <a:gd name="T4" fmla="*/ 2362265 w 1231"/>
                <a:gd name="T5" fmla="*/ 3269100 h 2486"/>
                <a:gd name="T6" fmla="*/ 2201817 w 1231"/>
                <a:gd name="T7" fmla="*/ 2394243 h 2486"/>
                <a:gd name="T8" fmla="*/ 2379663 w 1231"/>
                <a:gd name="T9" fmla="*/ 1981977 h 2486"/>
                <a:gd name="T10" fmla="*/ 2379663 w 1231"/>
                <a:gd name="T11" fmla="*/ 570980 h 2486"/>
                <a:gd name="T12" fmla="*/ 1809394 w 1231"/>
                <a:gd name="T13" fmla="*/ 0 h 2486"/>
                <a:gd name="T14" fmla="*/ 576068 w 1231"/>
                <a:gd name="T15" fmla="*/ 0 h 2486"/>
                <a:gd name="T16" fmla="*/ 5799 w 1231"/>
                <a:gd name="T17" fmla="*/ 570980 h 2486"/>
                <a:gd name="T18" fmla="*/ 5799 w 1231"/>
                <a:gd name="T19" fmla="*/ 1981977 h 2486"/>
                <a:gd name="T20" fmla="*/ 175913 w 1231"/>
                <a:gd name="T21" fmla="*/ 2386501 h 2486"/>
                <a:gd name="T22" fmla="*/ 7732 w 1231"/>
                <a:gd name="T23" fmla="*/ 3267164 h 2486"/>
                <a:gd name="T24" fmla="*/ 36729 w 1231"/>
                <a:gd name="T25" fmla="*/ 3379425 h 2486"/>
                <a:gd name="T26" fmla="*/ 141117 w 1231"/>
                <a:gd name="T27" fmla="*/ 3427813 h 2486"/>
                <a:gd name="T28" fmla="*/ 442683 w 1231"/>
                <a:gd name="T29" fmla="*/ 3427813 h 2486"/>
                <a:gd name="T30" fmla="*/ 442683 w 1231"/>
                <a:gd name="T31" fmla="*/ 4385898 h 2486"/>
                <a:gd name="T32" fmla="*/ 867968 w 1231"/>
                <a:gd name="T33" fmla="*/ 4811713 h 2486"/>
                <a:gd name="T34" fmla="*/ 902764 w 1231"/>
                <a:gd name="T35" fmla="*/ 4811713 h 2486"/>
                <a:gd name="T36" fmla="*/ 1192731 w 1231"/>
                <a:gd name="T37" fmla="*/ 4697517 h 2486"/>
                <a:gd name="T38" fmla="*/ 1482698 w 1231"/>
                <a:gd name="T39" fmla="*/ 4811713 h 2486"/>
                <a:gd name="T40" fmla="*/ 1515561 w 1231"/>
                <a:gd name="T41" fmla="*/ 4811713 h 2486"/>
                <a:gd name="T42" fmla="*/ 1940846 w 1231"/>
                <a:gd name="T43" fmla="*/ 4385898 h 2486"/>
                <a:gd name="T44" fmla="*/ 1940846 w 1231"/>
                <a:gd name="T45" fmla="*/ 3427813 h 2486"/>
                <a:gd name="T46" fmla="*/ 2228880 w 1231"/>
                <a:gd name="T47" fmla="*/ 3427813 h 2486"/>
                <a:gd name="T48" fmla="*/ 456215 w 1231"/>
                <a:gd name="T49" fmla="*/ 2359404 h 2486"/>
                <a:gd name="T50" fmla="*/ 742316 w 1231"/>
                <a:gd name="T51" fmla="*/ 843888 h 2486"/>
                <a:gd name="T52" fmla="*/ 634061 w 1231"/>
                <a:gd name="T53" fmla="*/ 685176 h 2486"/>
                <a:gd name="T54" fmla="*/ 475546 w 1231"/>
                <a:gd name="T55" fmla="*/ 793565 h 2486"/>
                <a:gd name="T56" fmla="*/ 276435 w 1231"/>
                <a:gd name="T57" fmla="*/ 1848425 h 2486"/>
                <a:gd name="T58" fmla="*/ 276435 w 1231"/>
                <a:gd name="T59" fmla="*/ 570980 h 2486"/>
                <a:gd name="T60" fmla="*/ 576068 w 1231"/>
                <a:gd name="T61" fmla="*/ 270973 h 2486"/>
                <a:gd name="T62" fmla="*/ 1809394 w 1231"/>
                <a:gd name="T63" fmla="*/ 270973 h 2486"/>
                <a:gd name="T64" fmla="*/ 2109027 w 1231"/>
                <a:gd name="T65" fmla="*/ 570980 h 2486"/>
                <a:gd name="T66" fmla="*/ 2109027 w 1231"/>
                <a:gd name="T67" fmla="*/ 1885200 h 2486"/>
                <a:gd name="T68" fmla="*/ 1909916 w 1231"/>
                <a:gd name="T69" fmla="*/ 795500 h 2486"/>
                <a:gd name="T70" fmla="*/ 1753334 w 1231"/>
                <a:gd name="T71" fmla="*/ 685176 h 2486"/>
                <a:gd name="T72" fmla="*/ 1643146 w 1231"/>
                <a:gd name="T73" fmla="*/ 843888 h 2486"/>
                <a:gd name="T74" fmla="*/ 1921515 w 1231"/>
                <a:gd name="T75" fmla="*/ 2365211 h 2486"/>
                <a:gd name="T76" fmla="*/ 1921515 w 1231"/>
                <a:gd name="T77" fmla="*/ 2365211 h 2486"/>
                <a:gd name="T78" fmla="*/ 1921515 w 1231"/>
                <a:gd name="T79" fmla="*/ 2367146 h 2486"/>
                <a:gd name="T80" fmla="*/ 1921515 w 1231"/>
                <a:gd name="T81" fmla="*/ 2367146 h 2486"/>
                <a:gd name="T82" fmla="*/ 2066499 w 1231"/>
                <a:gd name="T83" fmla="*/ 3156840 h 2486"/>
                <a:gd name="T84" fmla="*/ 305432 w 1231"/>
                <a:gd name="T85" fmla="*/ 3156840 h 2486"/>
                <a:gd name="T86" fmla="*/ 456215 w 1231"/>
                <a:gd name="T87" fmla="*/ 2359404 h 2486"/>
                <a:gd name="T88" fmla="*/ 902764 w 1231"/>
                <a:gd name="T89" fmla="*/ 4540740 h 2486"/>
                <a:gd name="T90" fmla="*/ 867968 w 1231"/>
                <a:gd name="T91" fmla="*/ 4540740 h 2486"/>
                <a:gd name="T92" fmla="*/ 713319 w 1231"/>
                <a:gd name="T93" fmla="*/ 4385898 h 2486"/>
                <a:gd name="T94" fmla="*/ 713319 w 1231"/>
                <a:gd name="T95" fmla="*/ 3427813 h 2486"/>
                <a:gd name="T96" fmla="*/ 1057413 w 1231"/>
                <a:gd name="T97" fmla="*/ 3427813 h 2486"/>
                <a:gd name="T98" fmla="*/ 1057413 w 1231"/>
                <a:gd name="T99" fmla="*/ 4385898 h 2486"/>
                <a:gd name="T100" fmla="*/ 902764 w 1231"/>
                <a:gd name="T101" fmla="*/ 4540740 h 2486"/>
                <a:gd name="T102" fmla="*/ 1670210 w 1231"/>
                <a:gd name="T103" fmla="*/ 4385898 h 2486"/>
                <a:gd name="T104" fmla="*/ 1515561 w 1231"/>
                <a:gd name="T105" fmla="*/ 4540740 h 2486"/>
                <a:gd name="T106" fmla="*/ 1482698 w 1231"/>
                <a:gd name="T107" fmla="*/ 4540740 h 2486"/>
                <a:gd name="T108" fmla="*/ 1328049 w 1231"/>
                <a:gd name="T109" fmla="*/ 4385898 h 2486"/>
                <a:gd name="T110" fmla="*/ 1328049 w 1231"/>
                <a:gd name="T111" fmla="*/ 3427813 h 2486"/>
                <a:gd name="T112" fmla="*/ 1670210 w 1231"/>
                <a:gd name="T113" fmla="*/ 3427813 h 2486"/>
                <a:gd name="T114" fmla="*/ 1670210 w 1231"/>
                <a:gd name="T115" fmla="*/ 4385898 h 24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1"/>
                <a:gd name="T175" fmla="*/ 0 h 2486"/>
                <a:gd name="T176" fmla="*/ 1231 w 1231"/>
                <a:gd name="T177" fmla="*/ 2486 h 24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1" h="2486">
                  <a:moveTo>
                    <a:pt x="1153" y="1771"/>
                  </a:moveTo>
                  <a:cubicBezTo>
                    <a:pt x="1174" y="1771"/>
                    <a:pt x="1194" y="1762"/>
                    <a:pt x="1207" y="1746"/>
                  </a:cubicBezTo>
                  <a:cubicBezTo>
                    <a:pt x="1220" y="1730"/>
                    <a:pt x="1226" y="1709"/>
                    <a:pt x="1222" y="1689"/>
                  </a:cubicBezTo>
                  <a:cubicBezTo>
                    <a:pt x="1139" y="1237"/>
                    <a:pt x="1139" y="1237"/>
                    <a:pt x="1139" y="1237"/>
                  </a:cubicBezTo>
                  <a:cubicBezTo>
                    <a:pt x="1197" y="1182"/>
                    <a:pt x="1231" y="1105"/>
                    <a:pt x="1231" y="1024"/>
                  </a:cubicBezTo>
                  <a:cubicBezTo>
                    <a:pt x="1231" y="295"/>
                    <a:pt x="1231" y="295"/>
                    <a:pt x="1231" y="295"/>
                  </a:cubicBezTo>
                  <a:cubicBezTo>
                    <a:pt x="1231" y="132"/>
                    <a:pt x="1099" y="0"/>
                    <a:pt x="936" y="0"/>
                  </a:cubicBezTo>
                  <a:cubicBezTo>
                    <a:pt x="298" y="0"/>
                    <a:pt x="298" y="0"/>
                    <a:pt x="298" y="0"/>
                  </a:cubicBezTo>
                  <a:cubicBezTo>
                    <a:pt x="135" y="0"/>
                    <a:pt x="3" y="132"/>
                    <a:pt x="3" y="295"/>
                  </a:cubicBezTo>
                  <a:cubicBezTo>
                    <a:pt x="3" y="1024"/>
                    <a:pt x="3" y="1024"/>
                    <a:pt x="3" y="1024"/>
                  </a:cubicBezTo>
                  <a:cubicBezTo>
                    <a:pt x="3" y="1103"/>
                    <a:pt x="35" y="1178"/>
                    <a:pt x="91" y="1233"/>
                  </a:cubicBezTo>
                  <a:cubicBezTo>
                    <a:pt x="4" y="1688"/>
                    <a:pt x="4" y="1688"/>
                    <a:pt x="4" y="1688"/>
                  </a:cubicBezTo>
                  <a:cubicBezTo>
                    <a:pt x="0" y="1709"/>
                    <a:pt x="6" y="1730"/>
                    <a:pt x="19" y="1746"/>
                  </a:cubicBezTo>
                  <a:cubicBezTo>
                    <a:pt x="33" y="1762"/>
                    <a:pt x="52" y="1771"/>
                    <a:pt x="73" y="1771"/>
                  </a:cubicBezTo>
                  <a:cubicBezTo>
                    <a:pt x="229" y="1771"/>
                    <a:pt x="229" y="1771"/>
                    <a:pt x="229" y="1771"/>
                  </a:cubicBezTo>
                  <a:cubicBezTo>
                    <a:pt x="229" y="2266"/>
                    <a:pt x="229" y="2266"/>
                    <a:pt x="229" y="2266"/>
                  </a:cubicBezTo>
                  <a:cubicBezTo>
                    <a:pt x="229" y="2387"/>
                    <a:pt x="328" y="2486"/>
                    <a:pt x="449" y="2486"/>
                  </a:cubicBezTo>
                  <a:cubicBezTo>
                    <a:pt x="467" y="2486"/>
                    <a:pt x="467" y="2486"/>
                    <a:pt x="467" y="2486"/>
                  </a:cubicBezTo>
                  <a:cubicBezTo>
                    <a:pt x="525" y="2486"/>
                    <a:pt x="577" y="2464"/>
                    <a:pt x="617" y="2427"/>
                  </a:cubicBezTo>
                  <a:cubicBezTo>
                    <a:pt x="656" y="2464"/>
                    <a:pt x="709" y="2486"/>
                    <a:pt x="767" y="2486"/>
                  </a:cubicBezTo>
                  <a:cubicBezTo>
                    <a:pt x="784" y="2486"/>
                    <a:pt x="784" y="2486"/>
                    <a:pt x="784" y="2486"/>
                  </a:cubicBezTo>
                  <a:cubicBezTo>
                    <a:pt x="906" y="2486"/>
                    <a:pt x="1004" y="2387"/>
                    <a:pt x="1004" y="2266"/>
                  </a:cubicBezTo>
                  <a:cubicBezTo>
                    <a:pt x="1004" y="1771"/>
                    <a:pt x="1004" y="1771"/>
                    <a:pt x="1004" y="1771"/>
                  </a:cubicBezTo>
                  <a:lnTo>
                    <a:pt x="1153" y="1771"/>
                  </a:lnTo>
                  <a:close/>
                  <a:moveTo>
                    <a:pt x="236" y="1219"/>
                  </a:moveTo>
                  <a:cubicBezTo>
                    <a:pt x="384" y="436"/>
                    <a:pt x="384" y="436"/>
                    <a:pt x="384" y="436"/>
                  </a:cubicBezTo>
                  <a:cubicBezTo>
                    <a:pt x="391" y="398"/>
                    <a:pt x="366" y="362"/>
                    <a:pt x="328" y="354"/>
                  </a:cubicBezTo>
                  <a:cubicBezTo>
                    <a:pt x="290" y="347"/>
                    <a:pt x="254" y="372"/>
                    <a:pt x="246" y="410"/>
                  </a:cubicBezTo>
                  <a:cubicBezTo>
                    <a:pt x="143" y="955"/>
                    <a:pt x="143" y="955"/>
                    <a:pt x="143" y="955"/>
                  </a:cubicBezTo>
                  <a:cubicBezTo>
                    <a:pt x="143" y="295"/>
                    <a:pt x="143" y="295"/>
                    <a:pt x="143" y="295"/>
                  </a:cubicBezTo>
                  <a:cubicBezTo>
                    <a:pt x="143" y="209"/>
                    <a:pt x="213" y="140"/>
                    <a:pt x="298" y="140"/>
                  </a:cubicBezTo>
                  <a:cubicBezTo>
                    <a:pt x="936" y="140"/>
                    <a:pt x="936" y="140"/>
                    <a:pt x="936" y="140"/>
                  </a:cubicBezTo>
                  <a:cubicBezTo>
                    <a:pt x="1022" y="140"/>
                    <a:pt x="1091" y="209"/>
                    <a:pt x="1091" y="295"/>
                  </a:cubicBezTo>
                  <a:cubicBezTo>
                    <a:pt x="1091" y="974"/>
                    <a:pt x="1091" y="974"/>
                    <a:pt x="1091" y="974"/>
                  </a:cubicBezTo>
                  <a:cubicBezTo>
                    <a:pt x="988" y="411"/>
                    <a:pt x="988" y="411"/>
                    <a:pt x="988" y="411"/>
                  </a:cubicBezTo>
                  <a:cubicBezTo>
                    <a:pt x="981" y="373"/>
                    <a:pt x="945" y="347"/>
                    <a:pt x="907" y="354"/>
                  </a:cubicBezTo>
                  <a:cubicBezTo>
                    <a:pt x="869" y="361"/>
                    <a:pt x="843" y="398"/>
                    <a:pt x="850" y="436"/>
                  </a:cubicBezTo>
                  <a:cubicBezTo>
                    <a:pt x="994" y="1222"/>
                    <a:pt x="994" y="1222"/>
                    <a:pt x="994" y="1222"/>
                  </a:cubicBezTo>
                  <a:cubicBezTo>
                    <a:pt x="994" y="1222"/>
                    <a:pt x="994" y="1222"/>
                    <a:pt x="994" y="1222"/>
                  </a:cubicBezTo>
                  <a:cubicBezTo>
                    <a:pt x="994" y="1223"/>
                    <a:pt x="994" y="1223"/>
                    <a:pt x="994" y="1223"/>
                  </a:cubicBezTo>
                  <a:cubicBezTo>
                    <a:pt x="994" y="1223"/>
                    <a:pt x="994" y="1223"/>
                    <a:pt x="994" y="1223"/>
                  </a:cubicBezTo>
                  <a:cubicBezTo>
                    <a:pt x="1069" y="1631"/>
                    <a:pt x="1069" y="1631"/>
                    <a:pt x="1069" y="1631"/>
                  </a:cubicBezTo>
                  <a:cubicBezTo>
                    <a:pt x="158" y="1631"/>
                    <a:pt x="158" y="1631"/>
                    <a:pt x="158" y="1631"/>
                  </a:cubicBezTo>
                  <a:lnTo>
                    <a:pt x="236" y="1219"/>
                  </a:lnTo>
                  <a:close/>
                  <a:moveTo>
                    <a:pt x="467" y="2346"/>
                  </a:moveTo>
                  <a:cubicBezTo>
                    <a:pt x="449" y="2346"/>
                    <a:pt x="449" y="2346"/>
                    <a:pt x="449" y="2346"/>
                  </a:cubicBezTo>
                  <a:cubicBezTo>
                    <a:pt x="405" y="2346"/>
                    <a:pt x="369" y="2310"/>
                    <a:pt x="369" y="2266"/>
                  </a:cubicBezTo>
                  <a:cubicBezTo>
                    <a:pt x="369" y="1771"/>
                    <a:pt x="369" y="1771"/>
                    <a:pt x="369" y="1771"/>
                  </a:cubicBezTo>
                  <a:cubicBezTo>
                    <a:pt x="547" y="1771"/>
                    <a:pt x="547" y="1771"/>
                    <a:pt x="547" y="1771"/>
                  </a:cubicBezTo>
                  <a:cubicBezTo>
                    <a:pt x="547" y="2266"/>
                    <a:pt x="547" y="2266"/>
                    <a:pt x="547" y="2266"/>
                  </a:cubicBezTo>
                  <a:cubicBezTo>
                    <a:pt x="547" y="2310"/>
                    <a:pt x="511" y="2346"/>
                    <a:pt x="467" y="2346"/>
                  </a:cubicBezTo>
                  <a:close/>
                  <a:moveTo>
                    <a:pt x="864" y="2266"/>
                  </a:moveTo>
                  <a:cubicBezTo>
                    <a:pt x="864" y="2310"/>
                    <a:pt x="828" y="2346"/>
                    <a:pt x="784" y="2346"/>
                  </a:cubicBezTo>
                  <a:cubicBezTo>
                    <a:pt x="767" y="2346"/>
                    <a:pt x="767" y="2346"/>
                    <a:pt x="767" y="2346"/>
                  </a:cubicBezTo>
                  <a:cubicBezTo>
                    <a:pt x="723" y="2346"/>
                    <a:pt x="687" y="2310"/>
                    <a:pt x="687" y="2266"/>
                  </a:cubicBezTo>
                  <a:cubicBezTo>
                    <a:pt x="687" y="1771"/>
                    <a:pt x="687" y="1771"/>
                    <a:pt x="687" y="1771"/>
                  </a:cubicBezTo>
                  <a:cubicBezTo>
                    <a:pt x="864" y="1771"/>
                    <a:pt x="864" y="1771"/>
                    <a:pt x="864" y="1771"/>
                  </a:cubicBezTo>
                  <a:lnTo>
                    <a:pt x="864" y="2266"/>
                  </a:lnTo>
                  <a:close/>
                </a:path>
              </a:pathLst>
            </a:custGeom>
            <a:solidFill>
              <a:srgbClr val="0065BD"/>
            </a:solidFill>
            <a:ln w="9525">
              <a:noFill/>
              <a:miter lim="800000"/>
              <a:headEnd/>
              <a:tailEnd/>
            </a:ln>
          </p:spPr>
          <p:txBody>
            <a:bodyPr/>
            <a:lstStyle/>
            <a:p>
              <a:endParaRPr lang="en-ZA"/>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Object 139"/>
          <p:cNvGraphicFramePr>
            <a:graphicFrameLocks noChangeAspect="1"/>
          </p:cNvGraphicFramePr>
          <p:nvPr/>
        </p:nvGraphicFramePr>
        <p:xfrm>
          <a:off x="1588" y="1588"/>
          <a:ext cx="1587" cy="1587"/>
        </p:xfrm>
        <a:graphic>
          <a:graphicData uri="http://schemas.openxmlformats.org/presentationml/2006/ole">
            <p:oleObj spid="_x0000_s17410" name="think-cell Slide" r:id="rId8" imgW="360" imgH="360" progId="">
              <p:embed/>
            </p:oleObj>
          </a:graphicData>
        </a:graphic>
      </p:graphicFrame>
      <p:sp>
        <p:nvSpPr>
          <p:cNvPr id="3" name="Rectangle 2"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grpSp>
        <p:nvGrpSpPr>
          <p:cNvPr id="17412" name="Group 80"/>
          <p:cNvGrpSpPr>
            <a:grpSpLocks/>
          </p:cNvGrpSpPr>
          <p:nvPr/>
        </p:nvGrpSpPr>
        <p:grpSpPr bwMode="auto">
          <a:xfrm>
            <a:off x="0" y="1220788"/>
            <a:ext cx="8961438" cy="479425"/>
            <a:chOff x="-1" y="1203325"/>
            <a:chExt cx="8961439" cy="479426"/>
          </a:xfrm>
        </p:grpSpPr>
        <p:sp>
          <p:nvSpPr>
            <p:cNvPr id="82" name="Rectangle 81">
              <a:extLst>
                <a:ext uri="{FF2B5EF4-FFF2-40B4-BE49-F238E27FC236}"/>
              </a:extLst>
            </p:cNvPr>
            <p:cNvSpPr>
              <a:spLocks/>
            </p:cNvSpPr>
            <p:nvPr/>
          </p:nvSpPr>
          <p:spPr>
            <a:xfrm>
              <a:off x="-1" y="1211262"/>
              <a:ext cx="8961439" cy="471489"/>
            </a:xfrm>
            <a:prstGeom prst="rect">
              <a:avLst/>
            </a:prstGeom>
            <a:gradFill flip="none" rotWithShape="1">
              <a:gsLst>
                <a:gs pos="0">
                  <a:schemeClr val="accent6">
                    <a:lumMod val="20000"/>
                    <a:lumOff val="80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chemeClr val="tx1"/>
                </a:solidFill>
              </a:endParaRPr>
            </a:p>
          </p:txBody>
        </p:sp>
        <p:cxnSp>
          <p:nvCxnSpPr>
            <p:cNvPr id="83" name="Straight Connector 82">
              <a:extLst>
                <a:ext uri="{FF2B5EF4-FFF2-40B4-BE49-F238E27FC236}"/>
              </a:extLst>
            </p:cNvPr>
            <p:cNvCxnSpPr/>
            <p:nvPr/>
          </p:nvCxnSpPr>
          <p:spPr bwMode="gray">
            <a:xfrm>
              <a:off x="-1" y="1203325"/>
              <a:ext cx="8961439"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7413" name="Title 1"/>
          <p:cNvSpPr>
            <a:spLocks noGrp="1"/>
          </p:cNvSpPr>
          <p:nvPr>
            <p:ph type="title"/>
          </p:nvPr>
        </p:nvSpPr>
        <p:spPr>
          <a:xfrm>
            <a:off x="119063" y="230188"/>
            <a:ext cx="8618537" cy="615950"/>
          </a:xfrm>
        </p:spPr>
        <p:txBody>
          <a:bodyPr/>
          <a:lstStyle/>
          <a:p>
            <a:r>
              <a:rPr lang="en-US" smtClean="0"/>
              <a:t>A state-by-state view shows a wide variation in under-five mortality rates with a range from 45 to 210 deaths </a:t>
            </a:r>
          </a:p>
        </p:txBody>
      </p:sp>
      <p:sp>
        <p:nvSpPr>
          <p:cNvPr id="117" name="ACET">
            <a:extLst>
              <a:ext uri="{FF2B5EF4-FFF2-40B4-BE49-F238E27FC236}"/>
            </a:extLst>
          </p:cNvPr>
          <p:cNvSpPr>
            <a:spLocks noChangeArrowheads="1"/>
          </p:cNvSpPr>
          <p:nvPr/>
        </p:nvSpPr>
        <p:spPr bwMode="gray">
          <a:xfrm>
            <a:off x="119063" y="942975"/>
            <a:ext cx="8618537" cy="233363"/>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ZA" sz="1400" b="1" dirty="0">
                <a:solidFill>
                  <a:schemeClr val="accent4"/>
                </a:solidFill>
                <a:latin typeface="Arial" charset="0"/>
                <a:cs typeface="+mn-cs"/>
              </a:rPr>
              <a:t>Under-five mortality rate by State 2017, </a:t>
            </a:r>
            <a:r>
              <a:rPr lang="en-US" sz="1400" dirty="0">
                <a:solidFill>
                  <a:schemeClr val="accent6"/>
                </a:solidFill>
                <a:latin typeface="Arial" charset="0"/>
                <a:cs typeface="+mn-cs"/>
              </a:rPr>
              <a:t>No. of deaths per 1000 live births</a:t>
            </a:r>
          </a:p>
        </p:txBody>
      </p:sp>
      <p:sp>
        <p:nvSpPr>
          <p:cNvPr id="106"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UNICEF Multiple Indicator Cluster Survey Nigeria 2016-2017</a:t>
            </a:r>
          </a:p>
        </p:txBody>
      </p:sp>
      <p:sp>
        <p:nvSpPr>
          <p:cNvPr id="109" name="1. On-page tracker">
            <a:extLst>
              <a:ext uri="{FF2B5EF4-FFF2-40B4-BE49-F238E27FC236}"/>
            </a:extLst>
          </p:cNvPr>
          <p:cNvSpPr>
            <a:spLocks noChangeArrowheads="1"/>
          </p:cNvSpPr>
          <p:nvPr/>
        </p:nvSpPr>
        <p:spPr bwMode="gray">
          <a:xfrm>
            <a:off x="119063" y="61913"/>
            <a:ext cx="1244600" cy="12223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UNDER-FIVE MORTALITY</a:t>
            </a:r>
          </a:p>
        </p:txBody>
      </p:sp>
      <p:grpSp>
        <p:nvGrpSpPr>
          <p:cNvPr id="17417" name="Group 5"/>
          <p:cNvGrpSpPr>
            <a:grpSpLocks/>
          </p:cNvGrpSpPr>
          <p:nvPr/>
        </p:nvGrpSpPr>
        <p:grpSpPr bwMode="auto">
          <a:xfrm>
            <a:off x="7634288" y="1487488"/>
            <a:ext cx="1287462" cy="1000125"/>
            <a:chOff x="7381580" y="1233928"/>
            <a:chExt cx="1286139" cy="1000656"/>
          </a:xfrm>
        </p:grpSpPr>
        <p:grpSp>
          <p:nvGrpSpPr>
            <p:cNvPr id="17495" name="Group 10"/>
            <p:cNvGrpSpPr>
              <a:grpSpLocks/>
            </p:cNvGrpSpPr>
            <p:nvPr/>
          </p:nvGrpSpPr>
          <p:grpSpPr bwMode="auto">
            <a:xfrm>
              <a:off x="7381580" y="1233928"/>
              <a:ext cx="1286139" cy="461666"/>
              <a:chOff x="6775753" y="791162"/>
              <a:chExt cx="905639" cy="273462"/>
            </a:xfrm>
          </p:grpSpPr>
          <p:sp>
            <p:nvSpPr>
              <p:cNvPr id="77" name="RectangleLegend1">
                <a:extLst>
                  <a:ext uri="{FF2B5EF4-FFF2-40B4-BE49-F238E27FC236}"/>
                </a:extLst>
              </p:cNvPr>
              <p:cNvSpPr>
                <a:spLocks noChangeArrowheads="1"/>
              </p:cNvSpPr>
              <p:nvPr/>
            </p:nvSpPr>
            <p:spPr bwMode="gray">
              <a:xfrm>
                <a:off x="6775753" y="791162"/>
                <a:ext cx="204355" cy="154297"/>
              </a:xfrm>
              <a:prstGeom prst="rect">
                <a:avLst/>
              </a:prstGeom>
              <a:solidFill>
                <a:srgbClr val="FF9900"/>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78" name="Legend2">
                <a:extLst>
                  <a:ext uri="{FF2B5EF4-FFF2-40B4-BE49-F238E27FC236}"/>
                </a:extLst>
              </p:cNvPr>
              <p:cNvSpPr>
                <a:spLocks noChangeArrowheads="1"/>
              </p:cNvSpPr>
              <p:nvPr>
                <p:custDataLst>
                  <p:tags r:id="rId5"/>
                </p:custDataLst>
              </p:nvPr>
            </p:nvSpPr>
            <p:spPr bwMode="gray">
              <a:xfrm>
                <a:off x="7090661" y="791162"/>
                <a:ext cx="590731" cy="273783"/>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0-79 deaths per 1000 births</a:t>
                </a:r>
              </a:p>
            </p:txBody>
          </p:sp>
        </p:grpSp>
        <p:grpSp>
          <p:nvGrpSpPr>
            <p:cNvPr id="17496" name="Group 9"/>
            <p:cNvGrpSpPr>
              <a:grpSpLocks/>
            </p:cNvGrpSpPr>
            <p:nvPr/>
          </p:nvGrpSpPr>
          <p:grpSpPr bwMode="auto">
            <a:xfrm>
              <a:off x="7399549" y="1772919"/>
              <a:ext cx="1268170" cy="461665"/>
              <a:chOff x="7477032" y="821013"/>
              <a:chExt cx="892986" cy="273462"/>
            </a:xfrm>
          </p:grpSpPr>
          <p:sp>
            <p:nvSpPr>
              <p:cNvPr id="75" name="RectangleLegend2">
                <a:extLst>
                  <a:ext uri="{FF2B5EF4-FFF2-40B4-BE49-F238E27FC236}"/>
                </a:extLst>
              </p:cNvPr>
              <p:cNvSpPr>
                <a:spLocks noChangeArrowheads="1"/>
              </p:cNvSpPr>
              <p:nvPr/>
            </p:nvSpPr>
            <p:spPr bwMode="gray">
              <a:xfrm>
                <a:off x="7476663" y="820691"/>
                <a:ext cx="204355" cy="154297"/>
              </a:xfrm>
              <a:prstGeom prst="rect">
                <a:avLst/>
              </a:prstGeom>
              <a:solidFill>
                <a:srgbClr val="CD202C"/>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76" name="Legend2">
                <a:extLst>
                  <a:ext uri="{FF2B5EF4-FFF2-40B4-BE49-F238E27FC236}"/>
                </a:extLst>
              </p:cNvPr>
              <p:cNvSpPr>
                <a:spLocks noChangeArrowheads="1"/>
              </p:cNvSpPr>
              <p:nvPr>
                <p:custDataLst>
                  <p:tags r:id="rId4"/>
                </p:custDataLst>
              </p:nvPr>
            </p:nvSpPr>
            <p:spPr bwMode="gray">
              <a:xfrm>
                <a:off x="7791570" y="820691"/>
                <a:ext cx="578448" cy="273784"/>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80-210 deaths per 1000 births</a:t>
                </a:r>
              </a:p>
            </p:txBody>
          </p:sp>
        </p:grpSp>
      </p:grpSp>
      <p:sp>
        <p:nvSpPr>
          <p:cNvPr id="17418" name="Freeform 26"/>
          <p:cNvSpPr>
            <a:spLocks/>
          </p:cNvSpPr>
          <p:nvPr/>
        </p:nvSpPr>
        <p:spPr bwMode="gray">
          <a:xfrm>
            <a:off x="1422400" y="3932238"/>
            <a:ext cx="958850" cy="1069975"/>
          </a:xfrm>
          <a:custGeom>
            <a:avLst/>
            <a:gdLst>
              <a:gd name="T0" fmla="*/ 58538 w 1212"/>
              <a:gd name="T1" fmla="*/ 91162 h 1326"/>
              <a:gd name="T2" fmla="*/ 47464 w 1212"/>
              <a:gd name="T3" fmla="*/ 93582 h 1326"/>
              <a:gd name="T4" fmla="*/ 49046 w 1212"/>
              <a:gd name="T5" fmla="*/ 88742 h 1326"/>
              <a:gd name="T6" fmla="*/ 47464 w 1212"/>
              <a:gd name="T7" fmla="*/ 84708 h 1326"/>
              <a:gd name="T8" fmla="*/ 41135 w 1212"/>
              <a:gd name="T9" fmla="*/ 77447 h 1326"/>
              <a:gd name="T10" fmla="*/ 37180 w 1212"/>
              <a:gd name="T11" fmla="*/ 79061 h 1326"/>
              <a:gd name="T12" fmla="*/ 34807 w 1212"/>
              <a:gd name="T13" fmla="*/ 75027 h 1326"/>
              <a:gd name="T14" fmla="*/ 31642 w 1212"/>
              <a:gd name="T15" fmla="*/ 77447 h 1326"/>
              <a:gd name="T16" fmla="*/ 27687 w 1212"/>
              <a:gd name="T17" fmla="*/ 82288 h 1326"/>
              <a:gd name="T18" fmla="*/ 21359 w 1212"/>
              <a:gd name="T19" fmla="*/ 80674 h 1326"/>
              <a:gd name="T20" fmla="*/ 18194 w 1212"/>
              <a:gd name="T21" fmla="*/ 77447 h 1326"/>
              <a:gd name="T22" fmla="*/ 15821 w 1212"/>
              <a:gd name="T23" fmla="*/ 72607 h 1326"/>
              <a:gd name="T24" fmla="*/ 14239 w 1212"/>
              <a:gd name="T25" fmla="*/ 71800 h 1326"/>
              <a:gd name="T26" fmla="*/ 14239 w 1212"/>
              <a:gd name="T27" fmla="*/ 68573 h 1326"/>
              <a:gd name="T28" fmla="*/ 15030 w 1212"/>
              <a:gd name="T29" fmla="*/ 66960 h 1326"/>
              <a:gd name="T30" fmla="*/ 15030 w 1212"/>
              <a:gd name="T31" fmla="*/ 66153 h 1326"/>
              <a:gd name="T32" fmla="*/ 15821 w 1212"/>
              <a:gd name="T33" fmla="*/ 63733 h 1326"/>
              <a:gd name="T34" fmla="*/ 15030 w 1212"/>
              <a:gd name="T35" fmla="*/ 60506 h 1326"/>
              <a:gd name="T36" fmla="*/ 13448 w 1212"/>
              <a:gd name="T37" fmla="*/ 62119 h 1326"/>
              <a:gd name="T38" fmla="*/ 11075 w 1212"/>
              <a:gd name="T39" fmla="*/ 61312 h 1326"/>
              <a:gd name="T40" fmla="*/ 9493 w 1212"/>
              <a:gd name="T41" fmla="*/ 57279 h 1326"/>
              <a:gd name="T42" fmla="*/ 6328 w 1212"/>
              <a:gd name="T43" fmla="*/ 55665 h 1326"/>
              <a:gd name="T44" fmla="*/ 0 w 1212"/>
              <a:gd name="T45" fmla="*/ 58085 h 1326"/>
              <a:gd name="T46" fmla="*/ 1582 w 1212"/>
              <a:gd name="T47" fmla="*/ 54052 h 1326"/>
              <a:gd name="T48" fmla="*/ 2373 w 1212"/>
              <a:gd name="T49" fmla="*/ 49211 h 1326"/>
              <a:gd name="T50" fmla="*/ 3164 w 1212"/>
              <a:gd name="T51" fmla="*/ 45178 h 1326"/>
              <a:gd name="T52" fmla="*/ 3164 w 1212"/>
              <a:gd name="T53" fmla="*/ 41951 h 1326"/>
              <a:gd name="T54" fmla="*/ 1582 w 1212"/>
              <a:gd name="T55" fmla="*/ 37917 h 1326"/>
              <a:gd name="T56" fmla="*/ 1582 w 1212"/>
              <a:gd name="T57" fmla="*/ 33883 h 1326"/>
              <a:gd name="T58" fmla="*/ 3955 w 1212"/>
              <a:gd name="T59" fmla="*/ 31463 h 1326"/>
              <a:gd name="T60" fmla="*/ 3955 w 1212"/>
              <a:gd name="T61" fmla="*/ 28236 h 1326"/>
              <a:gd name="T62" fmla="*/ 5537 w 1212"/>
              <a:gd name="T63" fmla="*/ 25009 h 1326"/>
              <a:gd name="T64" fmla="*/ 11075 w 1212"/>
              <a:gd name="T65" fmla="*/ 25009 h 1326"/>
              <a:gd name="T66" fmla="*/ 14239 w 1212"/>
              <a:gd name="T67" fmla="*/ 21782 h 1326"/>
              <a:gd name="T68" fmla="*/ 17403 w 1212"/>
              <a:gd name="T69" fmla="*/ 19362 h 1326"/>
              <a:gd name="T70" fmla="*/ 21359 w 1212"/>
              <a:gd name="T71" fmla="*/ 16135 h 1326"/>
              <a:gd name="T72" fmla="*/ 27687 w 1212"/>
              <a:gd name="T73" fmla="*/ 16942 h 1326"/>
              <a:gd name="T74" fmla="*/ 48255 w 1212"/>
              <a:gd name="T75" fmla="*/ 6454 h 1326"/>
              <a:gd name="T76" fmla="*/ 57747 w 1212"/>
              <a:gd name="T77" fmla="*/ 3227 h 1326"/>
              <a:gd name="T78" fmla="*/ 68031 w 1212"/>
              <a:gd name="T79" fmla="*/ 9681 h 1326"/>
              <a:gd name="T80" fmla="*/ 72777 w 1212"/>
              <a:gd name="T81" fmla="*/ 10488 h 1326"/>
              <a:gd name="T82" fmla="*/ 68031 w 1212"/>
              <a:gd name="T83" fmla="*/ 14521 h 1326"/>
              <a:gd name="T84" fmla="*/ 69613 w 1212"/>
              <a:gd name="T85" fmla="*/ 26622 h 1326"/>
              <a:gd name="T86" fmla="*/ 76733 w 1212"/>
              <a:gd name="T87" fmla="*/ 39530 h 1326"/>
              <a:gd name="T88" fmla="*/ 80688 w 1212"/>
              <a:gd name="T89" fmla="*/ 45984 h 1326"/>
              <a:gd name="T90" fmla="*/ 82270 w 1212"/>
              <a:gd name="T91" fmla="*/ 54052 h 1326"/>
              <a:gd name="T92" fmla="*/ 79897 w 1212"/>
              <a:gd name="T93" fmla="*/ 55665 h 1326"/>
              <a:gd name="T94" fmla="*/ 76733 w 1212"/>
              <a:gd name="T95" fmla="*/ 55665 h 1326"/>
              <a:gd name="T96" fmla="*/ 75942 w 1212"/>
              <a:gd name="T97" fmla="*/ 57279 h 1326"/>
              <a:gd name="T98" fmla="*/ 73569 w 1212"/>
              <a:gd name="T99" fmla="*/ 56472 h 1326"/>
              <a:gd name="T100" fmla="*/ 68031 w 1212"/>
              <a:gd name="T101" fmla="*/ 55665 h 1326"/>
              <a:gd name="T102" fmla="*/ 64867 w 1212"/>
              <a:gd name="T103" fmla="*/ 58892 h 1326"/>
              <a:gd name="T104" fmla="*/ 62494 w 1212"/>
              <a:gd name="T105" fmla="*/ 59699 h 1326"/>
              <a:gd name="T106" fmla="*/ 61703 w 1212"/>
              <a:gd name="T107" fmla="*/ 63733 h 1326"/>
              <a:gd name="T108" fmla="*/ 61703 w 1212"/>
              <a:gd name="T109" fmla="*/ 66960 h 1326"/>
              <a:gd name="T110" fmla="*/ 64867 w 1212"/>
              <a:gd name="T111" fmla="*/ 70186 h 1326"/>
              <a:gd name="T112" fmla="*/ 65658 w 1212"/>
              <a:gd name="T113" fmla="*/ 72607 h 1326"/>
              <a:gd name="T114" fmla="*/ 64867 w 1212"/>
              <a:gd name="T115" fmla="*/ 75834 h 1326"/>
              <a:gd name="T116" fmla="*/ 64867 w 1212"/>
              <a:gd name="T117" fmla="*/ 79061 h 1326"/>
              <a:gd name="T118" fmla="*/ 64867 w 1212"/>
              <a:gd name="T119" fmla="*/ 83901 h 1326"/>
              <a:gd name="T120" fmla="*/ 61703 w 1212"/>
              <a:gd name="T121" fmla="*/ 88742 h 13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12"/>
              <a:gd name="T184" fmla="*/ 0 h 1326"/>
              <a:gd name="T185" fmla="*/ 1212 w 1212"/>
              <a:gd name="T186" fmla="*/ 1326 h 13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12" h="1326">
                <a:moveTo>
                  <a:pt x="906" y="1290"/>
                </a:moveTo>
                <a:lnTo>
                  <a:pt x="906" y="1296"/>
                </a:lnTo>
                <a:lnTo>
                  <a:pt x="900" y="1296"/>
                </a:lnTo>
                <a:lnTo>
                  <a:pt x="876" y="1290"/>
                </a:lnTo>
                <a:lnTo>
                  <a:pt x="870" y="1290"/>
                </a:lnTo>
                <a:lnTo>
                  <a:pt x="864" y="1296"/>
                </a:lnTo>
                <a:lnTo>
                  <a:pt x="852" y="1296"/>
                </a:lnTo>
                <a:lnTo>
                  <a:pt x="840" y="1302"/>
                </a:lnTo>
                <a:lnTo>
                  <a:pt x="834" y="1308"/>
                </a:lnTo>
                <a:lnTo>
                  <a:pt x="822" y="1320"/>
                </a:lnTo>
                <a:lnTo>
                  <a:pt x="816" y="1320"/>
                </a:lnTo>
                <a:lnTo>
                  <a:pt x="732" y="1320"/>
                </a:lnTo>
                <a:lnTo>
                  <a:pt x="696" y="1320"/>
                </a:lnTo>
                <a:lnTo>
                  <a:pt x="690" y="1326"/>
                </a:lnTo>
                <a:lnTo>
                  <a:pt x="678" y="1326"/>
                </a:lnTo>
                <a:lnTo>
                  <a:pt x="672" y="1308"/>
                </a:lnTo>
                <a:lnTo>
                  <a:pt x="696" y="1302"/>
                </a:lnTo>
                <a:lnTo>
                  <a:pt x="708" y="1296"/>
                </a:lnTo>
                <a:lnTo>
                  <a:pt x="720" y="1284"/>
                </a:lnTo>
                <a:lnTo>
                  <a:pt x="714" y="1278"/>
                </a:lnTo>
                <a:lnTo>
                  <a:pt x="714" y="1266"/>
                </a:lnTo>
                <a:lnTo>
                  <a:pt x="708" y="1260"/>
                </a:lnTo>
                <a:lnTo>
                  <a:pt x="708" y="1254"/>
                </a:lnTo>
                <a:lnTo>
                  <a:pt x="708" y="1248"/>
                </a:lnTo>
                <a:lnTo>
                  <a:pt x="702" y="1236"/>
                </a:lnTo>
                <a:lnTo>
                  <a:pt x="702" y="1230"/>
                </a:lnTo>
                <a:lnTo>
                  <a:pt x="702" y="1218"/>
                </a:lnTo>
                <a:lnTo>
                  <a:pt x="696" y="1200"/>
                </a:lnTo>
                <a:lnTo>
                  <a:pt x="696" y="1182"/>
                </a:lnTo>
                <a:lnTo>
                  <a:pt x="666" y="1182"/>
                </a:lnTo>
                <a:lnTo>
                  <a:pt x="672" y="1134"/>
                </a:lnTo>
                <a:lnTo>
                  <a:pt x="666" y="1128"/>
                </a:lnTo>
                <a:lnTo>
                  <a:pt x="660" y="1092"/>
                </a:lnTo>
                <a:lnTo>
                  <a:pt x="654" y="1098"/>
                </a:lnTo>
                <a:lnTo>
                  <a:pt x="594" y="1098"/>
                </a:lnTo>
                <a:lnTo>
                  <a:pt x="576" y="1098"/>
                </a:lnTo>
                <a:lnTo>
                  <a:pt x="570" y="1104"/>
                </a:lnTo>
                <a:lnTo>
                  <a:pt x="564" y="1110"/>
                </a:lnTo>
                <a:lnTo>
                  <a:pt x="558" y="1110"/>
                </a:lnTo>
                <a:lnTo>
                  <a:pt x="552" y="1110"/>
                </a:lnTo>
                <a:lnTo>
                  <a:pt x="546" y="1110"/>
                </a:lnTo>
                <a:lnTo>
                  <a:pt x="546" y="1116"/>
                </a:lnTo>
                <a:lnTo>
                  <a:pt x="546" y="1122"/>
                </a:lnTo>
                <a:lnTo>
                  <a:pt x="540" y="1128"/>
                </a:lnTo>
                <a:lnTo>
                  <a:pt x="510" y="1128"/>
                </a:lnTo>
                <a:lnTo>
                  <a:pt x="522" y="1104"/>
                </a:lnTo>
                <a:lnTo>
                  <a:pt x="510" y="1098"/>
                </a:lnTo>
                <a:lnTo>
                  <a:pt x="510" y="1074"/>
                </a:lnTo>
                <a:lnTo>
                  <a:pt x="504" y="1068"/>
                </a:lnTo>
                <a:lnTo>
                  <a:pt x="498" y="1068"/>
                </a:lnTo>
                <a:lnTo>
                  <a:pt x="492" y="1068"/>
                </a:lnTo>
                <a:lnTo>
                  <a:pt x="474" y="1080"/>
                </a:lnTo>
                <a:lnTo>
                  <a:pt x="474" y="1086"/>
                </a:lnTo>
                <a:lnTo>
                  <a:pt x="474" y="1092"/>
                </a:lnTo>
                <a:lnTo>
                  <a:pt x="468" y="1098"/>
                </a:lnTo>
                <a:lnTo>
                  <a:pt x="462" y="1104"/>
                </a:lnTo>
                <a:lnTo>
                  <a:pt x="456" y="1110"/>
                </a:lnTo>
                <a:lnTo>
                  <a:pt x="456" y="1122"/>
                </a:lnTo>
                <a:lnTo>
                  <a:pt x="456" y="1128"/>
                </a:lnTo>
                <a:lnTo>
                  <a:pt x="450" y="1140"/>
                </a:lnTo>
                <a:lnTo>
                  <a:pt x="444" y="1146"/>
                </a:lnTo>
                <a:lnTo>
                  <a:pt x="426" y="1170"/>
                </a:lnTo>
                <a:lnTo>
                  <a:pt x="408" y="1176"/>
                </a:lnTo>
                <a:lnTo>
                  <a:pt x="402" y="1170"/>
                </a:lnTo>
                <a:lnTo>
                  <a:pt x="396" y="1170"/>
                </a:lnTo>
                <a:lnTo>
                  <a:pt x="396" y="1158"/>
                </a:lnTo>
                <a:lnTo>
                  <a:pt x="384" y="1152"/>
                </a:lnTo>
                <a:lnTo>
                  <a:pt x="372" y="1140"/>
                </a:lnTo>
                <a:lnTo>
                  <a:pt x="354" y="1140"/>
                </a:lnTo>
                <a:lnTo>
                  <a:pt x="306" y="1146"/>
                </a:lnTo>
                <a:lnTo>
                  <a:pt x="294" y="1134"/>
                </a:lnTo>
                <a:lnTo>
                  <a:pt x="294" y="1128"/>
                </a:lnTo>
                <a:lnTo>
                  <a:pt x="288" y="1122"/>
                </a:lnTo>
                <a:lnTo>
                  <a:pt x="276" y="1122"/>
                </a:lnTo>
                <a:lnTo>
                  <a:pt x="276" y="1110"/>
                </a:lnTo>
                <a:lnTo>
                  <a:pt x="276" y="1104"/>
                </a:lnTo>
                <a:lnTo>
                  <a:pt x="270" y="1098"/>
                </a:lnTo>
                <a:lnTo>
                  <a:pt x="264" y="1086"/>
                </a:lnTo>
                <a:lnTo>
                  <a:pt x="264" y="1074"/>
                </a:lnTo>
                <a:lnTo>
                  <a:pt x="258" y="1068"/>
                </a:lnTo>
                <a:lnTo>
                  <a:pt x="252" y="1056"/>
                </a:lnTo>
                <a:lnTo>
                  <a:pt x="246" y="1056"/>
                </a:lnTo>
                <a:lnTo>
                  <a:pt x="246" y="1050"/>
                </a:lnTo>
                <a:lnTo>
                  <a:pt x="234" y="1038"/>
                </a:lnTo>
                <a:lnTo>
                  <a:pt x="228" y="1038"/>
                </a:lnTo>
                <a:lnTo>
                  <a:pt x="222" y="1038"/>
                </a:lnTo>
                <a:lnTo>
                  <a:pt x="216" y="1038"/>
                </a:lnTo>
                <a:lnTo>
                  <a:pt x="216" y="1032"/>
                </a:lnTo>
                <a:lnTo>
                  <a:pt x="216" y="1026"/>
                </a:lnTo>
                <a:lnTo>
                  <a:pt x="210" y="1020"/>
                </a:lnTo>
                <a:lnTo>
                  <a:pt x="204" y="1014"/>
                </a:lnTo>
                <a:lnTo>
                  <a:pt x="204" y="1008"/>
                </a:lnTo>
                <a:lnTo>
                  <a:pt x="198" y="1002"/>
                </a:lnTo>
                <a:lnTo>
                  <a:pt x="198" y="996"/>
                </a:lnTo>
                <a:lnTo>
                  <a:pt x="198" y="990"/>
                </a:lnTo>
                <a:lnTo>
                  <a:pt x="204" y="990"/>
                </a:lnTo>
                <a:lnTo>
                  <a:pt x="204" y="984"/>
                </a:lnTo>
                <a:lnTo>
                  <a:pt x="210" y="978"/>
                </a:lnTo>
                <a:lnTo>
                  <a:pt x="210" y="972"/>
                </a:lnTo>
                <a:lnTo>
                  <a:pt x="210" y="966"/>
                </a:lnTo>
                <a:lnTo>
                  <a:pt x="216" y="960"/>
                </a:lnTo>
                <a:lnTo>
                  <a:pt x="216" y="954"/>
                </a:lnTo>
                <a:lnTo>
                  <a:pt x="210" y="954"/>
                </a:lnTo>
                <a:lnTo>
                  <a:pt x="204" y="954"/>
                </a:lnTo>
                <a:lnTo>
                  <a:pt x="216" y="954"/>
                </a:lnTo>
                <a:lnTo>
                  <a:pt x="216" y="948"/>
                </a:lnTo>
                <a:lnTo>
                  <a:pt x="210" y="948"/>
                </a:lnTo>
                <a:lnTo>
                  <a:pt x="210" y="942"/>
                </a:lnTo>
                <a:lnTo>
                  <a:pt x="216" y="942"/>
                </a:lnTo>
                <a:lnTo>
                  <a:pt x="222" y="942"/>
                </a:lnTo>
                <a:lnTo>
                  <a:pt x="222" y="936"/>
                </a:lnTo>
                <a:lnTo>
                  <a:pt x="216" y="936"/>
                </a:lnTo>
                <a:lnTo>
                  <a:pt x="210" y="936"/>
                </a:lnTo>
                <a:lnTo>
                  <a:pt x="210" y="930"/>
                </a:lnTo>
                <a:lnTo>
                  <a:pt x="216" y="930"/>
                </a:lnTo>
                <a:lnTo>
                  <a:pt x="222" y="930"/>
                </a:lnTo>
                <a:lnTo>
                  <a:pt x="222" y="918"/>
                </a:lnTo>
                <a:lnTo>
                  <a:pt x="228" y="912"/>
                </a:lnTo>
                <a:lnTo>
                  <a:pt x="228" y="906"/>
                </a:lnTo>
                <a:lnTo>
                  <a:pt x="222" y="906"/>
                </a:lnTo>
                <a:lnTo>
                  <a:pt x="222" y="900"/>
                </a:lnTo>
                <a:lnTo>
                  <a:pt x="222" y="894"/>
                </a:lnTo>
                <a:lnTo>
                  <a:pt x="222" y="888"/>
                </a:lnTo>
                <a:lnTo>
                  <a:pt x="222" y="882"/>
                </a:lnTo>
                <a:lnTo>
                  <a:pt x="222" y="876"/>
                </a:lnTo>
                <a:lnTo>
                  <a:pt x="222" y="858"/>
                </a:lnTo>
                <a:lnTo>
                  <a:pt x="216" y="858"/>
                </a:lnTo>
                <a:lnTo>
                  <a:pt x="216" y="852"/>
                </a:lnTo>
                <a:lnTo>
                  <a:pt x="210" y="852"/>
                </a:lnTo>
                <a:lnTo>
                  <a:pt x="210" y="840"/>
                </a:lnTo>
                <a:lnTo>
                  <a:pt x="198" y="840"/>
                </a:lnTo>
                <a:lnTo>
                  <a:pt x="198" y="876"/>
                </a:lnTo>
                <a:lnTo>
                  <a:pt x="192" y="882"/>
                </a:lnTo>
                <a:lnTo>
                  <a:pt x="192" y="888"/>
                </a:lnTo>
                <a:lnTo>
                  <a:pt x="180" y="894"/>
                </a:lnTo>
                <a:lnTo>
                  <a:pt x="180" y="906"/>
                </a:lnTo>
                <a:lnTo>
                  <a:pt x="156" y="912"/>
                </a:lnTo>
                <a:lnTo>
                  <a:pt x="156" y="894"/>
                </a:lnTo>
                <a:lnTo>
                  <a:pt x="156" y="882"/>
                </a:lnTo>
                <a:lnTo>
                  <a:pt x="156" y="876"/>
                </a:lnTo>
                <a:lnTo>
                  <a:pt x="150" y="876"/>
                </a:lnTo>
                <a:lnTo>
                  <a:pt x="144" y="876"/>
                </a:lnTo>
                <a:lnTo>
                  <a:pt x="138" y="870"/>
                </a:lnTo>
                <a:lnTo>
                  <a:pt x="132" y="864"/>
                </a:lnTo>
                <a:lnTo>
                  <a:pt x="138" y="840"/>
                </a:lnTo>
                <a:lnTo>
                  <a:pt x="132" y="840"/>
                </a:lnTo>
                <a:lnTo>
                  <a:pt x="138" y="810"/>
                </a:lnTo>
                <a:lnTo>
                  <a:pt x="144" y="804"/>
                </a:lnTo>
                <a:lnTo>
                  <a:pt x="144" y="798"/>
                </a:lnTo>
                <a:lnTo>
                  <a:pt x="156" y="798"/>
                </a:lnTo>
                <a:lnTo>
                  <a:pt x="156" y="792"/>
                </a:lnTo>
                <a:lnTo>
                  <a:pt x="120" y="792"/>
                </a:lnTo>
                <a:lnTo>
                  <a:pt x="108" y="786"/>
                </a:lnTo>
                <a:lnTo>
                  <a:pt x="96" y="786"/>
                </a:lnTo>
                <a:lnTo>
                  <a:pt x="96" y="780"/>
                </a:lnTo>
                <a:lnTo>
                  <a:pt x="78" y="780"/>
                </a:lnTo>
                <a:lnTo>
                  <a:pt x="72" y="804"/>
                </a:lnTo>
                <a:lnTo>
                  <a:pt x="60" y="816"/>
                </a:lnTo>
                <a:lnTo>
                  <a:pt x="36" y="828"/>
                </a:lnTo>
                <a:lnTo>
                  <a:pt x="18" y="840"/>
                </a:lnTo>
                <a:lnTo>
                  <a:pt x="0" y="822"/>
                </a:lnTo>
                <a:lnTo>
                  <a:pt x="6" y="816"/>
                </a:lnTo>
                <a:lnTo>
                  <a:pt x="12" y="804"/>
                </a:lnTo>
                <a:lnTo>
                  <a:pt x="18" y="798"/>
                </a:lnTo>
                <a:lnTo>
                  <a:pt x="18" y="792"/>
                </a:lnTo>
                <a:lnTo>
                  <a:pt x="18" y="786"/>
                </a:lnTo>
                <a:lnTo>
                  <a:pt x="24" y="780"/>
                </a:lnTo>
                <a:lnTo>
                  <a:pt x="24" y="768"/>
                </a:lnTo>
                <a:lnTo>
                  <a:pt x="24" y="762"/>
                </a:lnTo>
                <a:lnTo>
                  <a:pt x="24" y="750"/>
                </a:lnTo>
                <a:lnTo>
                  <a:pt x="36" y="714"/>
                </a:lnTo>
                <a:lnTo>
                  <a:pt x="36" y="708"/>
                </a:lnTo>
                <a:lnTo>
                  <a:pt x="42" y="708"/>
                </a:lnTo>
                <a:lnTo>
                  <a:pt x="42" y="702"/>
                </a:lnTo>
                <a:lnTo>
                  <a:pt x="36" y="696"/>
                </a:lnTo>
                <a:lnTo>
                  <a:pt x="36" y="690"/>
                </a:lnTo>
                <a:lnTo>
                  <a:pt x="42" y="684"/>
                </a:lnTo>
                <a:lnTo>
                  <a:pt x="42" y="672"/>
                </a:lnTo>
                <a:lnTo>
                  <a:pt x="42" y="666"/>
                </a:lnTo>
                <a:lnTo>
                  <a:pt x="42" y="660"/>
                </a:lnTo>
                <a:lnTo>
                  <a:pt x="42" y="654"/>
                </a:lnTo>
                <a:lnTo>
                  <a:pt x="48" y="648"/>
                </a:lnTo>
                <a:lnTo>
                  <a:pt x="54" y="642"/>
                </a:lnTo>
                <a:lnTo>
                  <a:pt x="54" y="630"/>
                </a:lnTo>
                <a:lnTo>
                  <a:pt x="54" y="624"/>
                </a:lnTo>
                <a:lnTo>
                  <a:pt x="54" y="618"/>
                </a:lnTo>
                <a:lnTo>
                  <a:pt x="54" y="612"/>
                </a:lnTo>
                <a:lnTo>
                  <a:pt x="48" y="606"/>
                </a:lnTo>
                <a:lnTo>
                  <a:pt x="48" y="600"/>
                </a:lnTo>
                <a:lnTo>
                  <a:pt x="42" y="600"/>
                </a:lnTo>
                <a:lnTo>
                  <a:pt x="36" y="594"/>
                </a:lnTo>
                <a:lnTo>
                  <a:pt x="36" y="588"/>
                </a:lnTo>
                <a:lnTo>
                  <a:pt x="30" y="582"/>
                </a:lnTo>
                <a:lnTo>
                  <a:pt x="30" y="570"/>
                </a:lnTo>
                <a:lnTo>
                  <a:pt x="18" y="552"/>
                </a:lnTo>
                <a:lnTo>
                  <a:pt x="18" y="546"/>
                </a:lnTo>
                <a:lnTo>
                  <a:pt x="18" y="540"/>
                </a:lnTo>
                <a:lnTo>
                  <a:pt x="18" y="528"/>
                </a:lnTo>
                <a:lnTo>
                  <a:pt x="18" y="522"/>
                </a:lnTo>
                <a:lnTo>
                  <a:pt x="24" y="516"/>
                </a:lnTo>
                <a:lnTo>
                  <a:pt x="30" y="504"/>
                </a:lnTo>
                <a:lnTo>
                  <a:pt x="30" y="492"/>
                </a:lnTo>
                <a:lnTo>
                  <a:pt x="24" y="480"/>
                </a:lnTo>
                <a:lnTo>
                  <a:pt x="30" y="474"/>
                </a:lnTo>
                <a:lnTo>
                  <a:pt x="36" y="474"/>
                </a:lnTo>
                <a:lnTo>
                  <a:pt x="42" y="468"/>
                </a:lnTo>
                <a:lnTo>
                  <a:pt x="48" y="468"/>
                </a:lnTo>
                <a:lnTo>
                  <a:pt x="48" y="462"/>
                </a:lnTo>
                <a:lnTo>
                  <a:pt x="48" y="456"/>
                </a:lnTo>
                <a:lnTo>
                  <a:pt x="54" y="450"/>
                </a:lnTo>
                <a:lnTo>
                  <a:pt x="60" y="438"/>
                </a:lnTo>
                <a:lnTo>
                  <a:pt x="54" y="438"/>
                </a:lnTo>
                <a:lnTo>
                  <a:pt x="54" y="432"/>
                </a:lnTo>
                <a:lnTo>
                  <a:pt x="60" y="426"/>
                </a:lnTo>
                <a:lnTo>
                  <a:pt x="60" y="420"/>
                </a:lnTo>
                <a:lnTo>
                  <a:pt x="60" y="414"/>
                </a:lnTo>
                <a:lnTo>
                  <a:pt x="54" y="408"/>
                </a:lnTo>
                <a:lnTo>
                  <a:pt x="54" y="402"/>
                </a:lnTo>
                <a:lnTo>
                  <a:pt x="60" y="390"/>
                </a:lnTo>
                <a:lnTo>
                  <a:pt x="66" y="390"/>
                </a:lnTo>
                <a:lnTo>
                  <a:pt x="66" y="384"/>
                </a:lnTo>
                <a:lnTo>
                  <a:pt x="72" y="372"/>
                </a:lnTo>
                <a:lnTo>
                  <a:pt x="78" y="366"/>
                </a:lnTo>
                <a:lnTo>
                  <a:pt x="84" y="360"/>
                </a:lnTo>
                <a:lnTo>
                  <a:pt x="102" y="360"/>
                </a:lnTo>
                <a:lnTo>
                  <a:pt x="114" y="360"/>
                </a:lnTo>
                <a:lnTo>
                  <a:pt x="120" y="360"/>
                </a:lnTo>
                <a:lnTo>
                  <a:pt x="132" y="360"/>
                </a:lnTo>
                <a:lnTo>
                  <a:pt x="138" y="360"/>
                </a:lnTo>
                <a:lnTo>
                  <a:pt x="156" y="360"/>
                </a:lnTo>
                <a:lnTo>
                  <a:pt x="162" y="354"/>
                </a:lnTo>
                <a:lnTo>
                  <a:pt x="168" y="354"/>
                </a:lnTo>
                <a:lnTo>
                  <a:pt x="174" y="342"/>
                </a:lnTo>
                <a:lnTo>
                  <a:pt x="180" y="342"/>
                </a:lnTo>
                <a:lnTo>
                  <a:pt x="186" y="336"/>
                </a:lnTo>
                <a:lnTo>
                  <a:pt x="192" y="330"/>
                </a:lnTo>
                <a:lnTo>
                  <a:pt x="204" y="312"/>
                </a:lnTo>
                <a:lnTo>
                  <a:pt x="210" y="312"/>
                </a:lnTo>
                <a:lnTo>
                  <a:pt x="216" y="306"/>
                </a:lnTo>
                <a:lnTo>
                  <a:pt x="216" y="300"/>
                </a:lnTo>
                <a:lnTo>
                  <a:pt x="222" y="288"/>
                </a:lnTo>
                <a:lnTo>
                  <a:pt x="234" y="288"/>
                </a:lnTo>
                <a:lnTo>
                  <a:pt x="240" y="282"/>
                </a:lnTo>
                <a:lnTo>
                  <a:pt x="246" y="282"/>
                </a:lnTo>
                <a:lnTo>
                  <a:pt x="252" y="282"/>
                </a:lnTo>
                <a:lnTo>
                  <a:pt x="264" y="276"/>
                </a:lnTo>
                <a:lnTo>
                  <a:pt x="270" y="270"/>
                </a:lnTo>
                <a:lnTo>
                  <a:pt x="276" y="264"/>
                </a:lnTo>
                <a:lnTo>
                  <a:pt x="282" y="264"/>
                </a:lnTo>
                <a:lnTo>
                  <a:pt x="306" y="240"/>
                </a:lnTo>
                <a:lnTo>
                  <a:pt x="312" y="240"/>
                </a:lnTo>
                <a:lnTo>
                  <a:pt x="318" y="234"/>
                </a:lnTo>
                <a:lnTo>
                  <a:pt x="330" y="234"/>
                </a:lnTo>
                <a:lnTo>
                  <a:pt x="336" y="234"/>
                </a:lnTo>
                <a:lnTo>
                  <a:pt x="336" y="246"/>
                </a:lnTo>
                <a:lnTo>
                  <a:pt x="342" y="246"/>
                </a:lnTo>
                <a:lnTo>
                  <a:pt x="348" y="252"/>
                </a:lnTo>
                <a:lnTo>
                  <a:pt x="372" y="252"/>
                </a:lnTo>
                <a:lnTo>
                  <a:pt x="396" y="246"/>
                </a:lnTo>
                <a:lnTo>
                  <a:pt x="402" y="246"/>
                </a:lnTo>
                <a:lnTo>
                  <a:pt x="414" y="240"/>
                </a:lnTo>
                <a:lnTo>
                  <a:pt x="444" y="216"/>
                </a:lnTo>
                <a:lnTo>
                  <a:pt x="480" y="204"/>
                </a:lnTo>
                <a:lnTo>
                  <a:pt x="600" y="150"/>
                </a:lnTo>
                <a:lnTo>
                  <a:pt x="648" y="126"/>
                </a:lnTo>
                <a:lnTo>
                  <a:pt x="702" y="96"/>
                </a:lnTo>
                <a:lnTo>
                  <a:pt x="708" y="54"/>
                </a:lnTo>
                <a:lnTo>
                  <a:pt x="720" y="24"/>
                </a:lnTo>
                <a:lnTo>
                  <a:pt x="738" y="12"/>
                </a:lnTo>
                <a:lnTo>
                  <a:pt x="768" y="0"/>
                </a:lnTo>
                <a:lnTo>
                  <a:pt x="792" y="6"/>
                </a:lnTo>
                <a:lnTo>
                  <a:pt x="804" y="12"/>
                </a:lnTo>
                <a:lnTo>
                  <a:pt x="834" y="48"/>
                </a:lnTo>
                <a:lnTo>
                  <a:pt x="834" y="60"/>
                </a:lnTo>
                <a:lnTo>
                  <a:pt x="852" y="84"/>
                </a:lnTo>
                <a:lnTo>
                  <a:pt x="864" y="96"/>
                </a:lnTo>
                <a:lnTo>
                  <a:pt x="888" y="102"/>
                </a:lnTo>
                <a:lnTo>
                  <a:pt x="978" y="120"/>
                </a:lnTo>
                <a:lnTo>
                  <a:pt x="984" y="126"/>
                </a:lnTo>
                <a:lnTo>
                  <a:pt x="984" y="132"/>
                </a:lnTo>
                <a:lnTo>
                  <a:pt x="996" y="138"/>
                </a:lnTo>
                <a:lnTo>
                  <a:pt x="1038" y="126"/>
                </a:lnTo>
                <a:lnTo>
                  <a:pt x="1056" y="114"/>
                </a:lnTo>
                <a:lnTo>
                  <a:pt x="1068" y="126"/>
                </a:lnTo>
                <a:lnTo>
                  <a:pt x="1074" y="132"/>
                </a:lnTo>
                <a:lnTo>
                  <a:pt x="1068" y="138"/>
                </a:lnTo>
                <a:lnTo>
                  <a:pt x="1056" y="150"/>
                </a:lnTo>
                <a:lnTo>
                  <a:pt x="1038" y="162"/>
                </a:lnTo>
                <a:lnTo>
                  <a:pt x="1038" y="168"/>
                </a:lnTo>
                <a:lnTo>
                  <a:pt x="1020" y="174"/>
                </a:lnTo>
                <a:lnTo>
                  <a:pt x="1014" y="180"/>
                </a:lnTo>
                <a:lnTo>
                  <a:pt x="1008" y="186"/>
                </a:lnTo>
                <a:lnTo>
                  <a:pt x="1002" y="198"/>
                </a:lnTo>
                <a:lnTo>
                  <a:pt x="984" y="204"/>
                </a:lnTo>
                <a:lnTo>
                  <a:pt x="984" y="246"/>
                </a:lnTo>
                <a:lnTo>
                  <a:pt x="978" y="270"/>
                </a:lnTo>
                <a:lnTo>
                  <a:pt x="990" y="306"/>
                </a:lnTo>
                <a:lnTo>
                  <a:pt x="990" y="324"/>
                </a:lnTo>
                <a:lnTo>
                  <a:pt x="1002" y="336"/>
                </a:lnTo>
                <a:lnTo>
                  <a:pt x="1020" y="372"/>
                </a:lnTo>
                <a:lnTo>
                  <a:pt x="1014" y="378"/>
                </a:lnTo>
                <a:lnTo>
                  <a:pt x="1014" y="384"/>
                </a:lnTo>
                <a:lnTo>
                  <a:pt x="1020" y="384"/>
                </a:lnTo>
                <a:lnTo>
                  <a:pt x="1020" y="396"/>
                </a:lnTo>
                <a:lnTo>
                  <a:pt x="1062" y="468"/>
                </a:lnTo>
                <a:lnTo>
                  <a:pt x="1092" y="522"/>
                </a:lnTo>
                <a:lnTo>
                  <a:pt x="1110" y="546"/>
                </a:lnTo>
                <a:lnTo>
                  <a:pt x="1122" y="564"/>
                </a:lnTo>
                <a:lnTo>
                  <a:pt x="1134" y="576"/>
                </a:lnTo>
                <a:lnTo>
                  <a:pt x="1146" y="582"/>
                </a:lnTo>
                <a:lnTo>
                  <a:pt x="1146" y="588"/>
                </a:lnTo>
                <a:lnTo>
                  <a:pt x="1164" y="600"/>
                </a:lnTo>
                <a:lnTo>
                  <a:pt x="1170" y="612"/>
                </a:lnTo>
                <a:lnTo>
                  <a:pt x="1170" y="624"/>
                </a:lnTo>
                <a:lnTo>
                  <a:pt x="1176" y="654"/>
                </a:lnTo>
                <a:lnTo>
                  <a:pt x="1176" y="666"/>
                </a:lnTo>
                <a:lnTo>
                  <a:pt x="1182" y="684"/>
                </a:lnTo>
                <a:lnTo>
                  <a:pt x="1194" y="696"/>
                </a:lnTo>
                <a:lnTo>
                  <a:pt x="1212" y="696"/>
                </a:lnTo>
                <a:lnTo>
                  <a:pt x="1206" y="762"/>
                </a:lnTo>
                <a:lnTo>
                  <a:pt x="1200" y="768"/>
                </a:lnTo>
                <a:lnTo>
                  <a:pt x="1194" y="768"/>
                </a:lnTo>
                <a:lnTo>
                  <a:pt x="1194" y="774"/>
                </a:lnTo>
                <a:lnTo>
                  <a:pt x="1188" y="774"/>
                </a:lnTo>
                <a:lnTo>
                  <a:pt x="1182" y="780"/>
                </a:lnTo>
                <a:lnTo>
                  <a:pt x="1176" y="780"/>
                </a:lnTo>
                <a:lnTo>
                  <a:pt x="1170" y="780"/>
                </a:lnTo>
                <a:lnTo>
                  <a:pt x="1164" y="786"/>
                </a:lnTo>
                <a:lnTo>
                  <a:pt x="1158" y="786"/>
                </a:lnTo>
                <a:lnTo>
                  <a:pt x="1152" y="786"/>
                </a:lnTo>
                <a:lnTo>
                  <a:pt x="1140" y="786"/>
                </a:lnTo>
                <a:lnTo>
                  <a:pt x="1134" y="786"/>
                </a:lnTo>
                <a:lnTo>
                  <a:pt x="1134" y="780"/>
                </a:lnTo>
                <a:lnTo>
                  <a:pt x="1122" y="780"/>
                </a:lnTo>
                <a:lnTo>
                  <a:pt x="1116" y="786"/>
                </a:lnTo>
                <a:lnTo>
                  <a:pt x="1116" y="792"/>
                </a:lnTo>
                <a:lnTo>
                  <a:pt x="1122" y="804"/>
                </a:lnTo>
                <a:lnTo>
                  <a:pt x="1128" y="804"/>
                </a:lnTo>
                <a:lnTo>
                  <a:pt x="1128" y="816"/>
                </a:lnTo>
                <a:lnTo>
                  <a:pt x="1122" y="822"/>
                </a:lnTo>
                <a:lnTo>
                  <a:pt x="1116" y="816"/>
                </a:lnTo>
                <a:lnTo>
                  <a:pt x="1110" y="816"/>
                </a:lnTo>
                <a:lnTo>
                  <a:pt x="1104" y="816"/>
                </a:lnTo>
                <a:lnTo>
                  <a:pt x="1098" y="816"/>
                </a:lnTo>
                <a:lnTo>
                  <a:pt x="1098" y="822"/>
                </a:lnTo>
                <a:lnTo>
                  <a:pt x="1092" y="834"/>
                </a:lnTo>
                <a:lnTo>
                  <a:pt x="1092" y="840"/>
                </a:lnTo>
                <a:lnTo>
                  <a:pt x="1074" y="840"/>
                </a:lnTo>
                <a:lnTo>
                  <a:pt x="1074" y="828"/>
                </a:lnTo>
                <a:lnTo>
                  <a:pt x="1062" y="804"/>
                </a:lnTo>
                <a:lnTo>
                  <a:pt x="1056" y="792"/>
                </a:lnTo>
                <a:lnTo>
                  <a:pt x="1056" y="786"/>
                </a:lnTo>
                <a:lnTo>
                  <a:pt x="1026" y="780"/>
                </a:lnTo>
                <a:lnTo>
                  <a:pt x="1026" y="768"/>
                </a:lnTo>
                <a:lnTo>
                  <a:pt x="1008" y="768"/>
                </a:lnTo>
                <a:lnTo>
                  <a:pt x="1002" y="780"/>
                </a:lnTo>
                <a:lnTo>
                  <a:pt x="996" y="792"/>
                </a:lnTo>
                <a:lnTo>
                  <a:pt x="978" y="798"/>
                </a:lnTo>
                <a:lnTo>
                  <a:pt x="972" y="810"/>
                </a:lnTo>
                <a:lnTo>
                  <a:pt x="972" y="822"/>
                </a:lnTo>
                <a:lnTo>
                  <a:pt x="978" y="828"/>
                </a:lnTo>
                <a:lnTo>
                  <a:pt x="978" y="834"/>
                </a:lnTo>
                <a:lnTo>
                  <a:pt x="960" y="840"/>
                </a:lnTo>
                <a:lnTo>
                  <a:pt x="936" y="840"/>
                </a:lnTo>
                <a:lnTo>
                  <a:pt x="918" y="846"/>
                </a:lnTo>
                <a:lnTo>
                  <a:pt x="912" y="840"/>
                </a:lnTo>
                <a:lnTo>
                  <a:pt x="912" y="834"/>
                </a:lnTo>
                <a:lnTo>
                  <a:pt x="906" y="834"/>
                </a:lnTo>
                <a:lnTo>
                  <a:pt x="906" y="840"/>
                </a:lnTo>
                <a:lnTo>
                  <a:pt x="900" y="846"/>
                </a:lnTo>
                <a:lnTo>
                  <a:pt x="906" y="852"/>
                </a:lnTo>
                <a:lnTo>
                  <a:pt x="900" y="864"/>
                </a:lnTo>
                <a:lnTo>
                  <a:pt x="900" y="876"/>
                </a:lnTo>
                <a:lnTo>
                  <a:pt x="900" y="882"/>
                </a:lnTo>
                <a:lnTo>
                  <a:pt x="894" y="888"/>
                </a:lnTo>
                <a:lnTo>
                  <a:pt x="900" y="900"/>
                </a:lnTo>
                <a:lnTo>
                  <a:pt x="900" y="906"/>
                </a:lnTo>
                <a:lnTo>
                  <a:pt x="894" y="906"/>
                </a:lnTo>
                <a:lnTo>
                  <a:pt x="894" y="912"/>
                </a:lnTo>
                <a:lnTo>
                  <a:pt x="900" y="918"/>
                </a:lnTo>
                <a:lnTo>
                  <a:pt x="900" y="924"/>
                </a:lnTo>
                <a:lnTo>
                  <a:pt x="900" y="948"/>
                </a:lnTo>
                <a:lnTo>
                  <a:pt x="888" y="948"/>
                </a:lnTo>
                <a:lnTo>
                  <a:pt x="888" y="954"/>
                </a:lnTo>
                <a:lnTo>
                  <a:pt x="894" y="954"/>
                </a:lnTo>
                <a:lnTo>
                  <a:pt x="900" y="960"/>
                </a:lnTo>
                <a:lnTo>
                  <a:pt x="900" y="972"/>
                </a:lnTo>
                <a:lnTo>
                  <a:pt x="906" y="984"/>
                </a:lnTo>
                <a:lnTo>
                  <a:pt x="912" y="984"/>
                </a:lnTo>
                <a:lnTo>
                  <a:pt x="918" y="990"/>
                </a:lnTo>
                <a:lnTo>
                  <a:pt x="936" y="990"/>
                </a:lnTo>
                <a:lnTo>
                  <a:pt x="936" y="996"/>
                </a:lnTo>
                <a:lnTo>
                  <a:pt x="942" y="996"/>
                </a:lnTo>
                <a:lnTo>
                  <a:pt x="942" y="1002"/>
                </a:lnTo>
                <a:lnTo>
                  <a:pt x="942" y="1008"/>
                </a:lnTo>
                <a:lnTo>
                  <a:pt x="948" y="1008"/>
                </a:lnTo>
                <a:lnTo>
                  <a:pt x="948" y="1014"/>
                </a:lnTo>
                <a:lnTo>
                  <a:pt x="948" y="1020"/>
                </a:lnTo>
                <a:lnTo>
                  <a:pt x="954" y="1032"/>
                </a:lnTo>
                <a:lnTo>
                  <a:pt x="948" y="1038"/>
                </a:lnTo>
                <a:lnTo>
                  <a:pt x="954" y="1044"/>
                </a:lnTo>
                <a:lnTo>
                  <a:pt x="954" y="1056"/>
                </a:lnTo>
                <a:lnTo>
                  <a:pt x="960" y="1056"/>
                </a:lnTo>
                <a:lnTo>
                  <a:pt x="960" y="1062"/>
                </a:lnTo>
                <a:lnTo>
                  <a:pt x="954" y="1068"/>
                </a:lnTo>
                <a:lnTo>
                  <a:pt x="948" y="1074"/>
                </a:lnTo>
                <a:lnTo>
                  <a:pt x="948" y="1080"/>
                </a:lnTo>
                <a:lnTo>
                  <a:pt x="948" y="1086"/>
                </a:lnTo>
                <a:lnTo>
                  <a:pt x="942" y="1092"/>
                </a:lnTo>
                <a:lnTo>
                  <a:pt x="942" y="1098"/>
                </a:lnTo>
                <a:lnTo>
                  <a:pt x="942" y="1104"/>
                </a:lnTo>
                <a:lnTo>
                  <a:pt x="942" y="1110"/>
                </a:lnTo>
                <a:lnTo>
                  <a:pt x="936" y="1116"/>
                </a:lnTo>
                <a:lnTo>
                  <a:pt x="936" y="1122"/>
                </a:lnTo>
                <a:lnTo>
                  <a:pt x="936" y="1128"/>
                </a:lnTo>
                <a:lnTo>
                  <a:pt x="936" y="1134"/>
                </a:lnTo>
                <a:lnTo>
                  <a:pt x="942" y="1146"/>
                </a:lnTo>
                <a:lnTo>
                  <a:pt x="936" y="1158"/>
                </a:lnTo>
                <a:lnTo>
                  <a:pt x="936" y="1170"/>
                </a:lnTo>
                <a:lnTo>
                  <a:pt x="936" y="1194"/>
                </a:lnTo>
                <a:lnTo>
                  <a:pt x="930" y="1200"/>
                </a:lnTo>
                <a:lnTo>
                  <a:pt x="930" y="1212"/>
                </a:lnTo>
                <a:lnTo>
                  <a:pt x="918" y="1218"/>
                </a:lnTo>
                <a:lnTo>
                  <a:pt x="918" y="1230"/>
                </a:lnTo>
                <a:lnTo>
                  <a:pt x="906" y="1230"/>
                </a:lnTo>
                <a:lnTo>
                  <a:pt x="900" y="1254"/>
                </a:lnTo>
                <a:lnTo>
                  <a:pt x="900" y="1260"/>
                </a:lnTo>
                <a:lnTo>
                  <a:pt x="900" y="1266"/>
                </a:lnTo>
                <a:lnTo>
                  <a:pt x="900" y="1272"/>
                </a:lnTo>
                <a:lnTo>
                  <a:pt x="900" y="1278"/>
                </a:lnTo>
                <a:lnTo>
                  <a:pt x="900" y="1284"/>
                </a:lnTo>
                <a:lnTo>
                  <a:pt x="906" y="1290"/>
                </a:lnTo>
                <a:close/>
              </a:path>
            </a:pathLst>
          </a:custGeom>
          <a:solidFill>
            <a:srgbClr val="FF9900"/>
          </a:solidFill>
          <a:ln w="9525">
            <a:solidFill>
              <a:schemeClr val="bg1"/>
            </a:solidFill>
            <a:round/>
            <a:headEnd/>
            <a:tailEnd/>
          </a:ln>
        </p:spPr>
        <p:txBody>
          <a:bodyPr/>
          <a:lstStyle/>
          <a:p>
            <a:endParaRPr lang="en-GB"/>
          </a:p>
        </p:txBody>
      </p:sp>
      <p:sp>
        <p:nvSpPr>
          <p:cNvPr id="17419" name="Freeform 5"/>
          <p:cNvSpPr>
            <a:spLocks noEditPoints="1"/>
          </p:cNvSpPr>
          <p:nvPr/>
        </p:nvSpPr>
        <p:spPr bwMode="gray">
          <a:xfrm>
            <a:off x="2779713" y="5883275"/>
            <a:ext cx="615950" cy="574675"/>
          </a:xfrm>
          <a:custGeom>
            <a:avLst/>
            <a:gdLst>
              <a:gd name="T0" fmla="*/ 9386 w 786"/>
              <a:gd name="T1" fmla="*/ 15298 h 714"/>
              <a:gd name="T2" fmla="*/ 17208 w 786"/>
              <a:gd name="T3" fmla="*/ 14493 h 714"/>
              <a:gd name="T4" fmla="*/ 21119 w 786"/>
              <a:gd name="T5" fmla="*/ 13688 h 714"/>
              <a:gd name="T6" fmla="*/ 23466 w 786"/>
              <a:gd name="T7" fmla="*/ 11272 h 714"/>
              <a:gd name="T8" fmla="*/ 28941 w 786"/>
              <a:gd name="T9" fmla="*/ 12883 h 714"/>
              <a:gd name="T10" fmla="*/ 33634 w 786"/>
              <a:gd name="T11" fmla="*/ 10467 h 714"/>
              <a:gd name="T12" fmla="*/ 37545 w 786"/>
              <a:gd name="T13" fmla="*/ 6441 h 714"/>
              <a:gd name="T14" fmla="*/ 43021 w 786"/>
              <a:gd name="T15" fmla="*/ 3221 h 714"/>
              <a:gd name="T16" fmla="*/ 51625 w 786"/>
              <a:gd name="T17" fmla="*/ 0 h 714"/>
              <a:gd name="T18" fmla="*/ 49278 w 786"/>
              <a:gd name="T19" fmla="*/ 9662 h 714"/>
              <a:gd name="T20" fmla="*/ 46149 w 786"/>
              <a:gd name="T21" fmla="*/ 15298 h 714"/>
              <a:gd name="T22" fmla="*/ 44585 w 786"/>
              <a:gd name="T23" fmla="*/ 23350 h 714"/>
              <a:gd name="T24" fmla="*/ 46149 w 786"/>
              <a:gd name="T25" fmla="*/ 28986 h 714"/>
              <a:gd name="T26" fmla="*/ 51625 w 786"/>
              <a:gd name="T27" fmla="*/ 28181 h 714"/>
              <a:gd name="T28" fmla="*/ 50060 w 786"/>
              <a:gd name="T29" fmla="*/ 33012 h 714"/>
              <a:gd name="T30" fmla="*/ 50060 w 786"/>
              <a:gd name="T31" fmla="*/ 38648 h 714"/>
              <a:gd name="T32" fmla="*/ 49278 w 786"/>
              <a:gd name="T33" fmla="*/ 45090 h 714"/>
              <a:gd name="T34" fmla="*/ 46932 w 786"/>
              <a:gd name="T35" fmla="*/ 48310 h 714"/>
              <a:gd name="T36" fmla="*/ 44585 w 786"/>
              <a:gd name="T37" fmla="*/ 46700 h 714"/>
              <a:gd name="T38" fmla="*/ 42238 w 786"/>
              <a:gd name="T39" fmla="*/ 43479 h 714"/>
              <a:gd name="T40" fmla="*/ 41456 w 786"/>
              <a:gd name="T41" fmla="*/ 41064 h 714"/>
              <a:gd name="T42" fmla="*/ 39892 w 786"/>
              <a:gd name="T43" fmla="*/ 42674 h 714"/>
              <a:gd name="T44" fmla="*/ 38327 w 786"/>
              <a:gd name="T45" fmla="*/ 43479 h 714"/>
              <a:gd name="T46" fmla="*/ 36763 w 786"/>
              <a:gd name="T47" fmla="*/ 40259 h 714"/>
              <a:gd name="T48" fmla="*/ 37545 w 786"/>
              <a:gd name="T49" fmla="*/ 43479 h 714"/>
              <a:gd name="T50" fmla="*/ 36763 w 786"/>
              <a:gd name="T51" fmla="*/ 43479 h 714"/>
              <a:gd name="T52" fmla="*/ 35981 w 786"/>
              <a:gd name="T53" fmla="*/ 47505 h 714"/>
              <a:gd name="T54" fmla="*/ 36763 w 786"/>
              <a:gd name="T55" fmla="*/ 49921 h 714"/>
              <a:gd name="T56" fmla="*/ 32852 w 786"/>
              <a:gd name="T57" fmla="*/ 49921 h 714"/>
              <a:gd name="T58" fmla="*/ 30505 w 786"/>
              <a:gd name="T59" fmla="*/ 45895 h 714"/>
              <a:gd name="T60" fmla="*/ 31288 w 786"/>
              <a:gd name="T61" fmla="*/ 43479 h 714"/>
              <a:gd name="T62" fmla="*/ 33634 w 786"/>
              <a:gd name="T63" fmla="*/ 44285 h 714"/>
              <a:gd name="T64" fmla="*/ 31288 w 786"/>
              <a:gd name="T65" fmla="*/ 42674 h 714"/>
              <a:gd name="T66" fmla="*/ 29723 w 786"/>
              <a:gd name="T67" fmla="*/ 45895 h 714"/>
              <a:gd name="T68" fmla="*/ 28941 w 786"/>
              <a:gd name="T69" fmla="*/ 45895 h 714"/>
              <a:gd name="T70" fmla="*/ 28941 w 786"/>
              <a:gd name="T71" fmla="*/ 48310 h 714"/>
              <a:gd name="T72" fmla="*/ 25812 w 786"/>
              <a:gd name="T73" fmla="*/ 45090 h 714"/>
              <a:gd name="T74" fmla="*/ 25030 w 786"/>
              <a:gd name="T75" fmla="*/ 46700 h 714"/>
              <a:gd name="T76" fmla="*/ 20337 w 786"/>
              <a:gd name="T77" fmla="*/ 43479 h 714"/>
              <a:gd name="T78" fmla="*/ 20337 w 786"/>
              <a:gd name="T79" fmla="*/ 43479 h 714"/>
              <a:gd name="T80" fmla="*/ 18773 w 786"/>
              <a:gd name="T81" fmla="*/ 41064 h 714"/>
              <a:gd name="T82" fmla="*/ 17208 w 786"/>
              <a:gd name="T83" fmla="*/ 41064 h 714"/>
              <a:gd name="T84" fmla="*/ 15644 w 786"/>
              <a:gd name="T85" fmla="*/ 40259 h 714"/>
              <a:gd name="T86" fmla="*/ 15644 w 786"/>
              <a:gd name="T87" fmla="*/ 38648 h 714"/>
              <a:gd name="T88" fmla="*/ 14079 w 786"/>
              <a:gd name="T89" fmla="*/ 37843 h 714"/>
              <a:gd name="T90" fmla="*/ 11733 w 786"/>
              <a:gd name="T91" fmla="*/ 36233 h 714"/>
              <a:gd name="T92" fmla="*/ 8604 w 786"/>
              <a:gd name="T93" fmla="*/ 31402 h 714"/>
              <a:gd name="T94" fmla="*/ 9386 w 786"/>
              <a:gd name="T95" fmla="*/ 28986 h 714"/>
              <a:gd name="T96" fmla="*/ 5475 w 786"/>
              <a:gd name="T97" fmla="*/ 26571 h 714"/>
              <a:gd name="T98" fmla="*/ 3911 w 786"/>
              <a:gd name="T99" fmla="*/ 22545 h 714"/>
              <a:gd name="T100" fmla="*/ 5475 w 786"/>
              <a:gd name="T101" fmla="*/ 24155 h 714"/>
              <a:gd name="T102" fmla="*/ 3129 w 786"/>
              <a:gd name="T103" fmla="*/ 19324 h 714"/>
              <a:gd name="T104" fmla="*/ 1564 w 786"/>
              <a:gd name="T105" fmla="*/ 16103 h 714"/>
              <a:gd name="T106" fmla="*/ 0 w 786"/>
              <a:gd name="T107" fmla="*/ 12078 h 714"/>
              <a:gd name="T108" fmla="*/ 3129 w 786"/>
              <a:gd name="T109" fmla="*/ 12883 h 714"/>
              <a:gd name="T110" fmla="*/ 43021 w 786"/>
              <a:gd name="T111" fmla="*/ 48310 h 714"/>
              <a:gd name="T112" fmla="*/ 36763 w 786"/>
              <a:gd name="T113" fmla="*/ 48310 h 714"/>
              <a:gd name="T114" fmla="*/ 39892 w 786"/>
              <a:gd name="T115" fmla="*/ 43479 h 714"/>
              <a:gd name="T116" fmla="*/ 42238 w 786"/>
              <a:gd name="T117" fmla="*/ 45090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6"/>
              <a:gd name="T178" fmla="*/ 0 h 714"/>
              <a:gd name="T179" fmla="*/ 786 w 786"/>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6" h="714">
                <a:moveTo>
                  <a:pt x="54" y="186"/>
                </a:moveTo>
                <a:lnTo>
                  <a:pt x="54" y="192"/>
                </a:lnTo>
                <a:lnTo>
                  <a:pt x="72" y="192"/>
                </a:lnTo>
                <a:lnTo>
                  <a:pt x="78" y="192"/>
                </a:lnTo>
                <a:lnTo>
                  <a:pt x="84" y="192"/>
                </a:lnTo>
                <a:lnTo>
                  <a:pt x="90" y="204"/>
                </a:lnTo>
                <a:lnTo>
                  <a:pt x="102" y="210"/>
                </a:lnTo>
                <a:lnTo>
                  <a:pt x="108" y="210"/>
                </a:lnTo>
                <a:lnTo>
                  <a:pt x="120" y="210"/>
                </a:lnTo>
                <a:lnTo>
                  <a:pt x="126" y="210"/>
                </a:lnTo>
                <a:lnTo>
                  <a:pt x="132" y="210"/>
                </a:lnTo>
                <a:lnTo>
                  <a:pt x="132" y="216"/>
                </a:lnTo>
                <a:lnTo>
                  <a:pt x="138" y="222"/>
                </a:lnTo>
                <a:lnTo>
                  <a:pt x="150" y="222"/>
                </a:lnTo>
                <a:lnTo>
                  <a:pt x="162" y="234"/>
                </a:lnTo>
                <a:lnTo>
                  <a:pt x="168" y="240"/>
                </a:lnTo>
                <a:lnTo>
                  <a:pt x="180" y="240"/>
                </a:lnTo>
                <a:lnTo>
                  <a:pt x="186" y="228"/>
                </a:lnTo>
                <a:lnTo>
                  <a:pt x="210" y="234"/>
                </a:lnTo>
                <a:lnTo>
                  <a:pt x="222" y="228"/>
                </a:lnTo>
                <a:lnTo>
                  <a:pt x="228" y="216"/>
                </a:lnTo>
                <a:lnTo>
                  <a:pt x="234" y="210"/>
                </a:lnTo>
                <a:lnTo>
                  <a:pt x="240" y="216"/>
                </a:lnTo>
                <a:lnTo>
                  <a:pt x="246" y="210"/>
                </a:lnTo>
                <a:lnTo>
                  <a:pt x="252" y="210"/>
                </a:lnTo>
                <a:lnTo>
                  <a:pt x="258" y="210"/>
                </a:lnTo>
                <a:lnTo>
                  <a:pt x="258" y="204"/>
                </a:lnTo>
                <a:lnTo>
                  <a:pt x="264" y="204"/>
                </a:lnTo>
                <a:lnTo>
                  <a:pt x="264" y="192"/>
                </a:lnTo>
                <a:lnTo>
                  <a:pt x="270" y="192"/>
                </a:lnTo>
                <a:lnTo>
                  <a:pt x="276" y="192"/>
                </a:lnTo>
                <a:lnTo>
                  <a:pt x="282" y="192"/>
                </a:lnTo>
                <a:lnTo>
                  <a:pt x="288" y="198"/>
                </a:lnTo>
                <a:lnTo>
                  <a:pt x="294" y="198"/>
                </a:lnTo>
                <a:lnTo>
                  <a:pt x="294" y="192"/>
                </a:lnTo>
                <a:lnTo>
                  <a:pt x="300" y="198"/>
                </a:lnTo>
                <a:lnTo>
                  <a:pt x="300" y="204"/>
                </a:lnTo>
                <a:lnTo>
                  <a:pt x="306" y="204"/>
                </a:lnTo>
                <a:lnTo>
                  <a:pt x="306" y="198"/>
                </a:lnTo>
                <a:lnTo>
                  <a:pt x="312" y="198"/>
                </a:lnTo>
                <a:lnTo>
                  <a:pt x="312" y="204"/>
                </a:lnTo>
                <a:lnTo>
                  <a:pt x="318" y="204"/>
                </a:lnTo>
                <a:lnTo>
                  <a:pt x="318" y="192"/>
                </a:lnTo>
                <a:lnTo>
                  <a:pt x="324" y="186"/>
                </a:lnTo>
                <a:lnTo>
                  <a:pt x="318" y="180"/>
                </a:lnTo>
                <a:lnTo>
                  <a:pt x="324" y="180"/>
                </a:lnTo>
                <a:lnTo>
                  <a:pt x="330" y="186"/>
                </a:lnTo>
                <a:lnTo>
                  <a:pt x="336" y="180"/>
                </a:lnTo>
                <a:lnTo>
                  <a:pt x="342" y="180"/>
                </a:lnTo>
                <a:lnTo>
                  <a:pt x="348" y="174"/>
                </a:lnTo>
                <a:lnTo>
                  <a:pt x="348" y="168"/>
                </a:lnTo>
                <a:lnTo>
                  <a:pt x="348" y="162"/>
                </a:lnTo>
                <a:lnTo>
                  <a:pt x="354" y="156"/>
                </a:lnTo>
                <a:lnTo>
                  <a:pt x="354" y="150"/>
                </a:lnTo>
                <a:lnTo>
                  <a:pt x="354" y="144"/>
                </a:lnTo>
                <a:lnTo>
                  <a:pt x="360" y="144"/>
                </a:lnTo>
                <a:lnTo>
                  <a:pt x="372" y="156"/>
                </a:lnTo>
                <a:lnTo>
                  <a:pt x="372" y="162"/>
                </a:lnTo>
                <a:lnTo>
                  <a:pt x="378" y="162"/>
                </a:lnTo>
                <a:lnTo>
                  <a:pt x="384" y="162"/>
                </a:lnTo>
                <a:lnTo>
                  <a:pt x="396" y="168"/>
                </a:lnTo>
                <a:lnTo>
                  <a:pt x="396" y="174"/>
                </a:lnTo>
                <a:lnTo>
                  <a:pt x="408" y="186"/>
                </a:lnTo>
                <a:lnTo>
                  <a:pt x="414" y="186"/>
                </a:lnTo>
                <a:lnTo>
                  <a:pt x="426" y="186"/>
                </a:lnTo>
                <a:lnTo>
                  <a:pt x="432" y="186"/>
                </a:lnTo>
                <a:lnTo>
                  <a:pt x="438" y="180"/>
                </a:lnTo>
                <a:lnTo>
                  <a:pt x="438" y="168"/>
                </a:lnTo>
                <a:lnTo>
                  <a:pt x="438" y="162"/>
                </a:lnTo>
                <a:lnTo>
                  <a:pt x="444" y="156"/>
                </a:lnTo>
                <a:lnTo>
                  <a:pt x="450" y="156"/>
                </a:lnTo>
                <a:lnTo>
                  <a:pt x="456" y="150"/>
                </a:lnTo>
                <a:lnTo>
                  <a:pt x="462" y="156"/>
                </a:lnTo>
                <a:lnTo>
                  <a:pt x="468" y="162"/>
                </a:lnTo>
                <a:lnTo>
                  <a:pt x="474" y="162"/>
                </a:lnTo>
                <a:lnTo>
                  <a:pt x="486" y="162"/>
                </a:lnTo>
                <a:lnTo>
                  <a:pt x="492" y="156"/>
                </a:lnTo>
                <a:lnTo>
                  <a:pt x="498" y="150"/>
                </a:lnTo>
                <a:lnTo>
                  <a:pt x="504" y="150"/>
                </a:lnTo>
                <a:lnTo>
                  <a:pt x="510" y="144"/>
                </a:lnTo>
                <a:lnTo>
                  <a:pt x="522" y="144"/>
                </a:lnTo>
                <a:lnTo>
                  <a:pt x="528" y="138"/>
                </a:lnTo>
                <a:lnTo>
                  <a:pt x="528" y="132"/>
                </a:lnTo>
                <a:lnTo>
                  <a:pt x="528" y="126"/>
                </a:lnTo>
                <a:lnTo>
                  <a:pt x="522" y="120"/>
                </a:lnTo>
                <a:lnTo>
                  <a:pt x="522" y="114"/>
                </a:lnTo>
                <a:lnTo>
                  <a:pt x="522" y="108"/>
                </a:lnTo>
                <a:lnTo>
                  <a:pt x="522" y="102"/>
                </a:lnTo>
                <a:lnTo>
                  <a:pt x="528" y="102"/>
                </a:lnTo>
                <a:lnTo>
                  <a:pt x="534" y="96"/>
                </a:lnTo>
                <a:lnTo>
                  <a:pt x="552" y="96"/>
                </a:lnTo>
                <a:lnTo>
                  <a:pt x="570" y="102"/>
                </a:lnTo>
                <a:lnTo>
                  <a:pt x="582" y="96"/>
                </a:lnTo>
                <a:lnTo>
                  <a:pt x="582" y="90"/>
                </a:lnTo>
                <a:lnTo>
                  <a:pt x="582" y="78"/>
                </a:lnTo>
                <a:lnTo>
                  <a:pt x="582" y="72"/>
                </a:lnTo>
                <a:lnTo>
                  <a:pt x="582" y="66"/>
                </a:lnTo>
                <a:lnTo>
                  <a:pt x="594" y="60"/>
                </a:lnTo>
                <a:lnTo>
                  <a:pt x="600" y="60"/>
                </a:lnTo>
                <a:lnTo>
                  <a:pt x="606" y="54"/>
                </a:lnTo>
                <a:lnTo>
                  <a:pt x="618" y="48"/>
                </a:lnTo>
                <a:lnTo>
                  <a:pt x="618" y="42"/>
                </a:lnTo>
                <a:lnTo>
                  <a:pt x="624" y="42"/>
                </a:lnTo>
                <a:lnTo>
                  <a:pt x="636" y="48"/>
                </a:lnTo>
                <a:lnTo>
                  <a:pt x="648" y="54"/>
                </a:lnTo>
                <a:lnTo>
                  <a:pt x="660" y="54"/>
                </a:lnTo>
                <a:lnTo>
                  <a:pt x="666" y="60"/>
                </a:lnTo>
                <a:lnTo>
                  <a:pt x="672" y="54"/>
                </a:lnTo>
                <a:lnTo>
                  <a:pt x="684" y="48"/>
                </a:lnTo>
                <a:lnTo>
                  <a:pt x="708" y="42"/>
                </a:lnTo>
                <a:lnTo>
                  <a:pt x="714" y="42"/>
                </a:lnTo>
                <a:lnTo>
                  <a:pt x="720" y="36"/>
                </a:lnTo>
                <a:lnTo>
                  <a:pt x="720" y="30"/>
                </a:lnTo>
                <a:lnTo>
                  <a:pt x="714" y="12"/>
                </a:lnTo>
                <a:lnTo>
                  <a:pt x="708" y="0"/>
                </a:lnTo>
                <a:lnTo>
                  <a:pt x="738" y="6"/>
                </a:lnTo>
                <a:lnTo>
                  <a:pt x="756" y="6"/>
                </a:lnTo>
                <a:lnTo>
                  <a:pt x="762" y="42"/>
                </a:lnTo>
                <a:lnTo>
                  <a:pt x="738" y="72"/>
                </a:lnTo>
                <a:lnTo>
                  <a:pt x="750" y="90"/>
                </a:lnTo>
                <a:lnTo>
                  <a:pt x="762" y="96"/>
                </a:lnTo>
                <a:lnTo>
                  <a:pt x="756" y="102"/>
                </a:lnTo>
                <a:lnTo>
                  <a:pt x="750" y="108"/>
                </a:lnTo>
                <a:lnTo>
                  <a:pt x="750" y="114"/>
                </a:lnTo>
                <a:lnTo>
                  <a:pt x="750" y="120"/>
                </a:lnTo>
                <a:lnTo>
                  <a:pt x="750" y="126"/>
                </a:lnTo>
                <a:lnTo>
                  <a:pt x="750" y="132"/>
                </a:lnTo>
                <a:lnTo>
                  <a:pt x="738" y="132"/>
                </a:lnTo>
                <a:lnTo>
                  <a:pt x="732" y="138"/>
                </a:lnTo>
                <a:lnTo>
                  <a:pt x="726" y="138"/>
                </a:lnTo>
                <a:lnTo>
                  <a:pt x="720" y="144"/>
                </a:lnTo>
                <a:lnTo>
                  <a:pt x="714" y="144"/>
                </a:lnTo>
                <a:lnTo>
                  <a:pt x="714" y="150"/>
                </a:lnTo>
                <a:lnTo>
                  <a:pt x="720" y="156"/>
                </a:lnTo>
                <a:lnTo>
                  <a:pt x="720" y="162"/>
                </a:lnTo>
                <a:lnTo>
                  <a:pt x="714" y="162"/>
                </a:lnTo>
                <a:lnTo>
                  <a:pt x="708" y="168"/>
                </a:lnTo>
                <a:lnTo>
                  <a:pt x="708" y="180"/>
                </a:lnTo>
                <a:lnTo>
                  <a:pt x="708" y="192"/>
                </a:lnTo>
                <a:lnTo>
                  <a:pt x="696" y="198"/>
                </a:lnTo>
                <a:lnTo>
                  <a:pt x="696" y="204"/>
                </a:lnTo>
                <a:lnTo>
                  <a:pt x="684" y="210"/>
                </a:lnTo>
                <a:lnTo>
                  <a:pt x="684" y="216"/>
                </a:lnTo>
                <a:lnTo>
                  <a:pt x="684" y="222"/>
                </a:lnTo>
                <a:lnTo>
                  <a:pt x="678" y="228"/>
                </a:lnTo>
                <a:lnTo>
                  <a:pt x="678" y="234"/>
                </a:lnTo>
                <a:lnTo>
                  <a:pt x="672" y="240"/>
                </a:lnTo>
                <a:lnTo>
                  <a:pt x="672" y="252"/>
                </a:lnTo>
                <a:lnTo>
                  <a:pt x="672" y="258"/>
                </a:lnTo>
                <a:lnTo>
                  <a:pt x="666" y="264"/>
                </a:lnTo>
                <a:lnTo>
                  <a:pt x="678" y="264"/>
                </a:lnTo>
                <a:lnTo>
                  <a:pt x="684" y="276"/>
                </a:lnTo>
                <a:lnTo>
                  <a:pt x="684" y="288"/>
                </a:lnTo>
                <a:lnTo>
                  <a:pt x="672" y="300"/>
                </a:lnTo>
                <a:lnTo>
                  <a:pt x="660" y="318"/>
                </a:lnTo>
                <a:lnTo>
                  <a:pt x="660" y="336"/>
                </a:lnTo>
                <a:lnTo>
                  <a:pt x="654" y="342"/>
                </a:lnTo>
                <a:lnTo>
                  <a:pt x="660" y="354"/>
                </a:lnTo>
                <a:lnTo>
                  <a:pt x="660" y="366"/>
                </a:lnTo>
                <a:lnTo>
                  <a:pt x="666" y="378"/>
                </a:lnTo>
                <a:lnTo>
                  <a:pt x="672" y="390"/>
                </a:lnTo>
                <a:lnTo>
                  <a:pt x="678" y="396"/>
                </a:lnTo>
                <a:lnTo>
                  <a:pt x="684" y="390"/>
                </a:lnTo>
                <a:lnTo>
                  <a:pt x="690" y="390"/>
                </a:lnTo>
                <a:lnTo>
                  <a:pt x="690" y="396"/>
                </a:lnTo>
                <a:lnTo>
                  <a:pt x="684" y="396"/>
                </a:lnTo>
                <a:lnTo>
                  <a:pt x="684" y="402"/>
                </a:lnTo>
                <a:lnTo>
                  <a:pt x="684" y="408"/>
                </a:lnTo>
                <a:lnTo>
                  <a:pt x="678" y="414"/>
                </a:lnTo>
                <a:lnTo>
                  <a:pt x="684" y="414"/>
                </a:lnTo>
                <a:lnTo>
                  <a:pt x="684" y="420"/>
                </a:lnTo>
                <a:lnTo>
                  <a:pt x="684" y="426"/>
                </a:lnTo>
                <a:lnTo>
                  <a:pt x="690" y="420"/>
                </a:lnTo>
                <a:lnTo>
                  <a:pt x="696" y="420"/>
                </a:lnTo>
                <a:lnTo>
                  <a:pt x="696" y="426"/>
                </a:lnTo>
                <a:lnTo>
                  <a:pt x="690" y="426"/>
                </a:lnTo>
                <a:lnTo>
                  <a:pt x="696" y="426"/>
                </a:lnTo>
                <a:lnTo>
                  <a:pt x="708" y="426"/>
                </a:lnTo>
                <a:lnTo>
                  <a:pt x="726" y="414"/>
                </a:lnTo>
                <a:lnTo>
                  <a:pt x="732" y="408"/>
                </a:lnTo>
                <a:lnTo>
                  <a:pt x="744" y="402"/>
                </a:lnTo>
                <a:lnTo>
                  <a:pt x="756" y="402"/>
                </a:lnTo>
                <a:lnTo>
                  <a:pt x="768" y="402"/>
                </a:lnTo>
                <a:lnTo>
                  <a:pt x="786" y="408"/>
                </a:lnTo>
                <a:lnTo>
                  <a:pt x="786" y="414"/>
                </a:lnTo>
                <a:lnTo>
                  <a:pt x="774" y="420"/>
                </a:lnTo>
                <a:lnTo>
                  <a:pt x="774" y="426"/>
                </a:lnTo>
                <a:lnTo>
                  <a:pt x="768" y="432"/>
                </a:lnTo>
                <a:lnTo>
                  <a:pt x="762" y="438"/>
                </a:lnTo>
                <a:lnTo>
                  <a:pt x="756" y="438"/>
                </a:lnTo>
                <a:lnTo>
                  <a:pt x="756" y="444"/>
                </a:lnTo>
                <a:lnTo>
                  <a:pt x="756" y="450"/>
                </a:lnTo>
                <a:lnTo>
                  <a:pt x="762" y="450"/>
                </a:lnTo>
                <a:lnTo>
                  <a:pt x="750" y="456"/>
                </a:lnTo>
                <a:lnTo>
                  <a:pt x="738" y="468"/>
                </a:lnTo>
                <a:lnTo>
                  <a:pt x="726" y="480"/>
                </a:lnTo>
                <a:lnTo>
                  <a:pt x="726" y="486"/>
                </a:lnTo>
                <a:lnTo>
                  <a:pt x="732" y="486"/>
                </a:lnTo>
                <a:lnTo>
                  <a:pt x="732" y="492"/>
                </a:lnTo>
                <a:lnTo>
                  <a:pt x="732" y="504"/>
                </a:lnTo>
                <a:lnTo>
                  <a:pt x="738" y="504"/>
                </a:lnTo>
                <a:lnTo>
                  <a:pt x="744" y="510"/>
                </a:lnTo>
                <a:lnTo>
                  <a:pt x="738" y="522"/>
                </a:lnTo>
                <a:lnTo>
                  <a:pt x="744" y="528"/>
                </a:lnTo>
                <a:lnTo>
                  <a:pt x="756" y="534"/>
                </a:lnTo>
                <a:lnTo>
                  <a:pt x="756" y="540"/>
                </a:lnTo>
                <a:lnTo>
                  <a:pt x="744" y="552"/>
                </a:lnTo>
                <a:lnTo>
                  <a:pt x="738" y="552"/>
                </a:lnTo>
                <a:lnTo>
                  <a:pt x="738" y="558"/>
                </a:lnTo>
                <a:lnTo>
                  <a:pt x="744" y="558"/>
                </a:lnTo>
                <a:lnTo>
                  <a:pt x="744" y="564"/>
                </a:lnTo>
                <a:lnTo>
                  <a:pt x="750" y="564"/>
                </a:lnTo>
                <a:lnTo>
                  <a:pt x="744" y="576"/>
                </a:lnTo>
                <a:lnTo>
                  <a:pt x="738" y="588"/>
                </a:lnTo>
                <a:lnTo>
                  <a:pt x="738" y="594"/>
                </a:lnTo>
                <a:lnTo>
                  <a:pt x="738" y="600"/>
                </a:lnTo>
                <a:lnTo>
                  <a:pt x="738" y="606"/>
                </a:lnTo>
                <a:lnTo>
                  <a:pt x="732" y="612"/>
                </a:lnTo>
                <a:lnTo>
                  <a:pt x="726" y="624"/>
                </a:lnTo>
                <a:lnTo>
                  <a:pt x="726" y="636"/>
                </a:lnTo>
                <a:lnTo>
                  <a:pt x="726" y="648"/>
                </a:lnTo>
                <a:lnTo>
                  <a:pt x="738" y="654"/>
                </a:lnTo>
                <a:lnTo>
                  <a:pt x="750" y="660"/>
                </a:lnTo>
                <a:lnTo>
                  <a:pt x="750" y="666"/>
                </a:lnTo>
                <a:lnTo>
                  <a:pt x="750" y="678"/>
                </a:lnTo>
                <a:lnTo>
                  <a:pt x="744" y="678"/>
                </a:lnTo>
                <a:lnTo>
                  <a:pt x="738" y="684"/>
                </a:lnTo>
                <a:lnTo>
                  <a:pt x="732" y="684"/>
                </a:lnTo>
                <a:lnTo>
                  <a:pt x="720" y="678"/>
                </a:lnTo>
                <a:lnTo>
                  <a:pt x="714" y="684"/>
                </a:lnTo>
                <a:lnTo>
                  <a:pt x="708" y="684"/>
                </a:lnTo>
                <a:lnTo>
                  <a:pt x="702" y="684"/>
                </a:lnTo>
                <a:lnTo>
                  <a:pt x="696" y="684"/>
                </a:lnTo>
                <a:lnTo>
                  <a:pt x="690" y="690"/>
                </a:lnTo>
                <a:lnTo>
                  <a:pt x="690" y="684"/>
                </a:lnTo>
                <a:lnTo>
                  <a:pt x="690" y="690"/>
                </a:lnTo>
                <a:lnTo>
                  <a:pt x="684" y="690"/>
                </a:lnTo>
                <a:lnTo>
                  <a:pt x="684" y="684"/>
                </a:lnTo>
                <a:lnTo>
                  <a:pt x="678" y="684"/>
                </a:lnTo>
                <a:lnTo>
                  <a:pt x="672" y="678"/>
                </a:lnTo>
                <a:lnTo>
                  <a:pt x="672" y="672"/>
                </a:lnTo>
                <a:lnTo>
                  <a:pt x="678" y="672"/>
                </a:lnTo>
                <a:lnTo>
                  <a:pt x="672" y="672"/>
                </a:lnTo>
                <a:lnTo>
                  <a:pt x="666" y="672"/>
                </a:lnTo>
                <a:lnTo>
                  <a:pt x="660" y="672"/>
                </a:lnTo>
                <a:lnTo>
                  <a:pt x="654" y="672"/>
                </a:lnTo>
                <a:lnTo>
                  <a:pt x="654" y="666"/>
                </a:lnTo>
                <a:lnTo>
                  <a:pt x="648" y="666"/>
                </a:lnTo>
                <a:lnTo>
                  <a:pt x="642" y="660"/>
                </a:lnTo>
                <a:lnTo>
                  <a:pt x="642" y="654"/>
                </a:lnTo>
                <a:lnTo>
                  <a:pt x="642" y="648"/>
                </a:lnTo>
                <a:lnTo>
                  <a:pt x="636" y="648"/>
                </a:lnTo>
                <a:lnTo>
                  <a:pt x="630" y="648"/>
                </a:lnTo>
                <a:lnTo>
                  <a:pt x="624" y="648"/>
                </a:lnTo>
                <a:lnTo>
                  <a:pt x="624" y="642"/>
                </a:lnTo>
                <a:lnTo>
                  <a:pt x="618" y="636"/>
                </a:lnTo>
                <a:lnTo>
                  <a:pt x="624" y="636"/>
                </a:lnTo>
                <a:lnTo>
                  <a:pt x="624" y="630"/>
                </a:lnTo>
                <a:lnTo>
                  <a:pt x="618" y="630"/>
                </a:lnTo>
                <a:lnTo>
                  <a:pt x="618" y="624"/>
                </a:lnTo>
                <a:lnTo>
                  <a:pt x="618" y="618"/>
                </a:lnTo>
                <a:lnTo>
                  <a:pt x="618" y="612"/>
                </a:lnTo>
                <a:lnTo>
                  <a:pt x="618" y="606"/>
                </a:lnTo>
                <a:lnTo>
                  <a:pt x="624" y="606"/>
                </a:lnTo>
                <a:lnTo>
                  <a:pt x="624" y="600"/>
                </a:lnTo>
                <a:lnTo>
                  <a:pt x="618" y="600"/>
                </a:lnTo>
                <a:lnTo>
                  <a:pt x="618" y="594"/>
                </a:lnTo>
                <a:lnTo>
                  <a:pt x="618" y="588"/>
                </a:lnTo>
                <a:lnTo>
                  <a:pt x="618" y="582"/>
                </a:lnTo>
                <a:lnTo>
                  <a:pt x="612" y="582"/>
                </a:lnTo>
                <a:lnTo>
                  <a:pt x="606" y="582"/>
                </a:lnTo>
                <a:lnTo>
                  <a:pt x="612" y="582"/>
                </a:lnTo>
                <a:lnTo>
                  <a:pt x="612" y="588"/>
                </a:lnTo>
                <a:lnTo>
                  <a:pt x="612" y="594"/>
                </a:lnTo>
                <a:lnTo>
                  <a:pt x="618" y="594"/>
                </a:lnTo>
                <a:lnTo>
                  <a:pt x="618" y="600"/>
                </a:lnTo>
                <a:lnTo>
                  <a:pt x="618" y="606"/>
                </a:lnTo>
                <a:lnTo>
                  <a:pt x="618" y="612"/>
                </a:lnTo>
                <a:lnTo>
                  <a:pt x="612" y="612"/>
                </a:lnTo>
                <a:lnTo>
                  <a:pt x="612" y="618"/>
                </a:lnTo>
                <a:lnTo>
                  <a:pt x="606" y="612"/>
                </a:lnTo>
                <a:lnTo>
                  <a:pt x="600" y="612"/>
                </a:lnTo>
                <a:lnTo>
                  <a:pt x="594" y="612"/>
                </a:lnTo>
                <a:lnTo>
                  <a:pt x="588" y="606"/>
                </a:lnTo>
                <a:lnTo>
                  <a:pt x="588" y="612"/>
                </a:lnTo>
                <a:lnTo>
                  <a:pt x="594" y="612"/>
                </a:lnTo>
                <a:lnTo>
                  <a:pt x="594" y="618"/>
                </a:lnTo>
                <a:lnTo>
                  <a:pt x="588" y="618"/>
                </a:lnTo>
                <a:lnTo>
                  <a:pt x="588" y="624"/>
                </a:lnTo>
                <a:lnTo>
                  <a:pt x="582" y="624"/>
                </a:lnTo>
                <a:lnTo>
                  <a:pt x="582" y="630"/>
                </a:lnTo>
                <a:lnTo>
                  <a:pt x="576" y="630"/>
                </a:lnTo>
                <a:lnTo>
                  <a:pt x="576" y="636"/>
                </a:lnTo>
                <a:lnTo>
                  <a:pt x="570" y="636"/>
                </a:lnTo>
                <a:lnTo>
                  <a:pt x="570" y="642"/>
                </a:lnTo>
                <a:lnTo>
                  <a:pt x="564" y="642"/>
                </a:lnTo>
                <a:lnTo>
                  <a:pt x="564" y="636"/>
                </a:lnTo>
                <a:lnTo>
                  <a:pt x="564" y="630"/>
                </a:lnTo>
                <a:lnTo>
                  <a:pt x="564" y="624"/>
                </a:lnTo>
                <a:lnTo>
                  <a:pt x="564" y="618"/>
                </a:lnTo>
                <a:lnTo>
                  <a:pt x="570" y="612"/>
                </a:lnTo>
                <a:lnTo>
                  <a:pt x="564" y="606"/>
                </a:lnTo>
                <a:lnTo>
                  <a:pt x="564" y="600"/>
                </a:lnTo>
                <a:lnTo>
                  <a:pt x="564" y="594"/>
                </a:lnTo>
                <a:lnTo>
                  <a:pt x="558" y="594"/>
                </a:lnTo>
                <a:lnTo>
                  <a:pt x="558" y="588"/>
                </a:lnTo>
                <a:lnTo>
                  <a:pt x="552" y="582"/>
                </a:lnTo>
                <a:lnTo>
                  <a:pt x="552" y="576"/>
                </a:lnTo>
                <a:lnTo>
                  <a:pt x="552" y="570"/>
                </a:lnTo>
                <a:lnTo>
                  <a:pt x="552" y="564"/>
                </a:lnTo>
                <a:lnTo>
                  <a:pt x="546" y="564"/>
                </a:lnTo>
                <a:lnTo>
                  <a:pt x="546" y="570"/>
                </a:lnTo>
                <a:lnTo>
                  <a:pt x="546" y="576"/>
                </a:lnTo>
                <a:lnTo>
                  <a:pt x="546" y="582"/>
                </a:lnTo>
                <a:lnTo>
                  <a:pt x="552" y="582"/>
                </a:lnTo>
                <a:lnTo>
                  <a:pt x="552" y="588"/>
                </a:lnTo>
                <a:lnTo>
                  <a:pt x="558" y="588"/>
                </a:lnTo>
                <a:lnTo>
                  <a:pt x="558" y="594"/>
                </a:lnTo>
                <a:lnTo>
                  <a:pt x="558" y="600"/>
                </a:lnTo>
                <a:lnTo>
                  <a:pt x="558" y="606"/>
                </a:lnTo>
                <a:lnTo>
                  <a:pt x="552" y="612"/>
                </a:lnTo>
                <a:lnTo>
                  <a:pt x="558" y="612"/>
                </a:lnTo>
                <a:lnTo>
                  <a:pt x="558" y="618"/>
                </a:lnTo>
                <a:lnTo>
                  <a:pt x="558" y="624"/>
                </a:lnTo>
                <a:lnTo>
                  <a:pt x="558" y="630"/>
                </a:lnTo>
                <a:lnTo>
                  <a:pt x="552" y="630"/>
                </a:lnTo>
                <a:lnTo>
                  <a:pt x="552" y="624"/>
                </a:lnTo>
                <a:lnTo>
                  <a:pt x="546" y="624"/>
                </a:lnTo>
                <a:lnTo>
                  <a:pt x="546" y="618"/>
                </a:lnTo>
                <a:lnTo>
                  <a:pt x="546" y="612"/>
                </a:lnTo>
                <a:lnTo>
                  <a:pt x="540" y="612"/>
                </a:lnTo>
                <a:lnTo>
                  <a:pt x="534" y="612"/>
                </a:lnTo>
                <a:lnTo>
                  <a:pt x="528" y="612"/>
                </a:lnTo>
                <a:lnTo>
                  <a:pt x="522" y="606"/>
                </a:lnTo>
                <a:lnTo>
                  <a:pt x="522" y="612"/>
                </a:lnTo>
                <a:lnTo>
                  <a:pt x="528" y="618"/>
                </a:lnTo>
                <a:lnTo>
                  <a:pt x="534" y="618"/>
                </a:lnTo>
                <a:lnTo>
                  <a:pt x="540" y="618"/>
                </a:lnTo>
                <a:lnTo>
                  <a:pt x="540" y="624"/>
                </a:lnTo>
                <a:lnTo>
                  <a:pt x="546" y="624"/>
                </a:lnTo>
                <a:lnTo>
                  <a:pt x="546" y="630"/>
                </a:lnTo>
                <a:lnTo>
                  <a:pt x="552" y="630"/>
                </a:lnTo>
                <a:lnTo>
                  <a:pt x="552" y="636"/>
                </a:lnTo>
                <a:lnTo>
                  <a:pt x="546" y="642"/>
                </a:lnTo>
                <a:lnTo>
                  <a:pt x="546" y="648"/>
                </a:lnTo>
                <a:lnTo>
                  <a:pt x="540" y="648"/>
                </a:lnTo>
                <a:lnTo>
                  <a:pt x="540" y="654"/>
                </a:lnTo>
                <a:lnTo>
                  <a:pt x="540" y="660"/>
                </a:lnTo>
                <a:lnTo>
                  <a:pt x="534" y="666"/>
                </a:lnTo>
                <a:lnTo>
                  <a:pt x="534" y="672"/>
                </a:lnTo>
                <a:lnTo>
                  <a:pt x="534" y="678"/>
                </a:lnTo>
                <a:lnTo>
                  <a:pt x="534" y="684"/>
                </a:lnTo>
                <a:lnTo>
                  <a:pt x="534" y="678"/>
                </a:lnTo>
                <a:lnTo>
                  <a:pt x="528" y="678"/>
                </a:lnTo>
                <a:lnTo>
                  <a:pt x="528" y="684"/>
                </a:lnTo>
                <a:lnTo>
                  <a:pt x="522" y="690"/>
                </a:lnTo>
                <a:lnTo>
                  <a:pt x="528" y="690"/>
                </a:lnTo>
                <a:lnTo>
                  <a:pt x="528" y="684"/>
                </a:lnTo>
                <a:lnTo>
                  <a:pt x="534" y="684"/>
                </a:lnTo>
                <a:lnTo>
                  <a:pt x="534" y="690"/>
                </a:lnTo>
                <a:lnTo>
                  <a:pt x="534" y="696"/>
                </a:lnTo>
                <a:lnTo>
                  <a:pt x="540" y="696"/>
                </a:lnTo>
                <a:lnTo>
                  <a:pt x="540" y="702"/>
                </a:lnTo>
                <a:lnTo>
                  <a:pt x="540" y="708"/>
                </a:lnTo>
                <a:lnTo>
                  <a:pt x="534" y="708"/>
                </a:lnTo>
                <a:lnTo>
                  <a:pt x="528" y="708"/>
                </a:lnTo>
                <a:lnTo>
                  <a:pt x="522" y="708"/>
                </a:lnTo>
                <a:lnTo>
                  <a:pt x="516" y="708"/>
                </a:lnTo>
                <a:lnTo>
                  <a:pt x="510" y="708"/>
                </a:lnTo>
                <a:lnTo>
                  <a:pt x="504" y="708"/>
                </a:lnTo>
                <a:lnTo>
                  <a:pt x="498" y="708"/>
                </a:lnTo>
                <a:lnTo>
                  <a:pt x="492" y="708"/>
                </a:lnTo>
                <a:lnTo>
                  <a:pt x="486" y="714"/>
                </a:lnTo>
                <a:lnTo>
                  <a:pt x="480" y="708"/>
                </a:lnTo>
                <a:lnTo>
                  <a:pt x="474" y="708"/>
                </a:lnTo>
                <a:lnTo>
                  <a:pt x="480" y="708"/>
                </a:lnTo>
                <a:lnTo>
                  <a:pt x="480" y="714"/>
                </a:lnTo>
                <a:lnTo>
                  <a:pt x="474" y="714"/>
                </a:lnTo>
                <a:lnTo>
                  <a:pt x="468" y="714"/>
                </a:lnTo>
                <a:lnTo>
                  <a:pt x="456" y="714"/>
                </a:lnTo>
                <a:lnTo>
                  <a:pt x="450" y="714"/>
                </a:lnTo>
                <a:lnTo>
                  <a:pt x="450" y="708"/>
                </a:lnTo>
                <a:lnTo>
                  <a:pt x="450" y="702"/>
                </a:lnTo>
                <a:lnTo>
                  <a:pt x="450" y="696"/>
                </a:lnTo>
                <a:lnTo>
                  <a:pt x="450" y="690"/>
                </a:lnTo>
                <a:lnTo>
                  <a:pt x="450" y="684"/>
                </a:lnTo>
                <a:lnTo>
                  <a:pt x="450" y="678"/>
                </a:lnTo>
                <a:lnTo>
                  <a:pt x="450" y="672"/>
                </a:lnTo>
                <a:lnTo>
                  <a:pt x="450" y="666"/>
                </a:lnTo>
                <a:lnTo>
                  <a:pt x="456" y="660"/>
                </a:lnTo>
                <a:lnTo>
                  <a:pt x="462" y="660"/>
                </a:lnTo>
                <a:lnTo>
                  <a:pt x="462" y="654"/>
                </a:lnTo>
                <a:lnTo>
                  <a:pt x="456" y="654"/>
                </a:lnTo>
                <a:lnTo>
                  <a:pt x="456" y="660"/>
                </a:lnTo>
                <a:lnTo>
                  <a:pt x="450" y="654"/>
                </a:lnTo>
                <a:lnTo>
                  <a:pt x="450" y="648"/>
                </a:lnTo>
                <a:lnTo>
                  <a:pt x="444" y="648"/>
                </a:lnTo>
                <a:lnTo>
                  <a:pt x="444" y="642"/>
                </a:lnTo>
                <a:lnTo>
                  <a:pt x="444" y="636"/>
                </a:lnTo>
                <a:lnTo>
                  <a:pt x="450" y="636"/>
                </a:lnTo>
                <a:lnTo>
                  <a:pt x="450" y="630"/>
                </a:lnTo>
                <a:lnTo>
                  <a:pt x="456" y="630"/>
                </a:lnTo>
                <a:lnTo>
                  <a:pt x="462" y="630"/>
                </a:lnTo>
                <a:lnTo>
                  <a:pt x="462" y="624"/>
                </a:lnTo>
                <a:lnTo>
                  <a:pt x="468" y="624"/>
                </a:lnTo>
                <a:lnTo>
                  <a:pt x="474" y="624"/>
                </a:lnTo>
                <a:lnTo>
                  <a:pt x="474" y="618"/>
                </a:lnTo>
                <a:lnTo>
                  <a:pt x="480" y="618"/>
                </a:lnTo>
                <a:lnTo>
                  <a:pt x="486" y="618"/>
                </a:lnTo>
                <a:lnTo>
                  <a:pt x="486" y="624"/>
                </a:lnTo>
                <a:lnTo>
                  <a:pt x="486" y="636"/>
                </a:lnTo>
                <a:lnTo>
                  <a:pt x="486" y="642"/>
                </a:lnTo>
                <a:lnTo>
                  <a:pt x="486" y="648"/>
                </a:lnTo>
                <a:lnTo>
                  <a:pt x="492" y="648"/>
                </a:lnTo>
                <a:lnTo>
                  <a:pt x="492" y="642"/>
                </a:lnTo>
                <a:lnTo>
                  <a:pt x="498" y="636"/>
                </a:lnTo>
                <a:lnTo>
                  <a:pt x="492" y="636"/>
                </a:lnTo>
                <a:lnTo>
                  <a:pt x="492" y="630"/>
                </a:lnTo>
                <a:lnTo>
                  <a:pt x="492" y="624"/>
                </a:lnTo>
                <a:lnTo>
                  <a:pt x="486" y="624"/>
                </a:lnTo>
                <a:lnTo>
                  <a:pt x="486" y="618"/>
                </a:lnTo>
                <a:lnTo>
                  <a:pt x="486" y="612"/>
                </a:lnTo>
                <a:lnTo>
                  <a:pt x="486" y="606"/>
                </a:lnTo>
                <a:lnTo>
                  <a:pt x="480" y="606"/>
                </a:lnTo>
                <a:lnTo>
                  <a:pt x="480" y="612"/>
                </a:lnTo>
                <a:lnTo>
                  <a:pt x="474" y="618"/>
                </a:lnTo>
                <a:lnTo>
                  <a:pt x="468" y="618"/>
                </a:lnTo>
                <a:lnTo>
                  <a:pt x="462" y="618"/>
                </a:lnTo>
                <a:lnTo>
                  <a:pt x="462" y="612"/>
                </a:lnTo>
                <a:lnTo>
                  <a:pt x="456" y="612"/>
                </a:lnTo>
                <a:lnTo>
                  <a:pt x="456" y="618"/>
                </a:lnTo>
                <a:lnTo>
                  <a:pt x="462" y="618"/>
                </a:lnTo>
                <a:lnTo>
                  <a:pt x="462" y="624"/>
                </a:lnTo>
                <a:lnTo>
                  <a:pt x="456" y="624"/>
                </a:lnTo>
                <a:lnTo>
                  <a:pt x="450" y="630"/>
                </a:lnTo>
                <a:lnTo>
                  <a:pt x="444" y="630"/>
                </a:lnTo>
                <a:lnTo>
                  <a:pt x="444" y="636"/>
                </a:lnTo>
                <a:lnTo>
                  <a:pt x="444" y="642"/>
                </a:lnTo>
                <a:lnTo>
                  <a:pt x="444" y="654"/>
                </a:lnTo>
                <a:lnTo>
                  <a:pt x="444" y="660"/>
                </a:lnTo>
                <a:lnTo>
                  <a:pt x="438" y="660"/>
                </a:lnTo>
                <a:lnTo>
                  <a:pt x="432" y="660"/>
                </a:lnTo>
                <a:lnTo>
                  <a:pt x="432" y="654"/>
                </a:lnTo>
                <a:lnTo>
                  <a:pt x="438" y="654"/>
                </a:lnTo>
                <a:lnTo>
                  <a:pt x="438" y="648"/>
                </a:lnTo>
                <a:lnTo>
                  <a:pt x="432" y="642"/>
                </a:lnTo>
                <a:lnTo>
                  <a:pt x="432" y="636"/>
                </a:lnTo>
                <a:lnTo>
                  <a:pt x="432" y="630"/>
                </a:lnTo>
                <a:lnTo>
                  <a:pt x="432" y="636"/>
                </a:lnTo>
                <a:lnTo>
                  <a:pt x="432" y="642"/>
                </a:lnTo>
                <a:lnTo>
                  <a:pt x="432" y="648"/>
                </a:lnTo>
                <a:lnTo>
                  <a:pt x="432" y="654"/>
                </a:lnTo>
                <a:lnTo>
                  <a:pt x="432" y="648"/>
                </a:lnTo>
                <a:lnTo>
                  <a:pt x="426" y="648"/>
                </a:lnTo>
                <a:lnTo>
                  <a:pt x="426" y="654"/>
                </a:lnTo>
                <a:lnTo>
                  <a:pt x="426" y="660"/>
                </a:lnTo>
                <a:lnTo>
                  <a:pt x="432" y="666"/>
                </a:lnTo>
                <a:lnTo>
                  <a:pt x="432" y="672"/>
                </a:lnTo>
                <a:lnTo>
                  <a:pt x="438" y="672"/>
                </a:lnTo>
                <a:lnTo>
                  <a:pt x="438" y="678"/>
                </a:lnTo>
                <a:lnTo>
                  <a:pt x="444" y="678"/>
                </a:lnTo>
                <a:lnTo>
                  <a:pt x="444" y="684"/>
                </a:lnTo>
                <a:lnTo>
                  <a:pt x="438" y="690"/>
                </a:lnTo>
                <a:lnTo>
                  <a:pt x="438" y="696"/>
                </a:lnTo>
                <a:lnTo>
                  <a:pt x="438" y="702"/>
                </a:lnTo>
                <a:lnTo>
                  <a:pt x="432" y="702"/>
                </a:lnTo>
                <a:lnTo>
                  <a:pt x="426" y="702"/>
                </a:lnTo>
                <a:lnTo>
                  <a:pt x="426" y="696"/>
                </a:lnTo>
                <a:lnTo>
                  <a:pt x="414" y="696"/>
                </a:lnTo>
                <a:lnTo>
                  <a:pt x="402" y="696"/>
                </a:lnTo>
                <a:lnTo>
                  <a:pt x="402" y="690"/>
                </a:lnTo>
                <a:lnTo>
                  <a:pt x="396" y="690"/>
                </a:lnTo>
                <a:lnTo>
                  <a:pt x="390" y="690"/>
                </a:lnTo>
                <a:lnTo>
                  <a:pt x="384" y="690"/>
                </a:lnTo>
                <a:lnTo>
                  <a:pt x="384" y="684"/>
                </a:lnTo>
                <a:lnTo>
                  <a:pt x="384" y="678"/>
                </a:lnTo>
                <a:lnTo>
                  <a:pt x="384" y="672"/>
                </a:lnTo>
                <a:lnTo>
                  <a:pt x="390" y="666"/>
                </a:lnTo>
                <a:lnTo>
                  <a:pt x="390" y="660"/>
                </a:lnTo>
                <a:lnTo>
                  <a:pt x="390" y="654"/>
                </a:lnTo>
                <a:lnTo>
                  <a:pt x="384" y="648"/>
                </a:lnTo>
                <a:lnTo>
                  <a:pt x="384" y="642"/>
                </a:lnTo>
                <a:lnTo>
                  <a:pt x="378" y="636"/>
                </a:lnTo>
                <a:lnTo>
                  <a:pt x="378" y="642"/>
                </a:lnTo>
                <a:lnTo>
                  <a:pt x="378" y="648"/>
                </a:lnTo>
                <a:lnTo>
                  <a:pt x="372" y="648"/>
                </a:lnTo>
                <a:lnTo>
                  <a:pt x="378" y="654"/>
                </a:lnTo>
                <a:lnTo>
                  <a:pt x="378" y="660"/>
                </a:lnTo>
                <a:lnTo>
                  <a:pt x="378" y="666"/>
                </a:lnTo>
                <a:lnTo>
                  <a:pt x="372" y="672"/>
                </a:lnTo>
                <a:lnTo>
                  <a:pt x="378" y="672"/>
                </a:lnTo>
                <a:lnTo>
                  <a:pt x="378" y="678"/>
                </a:lnTo>
                <a:lnTo>
                  <a:pt x="372" y="678"/>
                </a:lnTo>
                <a:lnTo>
                  <a:pt x="372" y="672"/>
                </a:lnTo>
                <a:lnTo>
                  <a:pt x="366" y="672"/>
                </a:lnTo>
                <a:lnTo>
                  <a:pt x="354" y="666"/>
                </a:lnTo>
                <a:lnTo>
                  <a:pt x="354" y="660"/>
                </a:lnTo>
                <a:lnTo>
                  <a:pt x="342" y="654"/>
                </a:lnTo>
                <a:lnTo>
                  <a:pt x="336" y="654"/>
                </a:lnTo>
                <a:lnTo>
                  <a:pt x="330" y="654"/>
                </a:lnTo>
                <a:lnTo>
                  <a:pt x="324" y="648"/>
                </a:lnTo>
                <a:lnTo>
                  <a:pt x="318" y="648"/>
                </a:lnTo>
                <a:lnTo>
                  <a:pt x="318" y="642"/>
                </a:lnTo>
                <a:lnTo>
                  <a:pt x="312" y="642"/>
                </a:lnTo>
                <a:lnTo>
                  <a:pt x="306" y="636"/>
                </a:lnTo>
                <a:lnTo>
                  <a:pt x="300" y="636"/>
                </a:lnTo>
                <a:lnTo>
                  <a:pt x="300" y="630"/>
                </a:lnTo>
                <a:lnTo>
                  <a:pt x="300" y="624"/>
                </a:lnTo>
                <a:lnTo>
                  <a:pt x="306" y="624"/>
                </a:lnTo>
                <a:lnTo>
                  <a:pt x="300" y="624"/>
                </a:lnTo>
                <a:lnTo>
                  <a:pt x="300" y="618"/>
                </a:lnTo>
                <a:lnTo>
                  <a:pt x="306" y="612"/>
                </a:lnTo>
                <a:lnTo>
                  <a:pt x="300" y="612"/>
                </a:lnTo>
                <a:lnTo>
                  <a:pt x="300" y="606"/>
                </a:lnTo>
                <a:lnTo>
                  <a:pt x="300" y="612"/>
                </a:lnTo>
                <a:lnTo>
                  <a:pt x="294" y="612"/>
                </a:lnTo>
                <a:lnTo>
                  <a:pt x="288" y="618"/>
                </a:lnTo>
                <a:lnTo>
                  <a:pt x="288" y="612"/>
                </a:lnTo>
                <a:lnTo>
                  <a:pt x="288" y="618"/>
                </a:lnTo>
                <a:lnTo>
                  <a:pt x="294" y="618"/>
                </a:lnTo>
                <a:lnTo>
                  <a:pt x="300" y="624"/>
                </a:lnTo>
                <a:lnTo>
                  <a:pt x="294" y="624"/>
                </a:lnTo>
                <a:lnTo>
                  <a:pt x="288" y="624"/>
                </a:lnTo>
                <a:lnTo>
                  <a:pt x="282" y="618"/>
                </a:lnTo>
                <a:lnTo>
                  <a:pt x="282" y="612"/>
                </a:lnTo>
                <a:lnTo>
                  <a:pt x="276" y="612"/>
                </a:lnTo>
                <a:lnTo>
                  <a:pt x="264" y="606"/>
                </a:lnTo>
                <a:lnTo>
                  <a:pt x="264" y="600"/>
                </a:lnTo>
                <a:lnTo>
                  <a:pt x="270" y="600"/>
                </a:lnTo>
                <a:lnTo>
                  <a:pt x="270" y="594"/>
                </a:lnTo>
                <a:lnTo>
                  <a:pt x="276" y="594"/>
                </a:lnTo>
                <a:lnTo>
                  <a:pt x="282" y="594"/>
                </a:lnTo>
                <a:lnTo>
                  <a:pt x="276" y="594"/>
                </a:lnTo>
                <a:lnTo>
                  <a:pt x="282" y="594"/>
                </a:lnTo>
                <a:lnTo>
                  <a:pt x="282" y="588"/>
                </a:lnTo>
                <a:lnTo>
                  <a:pt x="276" y="588"/>
                </a:lnTo>
                <a:lnTo>
                  <a:pt x="276" y="594"/>
                </a:lnTo>
                <a:lnTo>
                  <a:pt x="270" y="594"/>
                </a:lnTo>
                <a:lnTo>
                  <a:pt x="264" y="600"/>
                </a:lnTo>
                <a:lnTo>
                  <a:pt x="264" y="594"/>
                </a:lnTo>
                <a:lnTo>
                  <a:pt x="270" y="594"/>
                </a:lnTo>
                <a:lnTo>
                  <a:pt x="270" y="588"/>
                </a:lnTo>
                <a:lnTo>
                  <a:pt x="264" y="594"/>
                </a:lnTo>
                <a:lnTo>
                  <a:pt x="258" y="594"/>
                </a:lnTo>
                <a:lnTo>
                  <a:pt x="258" y="588"/>
                </a:lnTo>
                <a:lnTo>
                  <a:pt x="252" y="588"/>
                </a:lnTo>
                <a:lnTo>
                  <a:pt x="246" y="588"/>
                </a:lnTo>
                <a:lnTo>
                  <a:pt x="246" y="582"/>
                </a:lnTo>
                <a:lnTo>
                  <a:pt x="240" y="582"/>
                </a:lnTo>
                <a:lnTo>
                  <a:pt x="240" y="588"/>
                </a:lnTo>
                <a:lnTo>
                  <a:pt x="246" y="588"/>
                </a:lnTo>
                <a:lnTo>
                  <a:pt x="252" y="588"/>
                </a:lnTo>
                <a:lnTo>
                  <a:pt x="252" y="594"/>
                </a:lnTo>
                <a:lnTo>
                  <a:pt x="258" y="594"/>
                </a:lnTo>
                <a:lnTo>
                  <a:pt x="252" y="594"/>
                </a:lnTo>
                <a:lnTo>
                  <a:pt x="246" y="594"/>
                </a:lnTo>
                <a:lnTo>
                  <a:pt x="246" y="588"/>
                </a:lnTo>
                <a:lnTo>
                  <a:pt x="240" y="588"/>
                </a:lnTo>
                <a:lnTo>
                  <a:pt x="234" y="582"/>
                </a:lnTo>
                <a:lnTo>
                  <a:pt x="228" y="576"/>
                </a:lnTo>
                <a:lnTo>
                  <a:pt x="222" y="570"/>
                </a:lnTo>
                <a:lnTo>
                  <a:pt x="222" y="564"/>
                </a:lnTo>
                <a:lnTo>
                  <a:pt x="222" y="570"/>
                </a:lnTo>
                <a:lnTo>
                  <a:pt x="228" y="570"/>
                </a:lnTo>
                <a:lnTo>
                  <a:pt x="222" y="570"/>
                </a:lnTo>
                <a:lnTo>
                  <a:pt x="222" y="564"/>
                </a:lnTo>
                <a:lnTo>
                  <a:pt x="228" y="564"/>
                </a:lnTo>
                <a:lnTo>
                  <a:pt x="234" y="564"/>
                </a:lnTo>
                <a:lnTo>
                  <a:pt x="234" y="558"/>
                </a:lnTo>
                <a:lnTo>
                  <a:pt x="240" y="558"/>
                </a:lnTo>
                <a:lnTo>
                  <a:pt x="234" y="558"/>
                </a:lnTo>
                <a:lnTo>
                  <a:pt x="228" y="558"/>
                </a:lnTo>
                <a:lnTo>
                  <a:pt x="222" y="558"/>
                </a:lnTo>
                <a:lnTo>
                  <a:pt x="228" y="558"/>
                </a:lnTo>
                <a:lnTo>
                  <a:pt x="228" y="564"/>
                </a:lnTo>
                <a:lnTo>
                  <a:pt x="222" y="564"/>
                </a:lnTo>
                <a:lnTo>
                  <a:pt x="222" y="558"/>
                </a:lnTo>
                <a:lnTo>
                  <a:pt x="216" y="558"/>
                </a:lnTo>
                <a:lnTo>
                  <a:pt x="210" y="558"/>
                </a:lnTo>
                <a:lnTo>
                  <a:pt x="210" y="552"/>
                </a:lnTo>
                <a:lnTo>
                  <a:pt x="204" y="546"/>
                </a:lnTo>
                <a:lnTo>
                  <a:pt x="204" y="540"/>
                </a:lnTo>
                <a:lnTo>
                  <a:pt x="210" y="540"/>
                </a:lnTo>
                <a:lnTo>
                  <a:pt x="210" y="546"/>
                </a:lnTo>
                <a:lnTo>
                  <a:pt x="210" y="540"/>
                </a:lnTo>
                <a:lnTo>
                  <a:pt x="210" y="534"/>
                </a:lnTo>
                <a:lnTo>
                  <a:pt x="210" y="528"/>
                </a:lnTo>
                <a:lnTo>
                  <a:pt x="204" y="528"/>
                </a:lnTo>
                <a:lnTo>
                  <a:pt x="210" y="534"/>
                </a:lnTo>
                <a:lnTo>
                  <a:pt x="210" y="540"/>
                </a:lnTo>
                <a:lnTo>
                  <a:pt x="204" y="540"/>
                </a:lnTo>
                <a:lnTo>
                  <a:pt x="198" y="540"/>
                </a:lnTo>
                <a:lnTo>
                  <a:pt x="192" y="540"/>
                </a:lnTo>
                <a:lnTo>
                  <a:pt x="186" y="540"/>
                </a:lnTo>
                <a:lnTo>
                  <a:pt x="186" y="534"/>
                </a:lnTo>
                <a:lnTo>
                  <a:pt x="186" y="528"/>
                </a:lnTo>
                <a:lnTo>
                  <a:pt x="180" y="528"/>
                </a:lnTo>
                <a:lnTo>
                  <a:pt x="174" y="516"/>
                </a:lnTo>
                <a:lnTo>
                  <a:pt x="168" y="510"/>
                </a:lnTo>
                <a:lnTo>
                  <a:pt x="162" y="504"/>
                </a:lnTo>
                <a:lnTo>
                  <a:pt x="156" y="498"/>
                </a:lnTo>
                <a:lnTo>
                  <a:pt x="156" y="492"/>
                </a:lnTo>
                <a:lnTo>
                  <a:pt x="150" y="486"/>
                </a:lnTo>
                <a:lnTo>
                  <a:pt x="144" y="480"/>
                </a:lnTo>
                <a:lnTo>
                  <a:pt x="144" y="474"/>
                </a:lnTo>
                <a:lnTo>
                  <a:pt x="138" y="474"/>
                </a:lnTo>
                <a:lnTo>
                  <a:pt x="138" y="468"/>
                </a:lnTo>
                <a:lnTo>
                  <a:pt x="132" y="462"/>
                </a:lnTo>
                <a:lnTo>
                  <a:pt x="132" y="456"/>
                </a:lnTo>
                <a:lnTo>
                  <a:pt x="126" y="450"/>
                </a:lnTo>
                <a:lnTo>
                  <a:pt x="126" y="444"/>
                </a:lnTo>
                <a:lnTo>
                  <a:pt x="114" y="438"/>
                </a:lnTo>
                <a:lnTo>
                  <a:pt x="114" y="432"/>
                </a:lnTo>
                <a:lnTo>
                  <a:pt x="114" y="426"/>
                </a:lnTo>
                <a:lnTo>
                  <a:pt x="114" y="432"/>
                </a:lnTo>
                <a:lnTo>
                  <a:pt x="120" y="432"/>
                </a:lnTo>
                <a:lnTo>
                  <a:pt x="120" y="438"/>
                </a:lnTo>
                <a:lnTo>
                  <a:pt x="120" y="444"/>
                </a:lnTo>
                <a:lnTo>
                  <a:pt x="126" y="444"/>
                </a:lnTo>
                <a:lnTo>
                  <a:pt x="126" y="438"/>
                </a:lnTo>
                <a:lnTo>
                  <a:pt x="120" y="438"/>
                </a:lnTo>
                <a:lnTo>
                  <a:pt x="126" y="432"/>
                </a:lnTo>
                <a:lnTo>
                  <a:pt x="126" y="426"/>
                </a:lnTo>
                <a:lnTo>
                  <a:pt x="132" y="420"/>
                </a:lnTo>
                <a:lnTo>
                  <a:pt x="126" y="426"/>
                </a:lnTo>
                <a:lnTo>
                  <a:pt x="120" y="420"/>
                </a:lnTo>
                <a:lnTo>
                  <a:pt x="114" y="420"/>
                </a:lnTo>
                <a:lnTo>
                  <a:pt x="114" y="414"/>
                </a:lnTo>
                <a:lnTo>
                  <a:pt x="108" y="414"/>
                </a:lnTo>
                <a:lnTo>
                  <a:pt x="102" y="414"/>
                </a:lnTo>
                <a:lnTo>
                  <a:pt x="102" y="408"/>
                </a:lnTo>
                <a:lnTo>
                  <a:pt x="96" y="402"/>
                </a:lnTo>
                <a:lnTo>
                  <a:pt x="96" y="396"/>
                </a:lnTo>
                <a:lnTo>
                  <a:pt x="96" y="390"/>
                </a:lnTo>
                <a:lnTo>
                  <a:pt x="90" y="390"/>
                </a:lnTo>
                <a:lnTo>
                  <a:pt x="90" y="384"/>
                </a:lnTo>
                <a:lnTo>
                  <a:pt x="84" y="378"/>
                </a:lnTo>
                <a:lnTo>
                  <a:pt x="84" y="372"/>
                </a:lnTo>
                <a:lnTo>
                  <a:pt x="78" y="372"/>
                </a:lnTo>
                <a:lnTo>
                  <a:pt x="78" y="366"/>
                </a:lnTo>
                <a:lnTo>
                  <a:pt x="78" y="360"/>
                </a:lnTo>
                <a:lnTo>
                  <a:pt x="72" y="354"/>
                </a:lnTo>
                <a:lnTo>
                  <a:pt x="66" y="354"/>
                </a:lnTo>
                <a:lnTo>
                  <a:pt x="66" y="348"/>
                </a:lnTo>
                <a:lnTo>
                  <a:pt x="66" y="342"/>
                </a:lnTo>
                <a:lnTo>
                  <a:pt x="60" y="342"/>
                </a:lnTo>
                <a:lnTo>
                  <a:pt x="60" y="336"/>
                </a:lnTo>
                <a:lnTo>
                  <a:pt x="60" y="330"/>
                </a:lnTo>
                <a:lnTo>
                  <a:pt x="54" y="330"/>
                </a:lnTo>
                <a:lnTo>
                  <a:pt x="60" y="324"/>
                </a:lnTo>
                <a:lnTo>
                  <a:pt x="60" y="330"/>
                </a:lnTo>
                <a:lnTo>
                  <a:pt x="66" y="336"/>
                </a:lnTo>
                <a:lnTo>
                  <a:pt x="66" y="342"/>
                </a:lnTo>
                <a:lnTo>
                  <a:pt x="72" y="348"/>
                </a:lnTo>
                <a:lnTo>
                  <a:pt x="78" y="354"/>
                </a:lnTo>
                <a:lnTo>
                  <a:pt x="84" y="360"/>
                </a:lnTo>
                <a:lnTo>
                  <a:pt x="90" y="366"/>
                </a:lnTo>
                <a:lnTo>
                  <a:pt x="96" y="366"/>
                </a:lnTo>
                <a:lnTo>
                  <a:pt x="90" y="360"/>
                </a:lnTo>
                <a:lnTo>
                  <a:pt x="84" y="360"/>
                </a:lnTo>
                <a:lnTo>
                  <a:pt x="84" y="354"/>
                </a:lnTo>
                <a:lnTo>
                  <a:pt x="78" y="348"/>
                </a:lnTo>
                <a:lnTo>
                  <a:pt x="78" y="342"/>
                </a:lnTo>
                <a:lnTo>
                  <a:pt x="72" y="342"/>
                </a:lnTo>
                <a:lnTo>
                  <a:pt x="72" y="336"/>
                </a:lnTo>
                <a:lnTo>
                  <a:pt x="66" y="330"/>
                </a:lnTo>
                <a:lnTo>
                  <a:pt x="66" y="324"/>
                </a:lnTo>
                <a:lnTo>
                  <a:pt x="60" y="318"/>
                </a:lnTo>
                <a:lnTo>
                  <a:pt x="60" y="312"/>
                </a:lnTo>
                <a:lnTo>
                  <a:pt x="54" y="306"/>
                </a:lnTo>
                <a:lnTo>
                  <a:pt x="54" y="300"/>
                </a:lnTo>
                <a:lnTo>
                  <a:pt x="54" y="294"/>
                </a:lnTo>
                <a:lnTo>
                  <a:pt x="48" y="288"/>
                </a:lnTo>
                <a:lnTo>
                  <a:pt x="48" y="294"/>
                </a:lnTo>
                <a:lnTo>
                  <a:pt x="48" y="288"/>
                </a:lnTo>
                <a:lnTo>
                  <a:pt x="48" y="282"/>
                </a:lnTo>
                <a:lnTo>
                  <a:pt x="48" y="276"/>
                </a:lnTo>
                <a:lnTo>
                  <a:pt x="42" y="276"/>
                </a:lnTo>
                <a:lnTo>
                  <a:pt x="42" y="270"/>
                </a:lnTo>
                <a:lnTo>
                  <a:pt x="42" y="264"/>
                </a:lnTo>
                <a:lnTo>
                  <a:pt x="36" y="258"/>
                </a:lnTo>
                <a:lnTo>
                  <a:pt x="36" y="252"/>
                </a:lnTo>
                <a:lnTo>
                  <a:pt x="36" y="246"/>
                </a:lnTo>
                <a:lnTo>
                  <a:pt x="30" y="240"/>
                </a:lnTo>
                <a:lnTo>
                  <a:pt x="36" y="240"/>
                </a:lnTo>
                <a:lnTo>
                  <a:pt x="30" y="240"/>
                </a:lnTo>
                <a:lnTo>
                  <a:pt x="30" y="234"/>
                </a:lnTo>
                <a:lnTo>
                  <a:pt x="30" y="228"/>
                </a:lnTo>
                <a:lnTo>
                  <a:pt x="24" y="228"/>
                </a:lnTo>
                <a:lnTo>
                  <a:pt x="24" y="222"/>
                </a:lnTo>
                <a:lnTo>
                  <a:pt x="24" y="216"/>
                </a:lnTo>
                <a:lnTo>
                  <a:pt x="18" y="216"/>
                </a:lnTo>
                <a:lnTo>
                  <a:pt x="18" y="210"/>
                </a:lnTo>
                <a:lnTo>
                  <a:pt x="18" y="204"/>
                </a:lnTo>
                <a:lnTo>
                  <a:pt x="12" y="198"/>
                </a:lnTo>
                <a:lnTo>
                  <a:pt x="12" y="192"/>
                </a:lnTo>
                <a:lnTo>
                  <a:pt x="6" y="192"/>
                </a:lnTo>
                <a:lnTo>
                  <a:pt x="6" y="186"/>
                </a:lnTo>
                <a:lnTo>
                  <a:pt x="6" y="180"/>
                </a:lnTo>
                <a:lnTo>
                  <a:pt x="0" y="180"/>
                </a:lnTo>
                <a:lnTo>
                  <a:pt x="0" y="174"/>
                </a:lnTo>
                <a:lnTo>
                  <a:pt x="0" y="168"/>
                </a:lnTo>
                <a:lnTo>
                  <a:pt x="6" y="168"/>
                </a:lnTo>
                <a:lnTo>
                  <a:pt x="12" y="162"/>
                </a:lnTo>
                <a:lnTo>
                  <a:pt x="12" y="168"/>
                </a:lnTo>
                <a:lnTo>
                  <a:pt x="18" y="168"/>
                </a:lnTo>
                <a:lnTo>
                  <a:pt x="24" y="168"/>
                </a:lnTo>
                <a:lnTo>
                  <a:pt x="24" y="162"/>
                </a:lnTo>
                <a:lnTo>
                  <a:pt x="30" y="162"/>
                </a:lnTo>
                <a:lnTo>
                  <a:pt x="36" y="162"/>
                </a:lnTo>
                <a:lnTo>
                  <a:pt x="36" y="168"/>
                </a:lnTo>
                <a:lnTo>
                  <a:pt x="42" y="168"/>
                </a:lnTo>
                <a:lnTo>
                  <a:pt x="42" y="174"/>
                </a:lnTo>
                <a:lnTo>
                  <a:pt x="48" y="180"/>
                </a:lnTo>
                <a:lnTo>
                  <a:pt x="48" y="186"/>
                </a:lnTo>
                <a:lnTo>
                  <a:pt x="54" y="186"/>
                </a:lnTo>
                <a:close/>
                <a:moveTo>
                  <a:pt x="642" y="660"/>
                </a:moveTo>
                <a:lnTo>
                  <a:pt x="642" y="666"/>
                </a:lnTo>
                <a:lnTo>
                  <a:pt x="648" y="666"/>
                </a:lnTo>
                <a:lnTo>
                  <a:pt x="648" y="672"/>
                </a:lnTo>
                <a:lnTo>
                  <a:pt x="648" y="678"/>
                </a:lnTo>
                <a:lnTo>
                  <a:pt x="654" y="678"/>
                </a:lnTo>
                <a:lnTo>
                  <a:pt x="654" y="684"/>
                </a:lnTo>
                <a:lnTo>
                  <a:pt x="660" y="684"/>
                </a:lnTo>
                <a:lnTo>
                  <a:pt x="660" y="690"/>
                </a:lnTo>
                <a:lnTo>
                  <a:pt x="654" y="690"/>
                </a:lnTo>
                <a:lnTo>
                  <a:pt x="648" y="690"/>
                </a:lnTo>
                <a:lnTo>
                  <a:pt x="636" y="696"/>
                </a:lnTo>
                <a:lnTo>
                  <a:pt x="630" y="696"/>
                </a:lnTo>
                <a:lnTo>
                  <a:pt x="624" y="696"/>
                </a:lnTo>
                <a:lnTo>
                  <a:pt x="618" y="696"/>
                </a:lnTo>
                <a:lnTo>
                  <a:pt x="612" y="696"/>
                </a:lnTo>
                <a:lnTo>
                  <a:pt x="594" y="696"/>
                </a:lnTo>
                <a:lnTo>
                  <a:pt x="588" y="696"/>
                </a:lnTo>
                <a:lnTo>
                  <a:pt x="582" y="696"/>
                </a:lnTo>
                <a:lnTo>
                  <a:pt x="570" y="702"/>
                </a:lnTo>
                <a:lnTo>
                  <a:pt x="564" y="702"/>
                </a:lnTo>
                <a:lnTo>
                  <a:pt x="558" y="702"/>
                </a:lnTo>
                <a:lnTo>
                  <a:pt x="552" y="702"/>
                </a:lnTo>
                <a:lnTo>
                  <a:pt x="552" y="696"/>
                </a:lnTo>
                <a:lnTo>
                  <a:pt x="546" y="696"/>
                </a:lnTo>
                <a:lnTo>
                  <a:pt x="546" y="690"/>
                </a:lnTo>
                <a:lnTo>
                  <a:pt x="552" y="684"/>
                </a:lnTo>
                <a:lnTo>
                  <a:pt x="552" y="678"/>
                </a:lnTo>
                <a:lnTo>
                  <a:pt x="558" y="672"/>
                </a:lnTo>
                <a:lnTo>
                  <a:pt x="558" y="666"/>
                </a:lnTo>
                <a:lnTo>
                  <a:pt x="564" y="666"/>
                </a:lnTo>
                <a:lnTo>
                  <a:pt x="570" y="666"/>
                </a:lnTo>
                <a:lnTo>
                  <a:pt x="570" y="654"/>
                </a:lnTo>
                <a:lnTo>
                  <a:pt x="570" y="648"/>
                </a:lnTo>
                <a:lnTo>
                  <a:pt x="582" y="642"/>
                </a:lnTo>
                <a:lnTo>
                  <a:pt x="582" y="636"/>
                </a:lnTo>
                <a:lnTo>
                  <a:pt x="588" y="636"/>
                </a:lnTo>
                <a:lnTo>
                  <a:pt x="588" y="630"/>
                </a:lnTo>
                <a:lnTo>
                  <a:pt x="594" y="624"/>
                </a:lnTo>
                <a:lnTo>
                  <a:pt x="594" y="618"/>
                </a:lnTo>
                <a:lnTo>
                  <a:pt x="600" y="618"/>
                </a:lnTo>
                <a:lnTo>
                  <a:pt x="600" y="612"/>
                </a:lnTo>
                <a:lnTo>
                  <a:pt x="606" y="612"/>
                </a:lnTo>
                <a:lnTo>
                  <a:pt x="606" y="618"/>
                </a:lnTo>
                <a:lnTo>
                  <a:pt x="612" y="618"/>
                </a:lnTo>
                <a:lnTo>
                  <a:pt x="618" y="618"/>
                </a:lnTo>
                <a:lnTo>
                  <a:pt x="618" y="624"/>
                </a:lnTo>
                <a:lnTo>
                  <a:pt x="618" y="630"/>
                </a:lnTo>
                <a:lnTo>
                  <a:pt x="624" y="630"/>
                </a:lnTo>
                <a:lnTo>
                  <a:pt x="618" y="636"/>
                </a:lnTo>
                <a:lnTo>
                  <a:pt x="618" y="642"/>
                </a:lnTo>
                <a:lnTo>
                  <a:pt x="618" y="648"/>
                </a:lnTo>
                <a:lnTo>
                  <a:pt x="624" y="648"/>
                </a:lnTo>
                <a:lnTo>
                  <a:pt x="630" y="648"/>
                </a:lnTo>
                <a:lnTo>
                  <a:pt x="636" y="654"/>
                </a:lnTo>
                <a:lnTo>
                  <a:pt x="642" y="654"/>
                </a:lnTo>
                <a:lnTo>
                  <a:pt x="642" y="660"/>
                </a:lnTo>
                <a:close/>
              </a:path>
            </a:pathLst>
          </a:custGeom>
          <a:solidFill>
            <a:srgbClr val="CD202C"/>
          </a:solidFill>
          <a:ln w="9525">
            <a:solidFill>
              <a:schemeClr val="bg1"/>
            </a:solidFill>
            <a:round/>
            <a:headEnd/>
            <a:tailEnd/>
          </a:ln>
        </p:spPr>
        <p:txBody>
          <a:bodyPr/>
          <a:lstStyle/>
          <a:p>
            <a:endParaRPr lang="en-GB"/>
          </a:p>
        </p:txBody>
      </p:sp>
      <p:sp>
        <p:nvSpPr>
          <p:cNvPr id="17420" name="Freeform 6"/>
          <p:cNvSpPr>
            <a:spLocks noEditPoints="1"/>
          </p:cNvSpPr>
          <p:nvPr/>
        </p:nvSpPr>
        <p:spPr bwMode="gray">
          <a:xfrm>
            <a:off x="3292475" y="5707063"/>
            <a:ext cx="596900" cy="727075"/>
          </a:xfrm>
          <a:custGeom>
            <a:avLst/>
            <a:gdLst>
              <a:gd name="T0" fmla="*/ 7053 w 762"/>
              <a:gd name="T1" fmla="*/ 46897 h 900"/>
              <a:gd name="T2" fmla="*/ 3135 w 762"/>
              <a:gd name="T3" fmla="*/ 45280 h 900"/>
              <a:gd name="T4" fmla="*/ 0 w 762"/>
              <a:gd name="T5" fmla="*/ 39620 h 900"/>
              <a:gd name="T6" fmla="*/ 3135 w 762"/>
              <a:gd name="T7" fmla="*/ 29109 h 900"/>
              <a:gd name="T8" fmla="*/ 6269 w 762"/>
              <a:gd name="T9" fmla="*/ 22640 h 900"/>
              <a:gd name="T10" fmla="*/ 5485 w 762"/>
              <a:gd name="T11" fmla="*/ 10511 h 900"/>
              <a:gd name="T12" fmla="*/ 11755 w 762"/>
              <a:gd name="T13" fmla="*/ 0 h 900"/>
              <a:gd name="T14" fmla="*/ 12538 w 762"/>
              <a:gd name="T15" fmla="*/ 10511 h 900"/>
              <a:gd name="T16" fmla="*/ 24293 w 762"/>
              <a:gd name="T17" fmla="*/ 22640 h 900"/>
              <a:gd name="T18" fmla="*/ 38398 w 762"/>
              <a:gd name="T19" fmla="*/ 26683 h 900"/>
              <a:gd name="T20" fmla="*/ 32913 w 762"/>
              <a:gd name="T21" fmla="*/ 38811 h 900"/>
              <a:gd name="T22" fmla="*/ 39966 w 762"/>
              <a:gd name="T23" fmla="*/ 38811 h 900"/>
              <a:gd name="T24" fmla="*/ 47802 w 762"/>
              <a:gd name="T25" fmla="*/ 41237 h 900"/>
              <a:gd name="T26" fmla="*/ 49369 w 762"/>
              <a:gd name="T27" fmla="*/ 48514 h 900"/>
              <a:gd name="T28" fmla="*/ 49369 w 762"/>
              <a:gd name="T29" fmla="*/ 53366 h 900"/>
              <a:gd name="T30" fmla="*/ 50937 w 762"/>
              <a:gd name="T31" fmla="*/ 55791 h 900"/>
              <a:gd name="T32" fmla="*/ 51720 w 762"/>
              <a:gd name="T33" fmla="*/ 58217 h 900"/>
              <a:gd name="T34" fmla="*/ 43884 w 762"/>
              <a:gd name="T35" fmla="*/ 59026 h 900"/>
              <a:gd name="T36" fmla="*/ 43100 w 762"/>
              <a:gd name="T37" fmla="*/ 55791 h 900"/>
              <a:gd name="T38" fmla="*/ 44668 w 762"/>
              <a:gd name="T39" fmla="*/ 54174 h 900"/>
              <a:gd name="T40" fmla="*/ 43100 w 762"/>
              <a:gd name="T41" fmla="*/ 52557 h 900"/>
              <a:gd name="T42" fmla="*/ 41533 w 762"/>
              <a:gd name="T43" fmla="*/ 54983 h 900"/>
              <a:gd name="T44" fmla="*/ 38398 w 762"/>
              <a:gd name="T45" fmla="*/ 54983 h 900"/>
              <a:gd name="T46" fmla="*/ 34480 w 762"/>
              <a:gd name="T47" fmla="*/ 50940 h 900"/>
              <a:gd name="T48" fmla="*/ 31346 w 762"/>
              <a:gd name="T49" fmla="*/ 47706 h 900"/>
              <a:gd name="T50" fmla="*/ 29778 w 762"/>
              <a:gd name="T51" fmla="*/ 46088 h 900"/>
              <a:gd name="T52" fmla="*/ 33697 w 762"/>
              <a:gd name="T53" fmla="*/ 50131 h 900"/>
              <a:gd name="T54" fmla="*/ 33697 w 762"/>
              <a:gd name="T55" fmla="*/ 53366 h 900"/>
              <a:gd name="T56" fmla="*/ 32129 w 762"/>
              <a:gd name="T57" fmla="*/ 57408 h 900"/>
              <a:gd name="T58" fmla="*/ 28995 w 762"/>
              <a:gd name="T59" fmla="*/ 55791 h 900"/>
              <a:gd name="T60" fmla="*/ 27427 w 762"/>
              <a:gd name="T61" fmla="*/ 51748 h 900"/>
              <a:gd name="T62" fmla="*/ 24293 w 762"/>
              <a:gd name="T63" fmla="*/ 46088 h 900"/>
              <a:gd name="T64" fmla="*/ 23509 w 762"/>
              <a:gd name="T65" fmla="*/ 50131 h 900"/>
              <a:gd name="T66" fmla="*/ 22726 w 762"/>
              <a:gd name="T67" fmla="*/ 49323 h 900"/>
              <a:gd name="T68" fmla="*/ 24293 w 762"/>
              <a:gd name="T69" fmla="*/ 53366 h 900"/>
              <a:gd name="T70" fmla="*/ 25860 w 762"/>
              <a:gd name="T71" fmla="*/ 58217 h 900"/>
              <a:gd name="T72" fmla="*/ 25077 w 762"/>
              <a:gd name="T73" fmla="*/ 61451 h 900"/>
              <a:gd name="T74" fmla="*/ 21942 w 762"/>
              <a:gd name="T75" fmla="*/ 60643 h 900"/>
              <a:gd name="T76" fmla="*/ 18807 w 762"/>
              <a:gd name="T77" fmla="*/ 55791 h 900"/>
              <a:gd name="T78" fmla="*/ 18807 w 762"/>
              <a:gd name="T79" fmla="*/ 50131 h 900"/>
              <a:gd name="T80" fmla="*/ 18024 w 762"/>
              <a:gd name="T81" fmla="*/ 50131 h 900"/>
              <a:gd name="T82" fmla="*/ 18024 w 762"/>
              <a:gd name="T83" fmla="*/ 54983 h 900"/>
              <a:gd name="T84" fmla="*/ 19591 w 762"/>
              <a:gd name="T85" fmla="*/ 62260 h 900"/>
              <a:gd name="T86" fmla="*/ 13322 w 762"/>
              <a:gd name="T87" fmla="*/ 59834 h 900"/>
              <a:gd name="T88" fmla="*/ 13322 w 762"/>
              <a:gd name="T89" fmla="*/ 54174 h 900"/>
              <a:gd name="T90" fmla="*/ 12538 w 762"/>
              <a:gd name="T91" fmla="*/ 54174 h 900"/>
              <a:gd name="T92" fmla="*/ 11755 w 762"/>
              <a:gd name="T93" fmla="*/ 57408 h 900"/>
              <a:gd name="T94" fmla="*/ 9404 w 762"/>
              <a:gd name="T95" fmla="*/ 54983 h 900"/>
              <a:gd name="T96" fmla="*/ 11755 w 762"/>
              <a:gd name="T97" fmla="*/ 58217 h 900"/>
              <a:gd name="T98" fmla="*/ 13322 w 762"/>
              <a:gd name="T99" fmla="*/ 62260 h 900"/>
              <a:gd name="T100" fmla="*/ 8620 w 762"/>
              <a:gd name="T101" fmla="*/ 62260 h 900"/>
              <a:gd name="T102" fmla="*/ 7836 w 762"/>
              <a:gd name="T103" fmla="*/ 55791 h 900"/>
              <a:gd name="T104" fmla="*/ 8620 w 762"/>
              <a:gd name="T105" fmla="*/ 58217 h 900"/>
              <a:gd name="T106" fmla="*/ 7053 w 762"/>
              <a:gd name="T107" fmla="*/ 63068 h 900"/>
              <a:gd name="T108" fmla="*/ 33697 w 762"/>
              <a:gd name="T109" fmla="*/ 57408 h 900"/>
              <a:gd name="T110" fmla="*/ 39966 w 762"/>
              <a:gd name="T111" fmla="*/ 55791 h 900"/>
              <a:gd name="T112" fmla="*/ 33697 w 762"/>
              <a:gd name="T113" fmla="*/ 61451 h 900"/>
              <a:gd name="T114" fmla="*/ 28211 w 762"/>
              <a:gd name="T115" fmla="*/ 52557 h 900"/>
              <a:gd name="T116" fmla="*/ 29778 w 762"/>
              <a:gd name="T117" fmla="*/ 58217 h 900"/>
              <a:gd name="T118" fmla="*/ 26644 w 762"/>
              <a:gd name="T119" fmla="*/ 55791 h 900"/>
              <a:gd name="T120" fmla="*/ 22726 w 762"/>
              <a:gd name="T121" fmla="*/ 51748 h 900"/>
              <a:gd name="T122" fmla="*/ 25077 w 762"/>
              <a:gd name="T123" fmla="*/ 53366 h 9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900"/>
              <a:gd name="T188" fmla="*/ 762 w 762"/>
              <a:gd name="T189" fmla="*/ 900 h 9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900">
                <a:moveTo>
                  <a:pt x="90" y="768"/>
                </a:moveTo>
                <a:lnTo>
                  <a:pt x="102" y="756"/>
                </a:lnTo>
                <a:lnTo>
                  <a:pt x="102" y="750"/>
                </a:lnTo>
                <a:lnTo>
                  <a:pt x="90" y="744"/>
                </a:lnTo>
                <a:lnTo>
                  <a:pt x="84" y="738"/>
                </a:lnTo>
                <a:lnTo>
                  <a:pt x="90" y="726"/>
                </a:lnTo>
                <a:lnTo>
                  <a:pt x="84" y="720"/>
                </a:lnTo>
                <a:lnTo>
                  <a:pt x="78" y="720"/>
                </a:lnTo>
                <a:lnTo>
                  <a:pt x="78" y="708"/>
                </a:lnTo>
                <a:lnTo>
                  <a:pt x="78" y="702"/>
                </a:lnTo>
                <a:lnTo>
                  <a:pt x="72" y="702"/>
                </a:lnTo>
                <a:lnTo>
                  <a:pt x="72" y="696"/>
                </a:lnTo>
                <a:lnTo>
                  <a:pt x="84" y="684"/>
                </a:lnTo>
                <a:lnTo>
                  <a:pt x="96" y="672"/>
                </a:lnTo>
                <a:lnTo>
                  <a:pt x="108" y="666"/>
                </a:lnTo>
                <a:lnTo>
                  <a:pt x="102" y="666"/>
                </a:lnTo>
                <a:lnTo>
                  <a:pt x="102" y="660"/>
                </a:lnTo>
                <a:lnTo>
                  <a:pt x="102" y="654"/>
                </a:lnTo>
                <a:lnTo>
                  <a:pt x="108" y="654"/>
                </a:lnTo>
                <a:lnTo>
                  <a:pt x="114" y="648"/>
                </a:lnTo>
                <a:lnTo>
                  <a:pt x="120" y="642"/>
                </a:lnTo>
                <a:lnTo>
                  <a:pt x="120" y="636"/>
                </a:lnTo>
                <a:lnTo>
                  <a:pt x="132" y="630"/>
                </a:lnTo>
                <a:lnTo>
                  <a:pt x="132" y="624"/>
                </a:lnTo>
                <a:lnTo>
                  <a:pt x="114" y="618"/>
                </a:lnTo>
                <a:lnTo>
                  <a:pt x="102" y="618"/>
                </a:lnTo>
                <a:lnTo>
                  <a:pt x="90" y="618"/>
                </a:lnTo>
                <a:lnTo>
                  <a:pt x="78" y="624"/>
                </a:lnTo>
                <a:lnTo>
                  <a:pt x="72" y="630"/>
                </a:lnTo>
                <a:lnTo>
                  <a:pt x="54" y="642"/>
                </a:lnTo>
                <a:lnTo>
                  <a:pt x="42" y="642"/>
                </a:lnTo>
                <a:lnTo>
                  <a:pt x="36" y="642"/>
                </a:lnTo>
                <a:lnTo>
                  <a:pt x="42" y="642"/>
                </a:lnTo>
                <a:lnTo>
                  <a:pt x="42" y="636"/>
                </a:lnTo>
                <a:lnTo>
                  <a:pt x="36" y="636"/>
                </a:lnTo>
                <a:lnTo>
                  <a:pt x="30" y="642"/>
                </a:lnTo>
                <a:lnTo>
                  <a:pt x="30" y="636"/>
                </a:lnTo>
                <a:lnTo>
                  <a:pt x="30" y="630"/>
                </a:lnTo>
                <a:lnTo>
                  <a:pt x="24" y="630"/>
                </a:lnTo>
                <a:lnTo>
                  <a:pt x="30" y="624"/>
                </a:lnTo>
                <a:lnTo>
                  <a:pt x="30" y="618"/>
                </a:lnTo>
                <a:lnTo>
                  <a:pt x="30" y="612"/>
                </a:lnTo>
                <a:lnTo>
                  <a:pt x="36" y="612"/>
                </a:lnTo>
                <a:lnTo>
                  <a:pt x="36" y="606"/>
                </a:lnTo>
                <a:lnTo>
                  <a:pt x="30" y="606"/>
                </a:lnTo>
                <a:lnTo>
                  <a:pt x="24" y="612"/>
                </a:lnTo>
                <a:lnTo>
                  <a:pt x="18" y="606"/>
                </a:lnTo>
                <a:lnTo>
                  <a:pt x="12" y="594"/>
                </a:lnTo>
                <a:lnTo>
                  <a:pt x="6" y="582"/>
                </a:lnTo>
                <a:lnTo>
                  <a:pt x="6" y="570"/>
                </a:lnTo>
                <a:lnTo>
                  <a:pt x="0" y="558"/>
                </a:lnTo>
                <a:lnTo>
                  <a:pt x="6" y="552"/>
                </a:lnTo>
                <a:lnTo>
                  <a:pt x="6" y="534"/>
                </a:lnTo>
                <a:lnTo>
                  <a:pt x="18" y="516"/>
                </a:lnTo>
                <a:lnTo>
                  <a:pt x="30" y="504"/>
                </a:lnTo>
                <a:lnTo>
                  <a:pt x="30" y="492"/>
                </a:lnTo>
                <a:lnTo>
                  <a:pt x="24" y="480"/>
                </a:lnTo>
                <a:lnTo>
                  <a:pt x="12" y="480"/>
                </a:lnTo>
                <a:lnTo>
                  <a:pt x="18" y="474"/>
                </a:lnTo>
                <a:lnTo>
                  <a:pt x="18" y="468"/>
                </a:lnTo>
                <a:lnTo>
                  <a:pt x="18" y="456"/>
                </a:lnTo>
                <a:lnTo>
                  <a:pt x="24" y="450"/>
                </a:lnTo>
                <a:lnTo>
                  <a:pt x="24" y="444"/>
                </a:lnTo>
                <a:lnTo>
                  <a:pt x="30" y="438"/>
                </a:lnTo>
                <a:lnTo>
                  <a:pt x="30" y="432"/>
                </a:lnTo>
                <a:lnTo>
                  <a:pt x="30" y="426"/>
                </a:lnTo>
                <a:lnTo>
                  <a:pt x="42" y="420"/>
                </a:lnTo>
                <a:lnTo>
                  <a:pt x="42" y="414"/>
                </a:lnTo>
                <a:lnTo>
                  <a:pt x="54" y="408"/>
                </a:lnTo>
                <a:lnTo>
                  <a:pt x="54" y="396"/>
                </a:lnTo>
                <a:lnTo>
                  <a:pt x="54" y="384"/>
                </a:lnTo>
                <a:lnTo>
                  <a:pt x="60" y="378"/>
                </a:lnTo>
                <a:lnTo>
                  <a:pt x="66" y="378"/>
                </a:lnTo>
                <a:lnTo>
                  <a:pt x="66" y="372"/>
                </a:lnTo>
                <a:lnTo>
                  <a:pt x="60" y="366"/>
                </a:lnTo>
                <a:lnTo>
                  <a:pt x="60" y="360"/>
                </a:lnTo>
                <a:lnTo>
                  <a:pt x="66" y="360"/>
                </a:lnTo>
                <a:lnTo>
                  <a:pt x="72" y="354"/>
                </a:lnTo>
                <a:lnTo>
                  <a:pt x="78" y="354"/>
                </a:lnTo>
                <a:lnTo>
                  <a:pt x="84" y="348"/>
                </a:lnTo>
                <a:lnTo>
                  <a:pt x="96" y="348"/>
                </a:lnTo>
                <a:lnTo>
                  <a:pt x="96" y="342"/>
                </a:lnTo>
                <a:lnTo>
                  <a:pt x="96" y="336"/>
                </a:lnTo>
                <a:lnTo>
                  <a:pt x="96" y="330"/>
                </a:lnTo>
                <a:lnTo>
                  <a:pt x="96" y="324"/>
                </a:lnTo>
                <a:lnTo>
                  <a:pt x="102" y="318"/>
                </a:lnTo>
                <a:lnTo>
                  <a:pt x="108" y="312"/>
                </a:lnTo>
                <a:lnTo>
                  <a:pt x="96" y="306"/>
                </a:lnTo>
                <a:lnTo>
                  <a:pt x="84" y="288"/>
                </a:lnTo>
                <a:lnTo>
                  <a:pt x="108" y="258"/>
                </a:lnTo>
                <a:lnTo>
                  <a:pt x="102" y="222"/>
                </a:lnTo>
                <a:lnTo>
                  <a:pt x="84" y="222"/>
                </a:lnTo>
                <a:lnTo>
                  <a:pt x="54" y="216"/>
                </a:lnTo>
                <a:lnTo>
                  <a:pt x="54" y="204"/>
                </a:lnTo>
                <a:lnTo>
                  <a:pt x="54" y="198"/>
                </a:lnTo>
                <a:lnTo>
                  <a:pt x="60" y="192"/>
                </a:lnTo>
                <a:lnTo>
                  <a:pt x="72" y="192"/>
                </a:lnTo>
                <a:lnTo>
                  <a:pt x="84" y="186"/>
                </a:lnTo>
                <a:lnTo>
                  <a:pt x="90" y="186"/>
                </a:lnTo>
                <a:lnTo>
                  <a:pt x="90" y="174"/>
                </a:lnTo>
                <a:lnTo>
                  <a:pt x="84" y="162"/>
                </a:lnTo>
                <a:lnTo>
                  <a:pt x="84" y="150"/>
                </a:lnTo>
                <a:lnTo>
                  <a:pt x="84" y="126"/>
                </a:lnTo>
                <a:lnTo>
                  <a:pt x="84" y="114"/>
                </a:lnTo>
                <a:lnTo>
                  <a:pt x="90" y="102"/>
                </a:lnTo>
                <a:lnTo>
                  <a:pt x="96" y="96"/>
                </a:lnTo>
                <a:lnTo>
                  <a:pt x="108" y="96"/>
                </a:lnTo>
                <a:lnTo>
                  <a:pt x="120" y="90"/>
                </a:lnTo>
                <a:lnTo>
                  <a:pt x="126" y="78"/>
                </a:lnTo>
                <a:lnTo>
                  <a:pt x="138" y="66"/>
                </a:lnTo>
                <a:lnTo>
                  <a:pt x="138" y="48"/>
                </a:lnTo>
                <a:lnTo>
                  <a:pt x="138" y="42"/>
                </a:lnTo>
                <a:lnTo>
                  <a:pt x="126" y="30"/>
                </a:lnTo>
                <a:lnTo>
                  <a:pt x="120" y="18"/>
                </a:lnTo>
                <a:lnTo>
                  <a:pt x="132" y="12"/>
                </a:lnTo>
                <a:lnTo>
                  <a:pt x="144" y="0"/>
                </a:lnTo>
                <a:lnTo>
                  <a:pt x="150" y="6"/>
                </a:lnTo>
                <a:lnTo>
                  <a:pt x="162" y="6"/>
                </a:lnTo>
                <a:lnTo>
                  <a:pt x="174" y="6"/>
                </a:lnTo>
                <a:lnTo>
                  <a:pt x="168" y="54"/>
                </a:lnTo>
                <a:lnTo>
                  <a:pt x="162" y="48"/>
                </a:lnTo>
                <a:lnTo>
                  <a:pt x="156" y="48"/>
                </a:lnTo>
                <a:lnTo>
                  <a:pt x="156" y="54"/>
                </a:lnTo>
                <a:lnTo>
                  <a:pt x="162" y="54"/>
                </a:lnTo>
                <a:lnTo>
                  <a:pt x="162" y="60"/>
                </a:lnTo>
                <a:lnTo>
                  <a:pt x="168" y="60"/>
                </a:lnTo>
                <a:lnTo>
                  <a:pt x="174" y="60"/>
                </a:lnTo>
                <a:lnTo>
                  <a:pt x="168" y="66"/>
                </a:lnTo>
                <a:lnTo>
                  <a:pt x="174" y="66"/>
                </a:lnTo>
                <a:lnTo>
                  <a:pt x="174" y="72"/>
                </a:lnTo>
                <a:lnTo>
                  <a:pt x="174" y="78"/>
                </a:lnTo>
                <a:lnTo>
                  <a:pt x="168" y="72"/>
                </a:lnTo>
                <a:lnTo>
                  <a:pt x="156" y="150"/>
                </a:lnTo>
                <a:lnTo>
                  <a:pt x="168" y="144"/>
                </a:lnTo>
                <a:lnTo>
                  <a:pt x="180" y="150"/>
                </a:lnTo>
                <a:lnTo>
                  <a:pt x="186" y="150"/>
                </a:lnTo>
                <a:lnTo>
                  <a:pt x="186" y="144"/>
                </a:lnTo>
                <a:lnTo>
                  <a:pt x="192" y="150"/>
                </a:lnTo>
                <a:lnTo>
                  <a:pt x="222" y="150"/>
                </a:lnTo>
                <a:lnTo>
                  <a:pt x="222" y="168"/>
                </a:lnTo>
                <a:lnTo>
                  <a:pt x="222" y="186"/>
                </a:lnTo>
                <a:lnTo>
                  <a:pt x="234" y="198"/>
                </a:lnTo>
                <a:lnTo>
                  <a:pt x="234" y="234"/>
                </a:lnTo>
                <a:lnTo>
                  <a:pt x="228" y="270"/>
                </a:lnTo>
                <a:lnTo>
                  <a:pt x="246" y="282"/>
                </a:lnTo>
                <a:lnTo>
                  <a:pt x="258" y="294"/>
                </a:lnTo>
                <a:lnTo>
                  <a:pt x="270" y="300"/>
                </a:lnTo>
                <a:lnTo>
                  <a:pt x="294" y="300"/>
                </a:lnTo>
                <a:lnTo>
                  <a:pt x="288" y="306"/>
                </a:lnTo>
                <a:lnTo>
                  <a:pt x="300" y="312"/>
                </a:lnTo>
                <a:lnTo>
                  <a:pt x="306" y="318"/>
                </a:lnTo>
                <a:lnTo>
                  <a:pt x="324" y="324"/>
                </a:lnTo>
                <a:lnTo>
                  <a:pt x="354" y="318"/>
                </a:lnTo>
                <a:lnTo>
                  <a:pt x="354" y="312"/>
                </a:lnTo>
                <a:lnTo>
                  <a:pt x="366" y="312"/>
                </a:lnTo>
                <a:lnTo>
                  <a:pt x="384" y="312"/>
                </a:lnTo>
                <a:lnTo>
                  <a:pt x="390" y="306"/>
                </a:lnTo>
                <a:lnTo>
                  <a:pt x="396" y="306"/>
                </a:lnTo>
                <a:lnTo>
                  <a:pt x="408" y="306"/>
                </a:lnTo>
                <a:lnTo>
                  <a:pt x="426" y="312"/>
                </a:lnTo>
                <a:lnTo>
                  <a:pt x="456" y="324"/>
                </a:lnTo>
                <a:lnTo>
                  <a:pt x="504" y="330"/>
                </a:lnTo>
                <a:lnTo>
                  <a:pt x="510" y="336"/>
                </a:lnTo>
                <a:lnTo>
                  <a:pt x="534" y="336"/>
                </a:lnTo>
                <a:lnTo>
                  <a:pt x="540" y="336"/>
                </a:lnTo>
                <a:lnTo>
                  <a:pt x="546" y="324"/>
                </a:lnTo>
                <a:lnTo>
                  <a:pt x="558" y="330"/>
                </a:lnTo>
                <a:lnTo>
                  <a:pt x="564" y="330"/>
                </a:lnTo>
                <a:lnTo>
                  <a:pt x="570" y="354"/>
                </a:lnTo>
                <a:lnTo>
                  <a:pt x="564" y="378"/>
                </a:lnTo>
                <a:lnTo>
                  <a:pt x="558" y="396"/>
                </a:lnTo>
                <a:lnTo>
                  <a:pt x="546" y="414"/>
                </a:lnTo>
                <a:lnTo>
                  <a:pt x="546" y="438"/>
                </a:lnTo>
                <a:lnTo>
                  <a:pt x="540" y="456"/>
                </a:lnTo>
                <a:lnTo>
                  <a:pt x="540" y="474"/>
                </a:lnTo>
                <a:lnTo>
                  <a:pt x="528" y="480"/>
                </a:lnTo>
                <a:lnTo>
                  <a:pt x="522" y="492"/>
                </a:lnTo>
                <a:lnTo>
                  <a:pt x="504" y="498"/>
                </a:lnTo>
                <a:lnTo>
                  <a:pt x="498" y="498"/>
                </a:lnTo>
                <a:lnTo>
                  <a:pt x="492" y="504"/>
                </a:lnTo>
                <a:lnTo>
                  <a:pt x="486" y="510"/>
                </a:lnTo>
                <a:lnTo>
                  <a:pt x="480" y="510"/>
                </a:lnTo>
                <a:lnTo>
                  <a:pt x="480" y="516"/>
                </a:lnTo>
                <a:lnTo>
                  <a:pt x="474" y="522"/>
                </a:lnTo>
                <a:lnTo>
                  <a:pt x="474" y="528"/>
                </a:lnTo>
                <a:lnTo>
                  <a:pt x="474" y="534"/>
                </a:lnTo>
                <a:lnTo>
                  <a:pt x="480" y="540"/>
                </a:lnTo>
                <a:lnTo>
                  <a:pt x="492" y="540"/>
                </a:lnTo>
                <a:lnTo>
                  <a:pt x="498" y="546"/>
                </a:lnTo>
                <a:lnTo>
                  <a:pt x="504" y="552"/>
                </a:lnTo>
                <a:lnTo>
                  <a:pt x="510" y="552"/>
                </a:lnTo>
                <a:lnTo>
                  <a:pt x="516" y="558"/>
                </a:lnTo>
                <a:lnTo>
                  <a:pt x="528" y="558"/>
                </a:lnTo>
                <a:lnTo>
                  <a:pt x="534" y="552"/>
                </a:lnTo>
                <a:lnTo>
                  <a:pt x="540" y="552"/>
                </a:lnTo>
                <a:lnTo>
                  <a:pt x="546" y="552"/>
                </a:lnTo>
                <a:lnTo>
                  <a:pt x="558" y="546"/>
                </a:lnTo>
                <a:lnTo>
                  <a:pt x="564" y="540"/>
                </a:lnTo>
                <a:lnTo>
                  <a:pt x="564" y="546"/>
                </a:lnTo>
                <a:lnTo>
                  <a:pt x="570" y="546"/>
                </a:lnTo>
                <a:lnTo>
                  <a:pt x="570" y="540"/>
                </a:lnTo>
                <a:lnTo>
                  <a:pt x="570" y="546"/>
                </a:lnTo>
                <a:lnTo>
                  <a:pt x="576" y="546"/>
                </a:lnTo>
                <a:lnTo>
                  <a:pt x="582" y="546"/>
                </a:lnTo>
                <a:lnTo>
                  <a:pt x="588" y="540"/>
                </a:lnTo>
                <a:lnTo>
                  <a:pt x="594" y="546"/>
                </a:lnTo>
                <a:lnTo>
                  <a:pt x="606" y="546"/>
                </a:lnTo>
                <a:lnTo>
                  <a:pt x="612" y="546"/>
                </a:lnTo>
                <a:lnTo>
                  <a:pt x="612" y="552"/>
                </a:lnTo>
                <a:lnTo>
                  <a:pt x="618" y="552"/>
                </a:lnTo>
                <a:lnTo>
                  <a:pt x="624" y="552"/>
                </a:lnTo>
                <a:lnTo>
                  <a:pt x="630" y="552"/>
                </a:lnTo>
                <a:lnTo>
                  <a:pt x="648" y="546"/>
                </a:lnTo>
                <a:lnTo>
                  <a:pt x="654" y="546"/>
                </a:lnTo>
                <a:lnTo>
                  <a:pt x="654" y="552"/>
                </a:lnTo>
                <a:lnTo>
                  <a:pt x="660" y="558"/>
                </a:lnTo>
                <a:lnTo>
                  <a:pt x="666" y="564"/>
                </a:lnTo>
                <a:lnTo>
                  <a:pt x="672" y="564"/>
                </a:lnTo>
                <a:lnTo>
                  <a:pt x="678" y="564"/>
                </a:lnTo>
                <a:lnTo>
                  <a:pt x="696" y="576"/>
                </a:lnTo>
                <a:lnTo>
                  <a:pt x="696" y="582"/>
                </a:lnTo>
                <a:lnTo>
                  <a:pt x="708" y="588"/>
                </a:lnTo>
                <a:lnTo>
                  <a:pt x="708" y="594"/>
                </a:lnTo>
                <a:lnTo>
                  <a:pt x="720" y="606"/>
                </a:lnTo>
                <a:lnTo>
                  <a:pt x="720" y="618"/>
                </a:lnTo>
                <a:lnTo>
                  <a:pt x="720" y="624"/>
                </a:lnTo>
                <a:lnTo>
                  <a:pt x="726" y="630"/>
                </a:lnTo>
                <a:lnTo>
                  <a:pt x="732" y="636"/>
                </a:lnTo>
                <a:lnTo>
                  <a:pt x="732" y="642"/>
                </a:lnTo>
                <a:lnTo>
                  <a:pt x="732" y="648"/>
                </a:lnTo>
                <a:lnTo>
                  <a:pt x="726" y="654"/>
                </a:lnTo>
                <a:lnTo>
                  <a:pt x="720" y="660"/>
                </a:lnTo>
                <a:lnTo>
                  <a:pt x="714" y="666"/>
                </a:lnTo>
                <a:lnTo>
                  <a:pt x="714" y="672"/>
                </a:lnTo>
                <a:lnTo>
                  <a:pt x="714" y="678"/>
                </a:lnTo>
                <a:lnTo>
                  <a:pt x="720" y="678"/>
                </a:lnTo>
                <a:lnTo>
                  <a:pt x="720" y="684"/>
                </a:lnTo>
                <a:lnTo>
                  <a:pt x="714" y="690"/>
                </a:lnTo>
                <a:lnTo>
                  <a:pt x="714" y="696"/>
                </a:lnTo>
                <a:lnTo>
                  <a:pt x="714" y="702"/>
                </a:lnTo>
                <a:lnTo>
                  <a:pt x="714" y="708"/>
                </a:lnTo>
                <a:lnTo>
                  <a:pt x="720" y="708"/>
                </a:lnTo>
                <a:lnTo>
                  <a:pt x="720" y="720"/>
                </a:lnTo>
                <a:lnTo>
                  <a:pt x="720" y="726"/>
                </a:lnTo>
                <a:lnTo>
                  <a:pt x="726" y="726"/>
                </a:lnTo>
                <a:lnTo>
                  <a:pt x="726" y="732"/>
                </a:lnTo>
                <a:lnTo>
                  <a:pt x="732" y="732"/>
                </a:lnTo>
                <a:lnTo>
                  <a:pt x="732" y="738"/>
                </a:lnTo>
                <a:lnTo>
                  <a:pt x="726" y="738"/>
                </a:lnTo>
                <a:lnTo>
                  <a:pt x="720" y="738"/>
                </a:lnTo>
                <a:lnTo>
                  <a:pt x="720" y="744"/>
                </a:lnTo>
                <a:lnTo>
                  <a:pt x="720" y="750"/>
                </a:lnTo>
                <a:lnTo>
                  <a:pt x="714" y="750"/>
                </a:lnTo>
                <a:lnTo>
                  <a:pt x="714" y="756"/>
                </a:lnTo>
                <a:lnTo>
                  <a:pt x="720" y="756"/>
                </a:lnTo>
                <a:lnTo>
                  <a:pt x="714" y="762"/>
                </a:lnTo>
                <a:lnTo>
                  <a:pt x="720" y="762"/>
                </a:lnTo>
                <a:lnTo>
                  <a:pt x="726" y="768"/>
                </a:lnTo>
                <a:lnTo>
                  <a:pt x="726" y="774"/>
                </a:lnTo>
                <a:lnTo>
                  <a:pt x="732" y="774"/>
                </a:lnTo>
                <a:lnTo>
                  <a:pt x="732" y="780"/>
                </a:lnTo>
                <a:lnTo>
                  <a:pt x="726" y="780"/>
                </a:lnTo>
                <a:lnTo>
                  <a:pt x="726" y="786"/>
                </a:lnTo>
                <a:lnTo>
                  <a:pt x="720" y="786"/>
                </a:lnTo>
                <a:lnTo>
                  <a:pt x="726" y="786"/>
                </a:lnTo>
                <a:lnTo>
                  <a:pt x="732" y="780"/>
                </a:lnTo>
                <a:lnTo>
                  <a:pt x="738" y="780"/>
                </a:lnTo>
                <a:lnTo>
                  <a:pt x="744" y="780"/>
                </a:lnTo>
                <a:lnTo>
                  <a:pt x="744" y="786"/>
                </a:lnTo>
                <a:lnTo>
                  <a:pt x="750" y="786"/>
                </a:lnTo>
                <a:lnTo>
                  <a:pt x="744" y="786"/>
                </a:lnTo>
                <a:lnTo>
                  <a:pt x="744" y="792"/>
                </a:lnTo>
                <a:lnTo>
                  <a:pt x="744" y="786"/>
                </a:lnTo>
                <a:lnTo>
                  <a:pt x="738" y="792"/>
                </a:lnTo>
                <a:lnTo>
                  <a:pt x="744" y="792"/>
                </a:lnTo>
                <a:lnTo>
                  <a:pt x="750" y="792"/>
                </a:lnTo>
                <a:lnTo>
                  <a:pt x="750" y="786"/>
                </a:lnTo>
                <a:lnTo>
                  <a:pt x="756" y="786"/>
                </a:lnTo>
                <a:lnTo>
                  <a:pt x="756" y="792"/>
                </a:lnTo>
                <a:lnTo>
                  <a:pt x="762" y="792"/>
                </a:lnTo>
                <a:lnTo>
                  <a:pt x="756" y="798"/>
                </a:lnTo>
                <a:lnTo>
                  <a:pt x="756" y="804"/>
                </a:lnTo>
                <a:lnTo>
                  <a:pt x="756" y="810"/>
                </a:lnTo>
                <a:lnTo>
                  <a:pt x="750" y="810"/>
                </a:lnTo>
                <a:lnTo>
                  <a:pt x="756" y="810"/>
                </a:lnTo>
                <a:lnTo>
                  <a:pt x="756" y="804"/>
                </a:lnTo>
                <a:lnTo>
                  <a:pt x="756" y="810"/>
                </a:lnTo>
                <a:lnTo>
                  <a:pt x="756" y="816"/>
                </a:lnTo>
                <a:lnTo>
                  <a:pt x="750" y="816"/>
                </a:lnTo>
                <a:lnTo>
                  <a:pt x="738" y="810"/>
                </a:lnTo>
                <a:lnTo>
                  <a:pt x="732" y="810"/>
                </a:lnTo>
                <a:lnTo>
                  <a:pt x="732" y="816"/>
                </a:lnTo>
                <a:lnTo>
                  <a:pt x="726" y="810"/>
                </a:lnTo>
                <a:lnTo>
                  <a:pt x="714" y="816"/>
                </a:lnTo>
                <a:lnTo>
                  <a:pt x="708" y="816"/>
                </a:lnTo>
                <a:lnTo>
                  <a:pt x="702" y="816"/>
                </a:lnTo>
                <a:lnTo>
                  <a:pt x="696" y="816"/>
                </a:lnTo>
                <a:lnTo>
                  <a:pt x="690" y="822"/>
                </a:lnTo>
                <a:lnTo>
                  <a:pt x="684" y="822"/>
                </a:lnTo>
                <a:lnTo>
                  <a:pt x="678" y="822"/>
                </a:lnTo>
                <a:lnTo>
                  <a:pt x="672" y="822"/>
                </a:lnTo>
                <a:lnTo>
                  <a:pt x="666" y="822"/>
                </a:lnTo>
                <a:lnTo>
                  <a:pt x="666" y="828"/>
                </a:lnTo>
                <a:lnTo>
                  <a:pt x="654" y="828"/>
                </a:lnTo>
                <a:lnTo>
                  <a:pt x="648" y="828"/>
                </a:lnTo>
                <a:lnTo>
                  <a:pt x="642" y="828"/>
                </a:lnTo>
                <a:lnTo>
                  <a:pt x="630" y="828"/>
                </a:lnTo>
                <a:lnTo>
                  <a:pt x="624" y="822"/>
                </a:lnTo>
                <a:lnTo>
                  <a:pt x="618" y="822"/>
                </a:lnTo>
                <a:lnTo>
                  <a:pt x="612" y="822"/>
                </a:lnTo>
                <a:lnTo>
                  <a:pt x="606" y="822"/>
                </a:lnTo>
                <a:lnTo>
                  <a:pt x="600" y="822"/>
                </a:lnTo>
                <a:lnTo>
                  <a:pt x="594" y="822"/>
                </a:lnTo>
                <a:lnTo>
                  <a:pt x="594" y="816"/>
                </a:lnTo>
                <a:lnTo>
                  <a:pt x="594" y="810"/>
                </a:lnTo>
                <a:lnTo>
                  <a:pt x="600" y="804"/>
                </a:lnTo>
                <a:lnTo>
                  <a:pt x="600" y="798"/>
                </a:lnTo>
                <a:lnTo>
                  <a:pt x="600" y="792"/>
                </a:lnTo>
                <a:lnTo>
                  <a:pt x="606" y="792"/>
                </a:lnTo>
                <a:lnTo>
                  <a:pt x="612" y="792"/>
                </a:lnTo>
                <a:lnTo>
                  <a:pt x="612" y="786"/>
                </a:lnTo>
                <a:lnTo>
                  <a:pt x="618" y="786"/>
                </a:lnTo>
                <a:lnTo>
                  <a:pt x="624" y="786"/>
                </a:lnTo>
                <a:lnTo>
                  <a:pt x="624" y="780"/>
                </a:lnTo>
                <a:lnTo>
                  <a:pt x="630" y="780"/>
                </a:lnTo>
                <a:lnTo>
                  <a:pt x="630" y="774"/>
                </a:lnTo>
                <a:lnTo>
                  <a:pt x="636" y="774"/>
                </a:lnTo>
                <a:lnTo>
                  <a:pt x="642" y="780"/>
                </a:lnTo>
                <a:lnTo>
                  <a:pt x="642" y="786"/>
                </a:lnTo>
                <a:lnTo>
                  <a:pt x="642" y="792"/>
                </a:lnTo>
                <a:lnTo>
                  <a:pt x="648" y="792"/>
                </a:lnTo>
                <a:lnTo>
                  <a:pt x="648" y="786"/>
                </a:lnTo>
                <a:lnTo>
                  <a:pt x="642" y="786"/>
                </a:lnTo>
                <a:lnTo>
                  <a:pt x="642" y="780"/>
                </a:lnTo>
                <a:lnTo>
                  <a:pt x="642" y="774"/>
                </a:lnTo>
                <a:lnTo>
                  <a:pt x="648" y="768"/>
                </a:lnTo>
                <a:lnTo>
                  <a:pt x="642" y="768"/>
                </a:lnTo>
                <a:lnTo>
                  <a:pt x="648" y="768"/>
                </a:lnTo>
                <a:lnTo>
                  <a:pt x="648" y="762"/>
                </a:lnTo>
                <a:lnTo>
                  <a:pt x="654" y="762"/>
                </a:lnTo>
                <a:lnTo>
                  <a:pt x="660" y="762"/>
                </a:lnTo>
                <a:lnTo>
                  <a:pt x="654" y="762"/>
                </a:lnTo>
                <a:lnTo>
                  <a:pt x="660" y="762"/>
                </a:lnTo>
                <a:lnTo>
                  <a:pt x="666" y="762"/>
                </a:lnTo>
                <a:lnTo>
                  <a:pt x="672" y="756"/>
                </a:lnTo>
                <a:lnTo>
                  <a:pt x="666" y="756"/>
                </a:lnTo>
                <a:lnTo>
                  <a:pt x="660" y="756"/>
                </a:lnTo>
                <a:lnTo>
                  <a:pt x="660" y="750"/>
                </a:lnTo>
                <a:lnTo>
                  <a:pt x="654" y="750"/>
                </a:lnTo>
                <a:lnTo>
                  <a:pt x="648" y="750"/>
                </a:lnTo>
                <a:lnTo>
                  <a:pt x="648" y="756"/>
                </a:lnTo>
                <a:lnTo>
                  <a:pt x="642" y="756"/>
                </a:lnTo>
                <a:lnTo>
                  <a:pt x="642" y="750"/>
                </a:lnTo>
                <a:lnTo>
                  <a:pt x="642" y="744"/>
                </a:lnTo>
                <a:lnTo>
                  <a:pt x="642" y="750"/>
                </a:lnTo>
                <a:lnTo>
                  <a:pt x="636" y="750"/>
                </a:lnTo>
                <a:lnTo>
                  <a:pt x="636" y="744"/>
                </a:lnTo>
                <a:lnTo>
                  <a:pt x="630" y="744"/>
                </a:lnTo>
                <a:lnTo>
                  <a:pt x="630" y="738"/>
                </a:lnTo>
                <a:lnTo>
                  <a:pt x="630" y="744"/>
                </a:lnTo>
                <a:lnTo>
                  <a:pt x="630" y="750"/>
                </a:lnTo>
                <a:lnTo>
                  <a:pt x="636" y="750"/>
                </a:lnTo>
                <a:lnTo>
                  <a:pt x="636" y="756"/>
                </a:lnTo>
                <a:lnTo>
                  <a:pt x="630" y="756"/>
                </a:lnTo>
                <a:lnTo>
                  <a:pt x="636" y="762"/>
                </a:lnTo>
                <a:lnTo>
                  <a:pt x="630" y="762"/>
                </a:lnTo>
                <a:lnTo>
                  <a:pt x="624" y="762"/>
                </a:lnTo>
                <a:lnTo>
                  <a:pt x="624" y="774"/>
                </a:lnTo>
                <a:lnTo>
                  <a:pt x="624" y="780"/>
                </a:lnTo>
                <a:lnTo>
                  <a:pt x="624" y="786"/>
                </a:lnTo>
                <a:lnTo>
                  <a:pt x="618" y="786"/>
                </a:lnTo>
                <a:lnTo>
                  <a:pt x="618" y="780"/>
                </a:lnTo>
                <a:lnTo>
                  <a:pt x="618" y="786"/>
                </a:lnTo>
                <a:lnTo>
                  <a:pt x="612" y="780"/>
                </a:lnTo>
                <a:lnTo>
                  <a:pt x="612" y="774"/>
                </a:lnTo>
                <a:lnTo>
                  <a:pt x="612" y="780"/>
                </a:lnTo>
                <a:lnTo>
                  <a:pt x="606" y="780"/>
                </a:lnTo>
                <a:lnTo>
                  <a:pt x="600" y="780"/>
                </a:lnTo>
                <a:lnTo>
                  <a:pt x="600" y="774"/>
                </a:lnTo>
                <a:lnTo>
                  <a:pt x="594" y="768"/>
                </a:lnTo>
                <a:lnTo>
                  <a:pt x="594" y="762"/>
                </a:lnTo>
                <a:lnTo>
                  <a:pt x="594" y="756"/>
                </a:lnTo>
                <a:lnTo>
                  <a:pt x="594" y="762"/>
                </a:lnTo>
                <a:lnTo>
                  <a:pt x="594" y="768"/>
                </a:lnTo>
                <a:lnTo>
                  <a:pt x="594" y="774"/>
                </a:lnTo>
                <a:lnTo>
                  <a:pt x="594" y="780"/>
                </a:lnTo>
                <a:lnTo>
                  <a:pt x="588" y="780"/>
                </a:lnTo>
                <a:lnTo>
                  <a:pt x="582" y="780"/>
                </a:lnTo>
                <a:lnTo>
                  <a:pt x="576" y="780"/>
                </a:lnTo>
                <a:lnTo>
                  <a:pt x="570" y="780"/>
                </a:lnTo>
                <a:lnTo>
                  <a:pt x="564" y="780"/>
                </a:lnTo>
                <a:lnTo>
                  <a:pt x="564" y="786"/>
                </a:lnTo>
                <a:lnTo>
                  <a:pt x="558" y="786"/>
                </a:lnTo>
                <a:lnTo>
                  <a:pt x="552" y="786"/>
                </a:lnTo>
                <a:lnTo>
                  <a:pt x="552" y="780"/>
                </a:lnTo>
                <a:lnTo>
                  <a:pt x="552" y="774"/>
                </a:lnTo>
                <a:lnTo>
                  <a:pt x="552" y="768"/>
                </a:lnTo>
                <a:lnTo>
                  <a:pt x="546" y="768"/>
                </a:lnTo>
                <a:lnTo>
                  <a:pt x="540" y="762"/>
                </a:lnTo>
                <a:lnTo>
                  <a:pt x="540" y="756"/>
                </a:lnTo>
                <a:lnTo>
                  <a:pt x="534" y="756"/>
                </a:lnTo>
                <a:lnTo>
                  <a:pt x="534" y="750"/>
                </a:lnTo>
                <a:lnTo>
                  <a:pt x="534" y="744"/>
                </a:lnTo>
                <a:lnTo>
                  <a:pt x="528" y="738"/>
                </a:lnTo>
                <a:lnTo>
                  <a:pt x="522" y="738"/>
                </a:lnTo>
                <a:lnTo>
                  <a:pt x="522" y="732"/>
                </a:lnTo>
                <a:lnTo>
                  <a:pt x="510" y="726"/>
                </a:lnTo>
                <a:lnTo>
                  <a:pt x="510" y="720"/>
                </a:lnTo>
                <a:lnTo>
                  <a:pt x="504" y="720"/>
                </a:lnTo>
                <a:lnTo>
                  <a:pt x="504" y="714"/>
                </a:lnTo>
                <a:lnTo>
                  <a:pt x="504" y="708"/>
                </a:lnTo>
                <a:lnTo>
                  <a:pt x="498" y="708"/>
                </a:lnTo>
                <a:lnTo>
                  <a:pt x="498" y="702"/>
                </a:lnTo>
                <a:lnTo>
                  <a:pt x="498" y="696"/>
                </a:lnTo>
                <a:lnTo>
                  <a:pt x="492" y="690"/>
                </a:lnTo>
                <a:lnTo>
                  <a:pt x="492" y="684"/>
                </a:lnTo>
                <a:lnTo>
                  <a:pt x="486" y="684"/>
                </a:lnTo>
                <a:lnTo>
                  <a:pt x="486" y="690"/>
                </a:lnTo>
                <a:lnTo>
                  <a:pt x="480" y="684"/>
                </a:lnTo>
                <a:lnTo>
                  <a:pt x="480" y="678"/>
                </a:lnTo>
                <a:lnTo>
                  <a:pt x="474" y="678"/>
                </a:lnTo>
                <a:lnTo>
                  <a:pt x="468" y="678"/>
                </a:lnTo>
                <a:lnTo>
                  <a:pt x="462" y="678"/>
                </a:lnTo>
                <a:lnTo>
                  <a:pt x="462" y="672"/>
                </a:lnTo>
                <a:lnTo>
                  <a:pt x="456" y="672"/>
                </a:lnTo>
                <a:lnTo>
                  <a:pt x="450" y="672"/>
                </a:lnTo>
                <a:lnTo>
                  <a:pt x="450" y="666"/>
                </a:lnTo>
                <a:lnTo>
                  <a:pt x="444" y="666"/>
                </a:lnTo>
                <a:lnTo>
                  <a:pt x="438" y="660"/>
                </a:lnTo>
                <a:lnTo>
                  <a:pt x="438" y="648"/>
                </a:lnTo>
                <a:lnTo>
                  <a:pt x="438" y="642"/>
                </a:lnTo>
                <a:lnTo>
                  <a:pt x="438" y="636"/>
                </a:lnTo>
                <a:lnTo>
                  <a:pt x="432" y="636"/>
                </a:lnTo>
                <a:lnTo>
                  <a:pt x="432" y="630"/>
                </a:lnTo>
                <a:lnTo>
                  <a:pt x="432" y="636"/>
                </a:lnTo>
                <a:lnTo>
                  <a:pt x="426" y="636"/>
                </a:lnTo>
                <a:lnTo>
                  <a:pt x="420" y="636"/>
                </a:lnTo>
                <a:lnTo>
                  <a:pt x="420" y="642"/>
                </a:lnTo>
                <a:lnTo>
                  <a:pt x="426" y="642"/>
                </a:lnTo>
                <a:lnTo>
                  <a:pt x="432" y="642"/>
                </a:lnTo>
                <a:lnTo>
                  <a:pt x="432" y="648"/>
                </a:lnTo>
                <a:lnTo>
                  <a:pt x="432" y="654"/>
                </a:lnTo>
                <a:lnTo>
                  <a:pt x="432" y="660"/>
                </a:lnTo>
                <a:lnTo>
                  <a:pt x="432" y="666"/>
                </a:lnTo>
                <a:lnTo>
                  <a:pt x="438" y="666"/>
                </a:lnTo>
                <a:lnTo>
                  <a:pt x="438" y="672"/>
                </a:lnTo>
                <a:lnTo>
                  <a:pt x="444" y="672"/>
                </a:lnTo>
                <a:lnTo>
                  <a:pt x="444" y="678"/>
                </a:lnTo>
                <a:lnTo>
                  <a:pt x="450" y="678"/>
                </a:lnTo>
                <a:lnTo>
                  <a:pt x="456" y="678"/>
                </a:lnTo>
                <a:lnTo>
                  <a:pt x="456" y="684"/>
                </a:lnTo>
                <a:lnTo>
                  <a:pt x="462" y="684"/>
                </a:lnTo>
                <a:lnTo>
                  <a:pt x="468" y="684"/>
                </a:lnTo>
                <a:lnTo>
                  <a:pt x="468" y="690"/>
                </a:lnTo>
                <a:lnTo>
                  <a:pt x="474" y="690"/>
                </a:lnTo>
                <a:lnTo>
                  <a:pt x="480" y="690"/>
                </a:lnTo>
                <a:lnTo>
                  <a:pt x="480" y="696"/>
                </a:lnTo>
                <a:lnTo>
                  <a:pt x="486" y="702"/>
                </a:lnTo>
                <a:lnTo>
                  <a:pt x="486" y="708"/>
                </a:lnTo>
                <a:lnTo>
                  <a:pt x="492" y="714"/>
                </a:lnTo>
                <a:lnTo>
                  <a:pt x="492" y="720"/>
                </a:lnTo>
                <a:lnTo>
                  <a:pt x="492" y="726"/>
                </a:lnTo>
                <a:lnTo>
                  <a:pt x="498" y="732"/>
                </a:lnTo>
                <a:lnTo>
                  <a:pt x="492" y="738"/>
                </a:lnTo>
                <a:lnTo>
                  <a:pt x="492" y="744"/>
                </a:lnTo>
                <a:lnTo>
                  <a:pt x="492" y="750"/>
                </a:lnTo>
                <a:lnTo>
                  <a:pt x="486" y="750"/>
                </a:lnTo>
                <a:lnTo>
                  <a:pt x="480" y="750"/>
                </a:lnTo>
                <a:lnTo>
                  <a:pt x="480" y="744"/>
                </a:lnTo>
                <a:lnTo>
                  <a:pt x="474" y="744"/>
                </a:lnTo>
                <a:lnTo>
                  <a:pt x="474" y="738"/>
                </a:lnTo>
                <a:lnTo>
                  <a:pt x="468" y="738"/>
                </a:lnTo>
                <a:lnTo>
                  <a:pt x="468" y="744"/>
                </a:lnTo>
                <a:lnTo>
                  <a:pt x="474" y="750"/>
                </a:lnTo>
                <a:lnTo>
                  <a:pt x="480" y="756"/>
                </a:lnTo>
                <a:lnTo>
                  <a:pt x="486" y="756"/>
                </a:lnTo>
                <a:lnTo>
                  <a:pt x="492" y="762"/>
                </a:lnTo>
                <a:lnTo>
                  <a:pt x="498" y="768"/>
                </a:lnTo>
                <a:lnTo>
                  <a:pt x="492" y="774"/>
                </a:lnTo>
                <a:lnTo>
                  <a:pt x="492" y="780"/>
                </a:lnTo>
                <a:lnTo>
                  <a:pt x="498" y="780"/>
                </a:lnTo>
                <a:lnTo>
                  <a:pt x="492" y="786"/>
                </a:lnTo>
                <a:lnTo>
                  <a:pt x="492" y="792"/>
                </a:lnTo>
                <a:lnTo>
                  <a:pt x="492" y="798"/>
                </a:lnTo>
                <a:lnTo>
                  <a:pt x="486" y="804"/>
                </a:lnTo>
                <a:lnTo>
                  <a:pt x="480" y="804"/>
                </a:lnTo>
                <a:lnTo>
                  <a:pt x="480" y="810"/>
                </a:lnTo>
                <a:lnTo>
                  <a:pt x="480" y="804"/>
                </a:lnTo>
                <a:lnTo>
                  <a:pt x="474" y="804"/>
                </a:lnTo>
                <a:lnTo>
                  <a:pt x="474" y="798"/>
                </a:lnTo>
                <a:lnTo>
                  <a:pt x="474" y="804"/>
                </a:lnTo>
                <a:lnTo>
                  <a:pt x="468" y="804"/>
                </a:lnTo>
                <a:lnTo>
                  <a:pt x="468" y="810"/>
                </a:lnTo>
                <a:lnTo>
                  <a:pt x="462" y="810"/>
                </a:lnTo>
                <a:lnTo>
                  <a:pt x="456" y="810"/>
                </a:lnTo>
                <a:lnTo>
                  <a:pt x="450" y="810"/>
                </a:lnTo>
                <a:lnTo>
                  <a:pt x="450" y="816"/>
                </a:lnTo>
                <a:lnTo>
                  <a:pt x="456" y="816"/>
                </a:lnTo>
                <a:lnTo>
                  <a:pt x="456" y="822"/>
                </a:lnTo>
                <a:lnTo>
                  <a:pt x="450" y="822"/>
                </a:lnTo>
                <a:lnTo>
                  <a:pt x="450" y="816"/>
                </a:lnTo>
                <a:lnTo>
                  <a:pt x="444" y="816"/>
                </a:lnTo>
                <a:lnTo>
                  <a:pt x="438" y="810"/>
                </a:lnTo>
                <a:lnTo>
                  <a:pt x="432" y="810"/>
                </a:lnTo>
                <a:lnTo>
                  <a:pt x="426" y="804"/>
                </a:lnTo>
                <a:lnTo>
                  <a:pt x="426" y="798"/>
                </a:lnTo>
                <a:lnTo>
                  <a:pt x="420" y="798"/>
                </a:lnTo>
                <a:lnTo>
                  <a:pt x="426" y="798"/>
                </a:lnTo>
                <a:lnTo>
                  <a:pt x="426" y="792"/>
                </a:lnTo>
                <a:lnTo>
                  <a:pt x="426" y="786"/>
                </a:lnTo>
                <a:lnTo>
                  <a:pt x="432" y="786"/>
                </a:lnTo>
                <a:lnTo>
                  <a:pt x="432" y="780"/>
                </a:lnTo>
                <a:lnTo>
                  <a:pt x="426" y="774"/>
                </a:lnTo>
                <a:lnTo>
                  <a:pt x="420" y="768"/>
                </a:lnTo>
                <a:lnTo>
                  <a:pt x="420" y="762"/>
                </a:lnTo>
                <a:lnTo>
                  <a:pt x="420" y="756"/>
                </a:lnTo>
                <a:lnTo>
                  <a:pt x="420" y="750"/>
                </a:lnTo>
                <a:lnTo>
                  <a:pt x="414" y="750"/>
                </a:lnTo>
                <a:lnTo>
                  <a:pt x="420" y="750"/>
                </a:lnTo>
                <a:lnTo>
                  <a:pt x="420" y="744"/>
                </a:lnTo>
                <a:lnTo>
                  <a:pt x="414" y="744"/>
                </a:lnTo>
                <a:lnTo>
                  <a:pt x="414" y="738"/>
                </a:lnTo>
                <a:lnTo>
                  <a:pt x="414" y="732"/>
                </a:lnTo>
                <a:lnTo>
                  <a:pt x="408" y="732"/>
                </a:lnTo>
                <a:lnTo>
                  <a:pt x="408" y="726"/>
                </a:lnTo>
                <a:lnTo>
                  <a:pt x="402" y="726"/>
                </a:lnTo>
                <a:lnTo>
                  <a:pt x="396" y="726"/>
                </a:lnTo>
                <a:lnTo>
                  <a:pt x="390" y="726"/>
                </a:lnTo>
                <a:lnTo>
                  <a:pt x="390" y="720"/>
                </a:lnTo>
                <a:lnTo>
                  <a:pt x="390" y="714"/>
                </a:lnTo>
                <a:lnTo>
                  <a:pt x="384" y="708"/>
                </a:lnTo>
                <a:lnTo>
                  <a:pt x="384" y="702"/>
                </a:lnTo>
                <a:lnTo>
                  <a:pt x="378" y="702"/>
                </a:lnTo>
                <a:lnTo>
                  <a:pt x="378" y="696"/>
                </a:lnTo>
                <a:lnTo>
                  <a:pt x="378" y="690"/>
                </a:lnTo>
                <a:lnTo>
                  <a:pt x="372" y="684"/>
                </a:lnTo>
                <a:lnTo>
                  <a:pt x="372" y="678"/>
                </a:lnTo>
                <a:lnTo>
                  <a:pt x="372" y="672"/>
                </a:lnTo>
                <a:lnTo>
                  <a:pt x="366" y="672"/>
                </a:lnTo>
                <a:lnTo>
                  <a:pt x="366" y="666"/>
                </a:lnTo>
                <a:lnTo>
                  <a:pt x="366" y="660"/>
                </a:lnTo>
                <a:lnTo>
                  <a:pt x="366" y="654"/>
                </a:lnTo>
                <a:lnTo>
                  <a:pt x="360" y="648"/>
                </a:lnTo>
                <a:lnTo>
                  <a:pt x="360" y="654"/>
                </a:lnTo>
                <a:lnTo>
                  <a:pt x="360" y="660"/>
                </a:lnTo>
                <a:lnTo>
                  <a:pt x="360" y="666"/>
                </a:lnTo>
                <a:lnTo>
                  <a:pt x="360" y="672"/>
                </a:lnTo>
                <a:lnTo>
                  <a:pt x="360" y="678"/>
                </a:lnTo>
                <a:lnTo>
                  <a:pt x="366" y="678"/>
                </a:lnTo>
                <a:lnTo>
                  <a:pt x="366" y="684"/>
                </a:lnTo>
                <a:lnTo>
                  <a:pt x="366" y="690"/>
                </a:lnTo>
                <a:lnTo>
                  <a:pt x="372" y="696"/>
                </a:lnTo>
                <a:lnTo>
                  <a:pt x="372" y="702"/>
                </a:lnTo>
                <a:lnTo>
                  <a:pt x="372" y="708"/>
                </a:lnTo>
                <a:lnTo>
                  <a:pt x="372" y="714"/>
                </a:lnTo>
                <a:lnTo>
                  <a:pt x="366" y="714"/>
                </a:lnTo>
                <a:lnTo>
                  <a:pt x="360" y="714"/>
                </a:lnTo>
                <a:lnTo>
                  <a:pt x="354" y="714"/>
                </a:lnTo>
                <a:lnTo>
                  <a:pt x="348" y="714"/>
                </a:lnTo>
                <a:lnTo>
                  <a:pt x="348" y="708"/>
                </a:lnTo>
                <a:lnTo>
                  <a:pt x="342" y="708"/>
                </a:lnTo>
                <a:lnTo>
                  <a:pt x="342" y="702"/>
                </a:lnTo>
                <a:lnTo>
                  <a:pt x="342" y="696"/>
                </a:lnTo>
                <a:lnTo>
                  <a:pt x="336" y="696"/>
                </a:lnTo>
                <a:lnTo>
                  <a:pt x="336" y="690"/>
                </a:lnTo>
                <a:lnTo>
                  <a:pt x="336" y="684"/>
                </a:lnTo>
                <a:lnTo>
                  <a:pt x="330" y="684"/>
                </a:lnTo>
                <a:lnTo>
                  <a:pt x="330" y="678"/>
                </a:lnTo>
                <a:lnTo>
                  <a:pt x="324" y="672"/>
                </a:lnTo>
                <a:lnTo>
                  <a:pt x="324" y="666"/>
                </a:lnTo>
                <a:lnTo>
                  <a:pt x="318" y="666"/>
                </a:lnTo>
                <a:lnTo>
                  <a:pt x="318" y="672"/>
                </a:lnTo>
                <a:lnTo>
                  <a:pt x="324" y="672"/>
                </a:lnTo>
                <a:lnTo>
                  <a:pt x="324" y="678"/>
                </a:lnTo>
                <a:lnTo>
                  <a:pt x="324" y="684"/>
                </a:lnTo>
                <a:lnTo>
                  <a:pt x="330" y="684"/>
                </a:lnTo>
                <a:lnTo>
                  <a:pt x="330" y="690"/>
                </a:lnTo>
                <a:lnTo>
                  <a:pt x="330" y="696"/>
                </a:lnTo>
                <a:lnTo>
                  <a:pt x="336" y="702"/>
                </a:lnTo>
                <a:lnTo>
                  <a:pt x="342" y="708"/>
                </a:lnTo>
                <a:lnTo>
                  <a:pt x="342" y="714"/>
                </a:lnTo>
                <a:lnTo>
                  <a:pt x="348" y="720"/>
                </a:lnTo>
                <a:lnTo>
                  <a:pt x="342" y="720"/>
                </a:lnTo>
                <a:lnTo>
                  <a:pt x="336" y="720"/>
                </a:lnTo>
                <a:lnTo>
                  <a:pt x="330" y="720"/>
                </a:lnTo>
                <a:lnTo>
                  <a:pt x="330" y="726"/>
                </a:lnTo>
                <a:lnTo>
                  <a:pt x="336" y="726"/>
                </a:lnTo>
                <a:lnTo>
                  <a:pt x="330" y="732"/>
                </a:lnTo>
                <a:lnTo>
                  <a:pt x="330" y="738"/>
                </a:lnTo>
                <a:lnTo>
                  <a:pt x="330" y="744"/>
                </a:lnTo>
                <a:lnTo>
                  <a:pt x="336" y="744"/>
                </a:lnTo>
                <a:lnTo>
                  <a:pt x="342" y="744"/>
                </a:lnTo>
                <a:lnTo>
                  <a:pt x="348" y="744"/>
                </a:lnTo>
                <a:lnTo>
                  <a:pt x="348" y="750"/>
                </a:lnTo>
                <a:lnTo>
                  <a:pt x="354" y="750"/>
                </a:lnTo>
                <a:lnTo>
                  <a:pt x="360" y="756"/>
                </a:lnTo>
                <a:lnTo>
                  <a:pt x="360" y="762"/>
                </a:lnTo>
                <a:lnTo>
                  <a:pt x="366" y="762"/>
                </a:lnTo>
                <a:lnTo>
                  <a:pt x="366" y="768"/>
                </a:lnTo>
                <a:lnTo>
                  <a:pt x="366" y="774"/>
                </a:lnTo>
                <a:lnTo>
                  <a:pt x="366" y="780"/>
                </a:lnTo>
                <a:lnTo>
                  <a:pt x="366" y="786"/>
                </a:lnTo>
                <a:lnTo>
                  <a:pt x="366" y="780"/>
                </a:lnTo>
                <a:lnTo>
                  <a:pt x="366" y="786"/>
                </a:lnTo>
                <a:lnTo>
                  <a:pt x="372" y="792"/>
                </a:lnTo>
                <a:lnTo>
                  <a:pt x="372" y="798"/>
                </a:lnTo>
                <a:lnTo>
                  <a:pt x="372" y="804"/>
                </a:lnTo>
                <a:lnTo>
                  <a:pt x="378" y="804"/>
                </a:lnTo>
                <a:lnTo>
                  <a:pt x="378" y="810"/>
                </a:lnTo>
                <a:lnTo>
                  <a:pt x="378" y="816"/>
                </a:lnTo>
                <a:lnTo>
                  <a:pt x="372" y="816"/>
                </a:lnTo>
                <a:lnTo>
                  <a:pt x="378" y="816"/>
                </a:lnTo>
                <a:lnTo>
                  <a:pt x="378" y="822"/>
                </a:lnTo>
                <a:lnTo>
                  <a:pt x="378" y="828"/>
                </a:lnTo>
                <a:lnTo>
                  <a:pt x="378" y="834"/>
                </a:lnTo>
                <a:lnTo>
                  <a:pt x="384" y="834"/>
                </a:lnTo>
                <a:lnTo>
                  <a:pt x="384" y="840"/>
                </a:lnTo>
                <a:lnTo>
                  <a:pt x="390" y="840"/>
                </a:lnTo>
                <a:lnTo>
                  <a:pt x="390" y="846"/>
                </a:lnTo>
                <a:lnTo>
                  <a:pt x="396" y="846"/>
                </a:lnTo>
                <a:lnTo>
                  <a:pt x="396" y="852"/>
                </a:lnTo>
                <a:lnTo>
                  <a:pt x="396" y="858"/>
                </a:lnTo>
                <a:lnTo>
                  <a:pt x="396" y="852"/>
                </a:lnTo>
                <a:lnTo>
                  <a:pt x="396" y="858"/>
                </a:lnTo>
                <a:lnTo>
                  <a:pt x="390" y="864"/>
                </a:lnTo>
                <a:lnTo>
                  <a:pt x="384" y="864"/>
                </a:lnTo>
                <a:lnTo>
                  <a:pt x="384" y="870"/>
                </a:lnTo>
                <a:lnTo>
                  <a:pt x="378" y="864"/>
                </a:lnTo>
                <a:lnTo>
                  <a:pt x="372" y="864"/>
                </a:lnTo>
                <a:lnTo>
                  <a:pt x="366" y="858"/>
                </a:lnTo>
                <a:lnTo>
                  <a:pt x="366" y="852"/>
                </a:lnTo>
                <a:lnTo>
                  <a:pt x="360" y="852"/>
                </a:lnTo>
                <a:lnTo>
                  <a:pt x="360" y="858"/>
                </a:lnTo>
                <a:lnTo>
                  <a:pt x="366" y="858"/>
                </a:lnTo>
                <a:lnTo>
                  <a:pt x="366" y="864"/>
                </a:lnTo>
                <a:lnTo>
                  <a:pt x="360" y="864"/>
                </a:lnTo>
                <a:lnTo>
                  <a:pt x="354" y="864"/>
                </a:lnTo>
                <a:lnTo>
                  <a:pt x="354" y="870"/>
                </a:lnTo>
                <a:lnTo>
                  <a:pt x="354" y="864"/>
                </a:lnTo>
                <a:lnTo>
                  <a:pt x="348" y="864"/>
                </a:lnTo>
                <a:lnTo>
                  <a:pt x="342" y="864"/>
                </a:lnTo>
                <a:lnTo>
                  <a:pt x="342" y="858"/>
                </a:lnTo>
                <a:lnTo>
                  <a:pt x="336" y="858"/>
                </a:lnTo>
                <a:lnTo>
                  <a:pt x="330" y="858"/>
                </a:lnTo>
                <a:lnTo>
                  <a:pt x="324" y="858"/>
                </a:lnTo>
                <a:lnTo>
                  <a:pt x="318" y="858"/>
                </a:lnTo>
                <a:lnTo>
                  <a:pt x="312" y="852"/>
                </a:lnTo>
                <a:lnTo>
                  <a:pt x="306" y="852"/>
                </a:lnTo>
                <a:lnTo>
                  <a:pt x="300" y="852"/>
                </a:lnTo>
                <a:lnTo>
                  <a:pt x="294" y="852"/>
                </a:lnTo>
                <a:lnTo>
                  <a:pt x="294" y="846"/>
                </a:lnTo>
                <a:lnTo>
                  <a:pt x="288" y="840"/>
                </a:lnTo>
                <a:lnTo>
                  <a:pt x="288" y="828"/>
                </a:lnTo>
                <a:lnTo>
                  <a:pt x="288" y="822"/>
                </a:lnTo>
                <a:lnTo>
                  <a:pt x="282" y="822"/>
                </a:lnTo>
                <a:lnTo>
                  <a:pt x="288" y="822"/>
                </a:lnTo>
                <a:lnTo>
                  <a:pt x="282" y="822"/>
                </a:lnTo>
                <a:lnTo>
                  <a:pt x="282" y="816"/>
                </a:lnTo>
                <a:lnTo>
                  <a:pt x="282" y="810"/>
                </a:lnTo>
                <a:lnTo>
                  <a:pt x="276" y="810"/>
                </a:lnTo>
                <a:lnTo>
                  <a:pt x="276" y="804"/>
                </a:lnTo>
                <a:lnTo>
                  <a:pt x="276" y="798"/>
                </a:lnTo>
                <a:lnTo>
                  <a:pt x="276" y="792"/>
                </a:lnTo>
                <a:lnTo>
                  <a:pt x="270" y="786"/>
                </a:lnTo>
                <a:lnTo>
                  <a:pt x="270" y="780"/>
                </a:lnTo>
                <a:lnTo>
                  <a:pt x="270" y="774"/>
                </a:lnTo>
                <a:lnTo>
                  <a:pt x="264" y="768"/>
                </a:lnTo>
                <a:lnTo>
                  <a:pt x="264" y="762"/>
                </a:lnTo>
                <a:lnTo>
                  <a:pt x="264" y="756"/>
                </a:lnTo>
                <a:lnTo>
                  <a:pt x="264" y="750"/>
                </a:lnTo>
                <a:lnTo>
                  <a:pt x="264" y="744"/>
                </a:lnTo>
                <a:lnTo>
                  <a:pt x="264" y="738"/>
                </a:lnTo>
                <a:lnTo>
                  <a:pt x="264" y="732"/>
                </a:lnTo>
                <a:lnTo>
                  <a:pt x="270" y="732"/>
                </a:lnTo>
                <a:lnTo>
                  <a:pt x="276" y="726"/>
                </a:lnTo>
                <a:lnTo>
                  <a:pt x="276" y="720"/>
                </a:lnTo>
                <a:lnTo>
                  <a:pt x="282" y="720"/>
                </a:lnTo>
                <a:lnTo>
                  <a:pt x="282" y="714"/>
                </a:lnTo>
                <a:lnTo>
                  <a:pt x="282" y="708"/>
                </a:lnTo>
                <a:lnTo>
                  <a:pt x="276" y="708"/>
                </a:lnTo>
                <a:lnTo>
                  <a:pt x="276" y="702"/>
                </a:lnTo>
                <a:lnTo>
                  <a:pt x="270" y="702"/>
                </a:lnTo>
                <a:lnTo>
                  <a:pt x="270" y="696"/>
                </a:lnTo>
                <a:lnTo>
                  <a:pt x="264" y="690"/>
                </a:lnTo>
                <a:lnTo>
                  <a:pt x="258" y="690"/>
                </a:lnTo>
                <a:lnTo>
                  <a:pt x="258" y="684"/>
                </a:lnTo>
                <a:lnTo>
                  <a:pt x="252" y="684"/>
                </a:lnTo>
                <a:lnTo>
                  <a:pt x="252" y="678"/>
                </a:lnTo>
                <a:lnTo>
                  <a:pt x="246" y="678"/>
                </a:lnTo>
                <a:lnTo>
                  <a:pt x="240" y="678"/>
                </a:lnTo>
                <a:lnTo>
                  <a:pt x="240" y="684"/>
                </a:lnTo>
                <a:lnTo>
                  <a:pt x="246" y="684"/>
                </a:lnTo>
                <a:lnTo>
                  <a:pt x="252" y="690"/>
                </a:lnTo>
                <a:lnTo>
                  <a:pt x="258" y="690"/>
                </a:lnTo>
                <a:lnTo>
                  <a:pt x="258" y="696"/>
                </a:lnTo>
                <a:lnTo>
                  <a:pt x="258" y="702"/>
                </a:lnTo>
                <a:lnTo>
                  <a:pt x="264" y="702"/>
                </a:lnTo>
                <a:lnTo>
                  <a:pt x="270" y="708"/>
                </a:lnTo>
                <a:lnTo>
                  <a:pt x="270" y="714"/>
                </a:lnTo>
                <a:lnTo>
                  <a:pt x="270" y="720"/>
                </a:lnTo>
                <a:lnTo>
                  <a:pt x="276" y="720"/>
                </a:lnTo>
                <a:lnTo>
                  <a:pt x="270" y="720"/>
                </a:lnTo>
                <a:lnTo>
                  <a:pt x="270" y="726"/>
                </a:lnTo>
                <a:lnTo>
                  <a:pt x="264" y="726"/>
                </a:lnTo>
                <a:lnTo>
                  <a:pt x="264" y="732"/>
                </a:lnTo>
                <a:lnTo>
                  <a:pt x="258" y="732"/>
                </a:lnTo>
                <a:lnTo>
                  <a:pt x="252" y="738"/>
                </a:lnTo>
                <a:lnTo>
                  <a:pt x="252" y="744"/>
                </a:lnTo>
                <a:lnTo>
                  <a:pt x="252" y="750"/>
                </a:lnTo>
                <a:lnTo>
                  <a:pt x="252" y="756"/>
                </a:lnTo>
                <a:lnTo>
                  <a:pt x="258" y="762"/>
                </a:lnTo>
                <a:lnTo>
                  <a:pt x="258" y="768"/>
                </a:lnTo>
                <a:lnTo>
                  <a:pt x="258" y="774"/>
                </a:lnTo>
                <a:lnTo>
                  <a:pt x="258" y="780"/>
                </a:lnTo>
                <a:lnTo>
                  <a:pt x="264" y="786"/>
                </a:lnTo>
                <a:lnTo>
                  <a:pt x="264" y="792"/>
                </a:lnTo>
                <a:lnTo>
                  <a:pt x="264" y="798"/>
                </a:lnTo>
                <a:lnTo>
                  <a:pt x="270" y="810"/>
                </a:lnTo>
                <a:lnTo>
                  <a:pt x="270" y="816"/>
                </a:lnTo>
                <a:lnTo>
                  <a:pt x="270" y="822"/>
                </a:lnTo>
                <a:lnTo>
                  <a:pt x="276" y="822"/>
                </a:lnTo>
                <a:lnTo>
                  <a:pt x="276" y="828"/>
                </a:lnTo>
                <a:lnTo>
                  <a:pt x="276" y="834"/>
                </a:lnTo>
                <a:lnTo>
                  <a:pt x="276" y="840"/>
                </a:lnTo>
                <a:lnTo>
                  <a:pt x="276" y="846"/>
                </a:lnTo>
                <a:lnTo>
                  <a:pt x="282" y="852"/>
                </a:lnTo>
                <a:lnTo>
                  <a:pt x="282" y="858"/>
                </a:lnTo>
                <a:lnTo>
                  <a:pt x="294" y="864"/>
                </a:lnTo>
                <a:lnTo>
                  <a:pt x="300" y="870"/>
                </a:lnTo>
                <a:lnTo>
                  <a:pt x="300" y="876"/>
                </a:lnTo>
                <a:lnTo>
                  <a:pt x="288" y="876"/>
                </a:lnTo>
                <a:lnTo>
                  <a:pt x="282" y="876"/>
                </a:lnTo>
                <a:lnTo>
                  <a:pt x="276" y="876"/>
                </a:lnTo>
                <a:lnTo>
                  <a:pt x="264" y="876"/>
                </a:lnTo>
                <a:lnTo>
                  <a:pt x="258" y="876"/>
                </a:lnTo>
                <a:lnTo>
                  <a:pt x="252" y="882"/>
                </a:lnTo>
                <a:lnTo>
                  <a:pt x="246" y="882"/>
                </a:lnTo>
                <a:lnTo>
                  <a:pt x="240" y="882"/>
                </a:lnTo>
                <a:lnTo>
                  <a:pt x="234" y="882"/>
                </a:lnTo>
                <a:lnTo>
                  <a:pt x="222" y="882"/>
                </a:lnTo>
                <a:lnTo>
                  <a:pt x="216" y="882"/>
                </a:lnTo>
                <a:lnTo>
                  <a:pt x="210" y="882"/>
                </a:lnTo>
                <a:lnTo>
                  <a:pt x="204" y="882"/>
                </a:lnTo>
                <a:lnTo>
                  <a:pt x="204" y="876"/>
                </a:lnTo>
                <a:lnTo>
                  <a:pt x="198" y="876"/>
                </a:lnTo>
                <a:lnTo>
                  <a:pt x="198" y="870"/>
                </a:lnTo>
                <a:lnTo>
                  <a:pt x="198" y="852"/>
                </a:lnTo>
                <a:lnTo>
                  <a:pt x="198" y="846"/>
                </a:lnTo>
                <a:lnTo>
                  <a:pt x="204" y="846"/>
                </a:lnTo>
                <a:lnTo>
                  <a:pt x="198" y="840"/>
                </a:lnTo>
                <a:lnTo>
                  <a:pt x="198" y="834"/>
                </a:lnTo>
                <a:lnTo>
                  <a:pt x="198" y="828"/>
                </a:lnTo>
                <a:lnTo>
                  <a:pt x="198" y="822"/>
                </a:lnTo>
                <a:lnTo>
                  <a:pt x="198" y="816"/>
                </a:lnTo>
                <a:lnTo>
                  <a:pt x="198" y="810"/>
                </a:lnTo>
                <a:lnTo>
                  <a:pt x="192" y="810"/>
                </a:lnTo>
                <a:lnTo>
                  <a:pt x="192" y="804"/>
                </a:lnTo>
                <a:lnTo>
                  <a:pt x="192" y="798"/>
                </a:lnTo>
                <a:lnTo>
                  <a:pt x="186" y="786"/>
                </a:lnTo>
                <a:lnTo>
                  <a:pt x="192" y="786"/>
                </a:lnTo>
                <a:lnTo>
                  <a:pt x="192" y="780"/>
                </a:lnTo>
                <a:lnTo>
                  <a:pt x="192" y="774"/>
                </a:lnTo>
                <a:lnTo>
                  <a:pt x="192" y="768"/>
                </a:lnTo>
                <a:lnTo>
                  <a:pt x="198" y="768"/>
                </a:lnTo>
                <a:lnTo>
                  <a:pt x="198" y="762"/>
                </a:lnTo>
                <a:lnTo>
                  <a:pt x="198" y="756"/>
                </a:lnTo>
                <a:lnTo>
                  <a:pt x="204" y="756"/>
                </a:lnTo>
                <a:lnTo>
                  <a:pt x="204" y="750"/>
                </a:lnTo>
                <a:lnTo>
                  <a:pt x="210" y="744"/>
                </a:lnTo>
                <a:lnTo>
                  <a:pt x="210" y="738"/>
                </a:lnTo>
                <a:lnTo>
                  <a:pt x="210" y="732"/>
                </a:lnTo>
                <a:lnTo>
                  <a:pt x="210" y="726"/>
                </a:lnTo>
                <a:lnTo>
                  <a:pt x="210" y="720"/>
                </a:lnTo>
                <a:lnTo>
                  <a:pt x="204" y="714"/>
                </a:lnTo>
                <a:lnTo>
                  <a:pt x="204" y="720"/>
                </a:lnTo>
                <a:lnTo>
                  <a:pt x="204" y="732"/>
                </a:lnTo>
                <a:lnTo>
                  <a:pt x="204" y="738"/>
                </a:lnTo>
                <a:lnTo>
                  <a:pt x="198" y="738"/>
                </a:lnTo>
                <a:lnTo>
                  <a:pt x="198" y="744"/>
                </a:lnTo>
                <a:lnTo>
                  <a:pt x="198" y="750"/>
                </a:lnTo>
                <a:lnTo>
                  <a:pt x="192" y="756"/>
                </a:lnTo>
                <a:lnTo>
                  <a:pt x="186" y="762"/>
                </a:lnTo>
                <a:lnTo>
                  <a:pt x="186" y="768"/>
                </a:lnTo>
                <a:lnTo>
                  <a:pt x="186" y="774"/>
                </a:lnTo>
                <a:lnTo>
                  <a:pt x="186" y="780"/>
                </a:lnTo>
                <a:lnTo>
                  <a:pt x="186" y="786"/>
                </a:lnTo>
                <a:lnTo>
                  <a:pt x="186" y="792"/>
                </a:lnTo>
                <a:lnTo>
                  <a:pt x="186" y="798"/>
                </a:lnTo>
                <a:lnTo>
                  <a:pt x="186" y="804"/>
                </a:lnTo>
                <a:lnTo>
                  <a:pt x="186" y="810"/>
                </a:lnTo>
                <a:lnTo>
                  <a:pt x="192" y="816"/>
                </a:lnTo>
                <a:lnTo>
                  <a:pt x="192" y="828"/>
                </a:lnTo>
                <a:lnTo>
                  <a:pt x="192" y="834"/>
                </a:lnTo>
                <a:lnTo>
                  <a:pt x="186" y="834"/>
                </a:lnTo>
                <a:lnTo>
                  <a:pt x="186" y="828"/>
                </a:lnTo>
                <a:lnTo>
                  <a:pt x="180" y="822"/>
                </a:lnTo>
                <a:lnTo>
                  <a:pt x="180" y="816"/>
                </a:lnTo>
                <a:lnTo>
                  <a:pt x="180" y="810"/>
                </a:lnTo>
                <a:lnTo>
                  <a:pt x="174" y="810"/>
                </a:lnTo>
                <a:lnTo>
                  <a:pt x="174" y="804"/>
                </a:lnTo>
                <a:lnTo>
                  <a:pt x="174" y="798"/>
                </a:lnTo>
                <a:lnTo>
                  <a:pt x="174" y="792"/>
                </a:lnTo>
                <a:lnTo>
                  <a:pt x="168" y="786"/>
                </a:lnTo>
                <a:lnTo>
                  <a:pt x="168" y="780"/>
                </a:lnTo>
                <a:lnTo>
                  <a:pt x="162" y="780"/>
                </a:lnTo>
                <a:lnTo>
                  <a:pt x="168" y="774"/>
                </a:lnTo>
                <a:lnTo>
                  <a:pt x="168" y="768"/>
                </a:lnTo>
                <a:lnTo>
                  <a:pt x="174" y="768"/>
                </a:lnTo>
                <a:lnTo>
                  <a:pt x="168" y="768"/>
                </a:lnTo>
                <a:lnTo>
                  <a:pt x="162" y="774"/>
                </a:lnTo>
                <a:lnTo>
                  <a:pt x="162" y="780"/>
                </a:lnTo>
                <a:lnTo>
                  <a:pt x="156" y="780"/>
                </a:lnTo>
                <a:lnTo>
                  <a:pt x="150" y="780"/>
                </a:lnTo>
                <a:lnTo>
                  <a:pt x="150" y="774"/>
                </a:lnTo>
                <a:lnTo>
                  <a:pt x="144" y="774"/>
                </a:lnTo>
                <a:lnTo>
                  <a:pt x="144" y="768"/>
                </a:lnTo>
                <a:lnTo>
                  <a:pt x="144" y="762"/>
                </a:lnTo>
                <a:lnTo>
                  <a:pt x="138" y="756"/>
                </a:lnTo>
                <a:lnTo>
                  <a:pt x="132" y="756"/>
                </a:lnTo>
                <a:lnTo>
                  <a:pt x="138" y="756"/>
                </a:lnTo>
                <a:lnTo>
                  <a:pt x="138" y="762"/>
                </a:lnTo>
                <a:lnTo>
                  <a:pt x="138" y="768"/>
                </a:lnTo>
                <a:lnTo>
                  <a:pt x="144" y="768"/>
                </a:lnTo>
                <a:lnTo>
                  <a:pt x="144" y="774"/>
                </a:lnTo>
                <a:lnTo>
                  <a:pt x="150" y="780"/>
                </a:lnTo>
                <a:lnTo>
                  <a:pt x="156" y="780"/>
                </a:lnTo>
                <a:lnTo>
                  <a:pt x="156" y="786"/>
                </a:lnTo>
                <a:lnTo>
                  <a:pt x="162" y="786"/>
                </a:lnTo>
                <a:lnTo>
                  <a:pt x="168" y="792"/>
                </a:lnTo>
                <a:lnTo>
                  <a:pt x="168" y="798"/>
                </a:lnTo>
                <a:lnTo>
                  <a:pt x="168" y="804"/>
                </a:lnTo>
                <a:lnTo>
                  <a:pt x="174" y="810"/>
                </a:lnTo>
                <a:lnTo>
                  <a:pt x="174" y="816"/>
                </a:lnTo>
                <a:lnTo>
                  <a:pt x="174" y="822"/>
                </a:lnTo>
                <a:lnTo>
                  <a:pt x="168" y="822"/>
                </a:lnTo>
                <a:lnTo>
                  <a:pt x="174" y="822"/>
                </a:lnTo>
                <a:lnTo>
                  <a:pt x="168" y="822"/>
                </a:lnTo>
                <a:lnTo>
                  <a:pt x="168" y="828"/>
                </a:lnTo>
                <a:lnTo>
                  <a:pt x="168" y="834"/>
                </a:lnTo>
                <a:lnTo>
                  <a:pt x="174" y="840"/>
                </a:lnTo>
                <a:lnTo>
                  <a:pt x="180" y="840"/>
                </a:lnTo>
                <a:lnTo>
                  <a:pt x="180" y="846"/>
                </a:lnTo>
                <a:lnTo>
                  <a:pt x="186" y="846"/>
                </a:lnTo>
                <a:lnTo>
                  <a:pt x="186" y="852"/>
                </a:lnTo>
                <a:lnTo>
                  <a:pt x="186" y="858"/>
                </a:lnTo>
                <a:lnTo>
                  <a:pt x="186" y="864"/>
                </a:lnTo>
                <a:lnTo>
                  <a:pt x="192" y="864"/>
                </a:lnTo>
                <a:lnTo>
                  <a:pt x="192" y="870"/>
                </a:lnTo>
                <a:lnTo>
                  <a:pt x="192" y="876"/>
                </a:lnTo>
                <a:lnTo>
                  <a:pt x="192" y="882"/>
                </a:lnTo>
                <a:lnTo>
                  <a:pt x="192" y="888"/>
                </a:lnTo>
                <a:lnTo>
                  <a:pt x="186" y="888"/>
                </a:lnTo>
                <a:lnTo>
                  <a:pt x="180" y="888"/>
                </a:lnTo>
                <a:lnTo>
                  <a:pt x="174" y="888"/>
                </a:lnTo>
                <a:lnTo>
                  <a:pt x="168" y="894"/>
                </a:lnTo>
                <a:lnTo>
                  <a:pt x="162" y="894"/>
                </a:lnTo>
                <a:lnTo>
                  <a:pt x="156" y="894"/>
                </a:lnTo>
                <a:lnTo>
                  <a:pt x="150" y="894"/>
                </a:lnTo>
                <a:lnTo>
                  <a:pt x="144" y="894"/>
                </a:lnTo>
                <a:lnTo>
                  <a:pt x="144" y="900"/>
                </a:lnTo>
                <a:lnTo>
                  <a:pt x="138" y="894"/>
                </a:lnTo>
                <a:lnTo>
                  <a:pt x="138" y="900"/>
                </a:lnTo>
                <a:lnTo>
                  <a:pt x="132" y="894"/>
                </a:lnTo>
                <a:lnTo>
                  <a:pt x="132" y="888"/>
                </a:lnTo>
                <a:lnTo>
                  <a:pt x="126" y="888"/>
                </a:lnTo>
                <a:lnTo>
                  <a:pt x="126" y="882"/>
                </a:lnTo>
                <a:lnTo>
                  <a:pt x="126" y="876"/>
                </a:lnTo>
                <a:lnTo>
                  <a:pt x="120" y="876"/>
                </a:lnTo>
                <a:lnTo>
                  <a:pt x="126" y="870"/>
                </a:lnTo>
                <a:lnTo>
                  <a:pt x="126" y="864"/>
                </a:lnTo>
                <a:lnTo>
                  <a:pt x="126" y="858"/>
                </a:lnTo>
                <a:lnTo>
                  <a:pt x="126" y="852"/>
                </a:lnTo>
                <a:lnTo>
                  <a:pt x="126" y="846"/>
                </a:lnTo>
                <a:lnTo>
                  <a:pt x="126" y="840"/>
                </a:lnTo>
                <a:lnTo>
                  <a:pt x="126" y="828"/>
                </a:lnTo>
                <a:lnTo>
                  <a:pt x="126" y="822"/>
                </a:lnTo>
                <a:lnTo>
                  <a:pt x="126" y="816"/>
                </a:lnTo>
                <a:lnTo>
                  <a:pt x="126" y="810"/>
                </a:lnTo>
                <a:lnTo>
                  <a:pt x="126" y="804"/>
                </a:lnTo>
                <a:lnTo>
                  <a:pt x="126" y="798"/>
                </a:lnTo>
                <a:lnTo>
                  <a:pt x="120" y="798"/>
                </a:lnTo>
                <a:lnTo>
                  <a:pt x="120" y="792"/>
                </a:lnTo>
                <a:lnTo>
                  <a:pt x="114" y="792"/>
                </a:lnTo>
                <a:lnTo>
                  <a:pt x="114" y="786"/>
                </a:lnTo>
                <a:lnTo>
                  <a:pt x="108" y="786"/>
                </a:lnTo>
                <a:lnTo>
                  <a:pt x="108" y="780"/>
                </a:lnTo>
                <a:lnTo>
                  <a:pt x="102" y="780"/>
                </a:lnTo>
                <a:lnTo>
                  <a:pt x="96" y="780"/>
                </a:lnTo>
                <a:lnTo>
                  <a:pt x="96" y="774"/>
                </a:lnTo>
                <a:lnTo>
                  <a:pt x="90" y="774"/>
                </a:lnTo>
                <a:lnTo>
                  <a:pt x="90" y="768"/>
                </a:lnTo>
                <a:close/>
                <a:moveTo>
                  <a:pt x="96" y="780"/>
                </a:moveTo>
                <a:lnTo>
                  <a:pt x="102" y="780"/>
                </a:lnTo>
                <a:lnTo>
                  <a:pt x="102" y="786"/>
                </a:lnTo>
                <a:lnTo>
                  <a:pt x="108" y="786"/>
                </a:lnTo>
                <a:lnTo>
                  <a:pt x="114" y="792"/>
                </a:lnTo>
                <a:lnTo>
                  <a:pt x="120" y="798"/>
                </a:lnTo>
                <a:lnTo>
                  <a:pt x="120" y="804"/>
                </a:lnTo>
                <a:lnTo>
                  <a:pt x="126" y="810"/>
                </a:lnTo>
                <a:lnTo>
                  <a:pt x="126" y="816"/>
                </a:lnTo>
                <a:lnTo>
                  <a:pt x="126" y="822"/>
                </a:lnTo>
                <a:lnTo>
                  <a:pt x="120" y="828"/>
                </a:lnTo>
                <a:lnTo>
                  <a:pt x="120" y="840"/>
                </a:lnTo>
                <a:lnTo>
                  <a:pt x="120" y="852"/>
                </a:lnTo>
                <a:lnTo>
                  <a:pt x="120" y="858"/>
                </a:lnTo>
                <a:lnTo>
                  <a:pt x="120" y="864"/>
                </a:lnTo>
                <a:lnTo>
                  <a:pt x="120" y="870"/>
                </a:lnTo>
                <a:lnTo>
                  <a:pt x="114" y="870"/>
                </a:lnTo>
                <a:lnTo>
                  <a:pt x="108" y="870"/>
                </a:lnTo>
                <a:lnTo>
                  <a:pt x="108" y="876"/>
                </a:lnTo>
                <a:lnTo>
                  <a:pt x="114" y="876"/>
                </a:lnTo>
                <a:lnTo>
                  <a:pt x="120" y="876"/>
                </a:lnTo>
                <a:lnTo>
                  <a:pt x="120" y="882"/>
                </a:lnTo>
                <a:lnTo>
                  <a:pt x="114" y="888"/>
                </a:lnTo>
                <a:lnTo>
                  <a:pt x="120" y="888"/>
                </a:lnTo>
                <a:lnTo>
                  <a:pt x="120" y="894"/>
                </a:lnTo>
                <a:lnTo>
                  <a:pt x="114" y="894"/>
                </a:lnTo>
                <a:lnTo>
                  <a:pt x="108" y="894"/>
                </a:lnTo>
                <a:lnTo>
                  <a:pt x="96" y="894"/>
                </a:lnTo>
                <a:lnTo>
                  <a:pt x="96" y="882"/>
                </a:lnTo>
                <a:lnTo>
                  <a:pt x="96" y="876"/>
                </a:lnTo>
                <a:lnTo>
                  <a:pt x="84" y="870"/>
                </a:lnTo>
                <a:lnTo>
                  <a:pt x="72" y="864"/>
                </a:lnTo>
                <a:lnTo>
                  <a:pt x="72" y="852"/>
                </a:lnTo>
                <a:lnTo>
                  <a:pt x="72" y="840"/>
                </a:lnTo>
                <a:lnTo>
                  <a:pt x="78" y="828"/>
                </a:lnTo>
                <a:lnTo>
                  <a:pt x="84" y="822"/>
                </a:lnTo>
                <a:lnTo>
                  <a:pt x="84" y="816"/>
                </a:lnTo>
                <a:lnTo>
                  <a:pt x="84" y="810"/>
                </a:lnTo>
                <a:lnTo>
                  <a:pt x="84" y="804"/>
                </a:lnTo>
                <a:lnTo>
                  <a:pt x="90" y="792"/>
                </a:lnTo>
                <a:lnTo>
                  <a:pt x="96" y="780"/>
                </a:lnTo>
                <a:close/>
                <a:moveTo>
                  <a:pt x="492" y="810"/>
                </a:moveTo>
                <a:lnTo>
                  <a:pt x="498" y="810"/>
                </a:lnTo>
                <a:lnTo>
                  <a:pt x="498" y="804"/>
                </a:lnTo>
                <a:lnTo>
                  <a:pt x="504" y="804"/>
                </a:lnTo>
                <a:lnTo>
                  <a:pt x="504" y="798"/>
                </a:lnTo>
                <a:lnTo>
                  <a:pt x="510" y="792"/>
                </a:lnTo>
                <a:lnTo>
                  <a:pt x="516" y="786"/>
                </a:lnTo>
                <a:lnTo>
                  <a:pt x="522" y="780"/>
                </a:lnTo>
                <a:lnTo>
                  <a:pt x="522" y="774"/>
                </a:lnTo>
                <a:lnTo>
                  <a:pt x="528" y="768"/>
                </a:lnTo>
                <a:lnTo>
                  <a:pt x="528" y="762"/>
                </a:lnTo>
                <a:lnTo>
                  <a:pt x="534" y="762"/>
                </a:lnTo>
                <a:lnTo>
                  <a:pt x="540" y="768"/>
                </a:lnTo>
                <a:lnTo>
                  <a:pt x="546" y="774"/>
                </a:lnTo>
                <a:lnTo>
                  <a:pt x="546" y="780"/>
                </a:lnTo>
                <a:lnTo>
                  <a:pt x="552" y="786"/>
                </a:lnTo>
                <a:lnTo>
                  <a:pt x="558" y="786"/>
                </a:lnTo>
                <a:lnTo>
                  <a:pt x="564" y="786"/>
                </a:lnTo>
                <a:lnTo>
                  <a:pt x="576" y="786"/>
                </a:lnTo>
                <a:lnTo>
                  <a:pt x="582" y="786"/>
                </a:lnTo>
                <a:lnTo>
                  <a:pt x="588" y="786"/>
                </a:lnTo>
                <a:lnTo>
                  <a:pt x="594" y="786"/>
                </a:lnTo>
                <a:lnTo>
                  <a:pt x="588" y="792"/>
                </a:lnTo>
                <a:lnTo>
                  <a:pt x="588" y="798"/>
                </a:lnTo>
                <a:lnTo>
                  <a:pt x="582" y="804"/>
                </a:lnTo>
                <a:lnTo>
                  <a:pt x="582" y="810"/>
                </a:lnTo>
                <a:lnTo>
                  <a:pt x="582" y="822"/>
                </a:lnTo>
                <a:lnTo>
                  <a:pt x="588" y="828"/>
                </a:lnTo>
                <a:lnTo>
                  <a:pt x="588" y="834"/>
                </a:lnTo>
                <a:lnTo>
                  <a:pt x="582" y="840"/>
                </a:lnTo>
                <a:lnTo>
                  <a:pt x="570" y="840"/>
                </a:lnTo>
                <a:lnTo>
                  <a:pt x="558" y="846"/>
                </a:lnTo>
                <a:lnTo>
                  <a:pt x="552" y="846"/>
                </a:lnTo>
                <a:lnTo>
                  <a:pt x="534" y="852"/>
                </a:lnTo>
                <a:lnTo>
                  <a:pt x="522" y="858"/>
                </a:lnTo>
                <a:lnTo>
                  <a:pt x="510" y="858"/>
                </a:lnTo>
                <a:lnTo>
                  <a:pt x="498" y="864"/>
                </a:lnTo>
                <a:lnTo>
                  <a:pt x="474" y="864"/>
                </a:lnTo>
                <a:lnTo>
                  <a:pt x="468" y="858"/>
                </a:lnTo>
                <a:lnTo>
                  <a:pt x="468" y="852"/>
                </a:lnTo>
                <a:lnTo>
                  <a:pt x="468" y="846"/>
                </a:lnTo>
                <a:lnTo>
                  <a:pt x="474" y="840"/>
                </a:lnTo>
                <a:lnTo>
                  <a:pt x="474" y="834"/>
                </a:lnTo>
                <a:lnTo>
                  <a:pt x="480" y="828"/>
                </a:lnTo>
                <a:lnTo>
                  <a:pt x="492" y="822"/>
                </a:lnTo>
                <a:lnTo>
                  <a:pt x="492" y="810"/>
                </a:lnTo>
                <a:close/>
                <a:moveTo>
                  <a:pt x="384" y="720"/>
                </a:moveTo>
                <a:lnTo>
                  <a:pt x="384" y="726"/>
                </a:lnTo>
                <a:lnTo>
                  <a:pt x="390" y="726"/>
                </a:lnTo>
                <a:lnTo>
                  <a:pt x="396" y="726"/>
                </a:lnTo>
                <a:lnTo>
                  <a:pt x="402" y="732"/>
                </a:lnTo>
                <a:lnTo>
                  <a:pt x="408" y="732"/>
                </a:lnTo>
                <a:lnTo>
                  <a:pt x="414" y="732"/>
                </a:lnTo>
                <a:lnTo>
                  <a:pt x="414" y="738"/>
                </a:lnTo>
                <a:lnTo>
                  <a:pt x="414" y="744"/>
                </a:lnTo>
                <a:lnTo>
                  <a:pt x="414" y="750"/>
                </a:lnTo>
                <a:lnTo>
                  <a:pt x="414" y="756"/>
                </a:lnTo>
                <a:lnTo>
                  <a:pt x="414" y="762"/>
                </a:lnTo>
                <a:lnTo>
                  <a:pt x="420" y="768"/>
                </a:lnTo>
                <a:lnTo>
                  <a:pt x="420" y="774"/>
                </a:lnTo>
                <a:lnTo>
                  <a:pt x="426" y="780"/>
                </a:lnTo>
                <a:lnTo>
                  <a:pt x="426" y="786"/>
                </a:lnTo>
                <a:lnTo>
                  <a:pt x="420" y="786"/>
                </a:lnTo>
                <a:lnTo>
                  <a:pt x="420" y="792"/>
                </a:lnTo>
                <a:lnTo>
                  <a:pt x="420" y="798"/>
                </a:lnTo>
                <a:lnTo>
                  <a:pt x="420" y="804"/>
                </a:lnTo>
                <a:lnTo>
                  <a:pt x="426" y="804"/>
                </a:lnTo>
                <a:lnTo>
                  <a:pt x="426" y="810"/>
                </a:lnTo>
                <a:lnTo>
                  <a:pt x="426" y="816"/>
                </a:lnTo>
                <a:lnTo>
                  <a:pt x="432" y="816"/>
                </a:lnTo>
                <a:lnTo>
                  <a:pt x="438" y="816"/>
                </a:lnTo>
                <a:lnTo>
                  <a:pt x="438" y="822"/>
                </a:lnTo>
                <a:lnTo>
                  <a:pt x="432" y="822"/>
                </a:lnTo>
                <a:lnTo>
                  <a:pt x="426" y="828"/>
                </a:lnTo>
                <a:lnTo>
                  <a:pt x="420" y="828"/>
                </a:lnTo>
                <a:lnTo>
                  <a:pt x="414" y="828"/>
                </a:lnTo>
                <a:lnTo>
                  <a:pt x="408" y="828"/>
                </a:lnTo>
                <a:lnTo>
                  <a:pt x="402" y="828"/>
                </a:lnTo>
                <a:lnTo>
                  <a:pt x="402" y="822"/>
                </a:lnTo>
                <a:lnTo>
                  <a:pt x="396" y="822"/>
                </a:lnTo>
                <a:lnTo>
                  <a:pt x="402" y="822"/>
                </a:lnTo>
                <a:lnTo>
                  <a:pt x="402" y="816"/>
                </a:lnTo>
                <a:lnTo>
                  <a:pt x="396" y="816"/>
                </a:lnTo>
                <a:lnTo>
                  <a:pt x="396" y="810"/>
                </a:lnTo>
                <a:lnTo>
                  <a:pt x="396" y="804"/>
                </a:lnTo>
                <a:lnTo>
                  <a:pt x="390" y="798"/>
                </a:lnTo>
                <a:lnTo>
                  <a:pt x="390" y="792"/>
                </a:lnTo>
                <a:lnTo>
                  <a:pt x="390" y="786"/>
                </a:lnTo>
                <a:lnTo>
                  <a:pt x="390" y="780"/>
                </a:lnTo>
                <a:lnTo>
                  <a:pt x="390" y="774"/>
                </a:lnTo>
                <a:lnTo>
                  <a:pt x="390" y="768"/>
                </a:lnTo>
                <a:lnTo>
                  <a:pt x="390" y="762"/>
                </a:lnTo>
                <a:lnTo>
                  <a:pt x="384" y="756"/>
                </a:lnTo>
                <a:lnTo>
                  <a:pt x="384" y="750"/>
                </a:lnTo>
                <a:lnTo>
                  <a:pt x="384" y="744"/>
                </a:lnTo>
                <a:lnTo>
                  <a:pt x="378" y="744"/>
                </a:lnTo>
                <a:lnTo>
                  <a:pt x="384" y="744"/>
                </a:lnTo>
                <a:lnTo>
                  <a:pt x="384" y="738"/>
                </a:lnTo>
                <a:lnTo>
                  <a:pt x="378" y="738"/>
                </a:lnTo>
                <a:lnTo>
                  <a:pt x="378" y="732"/>
                </a:lnTo>
                <a:lnTo>
                  <a:pt x="378" y="726"/>
                </a:lnTo>
                <a:lnTo>
                  <a:pt x="378" y="720"/>
                </a:lnTo>
                <a:lnTo>
                  <a:pt x="384" y="720"/>
                </a:lnTo>
                <a:close/>
                <a:moveTo>
                  <a:pt x="330" y="738"/>
                </a:moveTo>
                <a:lnTo>
                  <a:pt x="336" y="732"/>
                </a:lnTo>
                <a:lnTo>
                  <a:pt x="336" y="726"/>
                </a:lnTo>
                <a:lnTo>
                  <a:pt x="342" y="720"/>
                </a:lnTo>
                <a:lnTo>
                  <a:pt x="348" y="720"/>
                </a:lnTo>
                <a:lnTo>
                  <a:pt x="360" y="720"/>
                </a:lnTo>
                <a:lnTo>
                  <a:pt x="366" y="726"/>
                </a:lnTo>
                <a:lnTo>
                  <a:pt x="372" y="732"/>
                </a:lnTo>
                <a:lnTo>
                  <a:pt x="372" y="738"/>
                </a:lnTo>
                <a:lnTo>
                  <a:pt x="366" y="750"/>
                </a:lnTo>
                <a:lnTo>
                  <a:pt x="372" y="756"/>
                </a:lnTo>
                <a:lnTo>
                  <a:pt x="372" y="762"/>
                </a:lnTo>
                <a:lnTo>
                  <a:pt x="372" y="768"/>
                </a:lnTo>
                <a:lnTo>
                  <a:pt x="372" y="774"/>
                </a:lnTo>
                <a:lnTo>
                  <a:pt x="372" y="780"/>
                </a:lnTo>
                <a:lnTo>
                  <a:pt x="372" y="774"/>
                </a:lnTo>
                <a:lnTo>
                  <a:pt x="366" y="768"/>
                </a:lnTo>
                <a:lnTo>
                  <a:pt x="366" y="762"/>
                </a:lnTo>
                <a:lnTo>
                  <a:pt x="366" y="756"/>
                </a:lnTo>
                <a:lnTo>
                  <a:pt x="360" y="756"/>
                </a:lnTo>
                <a:lnTo>
                  <a:pt x="360" y="750"/>
                </a:lnTo>
                <a:lnTo>
                  <a:pt x="354" y="750"/>
                </a:lnTo>
                <a:lnTo>
                  <a:pt x="348" y="744"/>
                </a:lnTo>
                <a:lnTo>
                  <a:pt x="342" y="744"/>
                </a:lnTo>
                <a:lnTo>
                  <a:pt x="336" y="744"/>
                </a:lnTo>
                <a:lnTo>
                  <a:pt x="330" y="738"/>
                </a:lnTo>
                <a:close/>
              </a:path>
            </a:pathLst>
          </a:custGeom>
          <a:solidFill>
            <a:srgbClr val="FF9900"/>
          </a:solidFill>
          <a:ln w="9525">
            <a:solidFill>
              <a:schemeClr val="bg1"/>
            </a:solidFill>
            <a:round/>
            <a:headEnd/>
            <a:tailEnd/>
          </a:ln>
        </p:spPr>
        <p:txBody>
          <a:bodyPr/>
          <a:lstStyle/>
          <a:p>
            <a:endParaRPr lang="en-GB"/>
          </a:p>
        </p:txBody>
      </p:sp>
      <p:sp>
        <p:nvSpPr>
          <p:cNvPr id="17421" name="Freeform 7"/>
          <p:cNvSpPr>
            <a:spLocks/>
          </p:cNvSpPr>
          <p:nvPr/>
        </p:nvSpPr>
        <p:spPr bwMode="gray">
          <a:xfrm>
            <a:off x="3414713" y="5602288"/>
            <a:ext cx="393700" cy="377825"/>
          </a:xfrm>
          <a:custGeom>
            <a:avLst/>
            <a:gdLst>
              <a:gd name="T0" fmla="*/ 25796 w 504"/>
              <a:gd name="T1" fmla="*/ 32992 h 468"/>
              <a:gd name="T2" fmla="*/ 20324 w 504"/>
              <a:gd name="T3" fmla="*/ 31383 h 468"/>
              <a:gd name="T4" fmla="*/ 16415 w 504"/>
              <a:gd name="T5" fmla="*/ 30578 h 468"/>
              <a:gd name="T6" fmla="*/ 14070 w 504"/>
              <a:gd name="T7" fmla="*/ 30578 h 468"/>
              <a:gd name="T8" fmla="*/ 11725 w 504"/>
              <a:gd name="T9" fmla="*/ 31383 h 468"/>
              <a:gd name="T10" fmla="*/ 9380 w 504"/>
              <a:gd name="T11" fmla="*/ 30578 h 468"/>
              <a:gd name="T12" fmla="*/ 7035 w 504"/>
              <a:gd name="T13" fmla="*/ 29773 h 468"/>
              <a:gd name="T14" fmla="*/ 5472 w 504"/>
              <a:gd name="T15" fmla="*/ 25750 h 468"/>
              <a:gd name="T16" fmla="*/ 4690 w 504"/>
              <a:gd name="T17" fmla="*/ 20922 h 468"/>
              <a:gd name="T18" fmla="*/ 2345 w 504"/>
              <a:gd name="T19" fmla="*/ 19312 h 468"/>
              <a:gd name="T20" fmla="*/ 782 w 504"/>
              <a:gd name="T21" fmla="*/ 19312 h 468"/>
              <a:gd name="T22" fmla="*/ 1563 w 504"/>
              <a:gd name="T23" fmla="*/ 14484 h 468"/>
              <a:gd name="T24" fmla="*/ 782 w 504"/>
              <a:gd name="T25" fmla="*/ 13680 h 468"/>
              <a:gd name="T26" fmla="*/ 0 w 504"/>
              <a:gd name="T27" fmla="*/ 13680 h 468"/>
              <a:gd name="T28" fmla="*/ 0 w 504"/>
              <a:gd name="T29" fmla="*/ 12070 h 468"/>
              <a:gd name="T30" fmla="*/ 1563 w 504"/>
              <a:gd name="T31" fmla="*/ 9656 h 468"/>
              <a:gd name="T32" fmla="*/ 3127 w 504"/>
              <a:gd name="T33" fmla="*/ 8047 h 468"/>
              <a:gd name="T34" fmla="*/ 4690 w 504"/>
              <a:gd name="T35" fmla="*/ 6437 h 468"/>
              <a:gd name="T36" fmla="*/ 6253 w 504"/>
              <a:gd name="T37" fmla="*/ 6437 h 468"/>
              <a:gd name="T38" fmla="*/ 7817 w 504"/>
              <a:gd name="T39" fmla="*/ 7242 h 468"/>
              <a:gd name="T40" fmla="*/ 9380 w 504"/>
              <a:gd name="T41" fmla="*/ 8047 h 468"/>
              <a:gd name="T42" fmla="*/ 9380 w 504"/>
              <a:gd name="T43" fmla="*/ 8852 h 468"/>
              <a:gd name="T44" fmla="*/ 10944 w 504"/>
              <a:gd name="T45" fmla="*/ 6437 h 468"/>
              <a:gd name="T46" fmla="*/ 11725 w 504"/>
              <a:gd name="T47" fmla="*/ 5633 h 468"/>
              <a:gd name="T48" fmla="*/ 13289 w 504"/>
              <a:gd name="T49" fmla="*/ 4828 h 468"/>
              <a:gd name="T50" fmla="*/ 14852 w 504"/>
              <a:gd name="T51" fmla="*/ 2414 h 468"/>
              <a:gd name="T52" fmla="*/ 15634 w 504"/>
              <a:gd name="T53" fmla="*/ 1609 h 468"/>
              <a:gd name="T54" fmla="*/ 17197 w 504"/>
              <a:gd name="T55" fmla="*/ 805 h 468"/>
              <a:gd name="T56" fmla="*/ 21105 w 504"/>
              <a:gd name="T57" fmla="*/ 805 h 468"/>
              <a:gd name="T58" fmla="*/ 23450 w 504"/>
              <a:gd name="T59" fmla="*/ 1609 h 468"/>
              <a:gd name="T60" fmla="*/ 24232 w 504"/>
              <a:gd name="T61" fmla="*/ 1609 h 468"/>
              <a:gd name="T62" fmla="*/ 26577 w 504"/>
              <a:gd name="T63" fmla="*/ 0 h 468"/>
              <a:gd name="T64" fmla="*/ 28922 w 504"/>
              <a:gd name="T65" fmla="*/ 805 h 468"/>
              <a:gd name="T66" fmla="*/ 32049 w 504"/>
              <a:gd name="T67" fmla="*/ 1609 h 468"/>
              <a:gd name="T68" fmla="*/ 32831 w 504"/>
              <a:gd name="T69" fmla="*/ 3219 h 468"/>
              <a:gd name="T70" fmla="*/ 32831 w 504"/>
              <a:gd name="T71" fmla="*/ 8047 h 468"/>
              <a:gd name="T72" fmla="*/ 32049 w 504"/>
              <a:gd name="T73" fmla="*/ 11266 h 468"/>
              <a:gd name="T74" fmla="*/ 32831 w 504"/>
              <a:gd name="T75" fmla="*/ 12070 h 468"/>
              <a:gd name="T76" fmla="*/ 34394 w 504"/>
              <a:gd name="T77" fmla="*/ 14484 h 468"/>
              <a:gd name="T78" fmla="*/ 33612 w 504"/>
              <a:gd name="T79" fmla="*/ 15289 h 468"/>
              <a:gd name="T80" fmla="*/ 32831 w 504"/>
              <a:gd name="T81" fmla="*/ 16898 h 468"/>
              <a:gd name="T82" fmla="*/ 32831 w 504"/>
              <a:gd name="T83" fmla="*/ 18508 h 468"/>
              <a:gd name="T84" fmla="*/ 30486 w 504"/>
              <a:gd name="T85" fmla="*/ 21726 h 468"/>
              <a:gd name="T86" fmla="*/ 29704 w 504"/>
              <a:gd name="T87" fmla="*/ 23336 h 468"/>
              <a:gd name="T88" fmla="*/ 29704 w 504"/>
              <a:gd name="T89" fmla="*/ 24945 h 468"/>
              <a:gd name="T90" fmla="*/ 28141 w 504"/>
              <a:gd name="T91" fmla="*/ 25750 h 468"/>
              <a:gd name="T92" fmla="*/ 27359 w 504"/>
              <a:gd name="T93" fmla="*/ 27359 h 468"/>
              <a:gd name="T94" fmla="*/ 26577 w 504"/>
              <a:gd name="T95" fmla="*/ 30578 h 4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4"/>
              <a:gd name="T145" fmla="*/ 0 h 468"/>
              <a:gd name="T146" fmla="*/ 504 w 504"/>
              <a:gd name="T147" fmla="*/ 468 h 4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4" h="468">
                <a:moveTo>
                  <a:pt x="390" y="456"/>
                </a:moveTo>
                <a:lnTo>
                  <a:pt x="384" y="468"/>
                </a:lnTo>
                <a:lnTo>
                  <a:pt x="378" y="468"/>
                </a:lnTo>
                <a:lnTo>
                  <a:pt x="354" y="468"/>
                </a:lnTo>
                <a:lnTo>
                  <a:pt x="348" y="462"/>
                </a:lnTo>
                <a:lnTo>
                  <a:pt x="300" y="456"/>
                </a:lnTo>
                <a:lnTo>
                  <a:pt x="270" y="444"/>
                </a:lnTo>
                <a:lnTo>
                  <a:pt x="252" y="438"/>
                </a:lnTo>
                <a:lnTo>
                  <a:pt x="240" y="438"/>
                </a:lnTo>
                <a:lnTo>
                  <a:pt x="234" y="438"/>
                </a:lnTo>
                <a:lnTo>
                  <a:pt x="228" y="444"/>
                </a:lnTo>
                <a:lnTo>
                  <a:pt x="210" y="444"/>
                </a:lnTo>
                <a:lnTo>
                  <a:pt x="198" y="444"/>
                </a:lnTo>
                <a:lnTo>
                  <a:pt x="198" y="450"/>
                </a:lnTo>
                <a:lnTo>
                  <a:pt x="168" y="456"/>
                </a:lnTo>
                <a:lnTo>
                  <a:pt x="150" y="450"/>
                </a:lnTo>
                <a:lnTo>
                  <a:pt x="144" y="444"/>
                </a:lnTo>
                <a:lnTo>
                  <a:pt x="132" y="438"/>
                </a:lnTo>
                <a:lnTo>
                  <a:pt x="138" y="432"/>
                </a:lnTo>
                <a:lnTo>
                  <a:pt x="114" y="432"/>
                </a:lnTo>
                <a:lnTo>
                  <a:pt x="102" y="426"/>
                </a:lnTo>
                <a:lnTo>
                  <a:pt x="90" y="414"/>
                </a:lnTo>
                <a:lnTo>
                  <a:pt x="72" y="402"/>
                </a:lnTo>
                <a:lnTo>
                  <a:pt x="78" y="366"/>
                </a:lnTo>
                <a:lnTo>
                  <a:pt x="78" y="330"/>
                </a:lnTo>
                <a:lnTo>
                  <a:pt x="66" y="318"/>
                </a:lnTo>
                <a:lnTo>
                  <a:pt x="66" y="300"/>
                </a:lnTo>
                <a:lnTo>
                  <a:pt x="66" y="282"/>
                </a:lnTo>
                <a:lnTo>
                  <a:pt x="36" y="282"/>
                </a:lnTo>
                <a:lnTo>
                  <a:pt x="30" y="276"/>
                </a:lnTo>
                <a:lnTo>
                  <a:pt x="30" y="282"/>
                </a:lnTo>
                <a:lnTo>
                  <a:pt x="24" y="282"/>
                </a:lnTo>
                <a:lnTo>
                  <a:pt x="12" y="276"/>
                </a:lnTo>
                <a:lnTo>
                  <a:pt x="0" y="282"/>
                </a:lnTo>
                <a:lnTo>
                  <a:pt x="12" y="204"/>
                </a:lnTo>
                <a:lnTo>
                  <a:pt x="18" y="210"/>
                </a:lnTo>
                <a:lnTo>
                  <a:pt x="18" y="204"/>
                </a:lnTo>
                <a:lnTo>
                  <a:pt x="18" y="198"/>
                </a:lnTo>
                <a:lnTo>
                  <a:pt x="12" y="198"/>
                </a:lnTo>
                <a:lnTo>
                  <a:pt x="18" y="192"/>
                </a:lnTo>
                <a:lnTo>
                  <a:pt x="12" y="192"/>
                </a:lnTo>
                <a:lnTo>
                  <a:pt x="6" y="192"/>
                </a:lnTo>
                <a:lnTo>
                  <a:pt x="6" y="186"/>
                </a:lnTo>
                <a:lnTo>
                  <a:pt x="0" y="186"/>
                </a:lnTo>
                <a:lnTo>
                  <a:pt x="0" y="180"/>
                </a:lnTo>
                <a:lnTo>
                  <a:pt x="6" y="180"/>
                </a:lnTo>
                <a:lnTo>
                  <a:pt x="12" y="186"/>
                </a:lnTo>
                <a:lnTo>
                  <a:pt x="18" y="138"/>
                </a:lnTo>
                <a:lnTo>
                  <a:pt x="24" y="126"/>
                </a:lnTo>
                <a:lnTo>
                  <a:pt x="30" y="126"/>
                </a:lnTo>
                <a:lnTo>
                  <a:pt x="42" y="120"/>
                </a:lnTo>
                <a:lnTo>
                  <a:pt x="48" y="114"/>
                </a:lnTo>
                <a:lnTo>
                  <a:pt x="60" y="102"/>
                </a:lnTo>
                <a:lnTo>
                  <a:pt x="72" y="96"/>
                </a:lnTo>
                <a:lnTo>
                  <a:pt x="78" y="96"/>
                </a:lnTo>
                <a:lnTo>
                  <a:pt x="90" y="96"/>
                </a:lnTo>
                <a:lnTo>
                  <a:pt x="96" y="90"/>
                </a:lnTo>
                <a:lnTo>
                  <a:pt x="102" y="96"/>
                </a:lnTo>
                <a:lnTo>
                  <a:pt x="108" y="96"/>
                </a:lnTo>
                <a:lnTo>
                  <a:pt x="120" y="102"/>
                </a:lnTo>
                <a:lnTo>
                  <a:pt x="126" y="108"/>
                </a:lnTo>
                <a:lnTo>
                  <a:pt x="126" y="114"/>
                </a:lnTo>
                <a:lnTo>
                  <a:pt x="132" y="114"/>
                </a:lnTo>
                <a:lnTo>
                  <a:pt x="138" y="120"/>
                </a:lnTo>
                <a:lnTo>
                  <a:pt x="144" y="120"/>
                </a:lnTo>
                <a:lnTo>
                  <a:pt x="144" y="126"/>
                </a:lnTo>
                <a:lnTo>
                  <a:pt x="150" y="126"/>
                </a:lnTo>
                <a:lnTo>
                  <a:pt x="156" y="120"/>
                </a:lnTo>
                <a:lnTo>
                  <a:pt x="156" y="96"/>
                </a:lnTo>
                <a:lnTo>
                  <a:pt x="156" y="84"/>
                </a:lnTo>
                <a:lnTo>
                  <a:pt x="162" y="84"/>
                </a:lnTo>
                <a:lnTo>
                  <a:pt x="168" y="78"/>
                </a:lnTo>
                <a:lnTo>
                  <a:pt x="174" y="72"/>
                </a:lnTo>
                <a:lnTo>
                  <a:pt x="180" y="72"/>
                </a:lnTo>
                <a:lnTo>
                  <a:pt x="198" y="66"/>
                </a:lnTo>
                <a:lnTo>
                  <a:pt x="198" y="60"/>
                </a:lnTo>
                <a:lnTo>
                  <a:pt x="216" y="42"/>
                </a:lnTo>
                <a:lnTo>
                  <a:pt x="222" y="36"/>
                </a:lnTo>
                <a:lnTo>
                  <a:pt x="228" y="36"/>
                </a:lnTo>
                <a:lnTo>
                  <a:pt x="228" y="30"/>
                </a:lnTo>
                <a:lnTo>
                  <a:pt x="228" y="24"/>
                </a:lnTo>
                <a:lnTo>
                  <a:pt x="246" y="18"/>
                </a:lnTo>
                <a:lnTo>
                  <a:pt x="252" y="18"/>
                </a:lnTo>
                <a:lnTo>
                  <a:pt x="258" y="12"/>
                </a:lnTo>
                <a:lnTo>
                  <a:pt x="270" y="6"/>
                </a:lnTo>
                <a:lnTo>
                  <a:pt x="288" y="6"/>
                </a:lnTo>
                <a:lnTo>
                  <a:pt x="312" y="12"/>
                </a:lnTo>
                <a:lnTo>
                  <a:pt x="324" y="12"/>
                </a:lnTo>
                <a:lnTo>
                  <a:pt x="336" y="18"/>
                </a:lnTo>
                <a:lnTo>
                  <a:pt x="348" y="24"/>
                </a:lnTo>
                <a:lnTo>
                  <a:pt x="354" y="24"/>
                </a:lnTo>
                <a:lnTo>
                  <a:pt x="354" y="18"/>
                </a:lnTo>
                <a:lnTo>
                  <a:pt x="360" y="18"/>
                </a:lnTo>
                <a:lnTo>
                  <a:pt x="360" y="6"/>
                </a:lnTo>
                <a:lnTo>
                  <a:pt x="372" y="6"/>
                </a:lnTo>
                <a:lnTo>
                  <a:pt x="390" y="6"/>
                </a:lnTo>
                <a:lnTo>
                  <a:pt x="396" y="0"/>
                </a:lnTo>
                <a:lnTo>
                  <a:pt x="414" y="12"/>
                </a:lnTo>
                <a:lnTo>
                  <a:pt x="426" y="12"/>
                </a:lnTo>
                <a:lnTo>
                  <a:pt x="444" y="18"/>
                </a:lnTo>
                <a:lnTo>
                  <a:pt x="462" y="18"/>
                </a:lnTo>
                <a:lnTo>
                  <a:pt x="474" y="18"/>
                </a:lnTo>
                <a:lnTo>
                  <a:pt x="480" y="18"/>
                </a:lnTo>
                <a:lnTo>
                  <a:pt x="486" y="36"/>
                </a:lnTo>
                <a:lnTo>
                  <a:pt x="480" y="42"/>
                </a:lnTo>
                <a:lnTo>
                  <a:pt x="480" y="54"/>
                </a:lnTo>
                <a:lnTo>
                  <a:pt x="486" y="78"/>
                </a:lnTo>
                <a:lnTo>
                  <a:pt x="486" y="114"/>
                </a:lnTo>
                <a:lnTo>
                  <a:pt x="486" y="150"/>
                </a:lnTo>
                <a:lnTo>
                  <a:pt x="468" y="150"/>
                </a:lnTo>
                <a:lnTo>
                  <a:pt x="474" y="162"/>
                </a:lnTo>
                <a:lnTo>
                  <a:pt x="480" y="162"/>
                </a:lnTo>
                <a:lnTo>
                  <a:pt x="486" y="174"/>
                </a:lnTo>
                <a:lnTo>
                  <a:pt x="492" y="174"/>
                </a:lnTo>
                <a:lnTo>
                  <a:pt x="492" y="192"/>
                </a:lnTo>
                <a:lnTo>
                  <a:pt x="498" y="198"/>
                </a:lnTo>
                <a:lnTo>
                  <a:pt x="504" y="204"/>
                </a:lnTo>
                <a:lnTo>
                  <a:pt x="504" y="210"/>
                </a:lnTo>
                <a:lnTo>
                  <a:pt x="498" y="210"/>
                </a:lnTo>
                <a:lnTo>
                  <a:pt x="498" y="222"/>
                </a:lnTo>
                <a:lnTo>
                  <a:pt x="492" y="228"/>
                </a:lnTo>
                <a:lnTo>
                  <a:pt x="492" y="234"/>
                </a:lnTo>
                <a:lnTo>
                  <a:pt x="492" y="240"/>
                </a:lnTo>
                <a:lnTo>
                  <a:pt x="486" y="246"/>
                </a:lnTo>
                <a:lnTo>
                  <a:pt x="486" y="258"/>
                </a:lnTo>
                <a:lnTo>
                  <a:pt x="480" y="264"/>
                </a:lnTo>
                <a:lnTo>
                  <a:pt x="474" y="276"/>
                </a:lnTo>
                <a:lnTo>
                  <a:pt x="468" y="288"/>
                </a:lnTo>
                <a:lnTo>
                  <a:pt x="456" y="306"/>
                </a:lnTo>
                <a:lnTo>
                  <a:pt x="456" y="312"/>
                </a:lnTo>
                <a:lnTo>
                  <a:pt x="444" y="318"/>
                </a:lnTo>
                <a:lnTo>
                  <a:pt x="432" y="336"/>
                </a:lnTo>
                <a:lnTo>
                  <a:pt x="432" y="342"/>
                </a:lnTo>
                <a:lnTo>
                  <a:pt x="432" y="348"/>
                </a:lnTo>
                <a:lnTo>
                  <a:pt x="432" y="354"/>
                </a:lnTo>
                <a:lnTo>
                  <a:pt x="426" y="366"/>
                </a:lnTo>
                <a:lnTo>
                  <a:pt x="420" y="366"/>
                </a:lnTo>
                <a:lnTo>
                  <a:pt x="420" y="372"/>
                </a:lnTo>
                <a:lnTo>
                  <a:pt x="414" y="378"/>
                </a:lnTo>
                <a:lnTo>
                  <a:pt x="414" y="390"/>
                </a:lnTo>
                <a:lnTo>
                  <a:pt x="408" y="390"/>
                </a:lnTo>
                <a:lnTo>
                  <a:pt x="408" y="402"/>
                </a:lnTo>
                <a:lnTo>
                  <a:pt x="402" y="414"/>
                </a:lnTo>
                <a:lnTo>
                  <a:pt x="396" y="438"/>
                </a:lnTo>
                <a:lnTo>
                  <a:pt x="396" y="444"/>
                </a:lnTo>
                <a:lnTo>
                  <a:pt x="390" y="456"/>
                </a:lnTo>
                <a:close/>
              </a:path>
            </a:pathLst>
          </a:custGeom>
          <a:solidFill>
            <a:srgbClr val="CD202C"/>
          </a:solidFill>
          <a:ln w="9525">
            <a:solidFill>
              <a:schemeClr val="bg1"/>
            </a:solidFill>
            <a:round/>
            <a:headEnd/>
            <a:tailEnd/>
          </a:ln>
        </p:spPr>
        <p:txBody>
          <a:bodyPr/>
          <a:lstStyle/>
          <a:p>
            <a:endParaRPr lang="en-GB"/>
          </a:p>
        </p:txBody>
      </p:sp>
      <p:sp>
        <p:nvSpPr>
          <p:cNvPr id="17422" name="Freeform 8"/>
          <p:cNvSpPr>
            <a:spLocks/>
          </p:cNvSpPr>
          <p:nvPr/>
        </p:nvSpPr>
        <p:spPr bwMode="gray">
          <a:xfrm>
            <a:off x="3662363" y="5548313"/>
            <a:ext cx="419100" cy="623887"/>
          </a:xfrm>
          <a:custGeom>
            <a:avLst/>
            <a:gdLst>
              <a:gd name="T0" fmla="*/ 30708 w 534"/>
              <a:gd name="T1" fmla="*/ 28218 h 774"/>
              <a:gd name="T2" fmla="*/ 27559 w 534"/>
              <a:gd name="T3" fmla="*/ 24993 h 774"/>
              <a:gd name="T4" fmla="*/ 25197 w 534"/>
              <a:gd name="T5" fmla="*/ 23380 h 774"/>
              <a:gd name="T6" fmla="*/ 25197 w 534"/>
              <a:gd name="T7" fmla="*/ 24993 h 774"/>
              <a:gd name="T8" fmla="*/ 22834 w 534"/>
              <a:gd name="T9" fmla="*/ 26605 h 774"/>
              <a:gd name="T10" fmla="*/ 21260 w 534"/>
              <a:gd name="T11" fmla="*/ 29024 h 774"/>
              <a:gd name="T12" fmla="*/ 23622 w 534"/>
              <a:gd name="T13" fmla="*/ 30636 h 774"/>
              <a:gd name="T14" fmla="*/ 22834 w 534"/>
              <a:gd name="T15" fmla="*/ 32249 h 774"/>
              <a:gd name="T16" fmla="*/ 19685 w 534"/>
              <a:gd name="T17" fmla="*/ 32249 h 774"/>
              <a:gd name="T18" fmla="*/ 18110 w 534"/>
              <a:gd name="T19" fmla="*/ 33861 h 774"/>
              <a:gd name="T20" fmla="*/ 17323 w 534"/>
              <a:gd name="T21" fmla="*/ 37892 h 774"/>
              <a:gd name="T22" fmla="*/ 17323 w 534"/>
              <a:gd name="T23" fmla="*/ 41117 h 774"/>
              <a:gd name="T24" fmla="*/ 17323 w 534"/>
              <a:gd name="T25" fmla="*/ 43536 h 774"/>
              <a:gd name="T26" fmla="*/ 16535 w 534"/>
              <a:gd name="T27" fmla="*/ 45148 h 774"/>
              <a:gd name="T28" fmla="*/ 14960 w 534"/>
              <a:gd name="T29" fmla="*/ 46761 h 774"/>
              <a:gd name="T30" fmla="*/ 15748 w 534"/>
              <a:gd name="T31" fmla="*/ 47567 h 774"/>
              <a:gd name="T32" fmla="*/ 14960 w 534"/>
              <a:gd name="T33" fmla="*/ 49986 h 774"/>
              <a:gd name="T34" fmla="*/ 14960 w 534"/>
              <a:gd name="T35" fmla="*/ 51598 h 774"/>
              <a:gd name="T36" fmla="*/ 15748 w 534"/>
              <a:gd name="T37" fmla="*/ 53211 h 774"/>
              <a:gd name="T38" fmla="*/ 13386 w 534"/>
              <a:gd name="T39" fmla="*/ 53211 h 774"/>
              <a:gd name="T40" fmla="*/ 12598 w 534"/>
              <a:gd name="T41" fmla="*/ 52404 h 774"/>
              <a:gd name="T42" fmla="*/ 10236 w 534"/>
              <a:gd name="T43" fmla="*/ 52404 h 774"/>
              <a:gd name="T44" fmla="*/ 8661 w 534"/>
              <a:gd name="T45" fmla="*/ 52404 h 774"/>
              <a:gd name="T46" fmla="*/ 6299 w 534"/>
              <a:gd name="T47" fmla="*/ 52404 h 774"/>
              <a:gd name="T48" fmla="*/ 6299 w 534"/>
              <a:gd name="T49" fmla="*/ 51598 h 774"/>
              <a:gd name="T50" fmla="*/ 3937 w 534"/>
              <a:gd name="T51" fmla="*/ 52404 h 774"/>
              <a:gd name="T52" fmla="*/ 2362 w 534"/>
              <a:gd name="T53" fmla="*/ 52404 h 774"/>
              <a:gd name="T54" fmla="*/ 0 w 534"/>
              <a:gd name="T55" fmla="*/ 51598 h 774"/>
              <a:gd name="T56" fmla="*/ 0 w 534"/>
              <a:gd name="T57" fmla="*/ 49986 h 774"/>
              <a:gd name="T58" fmla="*/ 2362 w 534"/>
              <a:gd name="T59" fmla="*/ 48373 h 774"/>
              <a:gd name="T60" fmla="*/ 4724 w 534"/>
              <a:gd name="T61" fmla="*/ 45955 h 774"/>
              <a:gd name="T62" fmla="*/ 6299 w 534"/>
              <a:gd name="T63" fmla="*/ 40311 h 774"/>
              <a:gd name="T64" fmla="*/ 4724 w 534"/>
              <a:gd name="T65" fmla="*/ 36280 h 774"/>
              <a:gd name="T66" fmla="*/ 6299 w 534"/>
              <a:gd name="T67" fmla="*/ 33055 h 774"/>
              <a:gd name="T68" fmla="*/ 7087 w 534"/>
              <a:gd name="T69" fmla="*/ 30636 h 774"/>
              <a:gd name="T70" fmla="*/ 7874 w 534"/>
              <a:gd name="T71" fmla="*/ 29024 h 774"/>
              <a:gd name="T72" fmla="*/ 9449 w 534"/>
              <a:gd name="T73" fmla="*/ 26605 h 774"/>
              <a:gd name="T74" fmla="*/ 11024 w 534"/>
              <a:gd name="T75" fmla="*/ 23380 h 774"/>
              <a:gd name="T76" fmla="*/ 12598 w 534"/>
              <a:gd name="T77" fmla="*/ 20962 h 774"/>
              <a:gd name="T78" fmla="*/ 12598 w 534"/>
              <a:gd name="T79" fmla="*/ 19349 h 774"/>
              <a:gd name="T80" fmla="*/ 12598 w 534"/>
              <a:gd name="T81" fmla="*/ 16931 h 774"/>
              <a:gd name="T82" fmla="*/ 10236 w 534"/>
              <a:gd name="T83" fmla="*/ 15318 h 774"/>
              <a:gd name="T84" fmla="*/ 11024 w 534"/>
              <a:gd name="T85" fmla="*/ 8062 h 774"/>
              <a:gd name="T86" fmla="*/ 11024 w 534"/>
              <a:gd name="T87" fmla="*/ 5644 h 774"/>
              <a:gd name="T88" fmla="*/ 6299 w 534"/>
              <a:gd name="T89" fmla="*/ 5644 h 774"/>
              <a:gd name="T90" fmla="*/ 5512 w 534"/>
              <a:gd name="T91" fmla="*/ 2419 h 774"/>
              <a:gd name="T92" fmla="*/ 8661 w 534"/>
              <a:gd name="T93" fmla="*/ 806 h 774"/>
              <a:gd name="T94" fmla="*/ 9449 w 534"/>
              <a:gd name="T95" fmla="*/ 0 h 774"/>
              <a:gd name="T96" fmla="*/ 12598 w 534"/>
              <a:gd name="T97" fmla="*/ 1612 h 774"/>
              <a:gd name="T98" fmla="*/ 15748 w 534"/>
              <a:gd name="T99" fmla="*/ 1612 h 774"/>
              <a:gd name="T100" fmla="*/ 18110 w 534"/>
              <a:gd name="T101" fmla="*/ 2419 h 774"/>
              <a:gd name="T102" fmla="*/ 18110 w 534"/>
              <a:gd name="T103" fmla="*/ 8062 h 774"/>
              <a:gd name="T104" fmla="*/ 22834 w 534"/>
              <a:gd name="T105" fmla="*/ 9675 h 774"/>
              <a:gd name="T106" fmla="*/ 27559 w 534"/>
              <a:gd name="T107" fmla="*/ 9675 h 774"/>
              <a:gd name="T108" fmla="*/ 29921 w 534"/>
              <a:gd name="T109" fmla="*/ 13706 h 774"/>
              <a:gd name="T110" fmla="*/ 31496 w 534"/>
              <a:gd name="T111" fmla="*/ 15318 h 774"/>
              <a:gd name="T112" fmla="*/ 34645 w 534"/>
              <a:gd name="T113" fmla="*/ 18543 h 774"/>
              <a:gd name="T114" fmla="*/ 34645 w 534"/>
              <a:gd name="T115" fmla="*/ 24187 h 774"/>
              <a:gd name="T116" fmla="*/ 36220 w 534"/>
              <a:gd name="T117" fmla="*/ 29024 h 774"/>
              <a:gd name="T118" fmla="*/ 32283 w 534"/>
              <a:gd name="T119" fmla="*/ 29830 h 7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4"/>
              <a:gd name="T181" fmla="*/ 0 h 774"/>
              <a:gd name="T182" fmla="*/ 534 w 534"/>
              <a:gd name="T183" fmla="*/ 774 h 77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4" h="774">
                <a:moveTo>
                  <a:pt x="462" y="426"/>
                </a:moveTo>
                <a:lnTo>
                  <a:pt x="462" y="414"/>
                </a:lnTo>
                <a:lnTo>
                  <a:pt x="450" y="402"/>
                </a:lnTo>
                <a:lnTo>
                  <a:pt x="444" y="396"/>
                </a:lnTo>
                <a:lnTo>
                  <a:pt x="420" y="396"/>
                </a:lnTo>
                <a:lnTo>
                  <a:pt x="408" y="390"/>
                </a:lnTo>
                <a:lnTo>
                  <a:pt x="402" y="366"/>
                </a:lnTo>
                <a:lnTo>
                  <a:pt x="390" y="354"/>
                </a:lnTo>
                <a:lnTo>
                  <a:pt x="384" y="336"/>
                </a:lnTo>
                <a:lnTo>
                  <a:pt x="378" y="336"/>
                </a:lnTo>
                <a:lnTo>
                  <a:pt x="366" y="336"/>
                </a:lnTo>
                <a:lnTo>
                  <a:pt x="360" y="336"/>
                </a:lnTo>
                <a:lnTo>
                  <a:pt x="354" y="336"/>
                </a:lnTo>
                <a:lnTo>
                  <a:pt x="348" y="336"/>
                </a:lnTo>
                <a:lnTo>
                  <a:pt x="348" y="348"/>
                </a:lnTo>
                <a:lnTo>
                  <a:pt x="360" y="354"/>
                </a:lnTo>
                <a:lnTo>
                  <a:pt x="360" y="390"/>
                </a:lnTo>
                <a:lnTo>
                  <a:pt x="348" y="390"/>
                </a:lnTo>
                <a:lnTo>
                  <a:pt x="342" y="384"/>
                </a:lnTo>
                <a:lnTo>
                  <a:pt x="330" y="378"/>
                </a:lnTo>
                <a:lnTo>
                  <a:pt x="324" y="378"/>
                </a:lnTo>
                <a:lnTo>
                  <a:pt x="318" y="390"/>
                </a:lnTo>
                <a:lnTo>
                  <a:pt x="312" y="402"/>
                </a:lnTo>
                <a:lnTo>
                  <a:pt x="306" y="420"/>
                </a:lnTo>
                <a:lnTo>
                  <a:pt x="324" y="414"/>
                </a:lnTo>
                <a:lnTo>
                  <a:pt x="330" y="414"/>
                </a:lnTo>
                <a:lnTo>
                  <a:pt x="336" y="420"/>
                </a:lnTo>
                <a:lnTo>
                  <a:pt x="336" y="432"/>
                </a:lnTo>
                <a:lnTo>
                  <a:pt x="330" y="438"/>
                </a:lnTo>
                <a:lnTo>
                  <a:pt x="330" y="444"/>
                </a:lnTo>
                <a:lnTo>
                  <a:pt x="330" y="450"/>
                </a:lnTo>
                <a:lnTo>
                  <a:pt x="324" y="456"/>
                </a:lnTo>
                <a:lnTo>
                  <a:pt x="318" y="456"/>
                </a:lnTo>
                <a:lnTo>
                  <a:pt x="300" y="456"/>
                </a:lnTo>
                <a:lnTo>
                  <a:pt x="288" y="462"/>
                </a:lnTo>
                <a:lnTo>
                  <a:pt x="276" y="462"/>
                </a:lnTo>
                <a:lnTo>
                  <a:pt x="270" y="462"/>
                </a:lnTo>
                <a:lnTo>
                  <a:pt x="270" y="468"/>
                </a:lnTo>
                <a:lnTo>
                  <a:pt x="252" y="468"/>
                </a:lnTo>
                <a:lnTo>
                  <a:pt x="258" y="480"/>
                </a:lnTo>
                <a:lnTo>
                  <a:pt x="258" y="492"/>
                </a:lnTo>
                <a:lnTo>
                  <a:pt x="258" y="498"/>
                </a:lnTo>
                <a:lnTo>
                  <a:pt x="258" y="510"/>
                </a:lnTo>
                <a:lnTo>
                  <a:pt x="252" y="540"/>
                </a:lnTo>
                <a:lnTo>
                  <a:pt x="246" y="564"/>
                </a:lnTo>
                <a:lnTo>
                  <a:pt x="246" y="570"/>
                </a:lnTo>
                <a:lnTo>
                  <a:pt x="252" y="576"/>
                </a:lnTo>
                <a:lnTo>
                  <a:pt x="246" y="582"/>
                </a:lnTo>
                <a:lnTo>
                  <a:pt x="252" y="600"/>
                </a:lnTo>
                <a:lnTo>
                  <a:pt x="258" y="606"/>
                </a:lnTo>
                <a:lnTo>
                  <a:pt x="258" y="612"/>
                </a:lnTo>
                <a:lnTo>
                  <a:pt x="252" y="618"/>
                </a:lnTo>
                <a:lnTo>
                  <a:pt x="246" y="624"/>
                </a:lnTo>
                <a:lnTo>
                  <a:pt x="246" y="630"/>
                </a:lnTo>
                <a:lnTo>
                  <a:pt x="246" y="636"/>
                </a:lnTo>
                <a:lnTo>
                  <a:pt x="240" y="642"/>
                </a:lnTo>
                <a:lnTo>
                  <a:pt x="234" y="654"/>
                </a:lnTo>
                <a:lnTo>
                  <a:pt x="228" y="654"/>
                </a:lnTo>
                <a:lnTo>
                  <a:pt x="222" y="660"/>
                </a:lnTo>
                <a:lnTo>
                  <a:pt x="216" y="666"/>
                </a:lnTo>
                <a:lnTo>
                  <a:pt x="210" y="666"/>
                </a:lnTo>
                <a:lnTo>
                  <a:pt x="204" y="678"/>
                </a:lnTo>
                <a:lnTo>
                  <a:pt x="210" y="678"/>
                </a:lnTo>
                <a:lnTo>
                  <a:pt x="222" y="684"/>
                </a:lnTo>
                <a:lnTo>
                  <a:pt x="222" y="690"/>
                </a:lnTo>
                <a:lnTo>
                  <a:pt x="222" y="696"/>
                </a:lnTo>
                <a:lnTo>
                  <a:pt x="222" y="702"/>
                </a:lnTo>
                <a:lnTo>
                  <a:pt x="216" y="708"/>
                </a:lnTo>
                <a:lnTo>
                  <a:pt x="210" y="720"/>
                </a:lnTo>
                <a:lnTo>
                  <a:pt x="216" y="732"/>
                </a:lnTo>
                <a:lnTo>
                  <a:pt x="210" y="732"/>
                </a:lnTo>
                <a:lnTo>
                  <a:pt x="216" y="738"/>
                </a:lnTo>
                <a:lnTo>
                  <a:pt x="216" y="744"/>
                </a:lnTo>
                <a:lnTo>
                  <a:pt x="222" y="750"/>
                </a:lnTo>
                <a:lnTo>
                  <a:pt x="228" y="756"/>
                </a:lnTo>
                <a:lnTo>
                  <a:pt x="222" y="762"/>
                </a:lnTo>
                <a:lnTo>
                  <a:pt x="228" y="768"/>
                </a:lnTo>
                <a:lnTo>
                  <a:pt x="222" y="774"/>
                </a:lnTo>
                <a:lnTo>
                  <a:pt x="204" y="762"/>
                </a:lnTo>
                <a:lnTo>
                  <a:pt x="198" y="762"/>
                </a:lnTo>
                <a:lnTo>
                  <a:pt x="192" y="762"/>
                </a:lnTo>
                <a:lnTo>
                  <a:pt x="186" y="756"/>
                </a:lnTo>
                <a:lnTo>
                  <a:pt x="180" y="750"/>
                </a:lnTo>
                <a:lnTo>
                  <a:pt x="180" y="744"/>
                </a:lnTo>
                <a:lnTo>
                  <a:pt x="174" y="744"/>
                </a:lnTo>
                <a:lnTo>
                  <a:pt x="156" y="750"/>
                </a:lnTo>
                <a:lnTo>
                  <a:pt x="150" y="750"/>
                </a:lnTo>
                <a:lnTo>
                  <a:pt x="144" y="750"/>
                </a:lnTo>
                <a:lnTo>
                  <a:pt x="138" y="750"/>
                </a:lnTo>
                <a:lnTo>
                  <a:pt x="138" y="744"/>
                </a:lnTo>
                <a:lnTo>
                  <a:pt x="132" y="744"/>
                </a:lnTo>
                <a:lnTo>
                  <a:pt x="120" y="744"/>
                </a:lnTo>
                <a:lnTo>
                  <a:pt x="114" y="738"/>
                </a:lnTo>
                <a:lnTo>
                  <a:pt x="108" y="744"/>
                </a:lnTo>
                <a:lnTo>
                  <a:pt x="102" y="744"/>
                </a:lnTo>
                <a:lnTo>
                  <a:pt x="96" y="744"/>
                </a:lnTo>
                <a:lnTo>
                  <a:pt x="96" y="738"/>
                </a:lnTo>
                <a:lnTo>
                  <a:pt x="96" y="744"/>
                </a:lnTo>
                <a:lnTo>
                  <a:pt x="90" y="744"/>
                </a:lnTo>
                <a:lnTo>
                  <a:pt x="90" y="738"/>
                </a:lnTo>
                <a:lnTo>
                  <a:pt x="84" y="744"/>
                </a:lnTo>
                <a:lnTo>
                  <a:pt x="72" y="750"/>
                </a:lnTo>
                <a:lnTo>
                  <a:pt x="66" y="750"/>
                </a:lnTo>
                <a:lnTo>
                  <a:pt x="60" y="750"/>
                </a:lnTo>
                <a:lnTo>
                  <a:pt x="54" y="756"/>
                </a:lnTo>
                <a:lnTo>
                  <a:pt x="42" y="756"/>
                </a:lnTo>
                <a:lnTo>
                  <a:pt x="36" y="750"/>
                </a:lnTo>
                <a:lnTo>
                  <a:pt x="30" y="750"/>
                </a:lnTo>
                <a:lnTo>
                  <a:pt x="24" y="744"/>
                </a:lnTo>
                <a:lnTo>
                  <a:pt x="18" y="738"/>
                </a:lnTo>
                <a:lnTo>
                  <a:pt x="6" y="738"/>
                </a:lnTo>
                <a:lnTo>
                  <a:pt x="0" y="732"/>
                </a:lnTo>
                <a:lnTo>
                  <a:pt x="0" y="726"/>
                </a:lnTo>
                <a:lnTo>
                  <a:pt x="0" y="720"/>
                </a:lnTo>
                <a:lnTo>
                  <a:pt x="6" y="714"/>
                </a:lnTo>
                <a:lnTo>
                  <a:pt x="6" y="708"/>
                </a:lnTo>
                <a:lnTo>
                  <a:pt x="12" y="708"/>
                </a:lnTo>
                <a:lnTo>
                  <a:pt x="18" y="702"/>
                </a:lnTo>
                <a:lnTo>
                  <a:pt x="24" y="696"/>
                </a:lnTo>
                <a:lnTo>
                  <a:pt x="30" y="696"/>
                </a:lnTo>
                <a:lnTo>
                  <a:pt x="48" y="690"/>
                </a:lnTo>
                <a:lnTo>
                  <a:pt x="54" y="678"/>
                </a:lnTo>
                <a:lnTo>
                  <a:pt x="66" y="672"/>
                </a:lnTo>
                <a:lnTo>
                  <a:pt x="66" y="654"/>
                </a:lnTo>
                <a:lnTo>
                  <a:pt x="72" y="636"/>
                </a:lnTo>
                <a:lnTo>
                  <a:pt x="72" y="612"/>
                </a:lnTo>
                <a:lnTo>
                  <a:pt x="84" y="594"/>
                </a:lnTo>
                <a:lnTo>
                  <a:pt x="90" y="576"/>
                </a:lnTo>
                <a:lnTo>
                  <a:pt x="96" y="552"/>
                </a:lnTo>
                <a:lnTo>
                  <a:pt x="90" y="528"/>
                </a:lnTo>
                <a:lnTo>
                  <a:pt x="84" y="528"/>
                </a:lnTo>
                <a:lnTo>
                  <a:pt x="72" y="522"/>
                </a:lnTo>
                <a:lnTo>
                  <a:pt x="78" y="510"/>
                </a:lnTo>
                <a:lnTo>
                  <a:pt x="78" y="504"/>
                </a:lnTo>
                <a:lnTo>
                  <a:pt x="84" y="480"/>
                </a:lnTo>
                <a:lnTo>
                  <a:pt x="90" y="468"/>
                </a:lnTo>
                <a:lnTo>
                  <a:pt x="90" y="456"/>
                </a:lnTo>
                <a:lnTo>
                  <a:pt x="96" y="456"/>
                </a:lnTo>
                <a:lnTo>
                  <a:pt x="96" y="444"/>
                </a:lnTo>
                <a:lnTo>
                  <a:pt x="102" y="438"/>
                </a:lnTo>
                <a:lnTo>
                  <a:pt x="102" y="432"/>
                </a:lnTo>
                <a:lnTo>
                  <a:pt x="108" y="432"/>
                </a:lnTo>
                <a:lnTo>
                  <a:pt x="114" y="420"/>
                </a:lnTo>
                <a:lnTo>
                  <a:pt x="114" y="414"/>
                </a:lnTo>
                <a:lnTo>
                  <a:pt x="114" y="408"/>
                </a:lnTo>
                <a:lnTo>
                  <a:pt x="114" y="402"/>
                </a:lnTo>
                <a:lnTo>
                  <a:pt x="126" y="384"/>
                </a:lnTo>
                <a:lnTo>
                  <a:pt x="138" y="378"/>
                </a:lnTo>
                <a:lnTo>
                  <a:pt x="138" y="372"/>
                </a:lnTo>
                <a:lnTo>
                  <a:pt x="150" y="354"/>
                </a:lnTo>
                <a:lnTo>
                  <a:pt x="156" y="342"/>
                </a:lnTo>
                <a:lnTo>
                  <a:pt x="162" y="330"/>
                </a:lnTo>
                <a:lnTo>
                  <a:pt x="168" y="324"/>
                </a:lnTo>
                <a:lnTo>
                  <a:pt x="168" y="312"/>
                </a:lnTo>
                <a:lnTo>
                  <a:pt x="174" y="306"/>
                </a:lnTo>
                <a:lnTo>
                  <a:pt x="174" y="300"/>
                </a:lnTo>
                <a:lnTo>
                  <a:pt x="174" y="294"/>
                </a:lnTo>
                <a:lnTo>
                  <a:pt x="180" y="288"/>
                </a:lnTo>
                <a:lnTo>
                  <a:pt x="180" y="276"/>
                </a:lnTo>
                <a:lnTo>
                  <a:pt x="186" y="276"/>
                </a:lnTo>
                <a:lnTo>
                  <a:pt x="186" y="270"/>
                </a:lnTo>
                <a:lnTo>
                  <a:pt x="180" y="264"/>
                </a:lnTo>
                <a:lnTo>
                  <a:pt x="174" y="258"/>
                </a:lnTo>
                <a:lnTo>
                  <a:pt x="174" y="240"/>
                </a:lnTo>
                <a:lnTo>
                  <a:pt x="168" y="240"/>
                </a:lnTo>
                <a:lnTo>
                  <a:pt x="162" y="228"/>
                </a:lnTo>
                <a:lnTo>
                  <a:pt x="156" y="228"/>
                </a:lnTo>
                <a:lnTo>
                  <a:pt x="150" y="216"/>
                </a:lnTo>
                <a:lnTo>
                  <a:pt x="168" y="216"/>
                </a:lnTo>
                <a:lnTo>
                  <a:pt x="168" y="180"/>
                </a:lnTo>
                <a:lnTo>
                  <a:pt x="168" y="144"/>
                </a:lnTo>
                <a:lnTo>
                  <a:pt x="162" y="120"/>
                </a:lnTo>
                <a:lnTo>
                  <a:pt x="162" y="108"/>
                </a:lnTo>
                <a:lnTo>
                  <a:pt x="168" y="102"/>
                </a:lnTo>
                <a:lnTo>
                  <a:pt x="162" y="84"/>
                </a:lnTo>
                <a:lnTo>
                  <a:pt x="156" y="84"/>
                </a:lnTo>
                <a:lnTo>
                  <a:pt x="144" y="84"/>
                </a:lnTo>
                <a:lnTo>
                  <a:pt x="126" y="84"/>
                </a:lnTo>
                <a:lnTo>
                  <a:pt x="108" y="78"/>
                </a:lnTo>
                <a:lnTo>
                  <a:pt x="96" y="78"/>
                </a:lnTo>
                <a:lnTo>
                  <a:pt x="78" y="66"/>
                </a:lnTo>
                <a:lnTo>
                  <a:pt x="84" y="60"/>
                </a:lnTo>
                <a:lnTo>
                  <a:pt x="78" y="54"/>
                </a:lnTo>
                <a:lnTo>
                  <a:pt x="78" y="36"/>
                </a:lnTo>
                <a:lnTo>
                  <a:pt x="96" y="24"/>
                </a:lnTo>
                <a:lnTo>
                  <a:pt x="120" y="24"/>
                </a:lnTo>
                <a:lnTo>
                  <a:pt x="126" y="18"/>
                </a:lnTo>
                <a:lnTo>
                  <a:pt x="126" y="12"/>
                </a:lnTo>
                <a:lnTo>
                  <a:pt x="126" y="6"/>
                </a:lnTo>
                <a:lnTo>
                  <a:pt x="132" y="6"/>
                </a:lnTo>
                <a:lnTo>
                  <a:pt x="138" y="6"/>
                </a:lnTo>
                <a:lnTo>
                  <a:pt x="138" y="0"/>
                </a:lnTo>
                <a:lnTo>
                  <a:pt x="156" y="0"/>
                </a:lnTo>
                <a:lnTo>
                  <a:pt x="156" y="6"/>
                </a:lnTo>
                <a:lnTo>
                  <a:pt x="168" y="24"/>
                </a:lnTo>
                <a:lnTo>
                  <a:pt x="180" y="24"/>
                </a:lnTo>
                <a:lnTo>
                  <a:pt x="192" y="18"/>
                </a:lnTo>
                <a:lnTo>
                  <a:pt x="198" y="18"/>
                </a:lnTo>
                <a:lnTo>
                  <a:pt x="210" y="18"/>
                </a:lnTo>
                <a:lnTo>
                  <a:pt x="222" y="18"/>
                </a:lnTo>
                <a:lnTo>
                  <a:pt x="234" y="12"/>
                </a:lnTo>
                <a:lnTo>
                  <a:pt x="252" y="18"/>
                </a:lnTo>
                <a:lnTo>
                  <a:pt x="252" y="24"/>
                </a:lnTo>
                <a:lnTo>
                  <a:pt x="258" y="36"/>
                </a:lnTo>
                <a:lnTo>
                  <a:pt x="258" y="66"/>
                </a:lnTo>
                <a:lnTo>
                  <a:pt x="252" y="84"/>
                </a:lnTo>
                <a:lnTo>
                  <a:pt x="252" y="120"/>
                </a:lnTo>
                <a:lnTo>
                  <a:pt x="258" y="120"/>
                </a:lnTo>
                <a:lnTo>
                  <a:pt x="282" y="126"/>
                </a:lnTo>
                <a:lnTo>
                  <a:pt x="294" y="132"/>
                </a:lnTo>
                <a:lnTo>
                  <a:pt x="306" y="138"/>
                </a:lnTo>
                <a:lnTo>
                  <a:pt x="324" y="138"/>
                </a:lnTo>
                <a:lnTo>
                  <a:pt x="348" y="138"/>
                </a:lnTo>
                <a:lnTo>
                  <a:pt x="354" y="138"/>
                </a:lnTo>
                <a:lnTo>
                  <a:pt x="360" y="144"/>
                </a:lnTo>
                <a:lnTo>
                  <a:pt x="396" y="144"/>
                </a:lnTo>
                <a:lnTo>
                  <a:pt x="408" y="150"/>
                </a:lnTo>
                <a:lnTo>
                  <a:pt x="414" y="180"/>
                </a:lnTo>
                <a:lnTo>
                  <a:pt x="420" y="186"/>
                </a:lnTo>
                <a:lnTo>
                  <a:pt x="426" y="192"/>
                </a:lnTo>
                <a:lnTo>
                  <a:pt x="426" y="198"/>
                </a:lnTo>
                <a:lnTo>
                  <a:pt x="432" y="198"/>
                </a:lnTo>
                <a:lnTo>
                  <a:pt x="438" y="210"/>
                </a:lnTo>
                <a:lnTo>
                  <a:pt x="450" y="216"/>
                </a:lnTo>
                <a:lnTo>
                  <a:pt x="468" y="228"/>
                </a:lnTo>
                <a:lnTo>
                  <a:pt x="492" y="234"/>
                </a:lnTo>
                <a:lnTo>
                  <a:pt x="492" y="246"/>
                </a:lnTo>
                <a:lnTo>
                  <a:pt x="492" y="270"/>
                </a:lnTo>
                <a:lnTo>
                  <a:pt x="486" y="294"/>
                </a:lnTo>
                <a:lnTo>
                  <a:pt x="486" y="312"/>
                </a:lnTo>
                <a:lnTo>
                  <a:pt x="486" y="330"/>
                </a:lnTo>
                <a:lnTo>
                  <a:pt x="492" y="348"/>
                </a:lnTo>
                <a:lnTo>
                  <a:pt x="498" y="360"/>
                </a:lnTo>
                <a:lnTo>
                  <a:pt x="510" y="366"/>
                </a:lnTo>
                <a:lnTo>
                  <a:pt x="516" y="384"/>
                </a:lnTo>
                <a:lnTo>
                  <a:pt x="522" y="414"/>
                </a:lnTo>
                <a:lnTo>
                  <a:pt x="528" y="414"/>
                </a:lnTo>
                <a:lnTo>
                  <a:pt x="534" y="426"/>
                </a:lnTo>
                <a:lnTo>
                  <a:pt x="528" y="432"/>
                </a:lnTo>
                <a:lnTo>
                  <a:pt x="468" y="426"/>
                </a:lnTo>
                <a:lnTo>
                  <a:pt x="462" y="426"/>
                </a:lnTo>
                <a:close/>
              </a:path>
            </a:pathLst>
          </a:custGeom>
          <a:solidFill>
            <a:srgbClr val="CD202C"/>
          </a:solidFill>
          <a:ln w="9525">
            <a:solidFill>
              <a:schemeClr val="bg1"/>
            </a:solidFill>
            <a:round/>
            <a:headEnd/>
            <a:tailEnd/>
          </a:ln>
        </p:spPr>
        <p:txBody>
          <a:bodyPr/>
          <a:lstStyle/>
          <a:p>
            <a:endParaRPr lang="en-GB"/>
          </a:p>
        </p:txBody>
      </p:sp>
      <p:sp>
        <p:nvSpPr>
          <p:cNvPr id="17423" name="Freeform 9"/>
          <p:cNvSpPr>
            <a:spLocks noEditPoints="1"/>
          </p:cNvSpPr>
          <p:nvPr/>
        </p:nvSpPr>
        <p:spPr bwMode="gray">
          <a:xfrm>
            <a:off x="3822700" y="5819775"/>
            <a:ext cx="431800" cy="530225"/>
          </a:xfrm>
          <a:custGeom>
            <a:avLst/>
            <a:gdLst>
              <a:gd name="T0" fmla="*/ 2352 w 552"/>
              <a:gd name="T1" fmla="*/ 37025 h 660"/>
              <a:gd name="T2" fmla="*/ 3136 w 552"/>
              <a:gd name="T3" fmla="*/ 33806 h 660"/>
              <a:gd name="T4" fmla="*/ 1568 w 552"/>
              <a:gd name="T5" fmla="*/ 30586 h 660"/>
              <a:gd name="T6" fmla="*/ 0 w 552"/>
              <a:gd name="T7" fmla="*/ 27366 h 660"/>
              <a:gd name="T8" fmla="*/ 1568 w 552"/>
              <a:gd name="T9" fmla="*/ 24147 h 660"/>
              <a:gd name="T10" fmla="*/ 2352 w 552"/>
              <a:gd name="T11" fmla="*/ 21732 h 660"/>
              <a:gd name="T12" fmla="*/ 3921 w 552"/>
              <a:gd name="T13" fmla="*/ 18513 h 660"/>
              <a:gd name="T14" fmla="*/ 3921 w 552"/>
              <a:gd name="T15" fmla="*/ 12073 h 660"/>
              <a:gd name="T16" fmla="*/ 4705 w 552"/>
              <a:gd name="T17" fmla="*/ 8854 h 660"/>
              <a:gd name="T18" fmla="*/ 8625 w 552"/>
              <a:gd name="T19" fmla="*/ 7244 h 660"/>
              <a:gd name="T20" fmla="*/ 7841 w 552"/>
              <a:gd name="T21" fmla="*/ 4024 h 660"/>
              <a:gd name="T22" fmla="*/ 9409 w 552"/>
              <a:gd name="T23" fmla="*/ 805 h 660"/>
              <a:gd name="T24" fmla="*/ 12546 w 552"/>
              <a:gd name="T25" fmla="*/ 1610 h 660"/>
              <a:gd name="T26" fmla="*/ 18035 w 552"/>
              <a:gd name="T27" fmla="*/ 6439 h 660"/>
              <a:gd name="T28" fmla="*/ 18035 w 552"/>
              <a:gd name="T29" fmla="*/ 8854 h 660"/>
              <a:gd name="T30" fmla="*/ 21171 w 552"/>
              <a:gd name="T31" fmla="*/ 9659 h 660"/>
              <a:gd name="T32" fmla="*/ 22740 w 552"/>
              <a:gd name="T33" fmla="*/ 13683 h 660"/>
              <a:gd name="T34" fmla="*/ 24308 w 552"/>
              <a:gd name="T35" fmla="*/ 12073 h 660"/>
              <a:gd name="T36" fmla="*/ 25876 w 552"/>
              <a:gd name="T37" fmla="*/ 13683 h 660"/>
              <a:gd name="T38" fmla="*/ 28228 w 552"/>
              <a:gd name="T39" fmla="*/ 18513 h 660"/>
              <a:gd name="T40" fmla="*/ 32149 w 552"/>
              <a:gd name="T41" fmla="*/ 26562 h 660"/>
              <a:gd name="T42" fmla="*/ 33717 w 552"/>
              <a:gd name="T43" fmla="*/ 28976 h 660"/>
              <a:gd name="T44" fmla="*/ 33717 w 552"/>
              <a:gd name="T45" fmla="*/ 29781 h 660"/>
              <a:gd name="T46" fmla="*/ 32149 w 552"/>
              <a:gd name="T47" fmla="*/ 28171 h 660"/>
              <a:gd name="T48" fmla="*/ 33717 w 552"/>
              <a:gd name="T49" fmla="*/ 29781 h 660"/>
              <a:gd name="T50" fmla="*/ 34501 w 552"/>
              <a:gd name="T51" fmla="*/ 31391 h 660"/>
              <a:gd name="T52" fmla="*/ 36854 w 552"/>
              <a:gd name="T53" fmla="*/ 33001 h 660"/>
              <a:gd name="T54" fmla="*/ 36854 w 552"/>
              <a:gd name="T55" fmla="*/ 35415 h 660"/>
              <a:gd name="T56" fmla="*/ 37638 w 552"/>
              <a:gd name="T57" fmla="*/ 37025 h 660"/>
              <a:gd name="T58" fmla="*/ 36854 w 552"/>
              <a:gd name="T59" fmla="*/ 37025 h 660"/>
              <a:gd name="T60" fmla="*/ 34501 w 552"/>
              <a:gd name="T61" fmla="*/ 37025 h 660"/>
              <a:gd name="T62" fmla="*/ 36854 w 552"/>
              <a:gd name="T63" fmla="*/ 37830 h 660"/>
              <a:gd name="T64" fmla="*/ 36854 w 552"/>
              <a:gd name="T65" fmla="*/ 39440 h 660"/>
              <a:gd name="T66" fmla="*/ 36854 w 552"/>
              <a:gd name="T67" fmla="*/ 41855 h 660"/>
              <a:gd name="T68" fmla="*/ 36070 w 552"/>
              <a:gd name="T69" fmla="*/ 42659 h 660"/>
              <a:gd name="T70" fmla="*/ 33717 w 552"/>
              <a:gd name="T71" fmla="*/ 43464 h 660"/>
              <a:gd name="T72" fmla="*/ 29012 w 552"/>
              <a:gd name="T73" fmla="*/ 43464 h 660"/>
              <a:gd name="T74" fmla="*/ 23524 w 552"/>
              <a:gd name="T75" fmla="*/ 43464 h 660"/>
              <a:gd name="T76" fmla="*/ 22740 w 552"/>
              <a:gd name="T77" fmla="*/ 42659 h 660"/>
              <a:gd name="T78" fmla="*/ 21171 w 552"/>
              <a:gd name="T79" fmla="*/ 42659 h 660"/>
              <a:gd name="T80" fmla="*/ 22740 w 552"/>
              <a:gd name="T81" fmla="*/ 42659 h 660"/>
              <a:gd name="T82" fmla="*/ 21955 w 552"/>
              <a:gd name="T83" fmla="*/ 43464 h 660"/>
              <a:gd name="T84" fmla="*/ 18819 w 552"/>
              <a:gd name="T85" fmla="*/ 43464 h 660"/>
              <a:gd name="T86" fmla="*/ 15682 w 552"/>
              <a:gd name="T87" fmla="*/ 44269 h 660"/>
              <a:gd name="T88" fmla="*/ 11762 w 552"/>
              <a:gd name="T89" fmla="*/ 45074 h 660"/>
              <a:gd name="T90" fmla="*/ 9409 w 552"/>
              <a:gd name="T91" fmla="*/ 45074 h 660"/>
              <a:gd name="T92" fmla="*/ 8625 w 552"/>
              <a:gd name="T93" fmla="*/ 45879 h 660"/>
              <a:gd name="T94" fmla="*/ 7057 w 552"/>
              <a:gd name="T95" fmla="*/ 45879 h 660"/>
              <a:gd name="T96" fmla="*/ 5489 w 552"/>
              <a:gd name="T97" fmla="*/ 45074 h 660"/>
              <a:gd name="T98" fmla="*/ 3921 w 552"/>
              <a:gd name="T99" fmla="*/ 44269 h 660"/>
              <a:gd name="T100" fmla="*/ 5489 w 552"/>
              <a:gd name="T101" fmla="*/ 43464 h 660"/>
              <a:gd name="T102" fmla="*/ 3921 w 552"/>
              <a:gd name="T103" fmla="*/ 43464 h 660"/>
              <a:gd name="T104" fmla="*/ 3921 w 552"/>
              <a:gd name="T105" fmla="*/ 42659 h 660"/>
              <a:gd name="T106" fmla="*/ 3136 w 552"/>
              <a:gd name="T107" fmla="*/ 39440 h 660"/>
              <a:gd name="T108" fmla="*/ 35285 w 552"/>
              <a:gd name="T109" fmla="*/ 30586 h 6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52"/>
              <a:gd name="T166" fmla="*/ 0 h 660"/>
              <a:gd name="T167" fmla="*/ 552 w 552"/>
              <a:gd name="T168" fmla="*/ 660 h 6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52" h="660">
                <a:moveTo>
                  <a:pt x="36" y="564"/>
                </a:moveTo>
                <a:lnTo>
                  <a:pt x="36" y="558"/>
                </a:lnTo>
                <a:lnTo>
                  <a:pt x="36" y="552"/>
                </a:lnTo>
                <a:lnTo>
                  <a:pt x="42" y="546"/>
                </a:lnTo>
                <a:lnTo>
                  <a:pt x="42" y="540"/>
                </a:lnTo>
                <a:lnTo>
                  <a:pt x="36" y="540"/>
                </a:lnTo>
                <a:lnTo>
                  <a:pt x="36" y="534"/>
                </a:lnTo>
                <a:lnTo>
                  <a:pt x="36" y="528"/>
                </a:lnTo>
                <a:lnTo>
                  <a:pt x="42" y="522"/>
                </a:lnTo>
                <a:lnTo>
                  <a:pt x="48" y="516"/>
                </a:lnTo>
                <a:lnTo>
                  <a:pt x="54" y="510"/>
                </a:lnTo>
                <a:lnTo>
                  <a:pt x="54" y="504"/>
                </a:lnTo>
                <a:lnTo>
                  <a:pt x="54" y="498"/>
                </a:lnTo>
                <a:lnTo>
                  <a:pt x="48" y="492"/>
                </a:lnTo>
                <a:lnTo>
                  <a:pt x="42" y="486"/>
                </a:lnTo>
                <a:lnTo>
                  <a:pt x="42" y="480"/>
                </a:lnTo>
                <a:lnTo>
                  <a:pt x="42" y="468"/>
                </a:lnTo>
                <a:lnTo>
                  <a:pt x="30" y="456"/>
                </a:lnTo>
                <a:lnTo>
                  <a:pt x="30" y="450"/>
                </a:lnTo>
                <a:lnTo>
                  <a:pt x="18" y="444"/>
                </a:lnTo>
                <a:lnTo>
                  <a:pt x="18" y="438"/>
                </a:lnTo>
                <a:lnTo>
                  <a:pt x="24" y="432"/>
                </a:lnTo>
                <a:lnTo>
                  <a:pt x="18" y="426"/>
                </a:lnTo>
                <a:lnTo>
                  <a:pt x="24" y="420"/>
                </a:lnTo>
                <a:lnTo>
                  <a:pt x="18" y="414"/>
                </a:lnTo>
                <a:lnTo>
                  <a:pt x="12" y="408"/>
                </a:lnTo>
                <a:lnTo>
                  <a:pt x="12" y="402"/>
                </a:lnTo>
                <a:lnTo>
                  <a:pt x="6" y="396"/>
                </a:lnTo>
                <a:lnTo>
                  <a:pt x="12" y="396"/>
                </a:lnTo>
                <a:lnTo>
                  <a:pt x="6" y="384"/>
                </a:lnTo>
                <a:lnTo>
                  <a:pt x="12" y="372"/>
                </a:lnTo>
                <a:lnTo>
                  <a:pt x="18" y="366"/>
                </a:lnTo>
                <a:lnTo>
                  <a:pt x="18" y="360"/>
                </a:lnTo>
                <a:lnTo>
                  <a:pt x="18" y="354"/>
                </a:lnTo>
                <a:lnTo>
                  <a:pt x="18" y="348"/>
                </a:lnTo>
                <a:lnTo>
                  <a:pt x="6" y="342"/>
                </a:lnTo>
                <a:lnTo>
                  <a:pt x="0" y="342"/>
                </a:lnTo>
                <a:lnTo>
                  <a:pt x="6" y="330"/>
                </a:lnTo>
                <a:lnTo>
                  <a:pt x="12" y="330"/>
                </a:lnTo>
                <a:lnTo>
                  <a:pt x="18" y="324"/>
                </a:lnTo>
                <a:lnTo>
                  <a:pt x="24" y="318"/>
                </a:lnTo>
                <a:lnTo>
                  <a:pt x="30" y="318"/>
                </a:lnTo>
                <a:lnTo>
                  <a:pt x="36" y="306"/>
                </a:lnTo>
                <a:lnTo>
                  <a:pt x="42" y="300"/>
                </a:lnTo>
                <a:lnTo>
                  <a:pt x="42" y="294"/>
                </a:lnTo>
                <a:lnTo>
                  <a:pt x="42" y="288"/>
                </a:lnTo>
                <a:lnTo>
                  <a:pt x="48" y="282"/>
                </a:lnTo>
                <a:lnTo>
                  <a:pt x="54" y="276"/>
                </a:lnTo>
                <a:lnTo>
                  <a:pt x="54" y="270"/>
                </a:lnTo>
                <a:lnTo>
                  <a:pt x="48" y="264"/>
                </a:lnTo>
                <a:lnTo>
                  <a:pt x="42" y="246"/>
                </a:lnTo>
                <a:lnTo>
                  <a:pt x="48" y="240"/>
                </a:lnTo>
                <a:lnTo>
                  <a:pt x="42" y="234"/>
                </a:lnTo>
                <a:lnTo>
                  <a:pt x="42" y="228"/>
                </a:lnTo>
                <a:lnTo>
                  <a:pt x="48" y="204"/>
                </a:lnTo>
                <a:lnTo>
                  <a:pt x="54" y="174"/>
                </a:lnTo>
                <a:lnTo>
                  <a:pt x="54" y="162"/>
                </a:lnTo>
                <a:lnTo>
                  <a:pt x="54" y="156"/>
                </a:lnTo>
                <a:lnTo>
                  <a:pt x="54" y="144"/>
                </a:lnTo>
                <a:lnTo>
                  <a:pt x="48" y="132"/>
                </a:lnTo>
                <a:lnTo>
                  <a:pt x="66" y="132"/>
                </a:lnTo>
                <a:lnTo>
                  <a:pt x="66" y="126"/>
                </a:lnTo>
                <a:lnTo>
                  <a:pt x="72" y="126"/>
                </a:lnTo>
                <a:lnTo>
                  <a:pt x="84" y="126"/>
                </a:lnTo>
                <a:lnTo>
                  <a:pt x="96" y="120"/>
                </a:lnTo>
                <a:lnTo>
                  <a:pt x="114" y="120"/>
                </a:lnTo>
                <a:lnTo>
                  <a:pt x="120" y="120"/>
                </a:lnTo>
                <a:lnTo>
                  <a:pt x="126" y="114"/>
                </a:lnTo>
                <a:lnTo>
                  <a:pt x="126" y="108"/>
                </a:lnTo>
                <a:lnTo>
                  <a:pt x="126" y="102"/>
                </a:lnTo>
                <a:lnTo>
                  <a:pt x="132" y="96"/>
                </a:lnTo>
                <a:lnTo>
                  <a:pt x="132" y="84"/>
                </a:lnTo>
                <a:lnTo>
                  <a:pt x="126" y="78"/>
                </a:lnTo>
                <a:lnTo>
                  <a:pt x="120" y="78"/>
                </a:lnTo>
                <a:lnTo>
                  <a:pt x="102" y="84"/>
                </a:lnTo>
                <a:lnTo>
                  <a:pt x="108" y="66"/>
                </a:lnTo>
                <a:lnTo>
                  <a:pt x="114" y="54"/>
                </a:lnTo>
                <a:lnTo>
                  <a:pt x="120" y="42"/>
                </a:lnTo>
                <a:lnTo>
                  <a:pt x="126" y="42"/>
                </a:lnTo>
                <a:lnTo>
                  <a:pt x="138" y="48"/>
                </a:lnTo>
                <a:lnTo>
                  <a:pt x="144" y="54"/>
                </a:lnTo>
                <a:lnTo>
                  <a:pt x="156" y="54"/>
                </a:lnTo>
                <a:lnTo>
                  <a:pt x="156" y="18"/>
                </a:lnTo>
                <a:lnTo>
                  <a:pt x="144" y="12"/>
                </a:lnTo>
                <a:lnTo>
                  <a:pt x="144" y="0"/>
                </a:lnTo>
                <a:lnTo>
                  <a:pt x="150" y="0"/>
                </a:lnTo>
                <a:lnTo>
                  <a:pt x="156" y="0"/>
                </a:lnTo>
                <a:lnTo>
                  <a:pt x="162" y="0"/>
                </a:lnTo>
                <a:lnTo>
                  <a:pt x="174" y="0"/>
                </a:lnTo>
                <a:lnTo>
                  <a:pt x="180" y="0"/>
                </a:lnTo>
                <a:lnTo>
                  <a:pt x="186" y="18"/>
                </a:lnTo>
                <a:lnTo>
                  <a:pt x="198" y="30"/>
                </a:lnTo>
                <a:lnTo>
                  <a:pt x="204" y="54"/>
                </a:lnTo>
                <a:lnTo>
                  <a:pt x="216" y="60"/>
                </a:lnTo>
                <a:lnTo>
                  <a:pt x="240" y="60"/>
                </a:lnTo>
                <a:lnTo>
                  <a:pt x="246" y="66"/>
                </a:lnTo>
                <a:lnTo>
                  <a:pt x="258" y="78"/>
                </a:lnTo>
                <a:lnTo>
                  <a:pt x="258" y="90"/>
                </a:lnTo>
                <a:lnTo>
                  <a:pt x="252" y="96"/>
                </a:lnTo>
                <a:lnTo>
                  <a:pt x="258" y="102"/>
                </a:lnTo>
                <a:lnTo>
                  <a:pt x="258" y="108"/>
                </a:lnTo>
                <a:lnTo>
                  <a:pt x="252" y="120"/>
                </a:lnTo>
                <a:lnTo>
                  <a:pt x="252" y="126"/>
                </a:lnTo>
                <a:lnTo>
                  <a:pt x="258" y="126"/>
                </a:lnTo>
                <a:lnTo>
                  <a:pt x="264" y="126"/>
                </a:lnTo>
                <a:lnTo>
                  <a:pt x="276" y="126"/>
                </a:lnTo>
                <a:lnTo>
                  <a:pt x="282" y="120"/>
                </a:lnTo>
                <a:lnTo>
                  <a:pt x="282" y="126"/>
                </a:lnTo>
                <a:lnTo>
                  <a:pt x="294" y="126"/>
                </a:lnTo>
                <a:lnTo>
                  <a:pt x="300" y="132"/>
                </a:lnTo>
                <a:lnTo>
                  <a:pt x="306" y="144"/>
                </a:lnTo>
                <a:lnTo>
                  <a:pt x="312" y="144"/>
                </a:lnTo>
                <a:lnTo>
                  <a:pt x="312" y="150"/>
                </a:lnTo>
                <a:lnTo>
                  <a:pt x="312" y="162"/>
                </a:lnTo>
                <a:lnTo>
                  <a:pt x="312" y="174"/>
                </a:lnTo>
                <a:lnTo>
                  <a:pt x="324" y="180"/>
                </a:lnTo>
                <a:lnTo>
                  <a:pt x="324" y="186"/>
                </a:lnTo>
                <a:lnTo>
                  <a:pt x="324" y="192"/>
                </a:lnTo>
                <a:lnTo>
                  <a:pt x="330" y="192"/>
                </a:lnTo>
                <a:lnTo>
                  <a:pt x="336" y="198"/>
                </a:lnTo>
                <a:lnTo>
                  <a:pt x="342" y="192"/>
                </a:lnTo>
                <a:lnTo>
                  <a:pt x="348" y="192"/>
                </a:lnTo>
                <a:lnTo>
                  <a:pt x="348" y="186"/>
                </a:lnTo>
                <a:lnTo>
                  <a:pt x="348" y="180"/>
                </a:lnTo>
                <a:lnTo>
                  <a:pt x="354" y="180"/>
                </a:lnTo>
                <a:lnTo>
                  <a:pt x="354" y="174"/>
                </a:lnTo>
                <a:lnTo>
                  <a:pt x="360" y="168"/>
                </a:lnTo>
                <a:lnTo>
                  <a:pt x="366" y="168"/>
                </a:lnTo>
                <a:lnTo>
                  <a:pt x="372" y="174"/>
                </a:lnTo>
                <a:lnTo>
                  <a:pt x="372" y="180"/>
                </a:lnTo>
                <a:lnTo>
                  <a:pt x="378" y="186"/>
                </a:lnTo>
                <a:lnTo>
                  <a:pt x="378" y="192"/>
                </a:lnTo>
                <a:lnTo>
                  <a:pt x="384" y="192"/>
                </a:lnTo>
                <a:lnTo>
                  <a:pt x="390" y="204"/>
                </a:lnTo>
                <a:lnTo>
                  <a:pt x="390" y="210"/>
                </a:lnTo>
                <a:lnTo>
                  <a:pt x="390" y="216"/>
                </a:lnTo>
                <a:lnTo>
                  <a:pt x="384" y="234"/>
                </a:lnTo>
                <a:lnTo>
                  <a:pt x="390" y="240"/>
                </a:lnTo>
                <a:lnTo>
                  <a:pt x="408" y="252"/>
                </a:lnTo>
                <a:lnTo>
                  <a:pt x="414" y="264"/>
                </a:lnTo>
                <a:lnTo>
                  <a:pt x="408" y="300"/>
                </a:lnTo>
                <a:lnTo>
                  <a:pt x="414" y="312"/>
                </a:lnTo>
                <a:lnTo>
                  <a:pt x="426" y="336"/>
                </a:lnTo>
                <a:lnTo>
                  <a:pt x="438" y="354"/>
                </a:lnTo>
                <a:lnTo>
                  <a:pt x="444" y="366"/>
                </a:lnTo>
                <a:lnTo>
                  <a:pt x="456" y="366"/>
                </a:lnTo>
                <a:lnTo>
                  <a:pt x="474" y="378"/>
                </a:lnTo>
                <a:lnTo>
                  <a:pt x="474" y="384"/>
                </a:lnTo>
                <a:lnTo>
                  <a:pt x="480" y="390"/>
                </a:lnTo>
                <a:lnTo>
                  <a:pt x="486" y="396"/>
                </a:lnTo>
                <a:lnTo>
                  <a:pt x="486" y="402"/>
                </a:lnTo>
                <a:lnTo>
                  <a:pt x="480" y="408"/>
                </a:lnTo>
                <a:lnTo>
                  <a:pt x="486" y="408"/>
                </a:lnTo>
                <a:lnTo>
                  <a:pt x="486" y="414"/>
                </a:lnTo>
                <a:lnTo>
                  <a:pt x="492" y="414"/>
                </a:lnTo>
                <a:lnTo>
                  <a:pt x="492" y="420"/>
                </a:lnTo>
                <a:lnTo>
                  <a:pt x="498" y="426"/>
                </a:lnTo>
                <a:lnTo>
                  <a:pt x="498" y="432"/>
                </a:lnTo>
                <a:lnTo>
                  <a:pt x="498" y="438"/>
                </a:lnTo>
                <a:lnTo>
                  <a:pt x="492" y="432"/>
                </a:lnTo>
                <a:lnTo>
                  <a:pt x="486" y="426"/>
                </a:lnTo>
                <a:lnTo>
                  <a:pt x="486" y="420"/>
                </a:lnTo>
                <a:lnTo>
                  <a:pt x="486" y="414"/>
                </a:lnTo>
                <a:lnTo>
                  <a:pt x="480" y="414"/>
                </a:lnTo>
                <a:lnTo>
                  <a:pt x="480" y="408"/>
                </a:lnTo>
                <a:lnTo>
                  <a:pt x="474" y="408"/>
                </a:lnTo>
                <a:lnTo>
                  <a:pt x="468" y="408"/>
                </a:lnTo>
                <a:lnTo>
                  <a:pt x="468" y="402"/>
                </a:lnTo>
                <a:lnTo>
                  <a:pt x="462" y="402"/>
                </a:lnTo>
                <a:lnTo>
                  <a:pt x="462" y="408"/>
                </a:lnTo>
                <a:lnTo>
                  <a:pt x="468" y="408"/>
                </a:lnTo>
                <a:lnTo>
                  <a:pt x="474" y="414"/>
                </a:lnTo>
                <a:lnTo>
                  <a:pt x="480" y="420"/>
                </a:lnTo>
                <a:lnTo>
                  <a:pt x="480" y="426"/>
                </a:lnTo>
                <a:lnTo>
                  <a:pt x="486" y="426"/>
                </a:lnTo>
                <a:lnTo>
                  <a:pt x="486" y="432"/>
                </a:lnTo>
                <a:lnTo>
                  <a:pt x="492" y="438"/>
                </a:lnTo>
                <a:lnTo>
                  <a:pt x="498" y="438"/>
                </a:lnTo>
                <a:lnTo>
                  <a:pt x="504" y="444"/>
                </a:lnTo>
                <a:lnTo>
                  <a:pt x="510" y="444"/>
                </a:lnTo>
                <a:lnTo>
                  <a:pt x="510" y="450"/>
                </a:lnTo>
                <a:lnTo>
                  <a:pt x="510" y="456"/>
                </a:lnTo>
                <a:lnTo>
                  <a:pt x="516" y="456"/>
                </a:lnTo>
                <a:lnTo>
                  <a:pt x="516" y="462"/>
                </a:lnTo>
                <a:lnTo>
                  <a:pt x="522" y="462"/>
                </a:lnTo>
                <a:lnTo>
                  <a:pt x="522" y="468"/>
                </a:lnTo>
                <a:lnTo>
                  <a:pt x="528" y="468"/>
                </a:lnTo>
                <a:lnTo>
                  <a:pt x="534" y="468"/>
                </a:lnTo>
                <a:lnTo>
                  <a:pt x="534" y="474"/>
                </a:lnTo>
                <a:lnTo>
                  <a:pt x="540" y="474"/>
                </a:lnTo>
                <a:lnTo>
                  <a:pt x="540" y="480"/>
                </a:lnTo>
                <a:lnTo>
                  <a:pt x="546" y="486"/>
                </a:lnTo>
                <a:lnTo>
                  <a:pt x="546" y="492"/>
                </a:lnTo>
                <a:lnTo>
                  <a:pt x="546" y="498"/>
                </a:lnTo>
                <a:lnTo>
                  <a:pt x="546" y="504"/>
                </a:lnTo>
                <a:lnTo>
                  <a:pt x="540" y="504"/>
                </a:lnTo>
                <a:lnTo>
                  <a:pt x="546" y="504"/>
                </a:lnTo>
                <a:lnTo>
                  <a:pt x="540" y="510"/>
                </a:lnTo>
                <a:lnTo>
                  <a:pt x="546" y="510"/>
                </a:lnTo>
                <a:lnTo>
                  <a:pt x="552" y="510"/>
                </a:lnTo>
                <a:lnTo>
                  <a:pt x="552" y="516"/>
                </a:lnTo>
                <a:lnTo>
                  <a:pt x="552" y="522"/>
                </a:lnTo>
                <a:lnTo>
                  <a:pt x="552" y="528"/>
                </a:lnTo>
                <a:lnTo>
                  <a:pt x="552" y="534"/>
                </a:lnTo>
                <a:lnTo>
                  <a:pt x="552" y="540"/>
                </a:lnTo>
                <a:lnTo>
                  <a:pt x="546" y="540"/>
                </a:lnTo>
                <a:lnTo>
                  <a:pt x="546" y="546"/>
                </a:lnTo>
                <a:lnTo>
                  <a:pt x="546" y="540"/>
                </a:lnTo>
                <a:lnTo>
                  <a:pt x="546" y="534"/>
                </a:lnTo>
                <a:lnTo>
                  <a:pt x="540" y="534"/>
                </a:lnTo>
                <a:lnTo>
                  <a:pt x="540" y="528"/>
                </a:lnTo>
                <a:lnTo>
                  <a:pt x="534" y="528"/>
                </a:lnTo>
                <a:lnTo>
                  <a:pt x="528" y="528"/>
                </a:lnTo>
                <a:lnTo>
                  <a:pt x="522" y="528"/>
                </a:lnTo>
                <a:lnTo>
                  <a:pt x="516" y="528"/>
                </a:lnTo>
                <a:lnTo>
                  <a:pt x="510" y="528"/>
                </a:lnTo>
                <a:lnTo>
                  <a:pt x="510" y="534"/>
                </a:lnTo>
                <a:lnTo>
                  <a:pt x="510" y="528"/>
                </a:lnTo>
                <a:lnTo>
                  <a:pt x="516" y="528"/>
                </a:lnTo>
                <a:lnTo>
                  <a:pt x="522" y="528"/>
                </a:lnTo>
                <a:lnTo>
                  <a:pt x="528" y="528"/>
                </a:lnTo>
                <a:lnTo>
                  <a:pt x="534" y="534"/>
                </a:lnTo>
                <a:lnTo>
                  <a:pt x="540" y="534"/>
                </a:lnTo>
                <a:lnTo>
                  <a:pt x="540" y="540"/>
                </a:lnTo>
                <a:lnTo>
                  <a:pt x="540" y="546"/>
                </a:lnTo>
                <a:lnTo>
                  <a:pt x="546" y="546"/>
                </a:lnTo>
                <a:lnTo>
                  <a:pt x="546" y="552"/>
                </a:lnTo>
                <a:lnTo>
                  <a:pt x="552" y="552"/>
                </a:lnTo>
                <a:lnTo>
                  <a:pt x="552" y="558"/>
                </a:lnTo>
                <a:lnTo>
                  <a:pt x="552" y="564"/>
                </a:lnTo>
                <a:lnTo>
                  <a:pt x="546" y="564"/>
                </a:lnTo>
                <a:lnTo>
                  <a:pt x="546" y="570"/>
                </a:lnTo>
                <a:lnTo>
                  <a:pt x="546" y="576"/>
                </a:lnTo>
                <a:lnTo>
                  <a:pt x="540" y="576"/>
                </a:lnTo>
                <a:lnTo>
                  <a:pt x="540" y="582"/>
                </a:lnTo>
                <a:lnTo>
                  <a:pt x="540" y="588"/>
                </a:lnTo>
                <a:lnTo>
                  <a:pt x="534" y="594"/>
                </a:lnTo>
                <a:lnTo>
                  <a:pt x="534" y="600"/>
                </a:lnTo>
                <a:lnTo>
                  <a:pt x="528" y="600"/>
                </a:lnTo>
                <a:lnTo>
                  <a:pt x="522" y="594"/>
                </a:lnTo>
                <a:lnTo>
                  <a:pt x="528" y="600"/>
                </a:lnTo>
                <a:lnTo>
                  <a:pt x="534" y="600"/>
                </a:lnTo>
                <a:lnTo>
                  <a:pt x="534" y="606"/>
                </a:lnTo>
                <a:lnTo>
                  <a:pt x="528" y="606"/>
                </a:lnTo>
                <a:lnTo>
                  <a:pt x="528" y="612"/>
                </a:lnTo>
                <a:lnTo>
                  <a:pt x="522" y="612"/>
                </a:lnTo>
                <a:lnTo>
                  <a:pt x="522" y="618"/>
                </a:lnTo>
                <a:lnTo>
                  <a:pt x="522" y="624"/>
                </a:lnTo>
                <a:lnTo>
                  <a:pt x="510" y="624"/>
                </a:lnTo>
                <a:lnTo>
                  <a:pt x="498" y="624"/>
                </a:lnTo>
                <a:lnTo>
                  <a:pt x="492" y="624"/>
                </a:lnTo>
                <a:lnTo>
                  <a:pt x="486" y="624"/>
                </a:lnTo>
                <a:lnTo>
                  <a:pt x="480" y="624"/>
                </a:lnTo>
                <a:lnTo>
                  <a:pt x="474" y="624"/>
                </a:lnTo>
                <a:lnTo>
                  <a:pt x="468" y="618"/>
                </a:lnTo>
                <a:lnTo>
                  <a:pt x="456" y="618"/>
                </a:lnTo>
                <a:lnTo>
                  <a:pt x="450" y="618"/>
                </a:lnTo>
                <a:lnTo>
                  <a:pt x="426" y="618"/>
                </a:lnTo>
                <a:lnTo>
                  <a:pt x="420" y="618"/>
                </a:lnTo>
                <a:lnTo>
                  <a:pt x="414" y="618"/>
                </a:lnTo>
                <a:lnTo>
                  <a:pt x="408" y="618"/>
                </a:lnTo>
                <a:lnTo>
                  <a:pt x="396" y="618"/>
                </a:lnTo>
                <a:lnTo>
                  <a:pt x="366" y="618"/>
                </a:lnTo>
                <a:lnTo>
                  <a:pt x="348" y="624"/>
                </a:lnTo>
                <a:lnTo>
                  <a:pt x="342" y="624"/>
                </a:lnTo>
                <a:lnTo>
                  <a:pt x="342" y="618"/>
                </a:lnTo>
                <a:lnTo>
                  <a:pt x="336" y="618"/>
                </a:lnTo>
                <a:lnTo>
                  <a:pt x="336" y="612"/>
                </a:lnTo>
                <a:lnTo>
                  <a:pt x="342" y="612"/>
                </a:lnTo>
                <a:lnTo>
                  <a:pt x="348" y="612"/>
                </a:lnTo>
                <a:lnTo>
                  <a:pt x="342" y="612"/>
                </a:lnTo>
                <a:lnTo>
                  <a:pt x="336" y="612"/>
                </a:lnTo>
                <a:lnTo>
                  <a:pt x="336" y="606"/>
                </a:lnTo>
                <a:lnTo>
                  <a:pt x="330" y="606"/>
                </a:lnTo>
                <a:lnTo>
                  <a:pt x="330" y="600"/>
                </a:lnTo>
                <a:lnTo>
                  <a:pt x="324" y="600"/>
                </a:lnTo>
                <a:lnTo>
                  <a:pt x="324" y="606"/>
                </a:lnTo>
                <a:lnTo>
                  <a:pt x="318" y="606"/>
                </a:lnTo>
                <a:lnTo>
                  <a:pt x="318" y="612"/>
                </a:lnTo>
                <a:lnTo>
                  <a:pt x="312" y="612"/>
                </a:lnTo>
                <a:lnTo>
                  <a:pt x="306" y="606"/>
                </a:lnTo>
                <a:lnTo>
                  <a:pt x="306" y="612"/>
                </a:lnTo>
                <a:lnTo>
                  <a:pt x="312" y="612"/>
                </a:lnTo>
                <a:lnTo>
                  <a:pt x="318" y="612"/>
                </a:lnTo>
                <a:lnTo>
                  <a:pt x="324" y="612"/>
                </a:lnTo>
                <a:lnTo>
                  <a:pt x="324" y="606"/>
                </a:lnTo>
                <a:lnTo>
                  <a:pt x="330" y="606"/>
                </a:lnTo>
                <a:lnTo>
                  <a:pt x="336" y="612"/>
                </a:lnTo>
                <a:lnTo>
                  <a:pt x="336" y="618"/>
                </a:lnTo>
                <a:lnTo>
                  <a:pt x="330" y="618"/>
                </a:lnTo>
                <a:lnTo>
                  <a:pt x="336" y="618"/>
                </a:lnTo>
                <a:lnTo>
                  <a:pt x="336" y="624"/>
                </a:lnTo>
                <a:lnTo>
                  <a:pt x="330" y="624"/>
                </a:lnTo>
                <a:lnTo>
                  <a:pt x="318" y="624"/>
                </a:lnTo>
                <a:lnTo>
                  <a:pt x="306" y="624"/>
                </a:lnTo>
                <a:lnTo>
                  <a:pt x="300" y="624"/>
                </a:lnTo>
                <a:lnTo>
                  <a:pt x="306" y="624"/>
                </a:lnTo>
                <a:lnTo>
                  <a:pt x="300" y="624"/>
                </a:lnTo>
                <a:lnTo>
                  <a:pt x="288" y="624"/>
                </a:lnTo>
                <a:lnTo>
                  <a:pt x="282" y="624"/>
                </a:lnTo>
                <a:lnTo>
                  <a:pt x="270" y="630"/>
                </a:lnTo>
                <a:lnTo>
                  <a:pt x="264" y="630"/>
                </a:lnTo>
                <a:lnTo>
                  <a:pt x="258" y="630"/>
                </a:lnTo>
                <a:lnTo>
                  <a:pt x="252" y="630"/>
                </a:lnTo>
                <a:lnTo>
                  <a:pt x="246" y="630"/>
                </a:lnTo>
                <a:lnTo>
                  <a:pt x="240" y="630"/>
                </a:lnTo>
                <a:lnTo>
                  <a:pt x="228" y="636"/>
                </a:lnTo>
                <a:lnTo>
                  <a:pt x="222" y="636"/>
                </a:lnTo>
                <a:lnTo>
                  <a:pt x="210" y="636"/>
                </a:lnTo>
                <a:lnTo>
                  <a:pt x="204" y="636"/>
                </a:lnTo>
                <a:lnTo>
                  <a:pt x="198" y="636"/>
                </a:lnTo>
                <a:lnTo>
                  <a:pt x="192" y="642"/>
                </a:lnTo>
                <a:lnTo>
                  <a:pt x="186" y="642"/>
                </a:lnTo>
                <a:lnTo>
                  <a:pt x="180" y="642"/>
                </a:lnTo>
                <a:lnTo>
                  <a:pt x="168" y="642"/>
                </a:lnTo>
                <a:lnTo>
                  <a:pt x="162" y="642"/>
                </a:lnTo>
                <a:lnTo>
                  <a:pt x="162" y="648"/>
                </a:lnTo>
                <a:lnTo>
                  <a:pt x="156" y="648"/>
                </a:lnTo>
                <a:lnTo>
                  <a:pt x="150" y="648"/>
                </a:lnTo>
                <a:lnTo>
                  <a:pt x="144" y="648"/>
                </a:lnTo>
                <a:lnTo>
                  <a:pt x="138" y="648"/>
                </a:lnTo>
                <a:lnTo>
                  <a:pt x="132" y="648"/>
                </a:lnTo>
                <a:lnTo>
                  <a:pt x="126" y="642"/>
                </a:lnTo>
                <a:lnTo>
                  <a:pt x="126" y="636"/>
                </a:lnTo>
                <a:lnTo>
                  <a:pt x="120" y="636"/>
                </a:lnTo>
                <a:lnTo>
                  <a:pt x="126" y="642"/>
                </a:lnTo>
                <a:lnTo>
                  <a:pt x="126" y="648"/>
                </a:lnTo>
                <a:lnTo>
                  <a:pt x="132" y="648"/>
                </a:lnTo>
                <a:lnTo>
                  <a:pt x="126" y="654"/>
                </a:lnTo>
                <a:lnTo>
                  <a:pt x="120" y="654"/>
                </a:lnTo>
                <a:lnTo>
                  <a:pt x="114" y="654"/>
                </a:lnTo>
                <a:lnTo>
                  <a:pt x="108" y="654"/>
                </a:lnTo>
                <a:lnTo>
                  <a:pt x="108" y="660"/>
                </a:lnTo>
                <a:lnTo>
                  <a:pt x="108" y="654"/>
                </a:lnTo>
                <a:lnTo>
                  <a:pt x="102" y="654"/>
                </a:lnTo>
                <a:lnTo>
                  <a:pt x="102" y="660"/>
                </a:lnTo>
                <a:lnTo>
                  <a:pt x="108" y="660"/>
                </a:lnTo>
                <a:lnTo>
                  <a:pt x="102" y="660"/>
                </a:lnTo>
                <a:lnTo>
                  <a:pt x="96" y="660"/>
                </a:lnTo>
                <a:lnTo>
                  <a:pt x="90" y="660"/>
                </a:lnTo>
                <a:lnTo>
                  <a:pt x="90" y="654"/>
                </a:lnTo>
                <a:lnTo>
                  <a:pt x="84" y="648"/>
                </a:lnTo>
                <a:lnTo>
                  <a:pt x="84" y="642"/>
                </a:lnTo>
                <a:lnTo>
                  <a:pt x="78" y="642"/>
                </a:lnTo>
                <a:lnTo>
                  <a:pt x="72" y="642"/>
                </a:lnTo>
                <a:lnTo>
                  <a:pt x="72" y="636"/>
                </a:lnTo>
                <a:lnTo>
                  <a:pt x="78" y="636"/>
                </a:lnTo>
                <a:lnTo>
                  <a:pt x="72" y="636"/>
                </a:lnTo>
                <a:lnTo>
                  <a:pt x="66" y="636"/>
                </a:lnTo>
                <a:lnTo>
                  <a:pt x="60" y="636"/>
                </a:lnTo>
                <a:lnTo>
                  <a:pt x="54" y="630"/>
                </a:lnTo>
                <a:lnTo>
                  <a:pt x="54" y="624"/>
                </a:lnTo>
                <a:lnTo>
                  <a:pt x="54" y="618"/>
                </a:lnTo>
                <a:lnTo>
                  <a:pt x="60" y="618"/>
                </a:lnTo>
                <a:lnTo>
                  <a:pt x="66" y="618"/>
                </a:lnTo>
                <a:lnTo>
                  <a:pt x="72" y="618"/>
                </a:lnTo>
                <a:lnTo>
                  <a:pt x="78" y="618"/>
                </a:lnTo>
                <a:lnTo>
                  <a:pt x="78" y="612"/>
                </a:lnTo>
                <a:lnTo>
                  <a:pt x="72" y="612"/>
                </a:lnTo>
                <a:lnTo>
                  <a:pt x="72" y="618"/>
                </a:lnTo>
                <a:lnTo>
                  <a:pt x="66" y="618"/>
                </a:lnTo>
                <a:lnTo>
                  <a:pt x="66" y="612"/>
                </a:lnTo>
                <a:lnTo>
                  <a:pt x="66" y="618"/>
                </a:lnTo>
                <a:lnTo>
                  <a:pt x="60" y="618"/>
                </a:lnTo>
                <a:lnTo>
                  <a:pt x="54" y="618"/>
                </a:lnTo>
                <a:lnTo>
                  <a:pt x="54" y="624"/>
                </a:lnTo>
                <a:lnTo>
                  <a:pt x="48" y="618"/>
                </a:lnTo>
                <a:lnTo>
                  <a:pt x="42" y="618"/>
                </a:lnTo>
                <a:lnTo>
                  <a:pt x="42" y="612"/>
                </a:lnTo>
                <a:lnTo>
                  <a:pt x="48" y="606"/>
                </a:lnTo>
                <a:lnTo>
                  <a:pt x="54" y="606"/>
                </a:lnTo>
                <a:lnTo>
                  <a:pt x="54" y="600"/>
                </a:lnTo>
                <a:lnTo>
                  <a:pt x="54" y="594"/>
                </a:lnTo>
                <a:lnTo>
                  <a:pt x="54" y="588"/>
                </a:lnTo>
                <a:lnTo>
                  <a:pt x="48" y="588"/>
                </a:lnTo>
                <a:lnTo>
                  <a:pt x="48" y="582"/>
                </a:lnTo>
                <a:lnTo>
                  <a:pt x="42" y="582"/>
                </a:lnTo>
                <a:lnTo>
                  <a:pt x="42" y="570"/>
                </a:lnTo>
                <a:lnTo>
                  <a:pt x="42" y="564"/>
                </a:lnTo>
                <a:lnTo>
                  <a:pt x="36" y="564"/>
                </a:lnTo>
                <a:close/>
                <a:moveTo>
                  <a:pt x="498" y="420"/>
                </a:moveTo>
                <a:lnTo>
                  <a:pt x="504" y="426"/>
                </a:lnTo>
                <a:lnTo>
                  <a:pt x="510" y="432"/>
                </a:lnTo>
                <a:lnTo>
                  <a:pt x="516" y="432"/>
                </a:lnTo>
                <a:lnTo>
                  <a:pt x="516" y="438"/>
                </a:lnTo>
                <a:lnTo>
                  <a:pt x="510" y="438"/>
                </a:lnTo>
                <a:lnTo>
                  <a:pt x="504" y="438"/>
                </a:lnTo>
                <a:lnTo>
                  <a:pt x="504" y="432"/>
                </a:lnTo>
                <a:lnTo>
                  <a:pt x="498" y="432"/>
                </a:lnTo>
                <a:lnTo>
                  <a:pt x="498" y="426"/>
                </a:lnTo>
                <a:lnTo>
                  <a:pt x="498" y="420"/>
                </a:lnTo>
                <a:close/>
              </a:path>
            </a:pathLst>
          </a:custGeom>
          <a:solidFill>
            <a:srgbClr val="FF9900"/>
          </a:solidFill>
          <a:ln w="9525">
            <a:solidFill>
              <a:schemeClr val="bg1"/>
            </a:solidFill>
            <a:round/>
            <a:headEnd/>
            <a:tailEnd/>
          </a:ln>
        </p:spPr>
        <p:txBody>
          <a:bodyPr/>
          <a:lstStyle/>
          <a:p>
            <a:endParaRPr lang="en-GB"/>
          </a:p>
        </p:txBody>
      </p:sp>
      <p:sp>
        <p:nvSpPr>
          <p:cNvPr id="17424" name="Freeform 10"/>
          <p:cNvSpPr>
            <a:spLocks/>
          </p:cNvSpPr>
          <p:nvPr/>
        </p:nvSpPr>
        <p:spPr bwMode="gray">
          <a:xfrm>
            <a:off x="5756275" y="3030538"/>
            <a:ext cx="1179513" cy="1831975"/>
          </a:xfrm>
          <a:custGeom>
            <a:avLst/>
            <a:gdLst>
              <a:gd name="T0" fmla="*/ 18779 w 1506"/>
              <a:gd name="T1" fmla="*/ 153071 h 2274"/>
              <a:gd name="T2" fmla="*/ 19561 w 1506"/>
              <a:gd name="T3" fmla="*/ 145015 h 2274"/>
              <a:gd name="T4" fmla="*/ 16431 w 1506"/>
              <a:gd name="T5" fmla="*/ 140181 h 2274"/>
              <a:gd name="T6" fmla="*/ 13302 w 1506"/>
              <a:gd name="T7" fmla="*/ 136958 h 2274"/>
              <a:gd name="T8" fmla="*/ 9389 w 1506"/>
              <a:gd name="T9" fmla="*/ 135347 h 2274"/>
              <a:gd name="T10" fmla="*/ 7825 w 1506"/>
              <a:gd name="T11" fmla="*/ 139375 h 2274"/>
              <a:gd name="T12" fmla="*/ 5477 w 1506"/>
              <a:gd name="T13" fmla="*/ 140181 h 2274"/>
              <a:gd name="T14" fmla="*/ 0 w 1506"/>
              <a:gd name="T15" fmla="*/ 131319 h 2274"/>
              <a:gd name="T16" fmla="*/ 12519 w 1506"/>
              <a:gd name="T17" fmla="*/ 112789 h 2274"/>
              <a:gd name="T18" fmla="*/ 14867 w 1506"/>
              <a:gd name="T19" fmla="*/ 110372 h 2274"/>
              <a:gd name="T20" fmla="*/ 18779 w 1506"/>
              <a:gd name="T21" fmla="*/ 101510 h 2274"/>
              <a:gd name="T22" fmla="*/ 17996 w 1506"/>
              <a:gd name="T23" fmla="*/ 84592 h 2274"/>
              <a:gd name="T24" fmla="*/ 10954 w 1506"/>
              <a:gd name="T25" fmla="*/ 69285 h 2274"/>
              <a:gd name="T26" fmla="*/ 6260 w 1506"/>
              <a:gd name="T27" fmla="*/ 67674 h 2274"/>
              <a:gd name="T28" fmla="*/ 3912 w 1506"/>
              <a:gd name="T29" fmla="*/ 63645 h 2274"/>
              <a:gd name="T30" fmla="*/ 12519 w 1506"/>
              <a:gd name="T31" fmla="*/ 57200 h 2274"/>
              <a:gd name="T32" fmla="*/ 21909 w 1506"/>
              <a:gd name="T33" fmla="*/ 44310 h 2274"/>
              <a:gd name="T34" fmla="*/ 22691 w 1506"/>
              <a:gd name="T35" fmla="*/ 38671 h 2274"/>
              <a:gd name="T36" fmla="*/ 27386 w 1506"/>
              <a:gd name="T37" fmla="*/ 40282 h 2274"/>
              <a:gd name="T38" fmla="*/ 32863 w 1506"/>
              <a:gd name="T39" fmla="*/ 37865 h 2274"/>
              <a:gd name="T40" fmla="*/ 49294 w 1506"/>
              <a:gd name="T41" fmla="*/ 27392 h 2274"/>
              <a:gd name="T42" fmla="*/ 57901 w 1506"/>
              <a:gd name="T43" fmla="*/ 21752 h 2274"/>
              <a:gd name="T44" fmla="*/ 63379 w 1506"/>
              <a:gd name="T45" fmla="*/ 16113 h 2274"/>
              <a:gd name="T46" fmla="*/ 69638 w 1506"/>
              <a:gd name="T47" fmla="*/ 16113 h 2274"/>
              <a:gd name="T48" fmla="*/ 76680 w 1506"/>
              <a:gd name="T49" fmla="*/ 21752 h 2274"/>
              <a:gd name="T50" fmla="*/ 82940 w 1506"/>
              <a:gd name="T51" fmla="*/ 13696 h 2274"/>
              <a:gd name="T52" fmla="*/ 86852 w 1506"/>
              <a:gd name="T53" fmla="*/ 6445 h 2274"/>
              <a:gd name="T54" fmla="*/ 94677 w 1506"/>
              <a:gd name="T55" fmla="*/ 1611 h 2274"/>
              <a:gd name="T56" fmla="*/ 100936 w 1506"/>
              <a:gd name="T57" fmla="*/ 4028 h 2274"/>
              <a:gd name="T58" fmla="*/ 97806 w 1506"/>
              <a:gd name="T59" fmla="*/ 9668 h 2274"/>
              <a:gd name="T60" fmla="*/ 95459 w 1506"/>
              <a:gd name="T61" fmla="*/ 16113 h 2274"/>
              <a:gd name="T62" fmla="*/ 95459 w 1506"/>
              <a:gd name="T63" fmla="*/ 21752 h 2274"/>
              <a:gd name="T64" fmla="*/ 93894 w 1506"/>
              <a:gd name="T65" fmla="*/ 29003 h 2274"/>
              <a:gd name="T66" fmla="*/ 90764 w 1506"/>
              <a:gd name="T67" fmla="*/ 34642 h 2274"/>
              <a:gd name="T68" fmla="*/ 85287 w 1506"/>
              <a:gd name="T69" fmla="*/ 37865 h 2274"/>
              <a:gd name="T70" fmla="*/ 84505 w 1506"/>
              <a:gd name="T71" fmla="*/ 43504 h 2274"/>
              <a:gd name="T72" fmla="*/ 82940 w 1506"/>
              <a:gd name="T73" fmla="*/ 47533 h 2274"/>
              <a:gd name="T74" fmla="*/ 85287 w 1506"/>
              <a:gd name="T75" fmla="*/ 51561 h 2274"/>
              <a:gd name="T76" fmla="*/ 82940 w 1506"/>
              <a:gd name="T77" fmla="*/ 56395 h 2274"/>
              <a:gd name="T78" fmla="*/ 82157 w 1506"/>
              <a:gd name="T79" fmla="*/ 60423 h 2274"/>
              <a:gd name="T80" fmla="*/ 79028 w 1506"/>
              <a:gd name="T81" fmla="*/ 62840 h 2274"/>
              <a:gd name="T82" fmla="*/ 71985 w 1506"/>
              <a:gd name="T83" fmla="*/ 65257 h 2274"/>
              <a:gd name="T84" fmla="*/ 66508 w 1506"/>
              <a:gd name="T85" fmla="*/ 68479 h 2274"/>
              <a:gd name="T86" fmla="*/ 68073 w 1506"/>
              <a:gd name="T87" fmla="*/ 73313 h 2274"/>
              <a:gd name="T88" fmla="*/ 67291 w 1506"/>
              <a:gd name="T89" fmla="*/ 78952 h 2274"/>
              <a:gd name="T90" fmla="*/ 67291 w 1506"/>
              <a:gd name="T91" fmla="*/ 82981 h 2274"/>
              <a:gd name="T92" fmla="*/ 64161 w 1506"/>
              <a:gd name="T93" fmla="*/ 89426 h 2274"/>
              <a:gd name="T94" fmla="*/ 63379 w 1506"/>
              <a:gd name="T95" fmla="*/ 93454 h 2274"/>
              <a:gd name="T96" fmla="*/ 61031 w 1506"/>
              <a:gd name="T97" fmla="*/ 96676 h 2274"/>
              <a:gd name="T98" fmla="*/ 59466 w 1506"/>
              <a:gd name="T99" fmla="*/ 101510 h 2274"/>
              <a:gd name="T100" fmla="*/ 53207 w 1506"/>
              <a:gd name="T101" fmla="*/ 103927 h 2274"/>
              <a:gd name="T102" fmla="*/ 48512 w 1506"/>
              <a:gd name="T103" fmla="*/ 105538 h 2274"/>
              <a:gd name="T104" fmla="*/ 45382 w 1506"/>
              <a:gd name="T105" fmla="*/ 109567 h 2274"/>
              <a:gd name="T106" fmla="*/ 39905 w 1506"/>
              <a:gd name="T107" fmla="*/ 111178 h 2274"/>
              <a:gd name="T108" fmla="*/ 39905 w 1506"/>
              <a:gd name="T109" fmla="*/ 118429 h 2274"/>
              <a:gd name="T110" fmla="*/ 38340 w 1506"/>
              <a:gd name="T111" fmla="*/ 128096 h 2274"/>
              <a:gd name="T112" fmla="*/ 37558 w 1506"/>
              <a:gd name="T113" fmla="*/ 133736 h 2274"/>
              <a:gd name="T114" fmla="*/ 32080 w 1506"/>
              <a:gd name="T115" fmla="*/ 140181 h 2274"/>
              <a:gd name="T116" fmla="*/ 30516 w 1506"/>
              <a:gd name="T117" fmla="*/ 145820 h 2274"/>
              <a:gd name="T118" fmla="*/ 28951 w 1506"/>
              <a:gd name="T119" fmla="*/ 153071 h 2274"/>
              <a:gd name="T120" fmla="*/ 22691 w 1506"/>
              <a:gd name="T121" fmla="*/ 159516 h 22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06"/>
              <a:gd name="T184" fmla="*/ 0 h 2274"/>
              <a:gd name="T185" fmla="*/ 1506 w 1506"/>
              <a:gd name="T186" fmla="*/ 2274 h 22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06" h="2274">
                <a:moveTo>
                  <a:pt x="330" y="2274"/>
                </a:moveTo>
                <a:lnTo>
                  <a:pt x="318" y="2262"/>
                </a:lnTo>
                <a:lnTo>
                  <a:pt x="312" y="2238"/>
                </a:lnTo>
                <a:lnTo>
                  <a:pt x="312" y="2232"/>
                </a:lnTo>
                <a:lnTo>
                  <a:pt x="294" y="2214"/>
                </a:lnTo>
                <a:lnTo>
                  <a:pt x="288" y="2208"/>
                </a:lnTo>
                <a:lnTo>
                  <a:pt x="288" y="2202"/>
                </a:lnTo>
                <a:lnTo>
                  <a:pt x="276" y="2196"/>
                </a:lnTo>
                <a:lnTo>
                  <a:pt x="276" y="2190"/>
                </a:lnTo>
                <a:lnTo>
                  <a:pt x="282" y="2190"/>
                </a:lnTo>
                <a:lnTo>
                  <a:pt x="282" y="2184"/>
                </a:lnTo>
                <a:lnTo>
                  <a:pt x="276" y="2172"/>
                </a:lnTo>
                <a:lnTo>
                  <a:pt x="276" y="2166"/>
                </a:lnTo>
                <a:lnTo>
                  <a:pt x="282" y="2166"/>
                </a:lnTo>
                <a:lnTo>
                  <a:pt x="282" y="2154"/>
                </a:lnTo>
                <a:lnTo>
                  <a:pt x="276" y="2136"/>
                </a:lnTo>
                <a:lnTo>
                  <a:pt x="276" y="2112"/>
                </a:lnTo>
                <a:lnTo>
                  <a:pt x="282" y="2088"/>
                </a:lnTo>
                <a:lnTo>
                  <a:pt x="282" y="2082"/>
                </a:lnTo>
                <a:lnTo>
                  <a:pt x="282" y="2076"/>
                </a:lnTo>
                <a:lnTo>
                  <a:pt x="282" y="2070"/>
                </a:lnTo>
                <a:lnTo>
                  <a:pt x="288" y="2070"/>
                </a:lnTo>
                <a:lnTo>
                  <a:pt x="288" y="2064"/>
                </a:lnTo>
                <a:lnTo>
                  <a:pt x="282" y="2052"/>
                </a:lnTo>
                <a:lnTo>
                  <a:pt x="282" y="2046"/>
                </a:lnTo>
                <a:lnTo>
                  <a:pt x="276" y="2040"/>
                </a:lnTo>
                <a:lnTo>
                  <a:pt x="270" y="2034"/>
                </a:lnTo>
                <a:lnTo>
                  <a:pt x="264" y="2022"/>
                </a:lnTo>
                <a:lnTo>
                  <a:pt x="258" y="2022"/>
                </a:lnTo>
                <a:lnTo>
                  <a:pt x="258" y="2016"/>
                </a:lnTo>
                <a:lnTo>
                  <a:pt x="252" y="2016"/>
                </a:lnTo>
                <a:lnTo>
                  <a:pt x="246" y="2016"/>
                </a:lnTo>
                <a:lnTo>
                  <a:pt x="240" y="2010"/>
                </a:lnTo>
                <a:lnTo>
                  <a:pt x="234" y="2004"/>
                </a:lnTo>
                <a:lnTo>
                  <a:pt x="228" y="2004"/>
                </a:lnTo>
                <a:lnTo>
                  <a:pt x="228" y="1998"/>
                </a:lnTo>
                <a:lnTo>
                  <a:pt x="228" y="1992"/>
                </a:lnTo>
                <a:lnTo>
                  <a:pt x="222" y="1992"/>
                </a:lnTo>
                <a:lnTo>
                  <a:pt x="222" y="1986"/>
                </a:lnTo>
                <a:lnTo>
                  <a:pt x="216" y="1986"/>
                </a:lnTo>
                <a:lnTo>
                  <a:pt x="210" y="1980"/>
                </a:lnTo>
                <a:lnTo>
                  <a:pt x="216" y="1974"/>
                </a:lnTo>
                <a:lnTo>
                  <a:pt x="210" y="1968"/>
                </a:lnTo>
                <a:lnTo>
                  <a:pt x="198" y="1956"/>
                </a:lnTo>
                <a:lnTo>
                  <a:pt x="192" y="1956"/>
                </a:lnTo>
                <a:lnTo>
                  <a:pt x="186" y="1956"/>
                </a:lnTo>
                <a:lnTo>
                  <a:pt x="180" y="1944"/>
                </a:lnTo>
                <a:lnTo>
                  <a:pt x="180" y="1938"/>
                </a:lnTo>
                <a:lnTo>
                  <a:pt x="174" y="1932"/>
                </a:lnTo>
                <a:lnTo>
                  <a:pt x="168" y="1932"/>
                </a:lnTo>
                <a:lnTo>
                  <a:pt x="162" y="1932"/>
                </a:lnTo>
                <a:lnTo>
                  <a:pt x="150" y="1932"/>
                </a:lnTo>
                <a:lnTo>
                  <a:pt x="150" y="1926"/>
                </a:lnTo>
                <a:lnTo>
                  <a:pt x="150" y="1932"/>
                </a:lnTo>
                <a:lnTo>
                  <a:pt x="144" y="1932"/>
                </a:lnTo>
                <a:lnTo>
                  <a:pt x="138" y="1932"/>
                </a:lnTo>
                <a:lnTo>
                  <a:pt x="132" y="1932"/>
                </a:lnTo>
                <a:lnTo>
                  <a:pt x="132" y="1938"/>
                </a:lnTo>
                <a:lnTo>
                  <a:pt x="126" y="1944"/>
                </a:lnTo>
                <a:lnTo>
                  <a:pt x="126" y="1956"/>
                </a:lnTo>
                <a:lnTo>
                  <a:pt x="120" y="1968"/>
                </a:lnTo>
                <a:lnTo>
                  <a:pt x="120" y="1974"/>
                </a:lnTo>
                <a:lnTo>
                  <a:pt x="120" y="1980"/>
                </a:lnTo>
                <a:lnTo>
                  <a:pt x="126" y="1980"/>
                </a:lnTo>
                <a:lnTo>
                  <a:pt x="120" y="1986"/>
                </a:lnTo>
                <a:lnTo>
                  <a:pt x="120" y="1992"/>
                </a:lnTo>
                <a:lnTo>
                  <a:pt x="114" y="1992"/>
                </a:lnTo>
                <a:lnTo>
                  <a:pt x="114" y="1986"/>
                </a:lnTo>
                <a:lnTo>
                  <a:pt x="108" y="1992"/>
                </a:lnTo>
                <a:lnTo>
                  <a:pt x="108" y="1998"/>
                </a:lnTo>
                <a:lnTo>
                  <a:pt x="114" y="2004"/>
                </a:lnTo>
                <a:lnTo>
                  <a:pt x="108" y="2004"/>
                </a:lnTo>
                <a:lnTo>
                  <a:pt x="102" y="2010"/>
                </a:lnTo>
                <a:lnTo>
                  <a:pt x="102" y="2004"/>
                </a:lnTo>
                <a:lnTo>
                  <a:pt x="90" y="2004"/>
                </a:lnTo>
                <a:lnTo>
                  <a:pt x="84" y="2004"/>
                </a:lnTo>
                <a:lnTo>
                  <a:pt x="78" y="1998"/>
                </a:lnTo>
                <a:lnTo>
                  <a:pt x="78" y="1992"/>
                </a:lnTo>
                <a:lnTo>
                  <a:pt x="78" y="1986"/>
                </a:lnTo>
                <a:lnTo>
                  <a:pt x="72" y="1986"/>
                </a:lnTo>
                <a:lnTo>
                  <a:pt x="66" y="1980"/>
                </a:lnTo>
                <a:lnTo>
                  <a:pt x="66" y="1968"/>
                </a:lnTo>
                <a:lnTo>
                  <a:pt x="60" y="1956"/>
                </a:lnTo>
                <a:lnTo>
                  <a:pt x="60" y="1950"/>
                </a:lnTo>
                <a:lnTo>
                  <a:pt x="48" y="1944"/>
                </a:lnTo>
                <a:lnTo>
                  <a:pt x="30" y="1926"/>
                </a:lnTo>
                <a:lnTo>
                  <a:pt x="12" y="1890"/>
                </a:lnTo>
                <a:lnTo>
                  <a:pt x="6" y="1872"/>
                </a:lnTo>
                <a:lnTo>
                  <a:pt x="0" y="1854"/>
                </a:lnTo>
                <a:lnTo>
                  <a:pt x="6" y="1824"/>
                </a:lnTo>
                <a:lnTo>
                  <a:pt x="30" y="1794"/>
                </a:lnTo>
                <a:lnTo>
                  <a:pt x="66" y="1752"/>
                </a:lnTo>
                <a:lnTo>
                  <a:pt x="72" y="1752"/>
                </a:lnTo>
                <a:lnTo>
                  <a:pt x="78" y="1746"/>
                </a:lnTo>
                <a:lnTo>
                  <a:pt x="84" y="1746"/>
                </a:lnTo>
                <a:lnTo>
                  <a:pt x="90" y="1746"/>
                </a:lnTo>
                <a:lnTo>
                  <a:pt x="138" y="1674"/>
                </a:lnTo>
                <a:lnTo>
                  <a:pt x="186" y="1620"/>
                </a:lnTo>
                <a:lnTo>
                  <a:pt x="186" y="1614"/>
                </a:lnTo>
                <a:lnTo>
                  <a:pt x="186" y="1608"/>
                </a:lnTo>
                <a:lnTo>
                  <a:pt x="192" y="1608"/>
                </a:lnTo>
                <a:lnTo>
                  <a:pt x="192" y="1614"/>
                </a:lnTo>
                <a:lnTo>
                  <a:pt x="198" y="1614"/>
                </a:lnTo>
                <a:lnTo>
                  <a:pt x="198" y="1608"/>
                </a:lnTo>
                <a:lnTo>
                  <a:pt x="198" y="1602"/>
                </a:lnTo>
                <a:lnTo>
                  <a:pt x="204" y="1602"/>
                </a:lnTo>
                <a:lnTo>
                  <a:pt x="204" y="1596"/>
                </a:lnTo>
                <a:lnTo>
                  <a:pt x="210" y="1590"/>
                </a:lnTo>
                <a:lnTo>
                  <a:pt x="216" y="1590"/>
                </a:lnTo>
                <a:lnTo>
                  <a:pt x="216" y="1584"/>
                </a:lnTo>
                <a:lnTo>
                  <a:pt x="222" y="1584"/>
                </a:lnTo>
                <a:lnTo>
                  <a:pt x="228" y="1572"/>
                </a:lnTo>
                <a:lnTo>
                  <a:pt x="222" y="1572"/>
                </a:lnTo>
                <a:lnTo>
                  <a:pt x="228" y="1566"/>
                </a:lnTo>
                <a:lnTo>
                  <a:pt x="228" y="1560"/>
                </a:lnTo>
                <a:lnTo>
                  <a:pt x="252" y="1548"/>
                </a:lnTo>
                <a:lnTo>
                  <a:pt x="276" y="1530"/>
                </a:lnTo>
                <a:lnTo>
                  <a:pt x="282" y="1512"/>
                </a:lnTo>
                <a:lnTo>
                  <a:pt x="282" y="1506"/>
                </a:lnTo>
                <a:lnTo>
                  <a:pt x="282" y="1494"/>
                </a:lnTo>
                <a:lnTo>
                  <a:pt x="282" y="1452"/>
                </a:lnTo>
                <a:lnTo>
                  <a:pt x="288" y="1440"/>
                </a:lnTo>
                <a:lnTo>
                  <a:pt x="294" y="1440"/>
                </a:lnTo>
                <a:lnTo>
                  <a:pt x="294" y="1428"/>
                </a:lnTo>
                <a:lnTo>
                  <a:pt x="324" y="1368"/>
                </a:lnTo>
                <a:lnTo>
                  <a:pt x="330" y="1362"/>
                </a:lnTo>
                <a:lnTo>
                  <a:pt x="330" y="1356"/>
                </a:lnTo>
                <a:lnTo>
                  <a:pt x="360" y="1338"/>
                </a:lnTo>
                <a:lnTo>
                  <a:pt x="366" y="1296"/>
                </a:lnTo>
                <a:lnTo>
                  <a:pt x="354" y="1278"/>
                </a:lnTo>
                <a:lnTo>
                  <a:pt x="336" y="1230"/>
                </a:lnTo>
                <a:lnTo>
                  <a:pt x="270" y="1212"/>
                </a:lnTo>
                <a:lnTo>
                  <a:pt x="264" y="1212"/>
                </a:lnTo>
                <a:lnTo>
                  <a:pt x="252" y="1200"/>
                </a:lnTo>
                <a:lnTo>
                  <a:pt x="234" y="1188"/>
                </a:lnTo>
                <a:lnTo>
                  <a:pt x="222" y="1182"/>
                </a:lnTo>
                <a:lnTo>
                  <a:pt x="228" y="1104"/>
                </a:lnTo>
                <a:lnTo>
                  <a:pt x="228" y="1098"/>
                </a:lnTo>
                <a:lnTo>
                  <a:pt x="198" y="1038"/>
                </a:lnTo>
                <a:lnTo>
                  <a:pt x="192" y="1032"/>
                </a:lnTo>
                <a:lnTo>
                  <a:pt x="180" y="1020"/>
                </a:lnTo>
                <a:lnTo>
                  <a:pt x="168" y="996"/>
                </a:lnTo>
                <a:lnTo>
                  <a:pt x="162" y="990"/>
                </a:lnTo>
                <a:lnTo>
                  <a:pt x="156" y="990"/>
                </a:lnTo>
                <a:lnTo>
                  <a:pt x="150" y="990"/>
                </a:lnTo>
                <a:lnTo>
                  <a:pt x="132" y="990"/>
                </a:lnTo>
                <a:lnTo>
                  <a:pt x="120" y="984"/>
                </a:lnTo>
                <a:lnTo>
                  <a:pt x="120" y="990"/>
                </a:lnTo>
                <a:lnTo>
                  <a:pt x="114" y="990"/>
                </a:lnTo>
                <a:lnTo>
                  <a:pt x="102" y="984"/>
                </a:lnTo>
                <a:lnTo>
                  <a:pt x="96" y="984"/>
                </a:lnTo>
                <a:lnTo>
                  <a:pt x="96" y="978"/>
                </a:lnTo>
                <a:lnTo>
                  <a:pt x="90" y="978"/>
                </a:lnTo>
                <a:lnTo>
                  <a:pt x="90" y="966"/>
                </a:lnTo>
                <a:lnTo>
                  <a:pt x="84" y="966"/>
                </a:lnTo>
                <a:lnTo>
                  <a:pt x="84" y="960"/>
                </a:lnTo>
                <a:lnTo>
                  <a:pt x="84" y="954"/>
                </a:lnTo>
                <a:lnTo>
                  <a:pt x="78" y="948"/>
                </a:lnTo>
                <a:lnTo>
                  <a:pt x="72" y="948"/>
                </a:lnTo>
                <a:lnTo>
                  <a:pt x="72" y="942"/>
                </a:lnTo>
                <a:lnTo>
                  <a:pt x="78" y="942"/>
                </a:lnTo>
                <a:lnTo>
                  <a:pt x="78" y="936"/>
                </a:lnTo>
                <a:lnTo>
                  <a:pt x="78" y="930"/>
                </a:lnTo>
                <a:lnTo>
                  <a:pt x="78" y="924"/>
                </a:lnTo>
                <a:lnTo>
                  <a:pt x="60" y="906"/>
                </a:lnTo>
                <a:lnTo>
                  <a:pt x="60" y="888"/>
                </a:lnTo>
                <a:lnTo>
                  <a:pt x="54" y="882"/>
                </a:lnTo>
                <a:lnTo>
                  <a:pt x="60" y="882"/>
                </a:lnTo>
                <a:lnTo>
                  <a:pt x="72" y="876"/>
                </a:lnTo>
                <a:lnTo>
                  <a:pt x="78" y="876"/>
                </a:lnTo>
                <a:lnTo>
                  <a:pt x="90" y="870"/>
                </a:lnTo>
                <a:lnTo>
                  <a:pt x="90" y="864"/>
                </a:lnTo>
                <a:lnTo>
                  <a:pt x="96" y="840"/>
                </a:lnTo>
                <a:lnTo>
                  <a:pt x="120" y="828"/>
                </a:lnTo>
                <a:lnTo>
                  <a:pt x="144" y="828"/>
                </a:lnTo>
                <a:lnTo>
                  <a:pt x="180" y="822"/>
                </a:lnTo>
                <a:lnTo>
                  <a:pt x="204" y="798"/>
                </a:lnTo>
                <a:lnTo>
                  <a:pt x="222" y="786"/>
                </a:lnTo>
                <a:lnTo>
                  <a:pt x="252" y="780"/>
                </a:lnTo>
                <a:lnTo>
                  <a:pt x="264" y="762"/>
                </a:lnTo>
                <a:lnTo>
                  <a:pt x="276" y="762"/>
                </a:lnTo>
                <a:lnTo>
                  <a:pt x="288" y="744"/>
                </a:lnTo>
                <a:lnTo>
                  <a:pt x="306" y="738"/>
                </a:lnTo>
                <a:lnTo>
                  <a:pt x="318" y="732"/>
                </a:lnTo>
                <a:lnTo>
                  <a:pt x="324" y="648"/>
                </a:lnTo>
                <a:lnTo>
                  <a:pt x="324" y="636"/>
                </a:lnTo>
                <a:lnTo>
                  <a:pt x="324" y="630"/>
                </a:lnTo>
                <a:lnTo>
                  <a:pt x="330" y="624"/>
                </a:lnTo>
                <a:lnTo>
                  <a:pt x="324" y="618"/>
                </a:lnTo>
                <a:lnTo>
                  <a:pt x="324" y="612"/>
                </a:lnTo>
                <a:lnTo>
                  <a:pt x="324" y="606"/>
                </a:lnTo>
                <a:lnTo>
                  <a:pt x="324" y="588"/>
                </a:lnTo>
                <a:lnTo>
                  <a:pt x="318" y="576"/>
                </a:lnTo>
                <a:lnTo>
                  <a:pt x="318" y="570"/>
                </a:lnTo>
                <a:lnTo>
                  <a:pt x="324" y="570"/>
                </a:lnTo>
                <a:lnTo>
                  <a:pt x="324" y="564"/>
                </a:lnTo>
                <a:lnTo>
                  <a:pt x="324" y="558"/>
                </a:lnTo>
                <a:lnTo>
                  <a:pt x="330" y="558"/>
                </a:lnTo>
                <a:lnTo>
                  <a:pt x="336" y="558"/>
                </a:lnTo>
                <a:lnTo>
                  <a:pt x="342" y="558"/>
                </a:lnTo>
                <a:lnTo>
                  <a:pt x="348" y="558"/>
                </a:lnTo>
                <a:lnTo>
                  <a:pt x="354" y="564"/>
                </a:lnTo>
                <a:lnTo>
                  <a:pt x="360" y="564"/>
                </a:lnTo>
                <a:lnTo>
                  <a:pt x="366" y="570"/>
                </a:lnTo>
                <a:lnTo>
                  <a:pt x="366" y="576"/>
                </a:lnTo>
                <a:lnTo>
                  <a:pt x="372" y="570"/>
                </a:lnTo>
                <a:lnTo>
                  <a:pt x="378" y="570"/>
                </a:lnTo>
                <a:lnTo>
                  <a:pt x="390" y="570"/>
                </a:lnTo>
                <a:lnTo>
                  <a:pt x="402" y="570"/>
                </a:lnTo>
                <a:lnTo>
                  <a:pt x="408" y="570"/>
                </a:lnTo>
                <a:lnTo>
                  <a:pt x="414" y="564"/>
                </a:lnTo>
                <a:lnTo>
                  <a:pt x="420" y="564"/>
                </a:lnTo>
                <a:lnTo>
                  <a:pt x="420" y="570"/>
                </a:lnTo>
                <a:lnTo>
                  <a:pt x="426" y="570"/>
                </a:lnTo>
                <a:lnTo>
                  <a:pt x="432" y="570"/>
                </a:lnTo>
                <a:lnTo>
                  <a:pt x="438" y="570"/>
                </a:lnTo>
                <a:lnTo>
                  <a:pt x="444" y="570"/>
                </a:lnTo>
                <a:lnTo>
                  <a:pt x="450" y="564"/>
                </a:lnTo>
                <a:lnTo>
                  <a:pt x="474" y="558"/>
                </a:lnTo>
                <a:lnTo>
                  <a:pt x="486" y="546"/>
                </a:lnTo>
                <a:lnTo>
                  <a:pt x="510" y="492"/>
                </a:lnTo>
                <a:lnTo>
                  <a:pt x="522" y="492"/>
                </a:lnTo>
                <a:lnTo>
                  <a:pt x="540" y="474"/>
                </a:lnTo>
                <a:lnTo>
                  <a:pt x="558" y="456"/>
                </a:lnTo>
                <a:lnTo>
                  <a:pt x="582" y="450"/>
                </a:lnTo>
                <a:lnTo>
                  <a:pt x="594" y="414"/>
                </a:lnTo>
                <a:lnTo>
                  <a:pt x="612" y="390"/>
                </a:lnTo>
                <a:lnTo>
                  <a:pt x="636" y="390"/>
                </a:lnTo>
                <a:lnTo>
                  <a:pt x="666" y="390"/>
                </a:lnTo>
                <a:lnTo>
                  <a:pt x="696" y="390"/>
                </a:lnTo>
                <a:lnTo>
                  <a:pt x="726" y="390"/>
                </a:lnTo>
                <a:lnTo>
                  <a:pt x="762" y="378"/>
                </a:lnTo>
                <a:lnTo>
                  <a:pt x="780" y="366"/>
                </a:lnTo>
                <a:lnTo>
                  <a:pt x="780" y="342"/>
                </a:lnTo>
                <a:lnTo>
                  <a:pt x="786" y="342"/>
                </a:lnTo>
                <a:lnTo>
                  <a:pt x="786" y="336"/>
                </a:lnTo>
                <a:lnTo>
                  <a:pt x="786" y="330"/>
                </a:lnTo>
                <a:lnTo>
                  <a:pt x="786" y="324"/>
                </a:lnTo>
                <a:lnTo>
                  <a:pt x="816" y="318"/>
                </a:lnTo>
                <a:lnTo>
                  <a:pt x="834" y="312"/>
                </a:lnTo>
                <a:lnTo>
                  <a:pt x="840" y="318"/>
                </a:lnTo>
                <a:lnTo>
                  <a:pt x="852" y="318"/>
                </a:lnTo>
                <a:lnTo>
                  <a:pt x="858" y="306"/>
                </a:lnTo>
                <a:lnTo>
                  <a:pt x="864" y="288"/>
                </a:lnTo>
                <a:lnTo>
                  <a:pt x="870" y="282"/>
                </a:lnTo>
                <a:lnTo>
                  <a:pt x="876" y="276"/>
                </a:lnTo>
                <a:lnTo>
                  <a:pt x="882" y="264"/>
                </a:lnTo>
                <a:lnTo>
                  <a:pt x="882" y="258"/>
                </a:lnTo>
                <a:lnTo>
                  <a:pt x="888" y="252"/>
                </a:lnTo>
                <a:lnTo>
                  <a:pt x="894" y="240"/>
                </a:lnTo>
                <a:lnTo>
                  <a:pt x="906" y="228"/>
                </a:lnTo>
                <a:lnTo>
                  <a:pt x="912" y="228"/>
                </a:lnTo>
                <a:lnTo>
                  <a:pt x="936" y="228"/>
                </a:lnTo>
                <a:lnTo>
                  <a:pt x="942" y="222"/>
                </a:lnTo>
                <a:lnTo>
                  <a:pt x="948" y="216"/>
                </a:lnTo>
                <a:lnTo>
                  <a:pt x="954" y="216"/>
                </a:lnTo>
                <a:lnTo>
                  <a:pt x="960" y="216"/>
                </a:lnTo>
                <a:lnTo>
                  <a:pt x="966" y="216"/>
                </a:lnTo>
                <a:lnTo>
                  <a:pt x="978" y="216"/>
                </a:lnTo>
                <a:lnTo>
                  <a:pt x="990" y="222"/>
                </a:lnTo>
                <a:lnTo>
                  <a:pt x="996" y="222"/>
                </a:lnTo>
                <a:lnTo>
                  <a:pt x="1002" y="228"/>
                </a:lnTo>
                <a:lnTo>
                  <a:pt x="1014" y="234"/>
                </a:lnTo>
                <a:lnTo>
                  <a:pt x="1020" y="234"/>
                </a:lnTo>
                <a:lnTo>
                  <a:pt x="1032" y="240"/>
                </a:lnTo>
                <a:lnTo>
                  <a:pt x="1044" y="240"/>
                </a:lnTo>
                <a:lnTo>
                  <a:pt x="1050" y="240"/>
                </a:lnTo>
                <a:lnTo>
                  <a:pt x="1056" y="246"/>
                </a:lnTo>
                <a:lnTo>
                  <a:pt x="1068" y="264"/>
                </a:lnTo>
                <a:lnTo>
                  <a:pt x="1086" y="276"/>
                </a:lnTo>
                <a:lnTo>
                  <a:pt x="1092" y="276"/>
                </a:lnTo>
                <a:lnTo>
                  <a:pt x="1104" y="282"/>
                </a:lnTo>
                <a:lnTo>
                  <a:pt x="1116" y="288"/>
                </a:lnTo>
                <a:lnTo>
                  <a:pt x="1122" y="300"/>
                </a:lnTo>
                <a:lnTo>
                  <a:pt x="1128" y="312"/>
                </a:lnTo>
                <a:lnTo>
                  <a:pt x="1152" y="324"/>
                </a:lnTo>
                <a:lnTo>
                  <a:pt x="1188" y="324"/>
                </a:lnTo>
                <a:lnTo>
                  <a:pt x="1206" y="318"/>
                </a:lnTo>
                <a:lnTo>
                  <a:pt x="1200" y="294"/>
                </a:lnTo>
                <a:lnTo>
                  <a:pt x="1206" y="252"/>
                </a:lnTo>
                <a:lnTo>
                  <a:pt x="1218" y="222"/>
                </a:lnTo>
                <a:lnTo>
                  <a:pt x="1212" y="222"/>
                </a:lnTo>
                <a:lnTo>
                  <a:pt x="1212" y="216"/>
                </a:lnTo>
                <a:lnTo>
                  <a:pt x="1218" y="204"/>
                </a:lnTo>
                <a:lnTo>
                  <a:pt x="1224" y="198"/>
                </a:lnTo>
                <a:lnTo>
                  <a:pt x="1224" y="192"/>
                </a:lnTo>
                <a:lnTo>
                  <a:pt x="1236" y="180"/>
                </a:lnTo>
                <a:lnTo>
                  <a:pt x="1254" y="156"/>
                </a:lnTo>
                <a:lnTo>
                  <a:pt x="1260" y="150"/>
                </a:lnTo>
                <a:lnTo>
                  <a:pt x="1260" y="144"/>
                </a:lnTo>
                <a:lnTo>
                  <a:pt x="1266" y="138"/>
                </a:lnTo>
                <a:lnTo>
                  <a:pt x="1272" y="138"/>
                </a:lnTo>
                <a:lnTo>
                  <a:pt x="1272" y="120"/>
                </a:lnTo>
                <a:lnTo>
                  <a:pt x="1278" y="114"/>
                </a:lnTo>
                <a:lnTo>
                  <a:pt x="1278" y="108"/>
                </a:lnTo>
                <a:lnTo>
                  <a:pt x="1278" y="102"/>
                </a:lnTo>
                <a:lnTo>
                  <a:pt x="1278" y="90"/>
                </a:lnTo>
                <a:lnTo>
                  <a:pt x="1278" y="84"/>
                </a:lnTo>
                <a:lnTo>
                  <a:pt x="1278" y="78"/>
                </a:lnTo>
                <a:lnTo>
                  <a:pt x="1278" y="72"/>
                </a:lnTo>
                <a:lnTo>
                  <a:pt x="1278" y="60"/>
                </a:lnTo>
                <a:lnTo>
                  <a:pt x="1284" y="48"/>
                </a:lnTo>
                <a:lnTo>
                  <a:pt x="1284" y="24"/>
                </a:lnTo>
                <a:lnTo>
                  <a:pt x="1284" y="18"/>
                </a:lnTo>
                <a:lnTo>
                  <a:pt x="1308" y="24"/>
                </a:lnTo>
                <a:lnTo>
                  <a:pt x="1332" y="30"/>
                </a:lnTo>
                <a:lnTo>
                  <a:pt x="1368" y="30"/>
                </a:lnTo>
                <a:lnTo>
                  <a:pt x="1392" y="24"/>
                </a:lnTo>
                <a:lnTo>
                  <a:pt x="1410" y="18"/>
                </a:lnTo>
                <a:lnTo>
                  <a:pt x="1416" y="6"/>
                </a:lnTo>
                <a:lnTo>
                  <a:pt x="1500" y="6"/>
                </a:lnTo>
                <a:lnTo>
                  <a:pt x="1506" y="0"/>
                </a:lnTo>
                <a:lnTo>
                  <a:pt x="1506" y="6"/>
                </a:lnTo>
                <a:lnTo>
                  <a:pt x="1506" y="18"/>
                </a:lnTo>
                <a:lnTo>
                  <a:pt x="1506" y="24"/>
                </a:lnTo>
                <a:lnTo>
                  <a:pt x="1500" y="30"/>
                </a:lnTo>
                <a:lnTo>
                  <a:pt x="1500" y="42"/>
                </a:lnTo>
                <a:lnTo>
                  <a:pt x="1494" y="54"/>
                </a:lnTo>
                <a:lnTo>
                  <a:pt x="1488" y="60"/>
                </a:lnTo>
                <a:lnTo>
                  <a:pt x="1482" y="60"/>
                </a:lnTo>
                <a:lnTo>
                  <a:pt x="1476" y="66"/>
                </a:lnTo>
                <a:lnTo>
                  <a:pt x="1476" y="72"/>
                </a:lnTo>
                <a:lnTo>
                  <a:pt x="1476" y="78"/>
                </a:lnTo>
                <a:lnTo>
                  <a:pt x="1470" y="78"/>
                </a:lnTo>
                <a:lnTo>
                  <a:pt x="1464" y="90"/>
                </a:lnTo>
                <a:lnTo>
                  <a:pt x="1458" y="96"/>
                </a:lnTo>
                <a:lnTo>
                  <a:pt x="1458" y="102"/>
                </a:lnTo>
                <a:lnTo>
                  <a:pt x="1452" y="120"/>
                </a:lnTo>
                <a:lnTo>
                  <a:pt x="1452" y="132"/>
                </a:lnTo>
                <a:lnTo>
                  <a:pt x="1446" y="144"/>
                </a:lnTo>
                <a:lnTo>
                  <a:pt x="1446" y="150"/>
                </a:lnTo>
                <a:lnTo>
                  <a:pt x="1440" y="150"/>
                </a:lnTo>
                <a:lnTo>
                  <a:pt x="1434" y="156"/>
                </a:lnTo>
                <a:lnTo>
                  <a:pt x="1428" y="168"/>
                </a:lnTo>
                <a:lnTo>
                  <a:pt x="1422" y="168"/>
                </a:lnTo>
                <a:lnTo>
                  <a:pt x="1416" y="174"/>
                </a:lnTo>
                <a:lnTo>
                  <a:pt x="1410" y="186"/>
                </a:lnTo>
                <a:lnTo>
                  <a:pt x="1410" y="204"/>
                </a:lnTo>
                <a:lnTo>
                  <a:pt x="1404" y="210"/>
                </a:lnTo>
                <a:lnTo>
                  <a:pt x="1404" y="216"/>
                </a:lnTo>
                <a:lnTo>
                  <a:pt x="1410" y="228"/>
                </a:lnTo>
                <a:lnTo>
                  <a:pt x="1410" y="234"/>
                </a:lnTo>
                <a:lnTo>
                  <a:pt x="1410" y="240"/>
                </a:lnTo>
                <a:lnTo>
                  <a:pt x="1416" y="252"/>
                </a:lnTo>
                <a:lnTo>
                  <a:pt x="1416" y="258"/>
                </a:lnTo>
                <a:lnTo>
                  <a:pt x="1422" y="264"/>
                </a:lnTo>
                <a:lnTo>
                  <a:pt x="1422" y="270"/>
                </a:lnTo>
                <a:lnTo>
                  <a:pt x="1422" y="282"/>
                </a:lnTo>
                <a:lnTo>
                  <a:pt x="1416" y="288"/>
                </a:lnTo>
                <a:lnTo>
                  <a:pt x="1410" y="294"/>
                </a:lnTo>
                <a:lnTo>
                  <a:pt x="1404" y="300"/>
                </a:lnTo>
                <a:lnTo>
                  <a:pt x="1404" y="306"/>
                </a:lnTo>
                <a:lnTo>
                  <a:pt x="1398" y="324"/>
                </a:lnTo>
                <a:lnTo>
                  <a:pt x="1404" y="330"/>
                </a:lnTo>
                <a:lnTo>
                  <a:pt x="1404" y="342"/>
                </a:lnTo>
                <a:lnTo>
                  <a:pt x="1392" y="354"/>
                </a:lnTo>
                <a:lnTo>
                  <a:pt x="1392" y="360"/>
                </a:lnTo>
                <a:lnTo>
                  <a:pt x="1392" y="372"/>
                </a:lnTo>
                <a:lnTo>
                  <a:pt x="1392" y="384"/>
                </a:lnTo>
                <a:lnTo>
                  <a:pt x="1392" y="396"/>
                </a:lnTo>
                <a:lnTo>
                  <a:pt x="1392" y="408"/>
                </a:lnTo>
                <a:lnTo>
                  <a:pt x="1386" y="414"/>
                </a:lnTo>
                <a:lnTo>
                  <a:pt x="1380" y="420"/>
                </a:lnTo>
                <a:lnTo>
                  <a:pt x="1380" y="426"/>
                </a:lnTo>
                <a:lnTo>
                  <a:pt x="1368" y="432"/>
                </a:lnTo>
                <a:lnTo>
                  <a:pt x="1362" y="444"/>
                </a:lnTo>
                <a:lnTo>
                  <a:pt x="1362" y="450"/>
                </a:lnTo>
                <a:lnTo>
                  <a:pt x="1362" y="462"/>
                </a:lnTo>
                <a:lnTo>
                  <a:pt x="1362" y="468"/>
                </a:lnTo>
                <a:lnTo>
                  <a:pt x="1362" y="474"/>
                </a:lnTo>
                <a:lnTo>
                  <a:pt x="1356" y="474"/>
                </a:lnTo>
                <a:lnTo>
                  <a:pt x="1350" y="480"/>
                </a:lnTo>
                <a:lnTo>
                  <a:pt x="1344" y="486"/>
                </a:lnTo>
                <a:lnTo>
                  <a:pt x="1338" y="498"/>
                </a:lnTo>
                <a:lnTo>
                  <a:pt x="1332" y="510"/>
                </a:lnTo>
                <a:lnTo>
                  <a:pt x="1320" y="510"/>
                </a:lnTo>
                <a:lnTo>
                  <a:pt x="1314" y="516"/>
                </a:lnTo>
                <a:lnTo>
                  <a:pt x="1302" y="522"/>
                </a:lnTo>
                <a:lnTo>
                  <a:pt x="1296" y="522"/>
                </a:lnTo>
                <a:lnTo>
                  <a:pt x="1284" y="516"/>
                </a:lnTo>
                <a:lnTo>
                  <a:pt x="1278" y="516"/>
                </a:lnTo>
                <a:lnTo>
                  <a:pt x="1272" y="522"/>
                </a:lnTo>
                <a:lnTo>
                  <a:pt x="1266" y="522"/>
                </a:lnTo>
                <a:lnTo>
                  <a:pt x="1266" y="528"/>
                </a:lnTo>
                <a:lnTo>
                  <a:pt x="1254" y="540"/>
                </a:lnTo>
                <a:lnTo>
                  <a:pt x="1248" y="546"/>
                </a:lnTo>
                <a:lnTo>
                  <a:pt x="1242" y="558"/>
                </a:lnTo>
                <a:lnTo>
                  <a:pt x="1230" y="576"/>
                </a:lnTo>
                <a:lnTo>
                  <a:pt x="1224" y="582"/>
                </a:lnTo>
                <a:lnTo>
                  <a:pt x="1224" y="588"/>
                </a:lnTo>
                <a:lnTo>
                  <a:pt x="1230" y="594"/>
                </a:lnTo>
                <a:lnTo>
                  <a:pt x="1230" y="600"/>
                </a:lnTo>
                <a:lnTo>
                  <a:pt x="1236" y="606"/>
                </a:lnTo>
                <a:lnTo>
                  <a:pt x="1242" y="606"/>
                </a:lnTo>
                <a:lnTo>
                  <a:pt x="1242" y="612"/>
                </a:lnTo>
                <a:lnTo>
                  <a:pt x="1242" y="618"/>
                </a:lnTo>
                <a:lnTo>
                  <a:pt x="1242" y="624"/>
                </a:lnTo>
                <a:lnTo>
                  <a:pt x="1236" y="630"/>
                </a:lnTo>
                <a:lnTo>
                  <a:pt x="1230" y="642"/>
                </a:lnTo>
                <a:lnTo>
                  <a:pt x="1230" y="648"/>
                </a:lnTo>
                <a:lnTo>
                  <a:pt x="1218" y="654"/>
                </a:lnTo>
                <a:lnTo>
                  <a:pt x="1212" y="654"/>
                </a:lnTo>
                <a:lnTo>
                  <a:pt x="1212" y="660"/>
                </a:lnTo>
                <a:lnTo>
                  <a:pt x="1212" y="666"/>
                </a:lnTo>
                <a:lnTo>
                  <a:pt x="1212" y="672"/>
                </a:lnTo>
                <a:lnTo>
                  <a:pt x="1212" y="678"/>
                </a:lnTo>
                <a:lnTo>
                  <a:pt x="1218" y="684"/>
                </a:lnTo>
                <a:lnTo>
                  <a:pt x="1218" y="690"/>
                </a:lnTo>
                <a:lnTo>
                  <a:pt x="1224" y="696"/>
                </a:lnTo>
                <a:lnTo>
                  <a:pt x="1230" y="702"/>
                </a:lnTo>
                <a:lnTo>
                  <a:pt x="1236" y="696"/>
                </a:lnTo>
                <a:lnTo>
                  <a:pt x="1242" y="702"/>
                </a:lnTo>
                <a:lnTo>
                  <a:pt x="1248" y="708"/>
                </a:lnTo>
                <a:lnTo>
                  <a:pt x="1254" y="714"/>
                </a:lnTo>
                <a:lnTo>
                  <a:pt x="1254" y="720"/>
                </a:lnTo>
                <a:lnTo>
                  <a:pt x="1260" y="720"/>
                </a:lnTo>
                <a:lnTo>
                  <a:pt x="1254" y="732"/>
                </a:lnTo>
                <a:lnTo>
                  <a:pt x="1248" y="738"/>
                </a:lnTo>
                <a:lnTo>
                  <a:pt x="1242" y="744"/>
                </a:lnTo>
                <a:lnTo>
                  <a:pt x="1236" y="750"/>
                </a:lnTo>
                <a:lnTo>
                  <a:pt x="1236" y="756"/>
                </a:lnTo>
                <a:lnTo>
                  <a:pt x="1236" y="762"/>
                </a:lnTo>
                <a:lnTo>
                  <a:pt x="1236" y="768"/>
                </a:lnTo>
                <a:lnTo>
                  <a:pt x="1236" y="780"/>
                </a:lnTo>
                <a:lnTo>
                  <a:pt x="1230" y="780"/>
                </a:lnTo>
                <a:lnTo>
                  <a:pt x="1230" y="786"/>
                </a:lnTo>
                <a:lnTo>
                  <a:pt x="1230" y="792"/>
                </a:lnTo>
                <a:lnTo>
                  <a:pt x="1230" y="804"/>
                </a:lnTo>
                <a:lnTo>
                  <a:pt x="1224" y="810"/>
                </a:lnTo>
                <a:lnTo>
                  <a:pt x="1218" y="816"/>
                </a:lnTo>
                <a:lnTo>
                  <a:pt x="1224" y="822"/>
                </a:lnTo>
                <a:lnTo>
                  <a:pt x="1224" y="828"/>
                </a:lnTo>
                <a:lnTo>
                  <a:pt x="1218" y="834"/>
                </a:lnTo>
                <a:lnTo>
                  <a:pt x="1224" y="834"/>
                </a:lnTo>
                <a:lnTo>
                  <a:pt x="1224" y="840"/>
                </a:lnTo>
                <a:lnTo>
                  <a:pt x="1224" y="846"/>
                </a:lnTo>
                <a:lnTo>
                  <a:pt x="1224" y="852"/>
                </a:lnTo>
                <a:lnTo>
                  <a:pt x="1218" y="858"/>
                </a:lnTo>
                <a:lnTo>
                  <a:pt x="1218" y="870"/>
                </a:lnTo>
                <a:lnTo>
                  <a:pt x="1212" y="870"/>
                </a:lnTo>
                <a:lnTo>
                  <a:pt x="1212" y="876"/>
                </a:lnTo>
                <a:lnTo>
                  <a:pt x="1206" y="888"/>
                </a:lnTo>
                <a:lnTo>
                  <a:pt x="1200" y="882"/>
                </a:lnTo>
                <a:lnTo>
                  <a:pt x="1194" y="888"/>
                </a:lnTo>
                <a:lnTo>
                  <a:pt x="1188" y="894"/>
                </a:lnTo>
                <a:lnTo>
                  <a:pt x="1182" y="894"/>
                </a:lnTo>
                <a:lnTo>
                  <a:pt x="1182" y="900"/>
                </a:lnTo>
                <a:lnTo>
                  <a:pt x="1176" y="900"/>
                </a:lnTo>
                <a:lnTo>
                  <a:pt x="1170" y="894"/>
                </a:lnTo>
                <a:lnTo>
                  <a:pt x="1164" y="900"/>
                </a:lnTo>
                <a:lnTo>
                  <a:pt x="1158" y="900"/>
                </a:lnTo>
                <a:lnTo>
                  <a:pt x="1152" y="900"/>
                </a:lnTo>
                <a:lnTo>
                  <a:pt x="1140" y="900"/>
                </a:lnTo>
                <a:lnTo>
                  <a:pt x="1134" y="900"/>
                </a:lnTo>
                <a:lnTo>
                  <a:pt x="1128" y="906"/>
                </a:lnTo>
                <a:lnTo>
                  <a:pt x="1110" y="906"/>
                </a:lnTo>
                <a:lnTo>
                  <a:pt x="1104" y="906"/>
                </a:lnTo>
                <a:lnTo>
                  <a:pt x="1098" y="906"/>
                </a:lnTo>
                <a:lnTo>
                  <a:pt x="1092" y="912"/>
                </a:lnTo>
                <a:lnTo>
                  <a:pt x="1080" y="918"/>
                </a:lnTo>
                <a:lnTo>
                  <a:pt x="1068" y="930"/>
                </a:lnTo>
                <a:lnTo>
                  <a:pt x="1062" y="930"/>
                </a:lnTo>
                <a:lnTo>
                  <a:pt x="1056" y="930"/>
                </a:lnTo>
                <a:lnTo>
                  <a:pt x="1050" y="930"/>
                </a:lnTo>
                <a:lnTo>
                  <a:pt x="1050" y="936"/>
                </a:lnTo>
                <a:lnTo>
                  <a:pt x="1038" y="942"/>
                </a:lnTo>
                <a:lnTo>
                  <a:pt x="1032" y="948"/>
                </a:lnTo>
                <a:lnTo>
                  <a:pt x="1026" y="954"/>
                </a:lnTo>
                <a:lnTo>
                  <a:pt x="1020" y="960"/>
                </a:lnTo>
                <a:lnTo>
                  <a:pt x="1014" y="966"/>
                </a:lnTo>
                <a:lnTo>
                  <a:pt x="1002" y="966"/>
                </a:lnTo>
                <a:lnTo>
                  <a:pt x="990" y="978"/>
                </a:lnTo>
                <a:lnTo>
                  <a:pt x="984" y="978"/>
                </a:lnTo>
                <a:lnTo>
                  <a:pt x="978" y="984"/>
                </a:lnTo>
                <a:lnTo>
                  <a:pt x="972" y="984"/>
                </a:lnTo>
                <a:lnTo>
                  <a:pt x="978" y="990"/>
                </a:lnTo>
                <a:lnTo>
                  <a:pt x="972" y="996"/>
                </a:lnTo>
                <a:lnTo>
                  <a:pt x="978" y="1002"/>
                </a:lnTo>
                <a:lnTo>
                  <a:pt x="1002" y="1002"/>
                </a:lnTo>
                <a:lnTo>
                  <a:pt x="1002" y="1008"/>
                </a:lnTo>
                <a:lnTo>
                  <a:pt x="1008" y="1020"/>
                </a:lnTo>
                <a:lnTo>
                  <a:pt x="1002" y="1026"/>
                </a:lnTo>
                <a:lnTo>
                  <a:pt x="1002" y="1032"/>
                </a:lnTo>
                <a:lnTo>
                  <a:pt x="1002" y="1050"/>
                </a:lnTo>
                <a:lnTo>
                  <a:pt x="1002" y="1056"/>
                </a:lnTo>
                <a:lnTo>
                  <a:pt x="1008" y="1062"/>
                </a:lnTo>
                <a:lnTo>
                  <a:pt x="1008" y="1074"/>
                </a:lnTo>
                <a:lnTo>
                  <a:pt x="1008" y="1086"/>
                </a:lnTo>
                <a:lnTo>
                  <a:pt x="996" y="1092"/>
                </a:lnTo>
                <a:lnTo>
                  <a:pt x="996" y="1098"/>
                </a:lnTo>
                <a:lnTo>
                  <a:pt x="996" y="1104"/>
                </a:lnTo>
                <a:lnTo>
                  <a:pt x="990" y="1110"/>
                </a:lnTo>
                <a:lnTo>
                  <a:pt x="990" y="1116"/>
                </a:lnTo>
                <a:lnTo>
                  <a:pt x="996" y="1122"/>
                </a:lnTo>
                <a:lnTo>
                  <a:pt x="990" y="1128"/>
                </a:lnTo>
                <a:lnTo>
                  <a:pt x="990" y="1134"/>
                </a:lnTo>
                <a:lnTo>
                  <a:pt x="990" y="1140"/>
                </a:lnTo>
                <a:lnTo>
                  <a:pt x="996" y="1140"/>
                </a:lnTo>
                <a:lnTo>
                  <a:pt x="996" y="1146"/>
                </a:lnTo>
                <a:lnTo>
                  <a:pt x="996" y="1152"/>
                </a:lnTo>
                <a:lnTo>
                  <a:pt x="996" y="1158"/>
                </a:lnTo>
                <a:lnTo>
                  <a:pt x="996" y="1164"/>
                </a:lnTo>
                <a:lnTo>
                  <a:pt x="996" y="1170"/>
                </a:lnTo>
                <a:lnTo>
                  <a:pt x="996" y="1176"/>
                </a:lnTo>
                <a:lnTo>
                  <a:pt x="990" y="1182"/>
                </a:lnTo>
                <a:lnTo>
                  <a:pt x="990" y="1188"/>
                </a:lnTo>
                <a:lnTo>
                  <a:pt x="984" y="1200"/>
                </a:lnTo>
                <a:lnTo>
                  <a:pt x="990" y="1206"/>
                </a:lnTo>
                <a:lnTo>
                  <a:pt x="990" y="1212"/>
                </a:lnTo>
                <a:lnTo>
                  <a:pt x="990" y="1218"/>
                </a:lnTo>
                <a:lnTo>
                  <a:pt x="978" y="1230"/>
                </a:lnTo>
                <a:lnTo>
                  <a:pt x="972" y="1236"/>
                </a:lnTo>
                <a:lnTo>
                  <a:pt x="972" y="1242"/>
                </a:lnTo>
                <a:lnTo>
                  <a:pt x="966" y="1248"/>
                </a:lnTo>
                <a:lnTo>
                  <a:pt x="960" y="1260"/>
                </a:lnTo>
                <a:lnTo>
                  <a:pt x="954" y="1266"/>
                </a:lnTo>
                <a:lnTo>
                  <a:pt x="942" y="1278"/>
                </a:lnTo>
                <a:lnTo>
                  <a:pt x="936" y="1278"/>
                </a:lnTo>
                <a:lnTo>
                  <a:pt x="936" y="1284"/>
                </a:lnTo>
                <a:lnTo>
                  <a:pt x="936" y="1296"/>
                </a:lnTo>
                <a:lnTo>
                  <a:pt x="936" y="1302"/>
                </a:lnTo>
                <a:lnTo>
                  <a:pt x="942" y="1302"/>
                </a:lnTo>
                <a:lnTo>
                  <a:pt x="942" y="1308"/>
                </a:lnTo>
                <a:lnTo>
                  <a:pt x="936" y="1314"/>
                </a:lnTo>
                <a:lnTo>
                  <a:pt x="930" y="1320"/>
                </a:lnTo>
                <a:lnTo>
                  <a:pt x="930" y="1326"/>
                </a:lnTo>
                <a:lnTo>
                  <a:pt x="930" y="1332"/>
                </a:lnTo>
                <a:lnTo>
                  <a:pt x="936" y="1338"/>
                </a:lnTo>
                <a:lnTo>
                  <a:pt x="936" y="1344"/>
                </a:lnTo>
                <a:lnTo>
                  <a:pt x="942" y="1356"/>
                </a:lnTo>
                <a:lnTo>
                  <a:pt x="948" y="1368"/>
                </a:lnTo>
                <a:lnTo>
                  <a:pt x="942" y="1380"/>
                </a:lnTo>
                <a:lnTo>
                  <a:pt x="936" y="1386"/>
                </a:lnTo>
                <a:lnTo>
                  <a:pt x="930" y="1392"/>
                </a:lnTo>
                <a:lnTo>
                  <a:pt x="924" y="1392"/>
                </a:lnTo>
                <a:lnTo>
                  <a:pt x="918" y="1386"/>
                </a:lnTo>
                <a:lnTo>
                  <a:pt x="912" y="1386"/>
                </a:lnTo>
                <a:lnTo>
                  <a:pt x="906" y="1386"/>
                </a:lnTo>
                <a:lnTo>
                  <a:pt x="900" y="1386"/>
                </a:lnTo>
                <a:lnTo>
                  <a:pt x="900" y="1392"/>
                </a:lnTo>
                <a:lnTo>
                  <a:pt x="894" y="1392"/>
                </a:lnTo>
                <a:lnTo>
                  <a:pt x="888" y="1392"/>
                </a:lnTo>
                <a:lnTo>
                  <a:pt x="888" y="1398"/>
                </a:lnTo>
                <a:lnTo>
                  <a:pt x="882" y="1404"/>
                </a:lnTo>
                <a:lnTo>
                  <a:pt x="882" y="1416"/>
                </a:lnTo>
                <a:lnTo>
                  <a:pt x="882" y="1428"/>
                </a:lnTo>
                <a:lnTo>
                  <a:pt x="882" y="1434"/>
                </a:lnTo>
                <a:lnTo>
                  <a:pt x="870" y="1440"/>
                </a:lnTo>
                <a:lnTo>
                  <a:pt x="864" y="1452"/>
                </a:lnTo>
                <a:lnTo>
                  <a:pt x="870" y="1452"/>
                </a:lnTo>
                <a:lnTo>
                  <a:pt x="864" y="1458"/>
                </a:lnTo>
                <a:lnTo>
                  <a:pt x="858" y="1464"/>
                </a:lnTo>
                <a:lnTo>
                  <a:pt x="852" y="1464"/>
                </a:lnTo>
                <a:lnTo>
                  <a:pt x="846" y="1458"/>
                </a:lnTo>
                <a:lnTo>
                  <a:pt x="840" y="1458"/>
                </a:lnTo>
                <a:lnTo>
                  <a:pt x="828" y="1470"/>
                </a:lnTo>
                <a:lnTo>
                  <a:pt x="810" y="1482"/>
                </a:lnTo>
                <a:lnTo>
                  <a:pt x="804" y="1488"/>
                </a:lnTo>
                <a:lnTo>
                  <a:pt x="798" y="1488"/>
                </a:lnTo>
                <a:lnTo>
                  <a:pt x="792" y="1488"/>
                </a:lnTo>
                <a:lnTo>
                  <a:pt x="786" y="1488"/>
                </a:lnTo>
                <a:lnTo>
                  <a:pt x="768" y="1482"/>
                </a:lnTo>
                <a:lnTo>
                  <a:pt x="762" y="1476"/>
                </a:lnTo>
                <a:lnTo>
                  <a:pt x="744" y="1476"/>
                </a:lnTo>
                <a:lnTo>
                  <a:pt x="738" y="1476"/>
                </a:lnTo>
                <a:lnTo>
                  <a:pt x="732" y="1476"/>
                </a:lnTo>
                <a:lnTo>
                  <a:pt x="726" y="1482"/>
                </a:lnTo>
                <a:lnTo>
                  <a:pt x="726" y="1488"/>
                </a:lnTo>
                <a:lnTo>
                  <a:pt x="726" y="1494"/>
                </a:lnTo>
                <a:lnTo>
                  <a:pt x="726" y="1500"/>
                </a:lnTo>
                <a:lnTo>
                  <a:pt x="720" y="1500"/>
                </a:lnTo>
                <a:lnTo>
                  <a:pt x="720" y="1506"/>
                </a:lnTo>
                <a:lnTo>
                  <a:pt x="714" y="1512"/>
                </a:lnTo>
                <a:lnTo>
                  <a:pt x="714" y="1518"/>
                </a:lnTo>
                <a:lnTo>
                  <a:pt x="708" y="1518"/>
                </a:lnTo>
                <a:lnTo>
                  <a:pt x="708" y="1530"/>
                </a:lnTo>
                <a:lnTo>
                  <a:pt x="708" y="1536"/>
                </a:lnTo>
                <a:lnTo>
                  <a:pt x="708" y="1542"/>
                </a:lnTo>
                <a:lnTo>
                  <a:pt x="696" y="1554"/>
                </a:lnTo>
                <a:lnTo>
                  <a:pt x="690" y="1560"/>
                </a:lnTo>
                <a:lnTo>
                  <a:pt x="684" y="1566"/>
                </a:lnTo>
                <a:lnTo>
                  <a:pt x="672" y="1566"/>
                </a:lnTo>
                <a:lnTo>
                  <a:pt x="666" y="1566"/>
                </a:lnTo>
                <a:lnTo>
                  <a:pt x="660" y="1566"/>
                </a:lnTo>
                <a:lnTo>
                  <a:pt x="654" y="1572"/>
                </a:lnTo>
                <a:lnTo>
                  <a:pt x="654" y="1578"/>
                </a:lnTo>
                <a:lnTo>
                  <a:pt x="642" y="1578"/>
                </a:lnTo>
                <a:lnTo>
                  <a:pt x="630" y="1572"/>
                </a:lnTo>
                <a:lnTo>
                  <a:pt x="624" y="1572"/>
                </a:lnTo>
                <a:lnTo>
                  <a:pt x="618" y="1578"/>
                </a:lnTo>
                <a:lnTo>
                  <a:pt x="612" y="1584"/>
                </a:lnTo>
                <a:lnTo>
                  <a:pt x="606" y="1584"/>
                </a:lnTo>
                <a:lnTo>
                  <a:pt x="600" y="1590"/>
                </a:lnTo>
                <a:lnTo>
                  <a:pt x="594" y="1590"/>
                </a:lnTo>
                <a:lnTo>
                  <a:pt x="588" y="1590"/>
                </a:lnTo>
                <a:lnTo>
                  <a:pt x="582" y="1590"/>
                </a:lnTo>
                <a:lnTo>
                  <a:pt x="582" y="1596"/>
                </a:lnTo>
                <a:lnTo>
                  <a:pt x="576" y="1614"/>
                </a:lnTo>
                <a:lnTo>
                  <a:pt x="570" y="1632"/>
                </a:lnTo>
                <a:lnTo>
                  <a:pt x="570" y="1638"/>
                </a:lnTo>
                <a:lnTo>
                  <a:pt x="576" y="1644"/>
                </a:lnTo>
                <a:lnTo>
                  <a:pt x="576" y="1650"/>
                </a:lnTo>
                <a:lnTo>
                  <a:pt x="582" y="1662"/>
                </a:lnTo>
                <a:lnTo>
                  <a:pt x="582" y="1668"/>
                </a:lnTo>
                <a:lnTo>
                  <a:pt x="588" y="1692"/>
                </a:lnTo>
                <a:lnTo>
                  <a:pt x="594" y="1728"/>
                </a:lnTo>
                <a:lnTo>
                  <a:pt x="594" y="1752"/>
                </a:lnTo>
                <a:lnTo>
                  <a:pt x="594" y="1764"/>
                </a:lnTo>
                <a:lnTo>
                  <a:pt x="582" y="1770"/>
                </a:lnTo>
                <a:lnTo>
                  <a:pt x="582" y="1782"/>
                </a:lnTo>
                <a:lnTo>
                  <a:pt x="576" y="1788"/>
                </a:lnTo>
                <a:lnTo>
                  <a:pt x="570" y="1794"/>
                </a:lnTo>
                <a:lnTo>
                  <a:pt x="564" y="1806"/>
                </a:lnTo>
                <a:lnTo>
                  <a:pt x="564" y="1812"/>
                </a:lnTo>
                <a:lnTo>
                  <a:pt x="558" y="1812"/>
                </a:lnTo>
                <a:lnTo>
                  <a:pt x="564" y="1824"/>
                </a:lnTo>
                <a:lnTo>
                  <a:pt x="564" y="1830"/>
                </a:lnTo>
                <a:lnTo>
                  <a:pt x="564" y="1842"/>
                </a:lnTo>
                <a:lnTo>
                  <a:pt x="564" y="1848"/>
                </a:lnTo>
                <a:lnTo>
                  <a:pt x="564" y="1854"/>
                </a:lnTo>
                <a:lnTo>
                  <a:pt x="570" y="1860"/>
                </a:lnTo>
                <a:lnTo>
                  <a:pt x="570" y="1866"/>
                </a:lnTo>
                <a:lnTo>
                  <a:pt x="570" y="1872"/>
                </a:lnTo>
                <a:lnTo>
                  <a:pt x="570" y="1878"/>
                </a:lnTo>
                <a:lnTo>
                  <a:pt x="564" y="1890"/>
                </a:lnTo>
                <a:lnTo>
                  <a:pt x="558" y="1896"/>
                </a:lnTo>
                <a:lnTo>
                  <a:pt x="552" y="1908"/>
                </a:lnTo>
                <a:lnTo>
                  <a:pt x="546" y="1914"/>
                </a:lnTo>
                <a:lnTo>
                  <a:pt x="540" y="1920"/>
                </a:lnTo>
                <a:lnTo>
                  <a:pt x="534" y="1932"/>
                </a:lnTo>
                <a:lnTo>
                  <a:pt x="528" y="1944"/>
                </a:lnTo>
                <a:lnTo>
                  <a:pt x="516" y="1950"/>
                </a:lnTo>
                <a:lnTo>
                  <a:pt x="510" y="1956"/>
                </a:lnTo>
                <a:lnTo>
                  <a:pt x="498" y="1962"/>
                </a:lnTo>
                <a:lnTo>
                  <a:pt x="492" y="1974"/>
                </a:lnTo>
                <a:lnTo>
                  <a:pt x="486" y="1980"/>
                </a:lnTo>
                <a:lnTo>
                  <a:pt x="480" y="1998"/>
                </a:lnTo>
                <a:lnTo>
                  <a:pt x="474" y="2004"/>
                </a:lnTo>
                <a:lnTo>
                  <a:pt x="474" y="2010"/>
                </a:lnTo>
                <a:lnTo>
                  <a:pt x="474" y="2016"/>
                </a:lnTo>
                <a:lnTo>
                  <a:pt x="468" y="2016"/>
                </a:lnTo>
                <a:lnTo>
                  <a:pt x="468" y="2028"/>
                </a:lnTo>
                <a:lnTo>
                  <a:pt x="462" y="2034"/>
                </a:lnTo>
                <a:lnTo>
                  <a:pt x="456" y="2040"/>
                </a:lnTo>
                <a:lnTo>
                  <a:pt x="456" y="2052"/>
                </a:lnTo>
                <a:lnTo>
                  <a:pt x="450" y="2058"/>
                </a:lnTo>
                <a:lnTo>
                  <a:pt x="450" y="2070"/>
                </a:lnTo>
                <a:lnTo>
                  <a:pt x="450" y="2076"/>
                </a:lnTo>
                <a:lnTo>
                  <a:pt x="450" y="2082"/>
                </a:lnTo>
                <a:lnTo>
                  <a:pt x="444" y="2088"/>
                </a:lnTo>
                <a:lnTo>
                  <a:pt x="438" y="2094"/>
                </a:lnTo>
                <a:lnTo>
                  <a:pt x="444" y="2100"/>
                </a:lnTo>
                <a:lnTo>
                  <a:pt x="444" y="2124"/>
                </a:lnTo>
                <a:lnTo>
                  <a:pt x="444" y="2142"/>
                </a:lnTo>
                <a:lnTo>
                  <a:pt x="444" y="2160"/>
                </a:lnTo>
                <a:lnTo>
                  <a:pt x="450" y="2166"/>
                </a:lnTo>
                <a:lnTo>
                  <a:pt x="456" y="2178"/>
                </a:lnTo>
                <a:lnTo>
                  <a:pt x="438" y="2184"/>
                </a:lnTo>
                <a:lnTo>
                  <a:pt x="432" y="2184"/>
                </a:lnTo>
                <a:lnTo>
                  <a:pt x="426" y="2190"/>
                </a:lnTo>
                <a:lnTo>
                  <a:pt x="408" y="2190"/>
                </a:lnTo>
                <a:lnTo>
                  <a:pt x="402" y="2196"/>
                </a:lnTo>
                <a:lnTo>
                  <a:pt x="396" y="2196"/>
                </a:lnTo>
                <a:lnTo>
                  <a:pt x="384" y="2208"/>
                </a:lnTo>
                <a:lnTo>
                  <a:pt x="378" y="2220"/>
                </a:lnTo>
                <a:lnTo>
                  <a:pt x="366" y="2232"/>
                </a:lnTo>
                <a:lnTo>
                  <a:pt x="366" y="2238"/>
                </a:lnTo>
                <a:lnTo>
                  <a:pt x="360" y="2238"/>
                </a:lnTo>
                <a:lnTo>
                  <a:pt x="360" y="2244"/>
                </a:lnTo>
                <a:lnTo>
                  <a:pt x="354" y="2244"/>
                </a:lnTo>
                <a:lnTo>
                  <a:pt x="330" y="2274"/>
                </a:lnTo>
                <a:close/>
              </a:path>
            </a:pathLst>
          </a:custGeom>
          <a:solidFill>
            <a:srgbClr val="CD202C"/>
          </a:solidFill>
          <a:ln w="9525">
            <a:solidFill>
              <a:schemeClr val="bg1"/>
            </a:solidFill>
            <a:round/>
            <a:headEnd/>
            <a:tailEnd/>
          </a:ln>
        </p:spPr>
        <p:txBody>
          <a:bodyPr/>
          <a:lstStyle/>
          <a:p>
            <a:endParaRPr lang="en-GB"/>
          </a:p>
        </p:txBody>
      </p:sp>
      <p:sp>
        <p:nvSpPr>
          <p:cNvPr id="17425" name="Freeform 11"/>
          <p:cNvSpPr>
            <a:spLocks/>
          </p:cNvSpPr>
          <p:nvPr/>
        </p:nvSpPr>
        <p:spPr bwMode="gray">
          <a:xfrm>
            <a:off x="4460875" y="2217738"/>
            <a:ext cx="1184275" cy="1574800"/>
          </a:xfrm>
          <a:custGeom>
            <a:avLst/>
            <a:gdLst>
              <a:gd name="T0" fmla="*/ 97218 w 1512"/>
              <a:gd name="T1" fmla="*/ 61216 h 1956"/>
              <a:gd name="T2" fmla="*/ 94082 w 1512"/>
              <a:gd name="T3" fmla="*/ 64438 h 1956"/>
              <a:gd name="T4" fmla="*/ 83106 w 1512"/>
              <a:gd name="T5" fmla="*/ 67660 h 1956"/>
              <a:gd name="T6" fmla="*/ 82322 w 1512"/>
              <a:gd name="T7" fmla="*/ 73298 h 1956"/>
              <a:gd name="T8" fmla="*/ 79186 w 1512"/>
              <a:gd name="T9" fmla="*/ 79742 h 1956"/>
              <a:gd name="T10" fmla="*/ 82322 w 1512"/>
              <a:gd name="T11" fmla="*/ 86185 h 1956"/>
              <a:gd name="T12" fmla="*/ 93298 w 1512"/>
              <a:gd name="T13" fmla="*/ 93435 h 1956"/>
              <a:gd name="T14" fmla="*/ 94866 w 1512"/>
              <a:gd name="T15" fmla="*/ 103100 h 1956"/>
              <a:gd name="T16" fmla="*/ 87810 w 1512"/>
              <a:gd name="T17" fmla="*/ 109544 h 1956"/>
              <a:gd name="T18" fmla="*/ 93298 w 1512"/>
              <a:gd name="T19" fmla="*/ 115182 h 1956"/>
              <a:gd name="T20" fmla="*/ 98786 w 1512"/>
              <a:gd name="T21" fmla="*/ 119210 h 1956"/>
              <a:gd name="T22" fmla="*/ 98786 w 1512"/>
              <a:gd name="T23" fmla="*/ 128875 h 1956"/>
              <a:gd name="T24" fmla="*/ 81538 w 1512"/>
              <a:gd name="T25" fmla="*/ 136930 h 1956"/>
              <a:gd name="T26" fmla="*/ 77618 w 1512"/>
              <a:gd name="T27" fmla="*/ 132097 h 1956"/>
              <a:gd name="T28" fmla="*/ 57233 w 1512"/>
              <a:gd name="T29" fmla="*/ 122432 h 1956"/>
              <a:gd name="T30" fmla="*/ 43905 w 1512"/>
              <a:gd name="T31" fmla="*/ 132903 h 1956"/>
              <a:gd name="T32" fmla="*/ 25873 w 1512"/>
              <a:gd name="T33" fmla="*/ 130486 h 1956"/>
              <a:gd name="T34" fmla="*/ 19600 w 1512"/>
              <a:gd name="T35" fmla="*/ 124848 h 1956"/>
              <a:gd name="T36" fmla="*/ 24305 w 1512"/>
              <a:gd name="T37" fmla="*/ 114377 h 1956"/>
              <a:gd name="T38" fmla="*/ 18816 w 1512"/>
              <a:gd name="T39" fmla="*/ 110349 h 1956"/>
              <a:gd name="T40" fmla="*/ 10976 w 1512"/>
              <a:gd name="T41" fmla="*/ 109544 h 1956"/>
              <a:gd name="T42" fmla="*/ 8624 w 1512"/>
              <a:gd name="T43" fmla="*/ 100684 h 1956"/>
              <a:gd name="T44" fmla="*/ 2352 w 1512"/>
              <a:gd name="T45" fmla="*/ 93435 h 1956"/>
              <a:gd name="T46" fmla="*/ 1568 w 1512"/>
              <a:gd name="T47" fmla="*/ 85380 h 1956"/>
              <a:gd name="T48" fmla="*/ 3920 w 1512"/>
              <a:gd name="T49" fmla="*/ 81353 h 1956"/>
              <a:gd name="T50" fmla="*/ 1568 w 1512"/>
              <a:gd name="T51" fmla="*/ 76520 h 1956"/>
              <a:gd name="T52" fmla="*/ 784 w 1512"/>
              <a:gd name="T53" fmla="*/ 70881 h 1956"/>
              <a:gd name="T54" fmla="*/ 3136 w 1512"/>
              <a:gd name="T55" fmla="*/ 64438 h 1956"/>
              <a:gd name="T56" fmla="*/ 9408 w 1512"/>
              <a:gd name="T57" fmla="*/ 58799 h 1956"/>
              <a:gd name="T58" fmla="*/ 12544 w 1512"/>
              <a:gd name="T59" fmla="*/ 54772 h 1956"/>
              <a:gd name="T60" fmla="*/ 17248 w 1512"/>
              <a:gd name="T61" fmla="*/ 53161 h 1956"/>
              <a:gd name="T62" fmla="*/ 25089 w 1512"/>
              <a:gd name="T63" fmla="*/ 52356 h 1956"/>
              <a:gd name="T64" fmla="*/ 35281 w 1512"/>
              <a:gd name="T65" fmla="*/ 53161 h 1956"/>
              <a:gd name="T66" fmla="*/ 39201 w 1512"/>
              <a:gd name="T67" fmla="*/ 56383 h 1956"/>
              <a:gd name="T68" fmla="*/ 43121 w 1512"/>
              <a:gd name="T69" fmla="*/ 56383 h 1956"/>
              <a:gd name="T70" fmla="*/ 49393 w 1512"/>
              <a:gd name="T71" fmla="*/ 57188 h 1956"/>
              <a:gd name="T72" fmla="*/ 47825 w 1512"/>
              <a:gd name="T73" fmla="*/ 60410 h 1956"/>
              <a:gd name="T74" fmla="*/ 51745 w 1512"/>
              <a:gd name="T75" fmla="*/ 67660 h 1956"/>
              <a:gd name="T76" fmla="*/ 63506 w 1512"/>
              <a:gd name="T77" fmla="*/ 68465 h 1956"/>
              <a:gd name="T78" fmla="*/ 65074 w 1512"/>
              <a:gd name="T79" fmla="*/ 63632 h 1956"/>
              <a:gd name="T80" fmla="*/ 69778 w 1512"/>
              <a:gd name="T81" fmla="*/ 62021 h 1956"/>
              <a:gd name="T82" fmla="*/ 69778 w 1512"/>
              <a:gd name="T83" fmla="*/ 58799 h 1956"/>
              <a:gd name="T84" fmla="*/ 65074 w 1512"/>
              <a:gd name="T85" fmla="*/ 57994 h 1956"/>
              <a:gd name="T86" fmla="*/ 60370 w 1512"/>
              <a:gd name="T87" fmla="*/ 56383 h 1956"/>
              <a:gd name="T88" fmla="*/ 55665 w 1512"/>
              <a:gd name="T89" fmla="*/ 56383 h 1956"/>
              <a:gd name="T90" fmla="*/ 46257 w 1512"/>
              <a:gd name="T91" fmla="*/ 46717 h 1956"/>
              <a:gd name="T92" fmla="*/ 42337 w 1512"/>
              <a:gd name="T93" fmla="*/ 36246 h 1956"/>
              <a:gd name="T94" fmla="*/ 38417 w 1512"/>
              <a:gd name="T95" fmla="*/ 33830 h 1956"/>
              <a:gd name="T96" fmla="*/ 39985 w 1512"/>
              <a:gd name="T97" fmla="*/ 31413 h 1956"/>
              <a:gd name="T98" fmla="*/ 43121 w 1512"/>
              <a:gd name="T99" fmla="*/ 28997 h 1956"/>
              <a:gd name="T100" fmla="*/ 49393 w 1512"/>
              <a:gd name="T101" fmla="*/ 27386 h 1956"/>
              <a:gd name="T102" fmla="*/ 53313 w 1512"/>
              <a:gd name="T103" fmla="*/ 25775 h 1956"/>
              <a:gd name="T104" fmla="*/ 57233 w 1512"/>
              <a:gd name="T105" fmla="*/ 23359 h 1956"/>
              <a:gd name="T106" fmla="*/ 61154 w 1512"/>
              <a:gd name="T107" fmla="*/ 21748 h 1956"/>
              <a:gd name="T108" fmla="*/ 63506 w 1512"/>
              <a:gd name="T109" fmla="*/ 13693 h 1956"/>
              <a:gd name="T110" fmla="*/ 65858 w 1512"/>
              <a:gd name="T111" fmla="*/ 4833 h 1956"/>
              <a:gd name="T112" fmla="*/ 74482 w 1512"/>
              <a:gd name="T113" fmla="*/ 4833 h 1956"/>
              <a:gd name="T114" fmla="*/ 77618 w 1512"/>
              <a:gd name="T115" fmla="*/ 2416 h 1956"/>
              <a:gd name="T116" fmla="*/ 80754 w 1512"/>
              <a:gd name="T117" fmla="*/ 0 h 1956"/>
              <a:gd name="T118" fmla="*/ 86242 w 1512"/>
              <a:gd name="T119" fmla="*/ 3222 h 1956"/>
              <a:gd name="T120" fmla="*/ 89378 w 1512"/>
              <a:gd name="T121" fmla="*/ 26581 h 1956"/>
              <a:gd name="T122" fmla="*/ 91730 w 1512"/>
              <a:gd name="T123" fmla="*/ 33024 h 1956"/>
              <a:gd name="T124" fmla="*/ 93298 w 1512"/>
              <a:gd name="T125" fmla="*/ 49939 h 1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12"/>
              <a:gd name="T190" fmla="*/ 0 h 1956"/>
              <a:gd name="T191" fmla="*/ 1512 w 1512"/>
              <a:gd name="T192" fmla="*/ 1956 h 1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12" h="1956">
                <a:moveTo>
                  <a:pt x="1512" y="780"/>
                </a:moveTo>
                <a:lnTo>
                  <a:pt x="1482" y="786"/>
                </a:lnTo>
                <a:lnTo>
                  <a:pt x="1476" y="792"/>
                </a:lnTo>
                <a:lnTo>
                  <a:pt x="1476" y="798"/>
                </a:lnTo>
                <a:lnTo>
                  <a:pt x="1476" y="804"/>
                </a:lnTo>
                <a:lnTo>
                  <a:pt x="1476" y="816"/>
                </a:lnTo>
                <a:lnTo>
                  <a:pt x="1470" y="834"/>
                </a:lnTo>
                <a:lnTo>
                  <a:pt x="1464" y="840"/>
                </a:lnTo>
                <a:lnTo>
                  <a:pt x="1452" y="852"/>
                </a:lnTo>
                <a:lnTo>
                  <a:pt x="1440" y="864"/>
                </a:lnTo>
                <a:lnTo>
                  <a:pt x="1434" y="864"/>
                </a:lnTo>
                <a:lnTo>
                  <a:pt x="1434" y="870"/>
                </a:lnTo>
                <a:lnTo>
                  <a:pt x="1422" y="876"/>
                </a:lnTo>
                <a:lnTo>
                  <a:pt x="1410" y="894"/>
                </a:lnTo>
                <a:lnTo>
                  <a:pt x="1404" y="894"/>
                </a:lnTo>
                <a:lnTo>
                  <a:pt x="1404" y="900"/>
                </a:lnTo>
                <a:lnTo>
                  <a:pt x="1404" y="906"/>
                </a:lnTo>
                <a:lnTo>
                  <a:pt x="1410" y="918"/>
                </a:lnTo>
                <a:lnTo>
                  <a:pt x="1404" y="918"/>
                </a:lnTo>
                <a:lnTo>
                  <a:pt x="1392" y="924"/>
                </a:lnTo>
                <a:lnTo>
                  <a:pt x="1386" y="924"/>
                </a:lnTo>
                <a:lnTo>
                  <a:pt x="1380" y="924"/>
                </a:lnTo>
                <a:lnTo>
                  <a:pt x="1380" y="930"/>
                </a:lnTo>
                <a:lnTo>
                  <a:pt x="1374" y="930"/>
                </a:lnTo>
                <a:lnTo>
                  <a:pt x="1374" y="924"/>
                </a:lnTo>
                <a:lnTo>
                  <a:pt x="1374" y="918"/>
                </a:lnTo>
                <a:lnTo>
                  <a:pt x="1368" y="912"/>
                </a:lnTo>
                <a:lnTo>
                  <a:pt x="1368" y="906"/>
                </a:lnTo>
                <a:lnTo>
                  <a:pt x="1368" y="900"/>
                </a:lnTo>
                <a:lnTo>
                  <a:pt x="1368" y="894"/>
                </a:lnTo>
                <a:lnTo>
                  <a:pt x="1362" y="894"/>
                </a:lnTo>
                <a:lnTo>
                  <a:pt x="1326" y="894"/>
                </a:lnTo>
                <a:lnTo>
                  <a:pt x="1302" y="906"/>
                </a:lnTo>
                <a:lnTo>
                  <a:pt x="1284" y="918"/>
                </a:lnTo>
                <a:lnTo>
                  <a:pt x="1284" y="924"/>
                </a:lnTo>
                <a:lnTo>
                  <a:pt x="1278" y="930"/>
                </a:lnTo>
                <a:lnTo>
                  <a:pt x="1266" y="930"/>
                </a:lnTo>
                <a:lnTo>
                  <a:pt x="1236" y="954"/>
                </a:lnTo>
                <a:lnTo>
                  <a:pt x="1212" y="972"/>
                </a:lnTo>
                <a:lnTo>
                  <a:pt x="1218" y="996"/>
                </a:lnTo>
                <a:lnTo>
                  <a:pt x="1224" y="1008"/>
                </a:lnTo>
                <a:lnTo>
                  <a:pt x="1236" y="1014"/>
                </a:lnTo>
                <a:lnTo>
                  <a:pt x="1242" y="1026"/>
                </a:lnTo>
                <a:lnTo>
                  <a:pt x="1248" y="1038"/>
                </a:lnTo>
                <a:lnTo>
                  <a:pt x="1260" y="1050"/>
                </a:lnTo>
                <a:lnTo>
                  <a:pt x="1260" y="1056"/>
                </a:lnTo>
                <a:lnTo>
                  <a:pt x="1260" y="1074"/>
                </a:lnTo>
                <a:lnTo>
                  <a:pt x="1254" y="1074"/>
                </a:lnTo>
                <a:lnTo>
                  <a:pt x="1236" y="1056"/>
                </a:lnTo>
                <a:lnTo>
                  <a:pt x="1224" y="1050"/>
                </a:lnTo>
                <a:lnTo>
                  <a:pt x="1212" y="1050"/>
                </a:lnTo>
                <a:lnTo>
                  <a:pt x="1206" y="1050"/>
                </a:lnTo>
                <a:lnTo>
                  <a:pt x="1200" y="1056"/>
                </a:lnTo>
                <a:lnTo>
                  <a:pt x="1194" y="1062"/>
                </a:lnTo>
                <a:lnTo>
                  <a:pt x="1188" y="1068"/>
                </a:lnTo>
                <a:lnTo>
                  <a:pt x="1188" y="1074"/>
                </a:lnTo>
                <a:lnTo>
                  <a:pt x="1176" y="1086"/>
                </a:lnTo>
                <a:lnTo>
                  <a:pt x="1170" y="1086"/>
                </a:lnTo>
                <a:lnTo>
                  <a:pt x="1170" y="1092"/>
                </a:lnTo>
                <a:lnTo>
                  <a:pt x="1164" y="1098"/>
                </a:lnTo>
                <a:lnTo>
                  <a:pt x="1158" y="1110"/>
                </a:lnTo>
                <a:lnTo>
                  <a:pt x="1152" y="1116"/>
                </a:lnTo>
                <a:lnTo>
                  <a:pt x="1152" y="1122"/>
                </a:lnTo>
                <a:lnTo>
                  <a:pt x="1146" y="1128"/>
                </a:lnTo>
                <a:lnTo>
                  <a:pt x="1152" y="1140"/>
                </a:lnTo>
                <a:lnTo>
                  <a:pt x="1158" y="1140"/>
                </a:lnTo>
                <a:lnTo>
                  <a:pt x="1164" y="1146"/>
                </a:lnTo>
                <a:lnTo>
                  <a:pt x="1164" y="1152"/>
                </a:lnTo>
                <a:lnTo>
                  <a:pt x="1170" y="1164"/>
                </a:lnTo>
                <a:lnTo>
                  <a:pt x="1164" y="1176"/>
                </a:lnTo>
                <a:lnTo>
                  <a:pt x="1170" y="1182"/>
                </a:lnTo>
                <a:lnTo>
                  <a:pt x="1170" y="1194"/>
                </a:lnTo>
                <a:lnTo>
                  <a:pt x="1170" y="1200"/>
                </a:lnTo>
                <a:lnTo>
                  <a:pt x="1182" y="1218"/>
                </a:lnTo>
                <a:lnTo>
                  <a:pt x="1188" y="1218"/>
                </a:lnTo>
                <a:lnTo>
                  <a:pt x="1194" y="1218"/>
                </a:lnTo>
                <a:lnTo>
                  <a:pt x="1194" y="1224"/>
                </a:lnTo>
                <a:lnTo>
                  <a:pt x="1200" y="1230"/>
                </a:lnTo>
                <a:lnTo>
                  <a:pt x="1200" y="1248"/>
                </a:lnTo>
                <a:lnTo>
                  <a:pt x="1212" y="1266"/>
                </a:lnTo>
                <a:lnTo>
                  <a:pt x="1218" y="1278"/>
                </a:lnTo>
                <a:lnTo>
                  <a:pt x="1224" y="1284"/>
                </a:lnTo>
                <a:lnTo>
                  <a:pt x="1236" y="1296"/>
                </a:lnTo>
                <a:lnTo>
                  <a:pt x="1242" y="1302"/>
                </a:lnTo>
                <a:lnTo>
                  <a:pt x="1242" y="1308"/>
                </a:lnTo>
                <a:lnTo>
                  <a:pt x="1272" y="1308"/>
                </a:lnTo>
                <a:lnTo>
                  <a:pt x="1296" y="1314"/>
                </a:lnTo>
                <a:lnTo>
                  <a:pt x="1320" y="1320"/>
                </a:lnTo>
                <a:lnTo>
                  <a:pt x="1338" y="1320"/>
                </a:lnTo>
                <a:lnTo>
                  <a:pt x="1356" y="1332"/>
                </a:lnTo>
                <a:lnTo>
                  <a:pt x="1368" y="1344"/>
                </a:lnTo>
                <a:lnTo>
                  <a:pt x="1374" y="1362"/>
                </a:lnTo>
                <a:lnTo>
                  <a:pt x="1368" y="1362"/>
                </a:lnTo>
                <a:lnTo>
                  <a:pt x="1368" y="1398"/>
                </a:lnTo>
                <a:lnTo>
                  <a:pt x="1368" y="1410"/>
                </a:lnTo>
                <a:lnTo>
                  <a:pt x="1368" y="1428"/>
                </a:lnTo>
                <a:lnTo>
                  <a:pt x="1368" y="1434"/>
                </a:lnTo>
                <a:lnTo>
                  <a:pt x="1368" y="1440"/>
                </a:lnTo>
                <a:lnTo>
                  <a:pt x="1374" y="1446"/>
                </a:lnTo>
                <a:lnTo>
                  <a:pt x="1374" y="1452"/>
                </a:lnTo>
                <a:lnTo>
                  <a:pt x="1380" y="1458"/>
                </a:lnTo>
                <a:lnTo>
                  <a:pt x="1386" y="1464"/>
                </a:lnTo>
                <a:lnTo>
                  <a:pt x="1386" y="1470"/>
                </a:lnTo>
                <a:lnTo>
                  <a:pt x="1380" y="1476"/>
                </a:lnTo>
                <a:lnTo>
                  <a:pt x="1374" y="1482"/>
                </a:lnTo>
                <a:lnTo>
                  <a:pt x="1362" y="1500"/>
                </a:lnTo>
                <a:lnTo>
                  <a:pt x="1362" y="1506"/>
                </a:lnTo>
                <a:lnTo>
                  <a:pt x="1362" y="1512"/>
                </a:lnTo>
                <a:lnTo>
                  <a:pt x="1362" y="1518"/>
                </a:lnTo>
                <a:lnTo>
                  <a:pt x="1362" y="1524"/>
                </a:lnTo>
                <a:lnTo>
                  <a:pt x="1362" y="1536"/>
                </a:lnTo>
                <a:lnTo>
                  <a:pt x="1356" y="1542"/>
                </a:lnTo>
                <a:lnTo>
                  <a:pt x="1338" y="1548"/>
                </a:lnTo>
                <a:lnTo>
                  <a:pt x="1296" y="1548"/>
                </a:lnTo>
                <a:lnTo>
                  <a:pt x="1290" y="1554"/>
                </a:lnTo>
                <a:lnTo>
                  <a:pt x="1284" y="1560"/>
                </a:lnTo>
                <a:lnTo>
                  <a:pt x="1284" y="1566"/>
                </a:lnTo>
                <a:lnTo>
                  <a:pt x="1290" y="1578"/>
                </a:lnTo>
                <a:lnTo>
                  <a:pt x="1296" y="1590"/>
                </a:lnTo>
                <a:lnTo>
                  <a:pt x="1302" y="1590"/>
                </a:lnTo>
                <a:lnTo>
                  <a:pt x="1308" y="1596"/>
                </a:lnTo>
                <a:lnTo>
                  <a:pt x="1320" y="1602"/>
                </a:lnTo>
                <a:lnTo>
                  <a:pt x="1326" y="1602"/>
                </a:lnTo>
                <a:lnTo>
                  <a:pt x="1326" y="1608"/>
                </a:lnTo>
                <a:lnTo>
                  <a:pt x="1332" y="1614"/>
                </a:lnTo>
                <a:lnTo>
                  <a:pt x="1344" y="1620"/>
                </a:lnTo>
                <a:lnTo>
                  <a:pt x="1356" y="1626"/>
                </a:lnTo>
                <a:lnTo>
                  <a:pt x="1356" y="1632"/>
                </a:lnTo>
                <a:lnTo>
                  <a:pt x="1356" y="1638"/>
                </a:lnTo>
                <a:lnTo>
                  <a:pt x="1362" y="1644"/>
                </a:lnTo>
                <a:lnTo>
                  <a:pt x="1368" y="1644"/>
                </a:lnTo>
                <a:lnTo>
                  <a:pt x="1380" y="1650"/>
                </a:lnTo>
                <a:lnTo>
                  <a:pt x="1386" y="1650"/>
                </a:lnTo>
                <a:lnTo>
                  <a:pt x="1386" y="1656"/>
                </a:lnTo>
                <a:lnTo>
                  <a:pt x="1392" y="1656"/>
                </a:lnTo>
                <a:lnTo>
                  <a:pt x="1398" y="1662"/>
                </a:lnTo>
                <a:lnTo>
                  <a:pt x="1410" y="1674"/>
                </a:lnTo>
                <a:lnTo>
                  <a:pt x="1428" y="1680"/>
                </a:lnTo>
                <a:lnTo>
                  <a:pt x="1428" y="1686"/>
                </a:lnTo>
                <a:lnTo>
                  <a:pt x="1428" y="1698"/>
                </a:lnTo>
                <a:lnTo>
                  <a:pt x="1434" y="1704"/>
                </a:lnTo>
                <a:lnTo>
                  <a:pt x="1434" y="1710"/>
                </a:lnTo>
                <a:lnTo>
                  <a:pt x="1440" y="1710"/>
                </a:lnTo>
                <a:lnTo>
                  <a:pt x="1446" y="1710"/>
                </a:lnTo>
                <a:lnTo>
                  <a:pt x="1446" y="1716"/>
                </a:lnTo>
                <a:lnTo>
                  <a:pt x="1440" y="1722"/>
                </a:lnTo>
                <a:lnTo>
                  <a:pt x="1440" y="1728"/>
                </a:lnTo>
                <a:lnTo>
                  <a:pt x="1440" y="1734"/>
                </a:lnTo>
                <a:lnTo>
                  <a:pt x="1440" y="1740"/>
                </a:lnTo>
                <a:lnTo>
                  <a:pt x="1440" y="1746"/>
                </a:lnTo>
                <a:lnTo>
                  <a:pt x="1440" y="1788"/>
                </a:lnTo>
                <a:lnTo>
                  <a:pt x="1440" y="1800"/>
                </a:lnTo>
                <a:lnTo>
                  <a:pt x="1440" y="1806"/>
                </a:lnTo>
                <a:lnTo>
                  <a:pt x="1440" y="1836"/>
                </a:lnTo>
                <a:lnTo>
                  <a:pt x="1440" y="1848"/>
                </a:lnTo>
                <a:lnTo>
                  <a:pt x="1446" y="1848"/>
                </a:lnTo>
                <a:lnTo>
                  <a:pt x="1446" y="1854"/>
                </a:lnTo>
                <a:lnTo>
                  <a:pt x="1452" y="1848"/>
                </a:lnTo>
                <a:lnTo>
                  <a:pt x="1458" y="1854"/>
                </a:lnTo>
                <a:lnTo>
                  <a:pt x="1452" y="1860"/>
                </a:lnTo>
                <a:lnTo>
                  <a:pt x="1452" y="1866"/>
                </a:lnTo>
                <a:lnTo>
                  <a:pt x="1458" y="1872"/>
                </a:lnTo>
                <a:lnTo>
                  <a:pt x="1464" y="1884"/>
                </a:lnTo>
                <a:lnTo>
                  <a:pt x="1428" y="1878"/>
                </a:lnTo>
                <a:lnTo>
                  <a:pt x="1356" y="1890"/>
                </a:lnTo>
                <a:lnTo>
                  <a:pt x="1296" y="1926"/>
                </a:lnTo>
                <a:lnTo>
                  <a:pt x="1266" y="1944"/>
                </a:lnTo>
                <a:lnTo>
                  <a:pt x="1224" y="1944"/>
                </a:lnTo>
                <a:lnTo>
                  <a:pt x="1188" y="1956"/>
                </a:lnTo>
                <a:lnTo>
                  <a:pt x="1188" y="1950"/>
                </a:lnTo>
                <a:lnTo>
                  <a:pt x="1176" y="1944"/>
                </a:lnTo>
                <a:lnTo>
                  <a:pt x="1176" y="1938"/>
                </a:lnTo>
                <a:lnTo>
                  <a:pt x="1170" y="1938"/>
                </a:lnTo>
                <a:lnTo>
                  <a:pt x="1164" y="1932"/>
                </a:lnTo>
                <a:lnTo>
                  <a:pt x="1158" y="1926"/>
                </a:lnTo>
                <a:lnTo>
                  <a:pt x="1158" y="1920"/>
                </a:lnTo>
                <a:lnTo>
                  <a:pt x="1152" y="1920"/>
                </a:lnTo>
                <a:lnTo>
                  <a:pt x="1146" y="1914"/>
                </a:lnTo>
                <a:lnTo>
                  <a:pt x="1146" y="1908"/>
                </a:lnTo>
                <a:lnTo>
                  <a:pt x="1140" y="1908"/>
                </a:lnTo>
                <a:lnTo>
                  <a:pt x="1134" y="1902"/>
                </a:lnTo>
                <a:lnTo>
                  <a:pt x="1134" y="1896"/>
                </a:lnTo>
                <a:lnTo>
                  <a:pt x="1116" y="1896"/>
                </a:lnTo>
                <a:lnTo>
                  <a:pt x="1104" y="1884"/>
                </a:lnTo>
                <a:lnTo>
                  <a:pt x="1092" y="1860"/>
                </a:lnTo>
                <a:lnTo>
                  <a:pt x="1068" y="1854"/>
                </a:lnTo>
                <a:lnTo>
                  <a:pt x="1032" y="1842"/>
                </a:lnTo>
                <a:lnTo>
                  <a:pt x="1008" y="1836"/>
                </a:lnTo>
                <a:lnTo>
                  <a:pt x="978" y="1824"/>
                </a:lnTo>
                <a:lnTo>
                  <a:pt x="942" y="1818"/>
                </a:lnTo>
                <a:lnTo>
                  <a:pt x="924" y="1806"/>
                </a:lnTo>
                <a:lnTo>
                  <a:pt x="906" y="1788"/>
                </a:lnTo>
                <a:lnTo>
                  <a:pt x="894" y="1776"/>
                </a:lnTo>
                <a:lnTo>
                  <a:pt x="864" y="1758"/>
                </a:lnTo>
                <a:lnTo>
                  <a:pt x="834" y="1752"/>
                </a:lnTo>
                <a:lnTo>
                  <a:pt x="798" y="1746"/>
                </a:lnTo>
                <a:lnTo>
                  <a:pt x="792" y="1806"/>
                </a:lnTo>
                <a:lnTo>
                  <a:pt x="798" y="1812"/>
                </a:lnTo>
                <a:lnTo>
                  <a:pt x="810" y="1830"/>
                </a:lnTo>
                <a:lnTo>
                  <a:pt x="792" y="1842"/>
                </a:lnTo>
                <a:lnTo>
                  <a:pt x="768" y="1842"/>
                </a:lnTo>
                <a:lnTo>
                  <a:pt x="708" y="1848"/>
                </a:lnTo>
                <a:lnTo>
                  <a:pt x="690" y="1860"/>
                </a:lnTo>
                <a:lnTo>
                  <a:pt x="690" y="1866"/>
                </a:lnTo>
                <a:lnTo>
                  <a:pt x="678" y="1878"/>
                </a:lnTo>
                <a:lnTo>
                  <a:pt x="660" y="1884"/>
                </a:lnTo>
                <a:lnTo>
                  <a:pt x="660" y="1902"/>
                </a:lnTo>
                <a:lnTo>
                  <a:pt x="642" y="1902"/>
                </a:lnTo>
                <a:lnTo>
                  <a:pt x="582" y="1914"/>
                </a:lnTo>
                <a:lnTo>
                  <a:pt x="534" y="1908"/>
                </a:lnTo>
                <a:lnTo>
                  <a:pt x="510" y="1908"/>
                </a:lnTo>
                <a:lnTo>
                  <a:pt x="510" y="1896"/>
                </a:lnTo>
                <a:lnTo>
                  <a:pt x="492" y="1896"/>
                </a:lnTo>
                <a:lnTo>
                  <a:pt x="486" y="1902"/>
                </a:lnTo>
                <a:lnTo>
                  <a:pt x="474" y="1908"/>
                </a:lnTo>
                <a:lnTo>
                  <a:pt x="450" y="1908"/>
                </a:lnTo>
                <a:lnTo>
                  <a:pt x="432" y="1902"/>
                </a:lnTo>
                <a:lnTo>
                  <a:pt x="426" y="1896"/>
                </a:lnTo>
                <a:lnTo>
                  <a:pt x="402" y="1884"/>
                </a:lnTo>
                <a:lnTo>
                  <a:pt x="390" y="1872"/>
                </a:lnTo>
                <a:lnTo>
                  <a:pt x="384" y="1872"/>
                </a:lnTo>
                <a:lnTo>
                  <a:pt x="378" y="1872"/>
                </a:lnTo>
                <a:lnTo>
                  <a:pt x="378" y="1866"/>
                </a:lnTo>
                <a:lnTo>
                  <a:pt x="372" y="1860"/>
                </a:lnTo>
                <a:lnTo>
                  <a:pt x="372" y="1854"/>
                </a:lnTo>
                <a:lnTo>
                  <a:pt x="366" y="1842"/>
                </a:lnTo>
                <a:lnTo>
                  <a:pt x="366" y="1836"/>
                </a:lnTo>
                <a:lnTo>
                  <a:pt x="348" y="1830"/>
                </a:lnTo>
                <a:lnTo>
                  <a:pt x="348" y="1806"/>
                </a:lnTo>
                <a:lnTo>
                  <a:pt x="348" y="1800"/>
                </a:lnTo>
                <a:lnTo>
                  <a:pt x="348" y="1782"/>
                </a:lnTo>
                <a:lnTo>
                  <a:pt x="336" y="1788"/>
                </a:lnTo>
                <a:lnTo>
                  <a:pt x="312" y="1794"/>
                </a:lnTo>
                <a:lnTo>
                  <a:pt x="288" y="1788"/>
                </a:lnTo>
                <a:lnTo>
                  <a:pt x="264" y="1758"/>
                </a:lnTo>
                <a:lnTo>
                  <a:pt x="270" y="1758"/>
                </a:lnTo>
                <a:lnTo>
                  <a:pt x="270" y="1752"/>
                </a:lnTo>
                <a:lnTo>
                  <a:pt x="276" y="1752"/>
                </a:lnTo>
                <a:lnTo>
                  <a:pt x="282" y="1746"/>
                </a:lnTo>
                <a:lnTo>
                  <a:pt x="300" y="1746"/>
                </a:lnTo>
                <a:lnTo>
                  <a:pt x="312" y="1746"/>
                </a:lnTo>
                <a:lnTo>
                  <a:pt x="336" y="1710"/>
                </a:lnTo>
                <a:lnTo>
                  <a:pt x="342" y="1692"/>
                </a:lnTo>
                <a:lnTo>
                  <a:pt x="348" y="1680"/>
                </a:lnTo>
                <a:lnTo>
                  <a:pt x="342" y="1650"/>
                </a:lnTo>
                <a:lnTo>
                  <a:pt x="354" y="1644"/>
                </a:lnTo>
                <a:lnTo>
                  <a:pt x="354" y="1638"/>
                </a:lnTo>
                <a:lnTo>
                  <a:pt x="360" y="1632"/>
                </a:lnTo>
                <a:lnTo>
                  <a:pt x="354" y="1626"/>
                </a:lnTo>
                <a:lnTo>
                  <a:pt x="348" y="1626"/>
                </a:lnTo>
                <a:lnTo>
                  <a:pt x="348" y="1620"/>
                </a:lnTo>
                <a:lnTo>
                  <a:pt x="342" y="1620"/>
                </a:lnTo>
                <a:lnTo>
                  <a:pt x="348" y="1614"/>
                </a:lnTo>
                <a:lnTo>
                  <a:pt x="324" y="1566"/>
                </a:lnTo>
                <a:lnTo>
                  <a:pt x="318" y="1566"/>
                </a:lnTo>
                <a:lnTo>
                  <a:pt x="306" y="1572"/>
                </a:lnTo>
                <a:lnTo>
                  <a:pt x="300" y="1572"/>
                </a:lnTo>
                <a:lnTo>
                  <a:pt x="294" y="1578"/>
                </a:lnTo>
                <a:lnTo>
                  <a:pt x="288" y="1584"/>
                </a:lnTo>
                <a:lnTo>
                  <a:pt x="282" y="1584"/>
                </a:lnTo>
                <a:lnTo>
                  <a:pt x="282" y="1578"/>
                </a:lnTo>
                <a:lnTo>
                  <a:pt x="276" y="1578"/>
                </a:lnTo>
                <a:lnTo>
                  <a:pt x="270" y="1578"/>
                </a:lnTo>
                <a:lnTo>
                  <a:pt x="264" y="1578"/>
                </a:lnTo>
                <a:lnTo>
                  <a:pt x="258" y="1578"/>
                </a:lnTo>
                <a:lnTo>
                  <a:pt x="252" y="1578"/>
                </a:lnTo>
                <a:lnTo>
                  <a:pt x="252" y="1584"/>
                </a:lnTo>
                <a:lnTo>
                  <a:pt x="246" y="1584"/>
                </a:lnTo>
                <a:lnTo>
                  <a:pt x="210" y="1584"/>
                </a:lnTo>
                <a:lnTo>
                  <a:pt x="204" y="1584"/>
                </a:lnTo>
                <a:lnTo>
                  <a:pt x="192" y="1584"/>
                </a:lnTo>
                <a:lnTo>
                  <a:pt x="168" y="1596"/>
                </a:lnTo>
                <a:lnTo>
                  <a:pt x="156" y="1572"/>
                </a:lnTo>
                <a:lnTo>
                  <a:pt x="156" y="1566"/>
                </a:lnTo>
                <a:lnTo>
                  <a:pt x="156" y="1560"/>
                </a:lnTo>
                <a:lnTo>
                  <a:pt x="162" y="1548"/>
                </a:lnTo>
                <a:lnTo>
                  <a:pt x="162" y="1542"/>
                </a:lnTo>
                <a:lnTo>
                  <a:pt x="162" y="1536"/>
                </a:lnTo>
                <a:lnTo>
                  <a:pt x="168" y="1530"/>
                </a:lnTo>
                <a:lnTo>
                  <a:pt x="168" y="1524"/>
                </a:lnTo>
                <a:lnTo>
                  <a:pt x="168" y="1518"/>
                </a:lnTo>
                <a:lnTo>
                  <a:pt x="174" y="1518"/>
                </a:lnTo>
                <a:lnTo>
                  <a:pt x="174" y="1506"/>
                </a:lnTo>
                <a:lnTo>
                  <a:pt x="156" y="1470"/>
                </a:lnTo>
                <a:lnTo>
                  <a:pt x="138" y="1464"/>
                </a:lnTo>
                <a:lnTo>
                  <a:pt x="126" y="1446"/>
                </a:lnTo>
                <a:lnTo>
                  <a:pt x="126" y="1440"/>
                </a:lnTo>
                <a:lnTo>
                  <a:pt x="126" y="1434"/>
                </a:lnTo>
                <a:lnTo>
                  <a:pt x="120" y="1428"/>
                </a:lnTo>
                <a:lnTo>
                  <a:pt x="126" y="1398"/>
                </a:lnTo>
                <a:lnTo>
                  <a:pt x="120" y="1374"/>
                </a:lnTo>
                <a:lnTo>
                  <a:pt x="60" y="1374"/>
                </a:lnTo>
                <a:lnTo>
                  <a:pt x="60" y="1368"/>
                </a:lnTo>
                <a:lnTo>
                  <a:pt x="54" y="1362"/>
                </a:lnTo>
                <a:lnTo>
                  <a:pt x="48" y="1356"/>
                </a:lnTo>
                <a:lnTo>
                  <a:pt x="42" y="1356"/>
                </a:lnTo>
                <a:lnTo>
                  <a:pt x="42" y="1350"/>
                </a:lnTo>
                <a:lnTo>
                  <a:pt x="36" y="1344"/>
                </a:lnTo>
                <a:lnTo>
                  <a:pt x="36" y="1338"/>
                </a:lnTo>
                <a:lnTo>
                  <a:pt x="30" y="1332"/>
                </a:lnTo>
                <a:lnTo>
                  <a:pt x="30" y="1326"/>
                </a:lnTo>
                <a:lnTo>
                  <a:pt x="18" y="1326"/>
                </a:lnTo>
                <a:lnTo>
                  <a:pt x="18" y="1320"/>
                </a:lnTo>
                <a:lnTo>
                  <a:pt x="18" y="1326"/>
                </a:lnTo>
                <a:lnTo>
                  <a:pt x="6" y="1320"/>
                </a:lnTo>
                <a:lnTo>
                  <a:pt x="0" y="1314"/>
                </a:lnTo>
                <a:lnTo>
                  <a:pt x="12" y="1266"/>
                </a:lnTo>
                <a:lnTo>
                  <a:pt x="6" y="1242"/>
                </a:lnTo>
                <a:lnTo>
                  <a:pt x="12" y="1236"/>
                </a:lnTo>
                <a:lnTo>
                  <a:pt x="12" y="1230"/>
                </a:lnTo>
                <a:lnTo>
                  <a:pt x="18" y="1230"/>
                </a:lnTo>
                <a:lnTo>
                  <a:pt x="18" y="1224"/>
                </a:lnTo>
                <a:lnTo>
                  <a:pt x="24" y="1218"/>
                </a:lnTo>
                <a:lnTo>
                  <a:pt x="24" y="1212"/>
                </a:lnTo>
                <a:lnTo>
                  <a:pt x="30" y="1212"/>
                </a:lnTo>
                <a:lnTo>
                  <a:pt x="36" y="1200"/>
                </a:lnTo>
                <a:lnTo>
                  <a:pt x="42" y="1194"/>
                </a:lnTo>
                <a:lnTo>
                  <a:pt x="42" y="1188"/>
                </a:lnTo>
                <a:lnTo>
                  <a:pt x="48" y="1188"/>
                </a:lnTo>
                <a:lnTo>
                  <a:pt x="48" y="1182"/>
                </a:lnTo>
                <a:lnTo>
                  <a:pt x="48" y="1176"/>
                </a:lnTo>
                <a:lnTo>
                  <a:pt x="48" y="1170"/>
                </a:lnTo>
                <a:lnTo>
                  <a:pt x="54" y="1170"/>
                </a:lnTo>
                <a:lnTo>
                  <a:pt x="60" y="1164"/>
                </a:lnTo>
                <a:lnTo>
                  <a:pt x="60" y="1158"/>
                </a:lnTo>
                <a:lnTo>
                  <a:pt x="66" y="1152"/>
                </a:lnTo>
                <a:lnTo>
                  <a:pt x="60" y="1140"/>
                </a:lnTo>
                <a:lnTo>
                  <a:pt x="60" y="1134"/>
                </a:lnTo>
                <a:lnTo>
                  <a:pt x="54" y="1134"/>
                </a:lnTo>
                <a:lnTo>
                  <a:pt x="54" y="1128"/>
                </a:lnTo>
                <a:lnTo>
                  <a:pt x="48" y="1122"/>
                </a:lnTo>
                <a:lnTo>
                  <a:pt x="48" y="1116"/>
                </a:lnTo>
                <a:lnTo>
                  <a:pt x="48" y="1110"/>
                </a:lnTo>
                <a:lnTo>
                  <a:pt x="42" y="1104"/>
                </a:lnTo>
                <a:lnTo>
                  <a:pt x="42" y="1098"/>
                </a:lnTo>
                <a:lnTo>
                  <a:pt x="36" y="1092"/>
                </a:lnTo>
                <a:lnTo>
                  <a:pt x="30" y="1092"/>
                </a:lnTo>
                <a:lnTo>
                  <a:pt x="24" y="1092"/>
                </a:lnTo>
                <a:lnTo>
                  <a:pt x="24" y="1086"/>
                </a:lnTo>
                <a:lnTo>
                  <a:pt x="24" y="1080"/>
                </a:lnTo>
                <a:lnTo>
                  <a:pt x="18" y="1080"/>
                </a:lnTo>
                <a:lnTo>
                  <a:pt x="18" y="1074"/>
                </a:lnTo>
                <a:lnTo>
                  <a:pt x="12" y="1068"/>
                </a:lnTo>
                <a:lnTo>
                  <a:pt x="6" y="1068"/>
                </a:lnTo>
                <a:lnTo>
                  <a:pt x="12" y="1056"/>
                </a:lnTo>
                <a:lnTo>
                  <a:pt x="6" y="1056"/>
                </a:lnTo>
                <a:lnTo>
                  <a:pt x="6" y="1050"/>
                </a:lnTo>
                <a:lnTo>
                  <a:pt x="6" y="1044"/>
                </a:lnTo>
                <a:lnTo>
                  <a:pt x="6" y="1026"/>
                </a:lnTo>
                <a:lnTo>
                  <a:pt x="12" y="1020"/>
                </a:lnTo>
                <a:lnTo>
                  <a:pt x="12" y="1014"/>
                </a:lnTo>
                <a:lnTo>
                  <a:pt x="18" y="1014"/>
                </a:lnTo>
                <a:lnTo>
                  <a:pt x="18" y="1008"/>
                </a:lnTo>
                <a:lnTo>
                  <a:pt x="18" y="1002"/>
                </a:lnTo>
                <a:lnTo>
                  <a:pt x="18" y="990"/>
                </a:lnTo>
                <a:lnTo>
                  <a:pt x="12" y="972"/>
                </a:lnTo>
                <a:lnTo>
                  <a:pt x="18" y="954"/>
                </a:lnTo>
                <a:lnTo>
                  <a:pt x="18" y="948"/>
                </a:lnTo>
                <a:lnTo>
                  <a:pt x="24" y="948"/>
                </a:lnTo>
                <a:lnTo>
                  <a:pt x="24" y="930"/>
                </a:lnTo>
                <a:lnTo>
                  <a:pt x="30" y="930"/>
                </a:lnTo>
                <a:lnTo>
                  <a:pt x="36" y="918"/>
                </a:lnTo>
                <a:lnTo>
                  <a:pt x="42" y="918"/>
                </a:lnTo>
                <a:lnTo>
                  <a:pt x="48" y="918"/>
                </a:lnTo>
                <a:lnTo>
                  <a:pt x="78" y="912"/>
                </a:lnTo>
                <a:lnTo>
                  <a:pt x="90" y="894"/>
                </a:lnTo>
                <a:lnTo>
                  <a:pt x="96" y="894"/>
                </a:lnTo>
                <a:lnTo>
                  <a:pt x="102" y="888"/>
                </a:lnTo>
                <a:lnTo>
                  <a:pt x="102" y="882"/>
                </a:lnTo>
                <a:lnTo>
                  <a:pt x="114" y="870"/>
                </a:lnTo>
                <a:lnTo>
                  <a:pt x="120" y="864"/>
                </a:lnTo>
                <a:lnTo>
                  <a:pt x="120" y="852"/>
                </a:lnTo>
                <a:lnTo>
                  <a:pt x="120" y="846"/>
                </a:lnTo>
                <a:lnTo>
                  <a:pt x="126" y="846"/>
                </a:lnTo>
                <a:lnTo>
                  <a:pt x="126" y="840"/>
                </a:lnTo>
                <a:lnTo>
                  <a:pt x="132" y="840"/>
                </a:lnTo>
                <a:lnTo>
                  <a:pt x="138" y="840"/>
                </a:lnTo>
                <a:lnTo>
                  <a:pt x="138" y="834"/>
                </a:lnTo>
                <a:lnTo>
                  <a:pt x="144" y="834"/>
                </a:lnTo>
                <a:lnTo>
                  <a:pt x="144" y="828"/>
                </a:lnTo>
                <a:lnTo>
                  <a:pt x="150" y="828"/>
                </a:lnTo>
                <a:lnTo>
                  <a:pt x="156" y="822"/>
                </a:lnTo>
                <a:lnTo>
                  <a:pt x="162" y="816"/>
                </a:lnTo>
                <a:lnTo>
                  <a:pt x="162" y="822"/>
                </a:lnTo>
                <a:lnTo>
                  <a:pt x="162" y="816"/>
                </a:lnTo>
                <a:lnTo>
                  <a:pt x="162" y="810"/>
                </a:lnTo>
                <a:lnTo>
                  <a:pt x="168" y="810"/>
                </a:lnTo>
                <a:lnTo>
                  <a:pt x="174" y="804"/>
                </a:lnTo>
                <a:lnTo>
                  <a:pt x="180" y="798"/>
                </a:lnTo>
                <a:lnTo>
                  <a:pt x="180" y="786"/>
                </a:lnTo>
                <a:lnTo>
                  <a:pt x="186" y="786"/>
                </a:lnTo>
                <a:lnTo>
                  <a:pt x="192" y="786"/>
                </a:lnTo>
                <a:lnTo>
                  <a:pt x="192" y="780"/>
                </a:lnTo>
                <a:lnTo>
                  <a:pt x="198" y="780"/>
                </a:lnTo>
                <a:lnTo>
                  <a:pt x="204" y="774"/>
                </a:lnTo>
                <a:lnTo>
                  <a:pt x="210" y="774"/>
                </a:lnTo>
                <a:lnTo>
                  <a:pt x="216" y="768"/>
                </a:lnTo>
                <a:lnTo>
                  <a:pt x="222" y="762"/>
                </a:lnTo>
                <a:lnTo>
                  <a:pt x="228" y="762"/>
                </a:lnTo>
                <a:lnTo>
                  <a:pt x="228" y="768"/>
                </a:lnTo>
                <a:lnTo>
                  <a:pt x="234" y="768"/>
                </a:lnTo>
                <a:lnTo>
                  <a:pt x="240" y="762"/>
                </a:lnTo>
                <a:lnTo>
                  <a:pt x="252" y="762"/>
                </a:lnTo>
                <a:lnTo>
                  <a:pt x="264" y="768"/>
                </a:lnTo>
                <a:lnTo>
                  <a:pt x="294" y="756"/>
                </a:lnTo>
                <a:lnTo>
                  <a:pt x="294" y="750"/>
                </a:lnTo>
                <a:lnTo>
                  <a:pt x="300" y="750"/>
                </a:lnTo>
                <a:lnTo>
                  <a:pt x="306" y="744"/>
                </a:lnTo>
                <a:lnTo>
                  <a:pt x="342" y="750"/>
                </a:lnTo>
                <a:lnTo>
                  <a:pt x="348" y="750"/>
                </a:lnTo>
                <a:lnTo>
                  <a:pt x="348" y="744"/>
                </a:lnTo>
                <a:lnTo>
                  <a:pt x="354" y="744"/>
                </a:lnTo>
                <a:lnTo>
                  <a:pt x="360" y="744"/>
                </a:lnTo>
                <a:lnTo>
                  <a:pt x="360" y="750"/>
                </a:lnTo>
                <a:lnTo>
                  <a:pt x="366" y="750"/>
                </a:lnTo>
                <a:lnTo>
                  <a:pt x="366" y="744"/>
                </a:lnTo>
                <a:lnTo>
                  <a:pt x="366" y="738"/>
                </a:lnTo>
                <a:lnTo>
                  <a:pt x="372" y="744"/>
                </a:lnTo>
                <a:lnTo>
                  <a:pt x="378" y="744"/>
                </a:lnTo>
                <a:lnTo>
                  <a:pt x="384" y="750"/>
                </a:lnTo>
                <a:lnTo>
                  <a:pt x="444" y="774"/>
                </a:lnTo>
                <a:lnTo>
                  <a:pt x="450" y="774"/>
                </a:lnTo>
                <a:lnTo>
                  <a:pt x="456" y="768"/>
                </a:lnTo>
                <a:lnTo>
                  <a:pt x="462" y="768"/>
                </a:lnTo>
                <a:lnTo>
                  <a:pt x="462" y="762"/>
                </a:lnTo>
                <a:lnTo>
                  <a:pt x="468" y="762"/>
                </a:lnTo>
                <a:lnTo>
                  <a:pt x="474" y="756"/>
                </a:lnTo>
                <a:lnTo>
                  <a:pt x="480" y="750"/>
                </a:lnTo>
                <a:lnTo>
                  <a:pt x="516" y="756"/>
                </a:lnTo>
                <a:lnTo>
                  <a:pt x="522" y="756"/>
                </a:lnTo>
                <a:lnTo>
                  <a:pt x="522" y="762"/>
                </a:lnTo>
                <a:lnTo>
                  <a:pt x="522" y="768"/>
                </a:lnTo>
                <a:lnTo>
                  <a:pt x="522" y="774"/>
                </a:lnTo>
                <a:lnTo>
                  <a:pt x="528" y="780"/>
                </a:lnTo>
                <a:lnTo>
                  <a:pt x="540" y="780"/>
                </a:lnTo>
                <a:lnTo>
                  <a:pt x="540" y="804"/>
                </a:lnTo>
                <a:lnTo>
                  <a:pt x="540" y="810"/>
                </a:lnTo>
                <a:lnTo>
                  <a:pt x="546" y="810"/>
                </a:lnTo>
                <a:lnTo>
                  <a:pt x="552" y="810"/>
                </a:lnTo>
                <a:lnTo>
                  <a:pt x="558" y="810"/>
                </a:lnTo>
                <a:lnTo>
                  <a:pt x="564" y="810"/>
                </a:lnTo>
                <a:lnTo>
                  <a:pt x="570" y="810"/>
                </a:lnTo>
                <a:lnTo>
                  <a:pt x="576" y="810"/>
                </a:lnTo>
                <a:lnTo>
                  <a:pt x="576" y="816"/>
                </a:lnTo>
                <a:lnTo>
                  <a:pt x="588" y="816"/>
                </a:lnTo>
                <a:lnTo>
                  <a:pt x="594" y="816"/>
                </a:lnTo>
                <a:lnTo>
                  <a:pt x="600" y="822"/>
                </a:lnTo>
                <a:lnTo>
                  <a:pt x="606" y="816"/>
                </a:lnTo>
                <a:lnTo>
                  <a:pt x="612" y="816"/>
                </a:lnTo>
                <a:lnTo>
                  <a:pt x="612" y="810"/>
                </a:lnTo>
                <a:lnTo>
                  <a:pt x="624" y="810"/>
                </a:lnTo>
                <a:lnTo>
                  <a:pt x="624" y="804"/>
                </a:lnTo>
                <a:lnTo>
                  <a:pt x="630" y="798"/>
                </a:lnTo>
                <a:lnTo>
                  <a:pt x="636" y="798"/>
                </a:lnTo>
                <a:lnTo>
                  <a:pt x="636" y="804"/>
                </a:lnTo>
                <a:lnTo>
                  <a:pt x="642" y="804"/>
                </a:lnTo>
                <a:lnTo>
                  <a:pt x="648" y="804"/>
                </a:lnTo>
                <a:lnTo>
                  <a:pt x="654" y="804"/>
                </a:lnTo>
                <a:lnTo>
                  <a:pt x="660" y="804"/>
                </a:lnTo>
                <a:lnTo>
                  <a:pt x="678" y="798"/>
                </a:lnTo>
                <a:lnTo>
                  <a:pt x="714" y="786"/>
                </a:lnTo>
                <a:lnTo>
                  <a:pt x="714" y="792"/>
                </a:lnTo>
                <a:lnTo>
                  <a:pt x="714" y="798"/>
                </a:lnTo>
                <a:lnTo>
                  <a:pt x="714" y="804"/>
                </a:lnTo>
                <a:lnTo>
                  <a:pt x="720" y="804"/>
                </a:lnTo>
                <a:lnTo>
                  <a:pt x="720" y="810"/>
                </a:lnTo>
                <a:lnTo>
                  <a:pt x="720" y="816"/>
                </a:lnTo>
                <a:lnTo>
                  <a:pt x="726" y="822"/>
                </a:lnTo>
                <a:lnTo>
                  <a:pt x="732" y="828"/>
                </a:lnTo>
                <a:lnTo>
                  <a:pt x="732" y="834"/>
                </a:lnTo>
                <a:lnTo>
                  <a:pt x="732" y="846"/>
                </a:lnTo>
                <a:lnTo>
                  <a:pt x="732" y="858"/>
                </a:lnTo>
                <a:lnTo>
                  <a:pt x="738" y="858"/>
                </a:lnTo>
                <a:lnTo>
                  <a:pt x="732" y="864"/>
                </a:lnTo>
                <a:lnTo>
                  <a:pt x="732" y="870"/>
                </a:lnTo>
                <a:lnTo>
                  <a:pt x="726" y="870"/>
                </a:lnTo>
                <a:lnTo>
                  <a:pt x="726" y="876"/>
                </a:lnTo>
                <a:lnTo>
                  <a:pt x="720" y="882"/>
                </a:lnTo>
                <a:lnTo>
                  <a:pt x="714" y="876"/>
                </a:lnTo>
                <a:lnTo>
                  <a:pt x="708" y="870"/>
                </a:lnTo>
                <a:lnTo>
                  <a:pt x="702" y="870"/>
                </a:lnTo>
                <a:lnTo>
                  <a:pt x="690" y="882"/>
                </a:lnTo>
                <a:lnTo>
                  <a:pt x="690" y="912"/>
                </a:lnTo>
                <a:lnTo>
                  <a:pt x="696" y="936"/>
                </a:lnTo>
                <a:lnTo>
                  <a:pt x="702" y="936"/>
                </a:lnTo>
                <a:lnTo>
                  <a:pt x="702" y="930"/>
                </a:lnTo>
                <a:lnTo>
                  <a:pt x="708" y="930"/>
                </a:lnTo>
                <a:lnTo>
                  <a:pt x="708" y="924"/>
                </a:lnTo>
                <a:lnTo>
                  <a:pt x="708" y="918"/>
                </a:lnTo>
                <a:lnTo>
                  <a:pt x="714" y="918"/>
                </a:lnTo>
                <a:lnTo>
                  <a:pt x="720" y="954"/>
                </a:lnTo>
                <a:lnTo>
                  <a:pt x="726" y="966"/>
                </a:lnTo>
                <a:lnTo>
                  <a:pt x="744" y="966"/>
                </a:lnTo>
                <a:lnTo>
                  <a:pt x="756" y="972"/>
                </a:lnTo>
                <a:lnTo>
                  <a:pt x="792" y="990"/>
                </a:lnTo>
                <a:lnTo>
                  <a:pt x="828" y="978"/>
                </a:lnTo>
                <a:lnTo>
                  <a:pt x="834" y="978"/>
                </a:lnTo>
                <a:lnTo>
                  <a:pt x="840" y="978"/>
                </a:lnTo>
                <a:lnTo>
                  <a:pt x="840" y="984"/>
                </a:lnTo>
                <a:lnTo>
                  <a:pt x="846" y="984"/>
                </a:lnTo>
                <a:lnTo>
                  <a:pt x="858" y="972"/>
                </a:lnTo>
                <a:lnTo>
                  <a:pt x="882" y="972"/>
                </a:lnTo>
                <a:lnTo>
                  <a:pt x="888" y="984"/>
                </a:lnTo>
                <a:lnTo>
                  <a:pt x="900" y="990"/>
                </a:lnTo>
                <a:lnTo>
                  <a:pt x="924" y="996"/>
                </a:lnTo>
                <a:lnTo>
                  <a:pt x="930" y="990"/>
                </a:lnTo>
                <a:lnTo>
                  <a:pt x="930" y="984"/>
                </a:lnTo>
                <a:lnTo>
                  <a:pt x="924" y="978"/>
                </a:lnTo>
                <a:lnTo>
                  <a:pt x="906" y="972"/>
                </a:lnTo>
                <a:lnTo>
                  <a:pt x="900" y="966"/>
                </a:lnTo>
                <a:lnTo>
                  <a:pt x="900" y="960"/>
                </a:lnTo>
                <a:lnTo>
                  <a:pt x="900" y="954"/>
                </a:lnTo>
                <a:lnTo>
                  <a:pt x="900" y="948"/>
                </a:lnTo>
                <a:lnTo>
                  <a:pt x="912" y="936"/>
                </a:lnTo>
                <a:lnTo>
                  <a:pt x="912" y="924"/>
                </a:lnTo>
                <a:lnTo>
                  <a:pt x="918" y="924"/>
                </a:lnTo>
                <a:lnTo>
                  <a:pt x="918" y="918"/>
                </a:lnTo>
                <a:lnTo>
                  <a:pt x="936" y="906"/>
                </a:lnTo>
                <a:lnTo>
                  <a:pt x="942" y="906"/>
                </a:lnTo>
                <a:lnTo>
                  <a:pt x="948" y="906"/>
                </a:lnTo>
                <a:lnTo>
                  <a:pt x="954" y="906"/>
                </a:lnTo>
                <a:lnTo>
                  <a:pt x="960" y="906"/>
                </a:lnTo>
                <a:lnTo>
                  <a:pt x="966" y="912"/>
                </a:lnTo>
                <a:lnTo>
                  <a:pt x="972" y="906"/>
                </a:lnTo>
                <a:lnTo>
                  <a:pt x="978" y="906"/>
                </a:lnTo>
                <a:lnTo>
                  <a:pt x="984" y="900"/>
                </a:lnTo>
                <a:lnTo>
                  <a:pt x="984" y="894"/>
                </a:lnTo>
                <a:lnTo>
                  <a:pt x="990" y="894"/>
                </a:lnTo>
                <a:lnTo>
                  <a:pt x="996" y="888"/>
                </a:lnTo>
                <a:lnTo>
                  <a:pt x="1002" y="888"/>
                </a:lnTo>
                <a:lnTo>
                  <a:pt x="1008" y="882"/>
                </a:lnTo>
                <a:lnTo>
                  <a:pt x="1014" y="882"/>
                </a:lnTo>
                <a:lnTo>
                  <a:pt x="1020" y="882"/>
                </a:lnTo>
                <a:lnTo>
                  <a:pt x="1020" y="888"/>
                </a:lnTo>
                <a:lnTo>
                  <a:pt x="1026" y="882"/>
                </a:lnTo>
                <a:lnTo>
                  <a:pt x="1026" y="876"/>
                </a:lnTo>
                <a:lnTo>
                  <a:pt x="1026" y="870"/>
                </a:lnTo>
                <a:lnTo>
                  <a:pt x="1032" y="864"/>
                </a:lnTo>
                <a:lnTo>
                  <a:pt x="1038" y="858"/>
                </a:lnTo>
                <a:lnTo>
                  <a:pt x="1038" y="852"/>
                </a:lnTo>
                <a:lnTo>
                  <a:pt x="1044" y="852"/>
                </a:lnTo>
                <a:lnTo>
                  <a:pt x="1038" y="846"/>
                </a:lnTo>
                <a:lnTo>
                  <a:pt x="1038" y="840"/>
                </a:lnTo>
                <a:lnTo>
                  <a:pt x="1032" y="840"/>
                </a:lnTo>
                <a:lnTo>
                  <a:pt x="1026" y="840"/>
                </a:lnTo>
                <a:lnTo>
                  <a:pt x="1020" y="840"/>
                </a:lnTo>
                <a:lnTo>
                  <a:pt x="1014" y="846"/>
                </a:lnTo>
                <a:lnTo>
                  <a:pt x="1008" y="846"/>
                </a:lnTo>
                <a:lnTo>
                  <a:pt x="1002" y="840"/>
                </a:lnTo>
                <a:lnTo>
                  <a:pt x="996" y="840"/>
                </a:lnTo>
                <a:lnTo>
                  <a:pt x="990" y="834"/>
                </a:lnTo>
                <a:lnTo>
                  <a:pt x="984" y="834"/>
                </a:lnTo>
                <a:lnTo>
                  <a:pt x="978" y="834"/>
                </a:lnTo>
                <a:lnTo>
                  <a:pt x="972" y="834"/>
                </a:lnTo>
                <a:lnTo>
                  <a:pt x="966" y="834"/>
                </a:lnTo>
                <a:lnTo>
                  <a:pt x="966" y="828"/>
                </a:lnTo>
                <a:lnTo>
                  <a:pt x="960" y="828"/>
                </a:lnTo>
                <a:lnTo>
                  <a:pt x="954" y="828"/>
                </a:lnTo>
                <a:lnTo>
                  <a:pt x="942" y="828"/>
                </a:lnTo>
                <a:lnTo>
                  <a:pt x="936" y="828"/>
                </a:lnTo>
                <a:lnTo>
                  <a:pt x="930" y="828"/>
                </a:lnTo>
                <a:lnTo>
                  <a:pt x="918" y="828"/>
                </a:lnTo>
                <a:lnTo>
                  <a:pt x="918" y="822"/>
                </a:lnTo>
                <a:lnTo>
                  <a:pt x="912" y="828"/>
                </a:lnTo>
                <a:lnTo>
                  <a:pt x="912" y="822"/>
                </a:lnTo>
                <a:lnTo>
                  <a:pt x="906" y="816"/>
                </a:lnTo>
                <a:lnTo>
                  <a:pt x="900" y="816"/>
                </a:lnTo>
                <a:lnTo>
                  <a:pt x="894" y="816"/>
                </a:lnTo>
                <a:lnTo>
                  <a:pt x="888" y="816"/>
                </a:lnTo>
                <a:lnTo>
                  <a:pt x="882" y="816"/>
                </a:lnTo>
                <a:lnTo>
                  <a:pt x="882" y="810"/>
                </a:lnTo>
                <a:lnTo>
                  <a:pt x="876" y="804"/>
                </a:lnTo>
                <a:lnTo>
                  <a:pt x="870" y="804"/>
                </a:lnTo>
                <a:lnTo>
                  <a:pt x="864" y="798"/>
                </a:lnTo>
                <a:lnTo>
                  <a:pt x="858" y="798"/>
                </a:lnTo>
                <a:lnTo>
                  <a:pt x="858" y="804"/>
                </a:lnTo>
                <a:lnTo>
                  <a:pt x="852" y="804"/>
                </a:lnTo>
                <a:lnTo>
                  <a:pt x="846" y="804"/>
                </a:lnTo>
                <a:lnTo>
                  <a:pt x="846" y="798"/>
                </a:lnTo>
                <a:lnTo>
                  <a:pt x="840" y="804"/>
                </a:lnTo>
                <a:lnTo>
                  <a:pt x="834" y="804"/>
                </a:lnTo>
                <a:lnTo>
                  <a:pt x="828" y="804"/>
                </a:lnTo>
                <a:lnTo>
                  <a:pt x="828" y="810"/>
                </a:lnTo>
                <a:lnTo>
                  <a:pt x="822" y="810"/>
                </a:lnTo>
                <a:lnTo>
                  <a:pt x="810" y="804"/>
                </a:lnTo>
                <a:lnTo>
                  <a:pt x="810" y="798"/>
                </a:lnTo>
                <a:lnTo>
                  <a:pt x="780" y="798"/>
                </a:lnTo>
                <a:lnTo>
                  <a:pt x="756" y="774"/>
                </a:lnTo>
                <a:lnTo>
                  <a:pt x="750" y="768"/>
                </a:lnTo>
                <a:lnTo>
                  <a:pt x="750" y="744"/>
                </a:lnTo>
                <a:lnTo>
                  <a:pt x="732" y="738"/>
                </a:lnTo>
                <a:lnTo>
                  <a:pt x="732" y="720"/>
                </a:lnTo>
                <a:lnTo>
                  <a:pt x="714" y="690"/>
                </a:lnTo>
                <a:lnTo>
                  <a:pt x="702" y="684"/>
                </a:lnTo>
                <a:lnTo>
                  <a:pt x="696" y="684"/>
                </a:lnTo>
                <a:lnTo>
                  <a:pt x="696" y="666"/>
                </a:lnTo>
                <a:lnTo>
                  <a:pt x="690" y="666"/>
                </a:lnTo>
                <a:lnTo>
                  <a:pt x="678" y="672"/>
                </a:lnTo>
                <a:lnTo>
                  <a:pt x="678" y="654"/>
                </a:lnTo>
                <a:lnTo>
                  <a:pt x="684" y="630"/>
                </a:lnTo>
                <a:lnTo>
                  <a:pt x="690" y="618"/>
                </a:lnTo>
                <a:lnTo>
                  <a:pt x="696" y="612"/>
                </a:lnTo>
                <a:lnTo>
                  <a:pt x="696" y="588"/>
                </a:lnTo>
                <a:lnTo>
                  <a:pt x="690" y="576"/>
                </a:lnTo>
                <a:lnTo>
                  <a:pt x="696" y="552"/>
                </a:lnTo>
                <a:lnTo>
                  <a:pt x="684" y="522"/>
                </a:lnTo>
                <a:lnTo>
                  <a:pt x="672" y="504"/>
                </a:lnTo>
                <a:lnTo>
                  <a:pt x="654" y="504"/>
                </a:lnTo>
                <a:lnTo>
                  <a:pt x="642" y="504"/>
                </a:lnTo>
                <a:lnTo>
                  <a:pt x="624" y="510"/>
                </a:lnTo>
                <a:lnTo>
                  <a:pt x="612" y="516"/>
                </a:lnTo>
                <a:lnTo>
                  <a:pt x="594" y="516"/>
                </a:lnTo>
                <a:lnTo>
                  <a:pt x="588" y="516"/>
                </a:lnTo>
                <a:lnTo>
                  <a:pt x="588" y="522"/>
                </a:lnTo>
                <a:lnTo>
                  <a:pt x="582" y="516"/>
                </a:lnTo>
                <a:lnTo>
                  <a:pt x="588" y="510"/>
                </a:lnTo>
                <a:lnTo>
                  <a:pt x="582" y="510"/>
                </a:lnTo>
                <a:lnTo>
                  <a:pt x="582" y="504"/>
                </a:lnTo>
                <a:lnTo>
                  <a:pt x="576" y="498"/>
                </a:lnTo>
                <a:lnTo>
                  <a:pt x="570" y="498"/>
                </a:lnTo>
                <a:lnTo>
                  <a:pt x="570" y="492"/>
                </a:lnTo>
                <a:lnTo>
                  <a:pt x="564" y="492"/>
                </a:lnTo>
                <a:lnTo>
                  <a:pt x="570" y="486"/>
                </a:lnTo>
                <a:lnTo>
                  <a:pt x="564" y="486"/>
                </a:lnTo>
                <a:lnTo>
                  <a:pt x="564" y="480"/>
                </a:lnTo>
                <a:lnTo>
                  <a:pt x="564" y="474"/>
                </a:lnTo>
                <a:lnTo>
                  <a:pt x="558" y="468"/>
                </a:lnTo>
                <a:lnTo>
                  <a:pt x="564" y="468"/>
                </a:lnTo>
                <a:lnTo>
                  <a:pt x="564" y="462"/>
                </a:lnTo>
                <a:lnTo>
                  <a:pt x="570" y="462"/>
                </a:lnTo>
                <a:lnTo>
                  <a:pt x="570" y="456"/>
                </a:lnTo>
                <a:lnTo>
                  <a:pt x="570" y="450"/>
                </a:lnTo>
                <a:lnTo>
                  <a:pt x="576" y="450"/>
                </a:lnTo>
                <a:lnTo>
                  <a:pt x="576" y="444"/>
                </a:lnTo>
                <a:lnTo>
                  <a:pt x="582" y="438"/>
                </a:lnTo>
                <a:lnTo>
                  <a:pt x="588" y="438"/>
                </a:lnTo>
                <a:lnTo>
                  <a:pt x="588" y="444"/>
                </a:lnTo>
                <a:lnTo>
                  <a:pt x="594" y="438"/>
                </a:lnTo>
                <a:lnTo>
                  <a:pt x="594" y="432"/>
                </a:lnTo>
                <a:lnTo>
                  <a:pt x="600" y="432"/>
                </a:lnTo>
                <a:lnTo>
                  <a:pt x="600" y="426"/>
                </a:lnTo>
                <a:lnTo>
                  <a:pt x="600" y="420"/>
                </a:lnTo>
                <a:lnTo>
                  <a:pt x="606" y="420"/>
                </a:lnTo>
                <a:lnTo>
                  <a:pt x="600" y="420"/>
                </a:lnTo>
                <a:lnTo>
                  <a:pt x="600" y="414"/>
                </a:lnTo>
                <a:lnTo>
                  <a:pt x="606" y="408"/>
                </a:lnTo>
                <a:lnTo>
                  <a:pt x="612" y="408"/>
                </a:lnTo>
                <a:lnTo>
                  <a:pt x="612" y="414"/>
                </a:lnTo>
                <a:lnTo>
                  <a:pt x="618" y="414"/>
                </a:lnTo>
                <a:lnTo>
                  <a:pt x="624" y="414"/>
                </a:lnTo>
                <a:lnTo>
                  <a:pt x="630" y="414"/>
                </a:lnTo>
                <a:lnTo>
                  <a:pt x="636" y="414"/>
                </a:lnTo>
                <a:lnTo>
                  <a:pt x="642" y="408"/>
                </a:lnTo>
                <a:lnTo>
                  <a:pt x="648" y="408"/>
                </a:lnTo>
                <a:lnTo>
                  <a:pt x="660" y="408"/>
                </a:lnTo>
                <a:lnTo>
                  <a:pt x="666" y="402"/>
                </a:lnTo>
                <a:lnTo>
                  <a:pt x="672" y="402"/>
                </a:lnTo>
                <a:lnTo>
                  <a:pt x="684" y="396"/>
                </a:lnTo>
                <a:lnTo>
                  <a:pt x="690" y="396"/>
                </a:lnTo>
                <a:lnTo>
                  <a:pt x="696" y="396"/>
                </a:lnTo>
                <a:lnTo>
                  <a:pt x="702" y="396"/>
                </a:lnTo>
                <a:lnTo>
                  <a:pt x="708" y="396"/>
                </a:lnTo>
                <a:lnTo>
                  <a:pt x="714" y="390"/>
                </a:lnTo>
                <a:lnTo>
                  <a:pt x="714" y="384"/>
                </a:lnTo>
                <a:lnTo>
                  <a:pt x="720" y="384"/>
                </a:lnTo>
                <a:lnTo>
                  <a:pt x="726" y="384"/>
                </a:lnTo>
                <a:lnTo>
                  <a:pt x="732" y="384"/>
                </a:lnTo>
                <a:lnTo>
                  <a:pt x="738" y="378"/>
                </a:lnTo>
                <a:lnTo>
                  <a:pt x="744" y="378"/>
                </a:lnTo>
                <a:lnTo>
                  <a:pt x="750" y="372"/>
                </a:lnTo>
                <a:lnTo>
                  <a:pt x="756" y="372"/>
                </a:lnTo>
                <a:lnTo>
                  <a:pt x="762" y="366"/>
                </a:lnTo>
                <a:lnTo>
                  <a:pt x="768" y="366"/>
                </a:lnTo>
                <a:lnTo>
                  <a:pt x="774" y="366"/>
                </a:lnTo>
                <a:lnTo>
                  <a:pt x="774" y="360"/>
                </a:lnTo>
                <a:lnTo>
                  <a:pt x="780" y="366"/>
                </a:lnTo>
                <a:lnTo>
                  <a:pt x="786" y="366"/>
                </a:lnTo>
                <a:lnTo>
                  <a:pt x="786" y="360"/>
                </a:lnTo>
                <a:lnTo>
                  <a:pt x="792" y="354"/>
                </a:lnTo>
                <a:lnTo>
                  <a:pt x="786" y="354"/>
                </a:lnTo>
                <a:lnTo>
                  <a:pt x="792" y="348"/>
                </a:lnTo>
                <a:lnTo>
                  <a:pt x="798" y="348"/>
                </a:lnTo>
                <a:lnTo>
                  <a:pt x="804" y="348"/>
                </a:lnTo>
                <a:lnTo>
                  <a:pt x="810" y="342"/>
                </a:lnTo>
                <a:lnTo>
                  <a:pt x="816" y="342"/>
                </a:lnTo>
                <a:lnTo>
                  <a:pt x="822" y="342"/>
                </a:lnTo>
                <a:lnTo>
                  <a:pt x="822" y="336"/>
                </a:lnTo>
                <a:lnTo>
                  <a:pt x="828" y="336"/>
                </a:lnTo>
                <a:lnTo>
                  <a:pt x="834" y="336"/>
                </a:lnTo>
                <a:lnTo>
                  <a:pt x="840" y="336"/>
                </a:lnTo>
                <a:lnTo>
                  <a:pt x="846" y="330"/>
                </a:lnTo>
                <a:lnTo>
                  <a:pt x="852" y="330"/>
                </a:lnTo>
                <a:lnTo>
                  <a:pt x="858" y="330"/>
                </a:lnTo>
                <a:lnTo>
                  <a:pt x="864" y="324"/>
                </a:lnTo>
                <a:lnTo>
                  <a:pt x="864" y="318"/>
                </a:lnTo>
                <a:lnTo>
                  <a:pt x="870" y="318"/>
                </a:lnTo>
                <a:lnTo>
                  <a:pt x="870" y="312"/>
                </a:lnTo>
                <a:lnTo>
                  <a:pt x="876" y="312"/>
                </a:lnTo>
                <a:lnTo>
                  <a:pt x="882" y="312"/>
                </a:lnTo>
                <a:lnTo>
                  <a:pt x="882" y="318"/>
                </a:lnTo>
                <a:lnTo>
                  <a:pt x="888" y="312"/>
                </a:lnTo>
                <a:lnTo>
                  <a:pt x="894" y="306"/>
                </a:lnTo>
                <a:lnTo>
                  <a:pt x="900" y="306"/>
                </a:lnTo>
                <a:lnTo>
                  <a:pt x="906" y="306"/>
                </a:lnTo>
                <a:lnTo>
                  <a:pt x="912" y="300"/>
                </a:lnTo>
                <a:lnTo>
                  <a:pt x="906" y="294"/>
                </a:lnTo>
                <a:lnTo>
                  <a:pt x="912" y="276"/>
                </a:lnTo>
                <a:lnTo>
                  <a:pt x="912" y="252"/>
                </a:lnTo>
                <a:lnTo>
                  <a:pt x="906" y="234"/>
                </a:lnTo>
                <a:lnTo>
                  <a:pt x="912" y="228"/>
                </a:lnTo>
                <a:lnTo>
                  <a:pt x="912" y="216"/>
                </a:lnTo>
                <a:lnTo>
                  <a:pt x="918" y="192"/>
                </a:lnTo>
                <a:lnTo>
                  <a:pt x="918" y="186"/>
                </a:lnTo>
                <a:lnTo>
                  <a:pt x="924" y="192"/>
                </a:lnTo>
                <a:lnTo>
                  <a:pt x="930" y="192"/>
                </a:lnTo>
                <a:lnTo>
                  <a:pt x="930" y="186"/>
                </a:lnTo>
                <a:lnTo>
                  <a:pt x="936" y="186"/>
                </a:lnTo>
                <a:lnTo>
                  <a:pt x="930" y="180"/>
                </a:lnTo>
                <a:lnTo>
                  <a:pt x="930" y="174"/>
                </a:lnTo>
                <a:lnTo>
                  <a:pt x="936" y="156"/>
                </a:lnTo>
                <a:lnTo>
                  <a:pt x="930" y="156"/>
                </a:lnTo>
                <a:lnTo>
                  <a:pt x="924" y="150"/>
                </a:lnTo>
                <a:lnTo>
                  <a:pt x="942" y="78"/>
                </a:lnTo>
                <a:lnTo>
                  <a:pt x="948" y="78"/>
                </a:lnTo>
                <a:lnTo>
                  <a:pt x="954" y="66"/>
                </a:lnTo>
                <a:lnTo>
                  <a:pt x="954" y="72"/>
                </a:lnTo>
                <a:lnTo>
                  <a:pt x="954" y="66"/>
                </a:lnTo>
                <a:lnTo>
                  <a:pt x="960" y="66"/>
                </a:lnTo>
                <a:lnTo>
                  <a:pt x="966" y="66"/>
                </a:lnTo>
                <a:lnTo>
                  <a:pt x="972" y="66"/>
                </a:lnTo>
                <a:lnTo>
                  <a:pt x="972" y="60"/>
                </a:lnTo>
                <a:lnTo>
                  <a:pt x="978" y="54"/>
                </a:lnTo>
                <a:lnTo>
                  <a:pt x="984" y="54"/>
                </a:lnTo>
                <a:lnTo>
                  <a:pt x="990" y="54"/>
                </a:lnTo>
                <a:lnTo>
                  <a:pt x="996" y="48"/>
                </a:lnTo>
                <a:lnTo>
                  <a:pt x="1002" y="48"/>
                </a:lnTo>
                <a:lnTo>
                  <a:pt x="1032" y="48"/>
                </a:lnTo>
                <a:lnTo>
                  <a:pt x="1062" y="48"/>
                </a:lnTo>
                <a:lnTo>
                  <a:pt x="1068" y="78"/>
                </a:lnTo>
                <a:lnTo>
                  <a:pt x="1086" y="78"/>
                </a:lnTo>
                <a:lnTo>
                  <a:pt x="1092" y="66"/>
                </a:lnTo>
                <a:lnTo>
                  <a:pt x="1092" y="60"/>
                </a:lnTo>
                <a:lnTo>
                  <a:pt x="1092" y="54"/>
                </a:lnTo>
                <a:lnTo>
                  <a:pt x="1092" y="48"/>
                </a:lnTo>
                <a:lnTo>
                  <a:pt x="1098" y="48"/>
                </a:lnTo>
                <a:lnTo>
                  <a:pt x="1104" y="48"/>
                </a:lnTo>
                <a:lnTo>
                  <a:pt x="1110" y="48"/>
                </a:lnTo>
                <a:lnTo>
                  <a:pt x="1110" y="42"/>
                </a:lnTo>
                <a:lnTo>
                  <a:pt x="1110" y="36"/>
                </a:lnTo>
                <a:lnTo>
                  <a:pt x="1116" y="36"/>
                </a:lnTo>
                <a:lnTo>
                  <a:pt x="1116" y="30"/>
                </a:lnTo>
                <a:lnTo>
                  <a:pt x="1122" y="30"/>
                </a:lnTo>
                <a:lnTo>
                  <a:pt x="1128" y="30"/>
                </a:lnTo>
                <a:lnTo>
                  <a:pt x="1134" y="30"/>
                </a:lnTo>
                <a:lnTo>
                  <a:pt x="1140" y="24"/>
                </a:lnTo>
                <a:lnTo>
                  <a:pt x="1152" y="18"/>
                </a:lnTo>
                <a:lnTo>
                  <a:pt x="1158" y="18"/>
                </a:lnTo>
                <a:lnTo>
                  <a:pt x="1152" y="12"/>
                </a:lnTo>
                <a:lnTo>
                  <a:pt x="1152" y="6"/>
                </a:lnTo>
                <a:lnTo>
                  <a:pt x="1158" y="6"/>
                </a:lnTo>
                <a:lnTo>
                  <a:pt x="1164" y="6"/>
                </a:lnTo>
                <a:lnTo>
                  <a:pt x="1164" y="12"/>
                </a:lnTo>
                <a:lnTo>
                  <a:pt x="1170" y="18"/>
                </a:lnTo>
                <a:lnTo>
                  <a:pt x="1170" y="12"/>
                </a:lnTo>
                <a:lnTo>
                  <a:pt x="1170" y="6"/>
                </a:lnTo>
                <a:lnTo>
                  <a:pt x="1176" y="6"/>
                </a:lnTo>
                <a:lnTo>
                  <a:pt x="1176" y="0"/>
                </a:lnTo>
                <a:lnTo>
                  <a:pt x="1182" y="6"/>
                </a:lnTo>
                <a:lnTo>
                  <a:pt x="1188" y="6"/>
                </a:lnTo>
                <a:lnTo>
                  <a:pt x="1188" y="0"/>
                </a:lnTo>
                <a:lnTo>
                  <a:pt x="1194" y="6"/>
                </a:lnTo>
                <a:lnTo>
                  <a:pt x="1200" y="12"/>
                </a:lnTo>
                <a:lnTo>
                  <a:pt x="1206" y="18"/>
                </a:lnTo>
                <a:lnTo>
                  <a:pt x="1212" y="18"/>
                </a:lnTo>
                <a:lnTo>
                  <a:pt x="1218" y="24"/>
                </a:lnTo>
                <a:lnTo>
                  <a:pt x="1236" y="36"/>
                </a:lnTo>
                <a:lnTo>
                  <a:pt x="1242" y="36"/>
                </a:lnTo>
                <a:lnTo>
                  <a:pt x="1248" y="42"/>
                </a:lnTo>
                <a:lnTo>
                  <a:pt x="1248" y="48"/>
                </a:lnTo>
                <a:lnTo>
                  <a:pt x="1260" y="48"/>
                </a:lnTo>
                <a:lnTo>
                  <a:pt x="1260" y="108"/>
                </a:lnTo>
                <a:lnTo>
                  <a:pt x="1266" y="168"/>
                </a:lnTo>
                <a:lnTo>
                  <a:pt x="1278" y="234"/>
                </a:lnTo>
                <a:lnTo>
                  <a:pt x="1284" y="240"/>
                </a:lnTo>
                <a:lnTo>
                  <a:pt x="1290" y="264"/>
                </a:lnTo>
                <a:lnTo>
                  <a:pt x="1296" y="288"/>
                </a:lnTo>
                <a:lnTo>
                  <a:pt x="1296" y="300"/>
                </a:lnTo>
                <a:lnTo>
                  <a:pt x="1296" y="312"/>
                </a:lnTo>
                <a:lnTo>
                  <a:pt x="1296" y="324"/>
                </a:lnTo>
                <a:lnTo>
                  <a:pt x="1296" y="354"/>
                </a:lnTo>
                <a:lnTo>
                  <a:pt x="1302" y="366"/>
                </a:lnTo>
                <a:lnTo>
                  <a:pt x="1308" y="372"/>
                </a:lnTo>
                <a:lnTo>
                  <a:pt x="1308" y="384"/>
                </a:lnTo>
                <a:lnTo>
                  <a:pt x="1314" y="390"/>
                </a:lnTo>
                <a:lnTo>
                  <a:pt x="1308" y="408"/>
                </a:lnTo>
                <a:lnTo>
                  <a:pt x="1314" y="408"/>
                </a:lnTo>
                <a:lnTo>
                  <a:pt x="1314" y="414"/>
                </a:lnTo>
                <a:lnTo>
                  <a:pt x="1308" y="420"/>
                </a:lnTo>
                <a:lnTo>
                  <a:pt x="1308" y="432"/>
                </a:lnTo>
                <a:lnTo>
                  <a:pt x="1320" y="432"/>
                </a:lnTo>
                <a:lnTo>
                  <a:pt x="1320" y="444"/>
                </a:lnTo>
                <a:lnTo>
                  <a:pt x="1332" y="444"/>
                </a:lnTo>
                <a:lnTo>
                  <a:pt x="1338" y="450"/>
                </a:lnTo>
                <a:lnTo>
                  <a:pt x="1344" y="456"/>
                </a:lnTo>
                <a:lnTo>
                  <a:pt x="1344" y="462"/>
                </a:lnTo>
                <a:lnTo>
                  <a:pt x="1344" y="474"/>
                </a:lnTo>
                <a:lnTo>
                  <a:pt x="1350" y="474"/>
                </a:lnTo>
                <a:lnTo>
                  <a:pt x="1368" y="504"/>
                </a:lnTo>
                <a:lnTo>
                  <a:pt x="1374" y="534"/>
                </a:lnTo>
                <a:lnTo>
                  <a:pt x="1380" y="558"/>
                </a:lnTo>
                <a:lnTo>
                  <a:pt x="1386" y="576"/>
                </a:lnTo>
                <a:lnTo>
                  <a:pt x="1386" y="600"/>
                </a:lnTo>
                <a:lnTo>
                  <a:pt x="1386" y="624"/>
                </a:lnTo>
                <a:lnTo>
                  <a:pt x="1386" y="648"/>
                </a:lnTo>
                <a:lnTo>
                  <a:pt x="1386" y="684"/>
                </a:lnTo>
                <a:lnTo>
                  <a:pt x="1380" y="684"/>
                </a:lnTo>
                <a:lnTo>
                  <a:pt x="1374" y="696"/>
                </a:lnTo>
                <a:lnTo>
                  <a:pt x="1368" y="702"/>
                </a:lnTo>
                <a:lnTo>
                  <a:pt x="1362" y="708"/>
                </a:lnTo>
                <a:lnTo>
                  <a:pt x="1356" y="714"/>
                </a:lnTo>
                <a:lnTo>
                  <a:pt x="1350" y="720"/>
                </a:lnTo>
                <a:lnTo>
                  <a:pt x="1338" y="720"/>
                </a:lnTo>
                <a:lnTo>
                  <a:pt x="1338" y="738"/>
                </a:lnTo>
                <a:lnTo>
                  <a:pt x="1362" y="750"/>
                </a:lnTo>
                <a:lnTo>
                  <a:pt x="1362" y="756"/>
                </a:lnTo>
                <a:lnTo>
                  <a:pt x="1374" y="756"/>
                </a:lnTo>
                <a:lnTo>
                  <a:pt x="1410" y="774"/>
                </a:lnTo>
                <a:lnTo>
                  <a:pt x="1446" y="774"/>
                </a:lnTo>
                <a:lnTo>
                  <a:pt x="1482" y="768"/>
                </a:lnTo>
                <a:lnTo>
                  <a:pt x="1500" y="774"/>
                </a:lnTo>
                <a:lnTo>
                  <a:pt x="1512" y="78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26" name="Freeform 12"/>
          <p:cNvSpPr>
            <a:spLocks/>
          </p:cNvSpPr>
          <p:nvPr/>
        </p:nvSpPr>
        <p:spPr bwMode="gray">
          <a:xfrm>
            <a:off x="5357813" y="2846388"/>
            <a:ext cx="657225" cy="912812"/>
          </a:xfrm>
          <a:custGeom>
            <a:avLst/>
            <a:gdLst>
              <a:gd name="T0" fmla="*/ 36772 w 840"/>
              <a:gd name="T1" fmla="*/ 78926 h 1134"/>
              <a:gd name="T2" fmla="*/ 32078 w 840"/>
              <a:gd name="T3" fmla="*/ 78926 h 1134"/>
              <a:gd name="T4" fmla="*/ 28948 w 840"/>
              <a:gd name="T5" fmla="*/ 78926 h 1134"/>
              <a:gd name="T6" fmla="*/ 22689 w 840"/>
              <a:gd name="T7" fmla="*/ 78120 h 1134"/>
              <a:gd name="T8" fmla="*/ 21124 w 840"/>
              <a:gd name="T9" fmla="*/ 75704 h 1134"/>
              <a:gd name="T10" fmla="*/ 20342 w 840"/>
              <a:gd name="T11" fmla="*/ 74899 h 1134"/>
              <a:gd name="T12" fmla="*/ 20342 w 840"/>
              <a:gd name="T13" fmla="*/ 66845 h 1134"/>
              <a:gd name="T14" fmla="*/ 20342 w 840"/>
              <a:gd name="T15" fmla="*/ 65234 h 1134"/>
              <a:gd name="T16" fmla="*/ 17995 w 840"/>
              <a:gd name="T17" fmla="*/ 62013 h 1134"/>
              <a:gd name="T18" fmla="*/ 14865 w 840"/>
              <a:gd name="T19" fmla="*/ 60402 h 1134"/>
              <a:gd name="T20" fmla="*/ 12518 w 840"/>
              <a:gd name="T21" fmla="*/ 57986 h 1134"/>
              <a:gd name="T22" fmla="*/ 10171 w 840"/>
              <a:gd name="T23" fmla="*/ 56375 h 1134"/>
              <a:gd name="T24" fmla="*/ 13301 w 840"/>
              <a:gd name="T25" fmla="*/ 53959 h 1134"/>
              <a:gd name="T26" fmla="*/ 14865 w 840"/>
              <a:gd name="T27" fmla="*/ 50738 h 1134"/>
              <a:gd name="T28" fmla="*/ 15648 w 840"/>
              <a:gd name="T29" fmla="*/ 47516 h 1134"/>
              <a:gd name="T30" fmla="*/ 14865 w 840"/>
              <a:gd name="T31" fmla="*/ 44295 h 1134"/>
              <a:gd name="T32" fmla="*/ 13301 w 840"/>
              <a:gd name="T33" fmla="*/ 37852 h 1134"/>
              <a:gd name="T34" fmla="*/ 6259 w 840"/>
              <a:gd name="T35" fmla="*/ 36241 h 1134"/>
              <a:gd name="T36" fmla="*/ 3130 w 840"/>
              <a:gd name="T37" fmla="*/ 31409 h 1134"/>
              <a:gd name="T38" fmla="*/ 1565 w 840"/>
              <a:gd name="T39" fmla="*/ 28188 h 1134"/>
              <a:gd name="T40" fmla="*/ 0 w 840"/>
              <a:gd name="T41" fmla="*/ 24966 h 1134"/>
              <a:gd name="T42" fmla="*/ 1565 w 840"/>
              <a:gd name="T43" fmla="*/ 21745 h 1134"/>
              <a:gd name="T44" fmla="*/ 3912 w 840"/>
              <a:gd name="T45" fmla="*/ 19329 h 1134"/>
              <a:gd name="T46" fmla="*/ 7824 w 840"/>
              <a:gd name="T47" fmla="*/ 20939 h 1134"/>
              <a:gd name="T48" fmla="*/ 5477 w 840"/>
              <a:gd name="T49" fmla="*/ 16107 h 1134"/>
              <a:gd name="T50" fmla="*/ 9389 w 840"/>
              <a:gd name="T51" fmla="*/ 9664 h 1134"/>
              <a:gd name="T52" fmla="*/ 14865 w 840"/>
              <a:gd name="T53" fmla="*/ 8054 h 1134"/>
              <a:gd name="T54" fmla="*/ 15648 w 840"/>
              <a:gd name="T55" fmla="*/ 10470 h 1134"/>
              <a:gd name="T56" fmla="*/ 17212 w 840"/>
              <a:gd name="T57" fmla="*/ 8859 h 1134"/>
              <a:gd name="T58" fmla="*/ 19560 w 840"/>
              <a:gd name="T59" fmla="*/ 5638 h 1134"/>
              <a:gd name="T60" fmla="*/ 22689 w 840"/>
              <a:gd name="T61" fmla="*/ 1611 h 1134"/>
              <a:gd name="T62" fmla="*/ 25819 w 840"/>
              <a:gd name="T63" fmla="*/ 805 h 1134"/>
              <a:gd name="T64" fmla="*/ 28948 w 840"/>
              <a:gd name="T65" fmla="*/ 1611 h 1134"/>
              <a:gd name="T66" fmla="*/ 30513 w 840"/>
              <a:gd name="T67" fmla="*/ 3221 h 1134"/>
              <a:gd name="T68" fmla="*/ 33643 w 840"/>
              <a:gd name="T69" fmla="*/ 4027 h 1134"/>
              <a:gd name="T70" fmla="*/ 35990 w 840"/>
              <a:gd name="T71" fmla="*/ 8859 h 1134"/>
              <a:gd name="T72" fmla="*/ 38337 w 840"/>
              <a:gd name="T73" fmla="*/ 9664 h 1134"/>
              <a:gd name="T74" fmla="*/ 40684 w 840"/>
              <a:gd name="T75" fmla="*/ 12080 h 1134"/>
              <a:gd name="T76" fmla="*/ 42249 w 840"/>
              <a:gd name="T77" fmla="*/ 14497 h 1134"/>
              <a:gd name="T78" fmla="*/ 43031 w 840"/>
              <a:gd name="T79" fmla="*/ 17718 h 1134"/>
              <a:gd name="T80" fmla="*/ 43814 w 840"/>
              <a:gd name="T81" fmla="*/ 20939 h 1134"/>
              <a:gd name="T82" fmla="*/ 43031 w 840"/>
              <a:gd name="T83" fmla="*/ 25772 h 1134"/>
              <a:gd name="T84" fmla="*/ 43031 w 840"/>
              <a:gd name="T85" fmla="*/ 28993 h 1134"/>
              <a:gd name="T86" fmla="*/ 42249 w 840"/>
              <a:gd name="T87" fmla="*/ 31409 h 1134"/>
              <a:gd name="T88" fmla="*/ 43814 w 840"/>
              <a:gd name="T89" fmla="*/ 31409 h 1134"/>
              <a:gd name="T90" fmla="*/ 45378 w 840"/>
              <a:gd name="T91" fmla="*/ 31409 h 1134"/>
              <a:gd name="T92" fmla="*/ 47725 w 840"/>
              <a:gd name="T93" fmla="*/ 31409 h 1134"/>
              <a:gd name="T94" fmla="*/ 46943 w 840"/>
              <a:gd name="T95" fmla="*/ 39463 h 1134"/>
              <a:gd name="T96" fmla="*/ 46161 w 840"/>
              <a:gd name="T97" fmla="*/ 42684 h 1134"/>
              <a:gd name="T98" fmla="*/ 46161 w 840"/>
              <a:gd name="T99" fmla="*/ 45100 h 1134"/>
              <a:gd name="T100" fmla="*/ 46943 w 840"/>
              <a:gd name="T101" fmla="*/ 47516 h 1134"/>
              <a:gd name="T102" fmla="*/ 50073 w 840"/>
              <a:gd name="T103" fmla="*/ 49127 h 1134"/>
              <a:gd name="T104" fmla="*/ 53985 w 840"/>
              <a:gd name="T105" fmla="*/ 50738 h 1134"/>
              <a:gd name="T106" fmla="*/ 56332 w 840"/>
              <a:gd name="T107" fmla="*/ 55570 h 1134"/>
              <a:gd name="T108" fmla="*/ 56332 w 840"/>
              <a:gd name="T109" fmla="*/ 58791 h 1134"/>
              <a:gd name="T110" fmla="*/ 56332 w 840"/>
              <a:gd name="T111" fmla="*/ 66845 h 1134"/>
              <a:gd name="T112" fmla="*/ 49290 w 840"/>
              <a:gd name="T113" fmla="*/ 70872 h 1134"/>
              <a:gd name="T114" fmla="*/ 40684 w 840"/>
              <a:gd name="T115" fmla="*/ 76509 h 11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40"/>
              <a:gd name="T175" fmla="*/ 0 h 1134"/>
              <a:gd name="T176" fmla="*/ 840 w 840"/>
              <a:gd name="T177" fmla="*/ 1134 h 11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40" h="1134">
                <a:moveTo>
                  <a:pt x="564" y="1110"/>
                </a:moveTo>
                <a:lnTo>
                  <a:pt x="564" y="1104"/>
                </a:lnTo>
                <a:lnTo>
                  <a:pt x="558" y="1104"/>
                </a:lnTo>
                <a:lnTo>
                  <a:pt x="552" y="1110"/>
                </a:lnTo>
                <a:lnTo>
                  <a:pt x="546" y="1122"/>
                </a:lnTo>
                <a:lnTo>
                  <a:pt x="540" y="1128"/>
                </a:lnTo>
                <a:lnTo>
                  <a:pt x="528" y="1128"/>
                </a:lnTo>
                <a:lnTo>
                  <a:pt x="498" y="1128"/>
                </a:lnTo>
                <a:lnTo>
                  <a:pt x="492" y="1128"/>
                </a:lnTo>
                <a:lnTo>
                  <a:pt x="486" y="1128"/>
                </a:lnTo>
                <a:lnTo>
                  <a:pt x="480" y="1128"/>
                </a:lnTo>
                <a:lnTo>
                  <a:pt x="474" y="1134"/>
                </a:lnTo>
                <a:lnTo>
                  <a:pt x="468" y="1134"/>
                </a:lnTo>
                <a:lnTo>
                  <a:pt x="462" y="1134"/>
                </a:lnTo>
                <a:lnTo>
                  <a:pt x="456" y="1134"/>
                </a:lnTo>
                <a:lnTo>
                  <a:pt x="456" y="1128"/>
                </a:lnTo>
                <a:lnTo>
                  <a:pt x="450" y="1122"/>
                </a:lnTo>
                <a:lnTo>
                  <a:pt x="426" y="1128"/>
                </a:lnTo>
                <a:lnTo>
                  <a:pt x="414" y="1128"/>
                </a:lnTo>
                <a:lnTo>
                  <a:pt x="348" y="1134"/>
                </a:lnTo>
                <a:lnTo>
                  <a:pt x="348" y="1128"/>
                </a:lnTo>
                <a:lnTo>
                  <a:pt x="342" y="1128"/>
                </a:lnTo>
                <a:lnTo>
                  <a:pt x="336" y="1122"/>
                </a:lnTo>
                <a:lnTo>
                  <a:pt x="330" y="1122"/>
                </a:lnTo>
                <a:lnTo>
                  <a:pt x="324" y="1116"/>
                </a:lnTo>
                <a:lnTo>
                  <a:pt x="324" y="1110"/>
                </a:lnTo>
                <a:lnTo>
                  <a:pt x="318" y="1110"/>
                </a:lnTo>
                <a:lnTo>
                  <a:pt x="318" y="1104"/>
                </a:lnTo>
                <a:lnTo>
                  <a:pt x="312" y="1092"/>
                </a:lnTo>
                <a:lnTo>
                  <a:pt x="306" y="1086"/>
                </a:lnTo>
                <a:lnTo>
                  <a:pt x="306" y="1080"/>
                </a:lnTo>
                <a:lnTo>
                  <a:pt x="312" y="1074"/>
                </a:lnTo>
                <a:lnTo>
                  <a:pt x="306" y="1068"/>
                </a:lnTo>
                <a:lnTo>
                  <a:pt x="300" y="1074"/>
                </a:lnTo>
                <a:lnTo>
                  <a:pt x="300" y="1068"/>
                </a:lnTo>
                <a:lnTo>
                  <a:pt x="294" y="1068"/>
                </a:lnTo>
                <a:lnTo>
                  <a:pt x="294" y="1056"/>
                </a:lnTo>
                <a:lnTo>
                  <a:pt x="294" y="1026"/>
                </a:lnTo>
                <a:lnTo>
                  <a:pt x="294" y="1020"/>
                </a:lnTo>
                <a:lnTo>
                  <a:pt x="294" y="1008"/>
                </a:lnTo>
                <a:lnTo>
                  <a:pt x="294" y="966"/>
                </a:lnTo>
                <a:lnTo>
                  <a:pt x="294" y="960"/>
                </a:lnTo>
                <a:lnTo>
                  <a:pt x="294" y="954"/>
                </a:lnTo>
                <a:lnTo>
                  <a:pt x="294" y="948"/>
                </a:lnTo>
                <a:lnTo>
                  <a:pt x="294" y="942"/>
                </a:lnTo>
                <a:lnTo>
                  <a:pt x="300" y="936"/>
                </a:lnTo>
                <a:lnTo>
                  <a:pt x="300" y="930"/>
                </a:lnTo>
                <a:lnTo>
                  <a:pt x="294" y="930"/>
                </a:lnTo>
                <a:lnTo>
                  <a:pt x="288" y="930"/>
                </a:lnTo>
                <a:lnTo>
                  <a:pt x="288" y="924"/>
                </a:lnTo>
                <a:lnTo>
                  <a:pt x="282" y="918"/>
                </a:lnTo>
                <a:lnTo>
                  <a:pt x="282" y="906"/>
                </a:lnTo>
                <a:lnTo>
                  <a:pt x="282" y="900"/>
                </a:lnTo>
                <a:lnTo>
                  <a:pt x="264" y="894"/>
                </a:lnTo>
                <a:lnTo>
                  <a:pt x="252" y="882"/>
                </a:lnTo>
                <a:lnTo>
                  <a:pt x="246" y="876"/>
                </a:lnTo>
                <a:lnTo>
                  <a:pt x="240" y="876"/>
                </a:lnTo>
                <a:lnTo>
                  <a:pt x="240" y="870"/>
                </a:lnTo>
                <a:lnTo>
                  <a:pt x="234" y="870"/>
                </a:lnTo>
                <a:lnTo>
                  <a:pt x="222" y="864"/>
                </a:lnTo>
                <a:lnTo>
                  <a:pt x="216" y="864"/>
                </a:lnTo>
                <a:lnTo>
                  <a:pt x="210" y="858"/>
                </a:lnTo>
                <a:lnTo>
                  <a:pt x="210" y="852"/>
                </a:lnTo>
                <a:lnTo>
                  <a:pt x="210" y="846"/>
                </a:lnTo>
                <a:lnTo>
                  <a:pt x="198" y="840"/>
                </a:lnTo>
                <a:lnTo>
                  <a:pt x="186" y="834"/>
                </a:lnTo>
                <a:lnTo>
                  <a:pt x="180" y="828"/>
                </a:lnTo>
                <a:lnTo>
                  <a:pt x="180" y="822"/>
                </a:lnTo>
                <a:lnTo>
                  <a:pt x="174" y="822"/>
                </a:lnTo>
                <a:lnTo>
                  <a:pt x="162" y="816"/>
                </a:lnTo>
                <a:lnTo>
                  <a:pt x="156" y="810"/>
                </a:lnTo>
                <a:lnTo>
                  <a:pt x="150" y="810"/>
                </a:lnTo>
                <a:lnTo>
                  <a:pt x="144" y="798"/>
                </a:lnTo>
                <a:lnTo>
                  <a:pt x="138" y="786"/>
                </a:lnTo>
                <a:lnTo>
                  <a:pt x="138" y="780"/>
                </a:lnTo>
                <a:lnTo>
                  <a:pt x="144" y="774"/>
                </a:lnTo>
                <a:lnTo>
                  <a:pt x="150" y="768"/>
                </a:lnTo>
                <a:lnTo>
                  <a:pt x="192" y="768"/>
                </a:lnTo>
                <a:lnTo>
                  <a:pt x="210" y="762"/>
                </a:lnTo>
                <a:lnTo>
                  <a:pt x="216" y="756"/>
                </a:lnTo>
                <a:lnTo>
                  <a:pt x="216" y="744"/>
                </a:lnTo>
                <a:lnTo>
                  <a:pt x="216" y="738"/>
                </a:lnTo>
                <a:lnTo>
                  <a:pt x="216" y="732"/>
                </a:lnTo>
                <a:lnTo>
                  <a:pt x="216" y="726"/>
                </a:lnTo>
                <a:lnTo>
                  <a:pt x="216" y="720"/>
                </a:lnTo>
                <a:lnTo>
                  <a:pt x="228" y="702"/>
                </a:lnTo>
                <a:lnTo>
                  <a:pt x="234" y="696"/>
                </a:lnTo>
                <a:lnTo>
                  <a:pt x="240" y="690"/>
                </a:lnTo>
                <a:lnTo>
                  <a:pt x="240" y="684"/>
                </a:lnTo>
                <a:lnTo>
                  <a:pt x="234" y="678"/>
                </a:lnTo>
                <a:lnTo>
                  <a:pt x="228" y="672"/>
                </a:lnTo>
                <a:lnTo>
                  <a:pt x="228" y="666"/>
                </a:lnTo>
                <a:lnTo>
                  <a:pt x="222" y="660"/>
                </a:lnTo>
                <a:lnTo>
                  <a:pt x="222" y="654"/>
                </a:lnTo>
                <a:lnTo>
                  <a:pt x="222" y="648"/>
                </a:lnTo>
                <a:lnTo>
                  <a:pt x="222" y="630"/>
                </a:lnTo>
                <a:lnTo>
                  <a:pt x="222" y="618"/>
                </a:lnTo>
                <a:lnTo>
                  <a:pt x="222" y="582"/>
                </a:lnTo>
                <a:lnTo>
                  <a:pt x="228" y="582"/>
                </a:lnTo>
                <a:lnTo>
                  <a:pt x="222" y="564"/>
                </a:lnTo>
                <a:lnTo>
                  <a:pt x="210" y="552"/>
                </a:lnTo>
                <a:lnTo>
                  <a:pt x="192" y="540"/>
                </a:lnTo>
                <a:lnTo>
                  <a:pt x="174" y="540"/>
                </a:lnTo>
                <a:lnTo>
                  <a:pt x="150" y="534"/>
                </a:lnTo>
                <a:lnTo>
                  <a:pt x="126" y="528"/>
                </a:lnTo>
                <a:lnTo>
                  <a:pt x="96" y="528"/>
                </a:lnTo>
                <a:lnTo>
                  <a:pt x="96" y="522"/>
                </a:lnTo>
                <a:lnTo>
                  <a:pt x="90" y="516"/>
                </a:lnTo>
                <a:lnTo>
                  <a:pt x="78" y="504"/>
                </a:lnTo>
                <a:lnTo>
                  <a:pt x="72" y="498"/>
                </a:lnTo>
                <a:lnTo>
                  <a:pt x="66" y="486"/>
                </a:lnTo>
                <a:lnTo>
                  <a:pt x="54" y="468"/>
                </a:lnTo>
                <a:lnTo>
                  <a:pt x="54" y="450"/>
                </a:lnTo>
                <a:lnTo>
                  <a:pt x="48" y="444"/>
                </a:lnTo>
                <a:lnTo>
                  <a:pt x="48" y="438"/>
                </a:lnTo>
                <a:lnTo>
                  <a:pt x="42" y="438"/>
                </a:lnTo>
                <a:lnTo>
                  <a:pt x="36" y="438"/>
                </a:lnTo>
                <a:lnTo>
                  <a:pt x="24" y="420"/>
                </a:lnTo>
                <a:lnTo>
                  <a:pt x="24" y="414"/>
                </a:lnTo>
                <a:lnTo>
                  <a:pt x="24" y="402"/>
                </a:lnTo>
                <a:lnTo>
                  <a:pt x="18" y="396"/>
                </a:lnTo>
                <a:lnTo>
                  <a:pt x="24" y="384"/>
                </a:lnTo>
                <a:lnTo>
                  <a:pt x="18" y="372"/>
                </a:lnTo>
                <a:lnTo>
                  <a:pt x="18" y="366"/>
                </a:lnTo>
                <a:lnTo>
                  <a:pt x="12" y="360"/>
                </a:lnTo>
                <a:lnTo>
                  <a:pt x="6" y="360"/>
                </a:lnTo>
                <a:lnTo>
                  <a:pt x="0" y="348"/>
                </a:lnTo>
                <a:lnTo>
                  <a:pt x="6" y="342"/>
                </a:lnTo>
                <a:lnTo>
                  <a:pt x="6" y="336"/>
                </a:lnTo>
                <a:lnTo>
                  <a:pt x="12" y="330"/>
                </a:lnTo>
                <a:lnTo>
                  <a:pt x="18" y="318"/>
                </a:lnTo>
                <a:lnTo>
                  <a:pt x="24" y="312"/>
                </a:lnTo>
                <a:lnTo>
                  <a:pt x="24" y="306"/>
                </a:lnTo>
                <a:lnTo>
                  <a:pt x="30" y="306"/>
                </a:lnTo>
                <a:lnTo>
                  <a:pt x="42" y="294"/>
                </a:lnTo>
                <a:lnTo>
                  <a:pt x="42" y="288"/>
                </a:lnTo>
                <a:lnTo>
                  <a:pt x="48" y="282"/>
                </a:lnTo>
                <a:lnTo>
                  <a:pt x="54" y="276"/>
                </a:lnTo>
                <a:lnTo>
                  <a:pt x="60" y="270"/>
                </a:lnTo>
                <a:lnTo>
                  <a:pt x="66" y="270"/>
                </a:lnTo>
                <a:lnTo>
                  <a:pt x="78" y="270"/>
                </a:lnTo>
                <a:lnTo>
                  <a:pt x="90" y="276"/>
                </a:lnTo>
                <a:lnTo>
                  <a:pt x="108" y="294"/>
                </a:lnTo>
                <a:lnTo>
                  <a:pt x="114" y="294"/>
                </a:lnTo>
                <a:lnTo>
                  <a:pt x="114" y="276"/>
                </a:lnTo>
                <a:lnTo>
                  <a:pt x="114" y="270"/>
                </a:lnTo>
                <a:lnTo>
                  <a:pt x="102" y="258"/>
                </a:lnTo>
                <a:lnTo>
                  <a:pt x="96" y="246"/>
                </a:lnTo>
                <a:lnTo>
                  <a:pt x="90" y="234"/>
                </a:lnTo>
                <a:lnTo>
                  <a:pt x="78" y="228"/>
                </a:lnTo>
                <a:lnTo>
                  <a:pt x="72" y="216"/>
                </a:lnTo>
                <a:lnTo>
                  <a:pt x="66" y="192"/>
                </a:lnTo>
                <a:lnTo>
                  <a:pt x="90" y="174"/>
                </a:lnTo>
                <a:lnTo>
                  <a:pt x="120" y="150"/>
                </a:lnTo>
                <a:lnTo>
                  <a:pt x="132" y="150"/>
                </a:lnTo>
                <a:lnTo>
                  <a:pt x="138" y="144"/>
                </a:lnTo>
                <a:lnTo>
                  <a:pt x="138" y="138"/>
                </a:lnTo>
                <a:lnTo>
                  <a:pt x="156" y="126"/>
                </a:lnTo>
                <a:lnTo>
                  <a:pt x="180" y="114"/>
                </a:lnTo>
                <a:lnTo>
                  <a:pt x="216" y="114"/>
                </a:lnTo>
                <a:lnTo>
                  <a:pt x="222" y="114"/>
                </a:lnTo>
                <a:lnTo>
                  <a:pt x="222" y="120"/>
                </a:lnTo>
                <a:lnTo>
                  <a:pt x="222" y="126"/>
                </a:lnTo>
                <a:lnTo>
                  <a:pt x="222" y="132"/>
                </a:lnTo>
                <a:lnTo>
                  <a:pt x="228" y="138"/>
                </a:lnTo>
                <a:lnTo>
                  <a:pt x="228" y="144"/>
                </a:lnTo>
                <a:lnTo>
                  <a:pt x="228" y="150"/>
                </a:lnTo>
                <a:lnTo>
                  <a:pt x="234" y="150"/>
                </a:lnTo>
                <a:lnTo>
                  <a:pt x="234" y="144"/>
                </a:lnTo>
                <a:lnTo>
                  <a:pt x="240" y="144"/>
                </a:lnTo>
                <a:lnTo>
                  <a:pt x="246" y="144"/>
                </a:lnTo>
                <a:lnTo>
                  <a:pt x="258" y="138"/>
                </a:lnTo>
                <a:lnTo>
                  <a:pt x="264" y="138"/>
                </a:lnTo>
                <a:lnTo>
                  <a:pt x="258" y="126"/>
                </a:lnTo>
                <a:lnTo>
                  <a:pt x="258" y="120"/>
                </a:lnTo>
                <a:lnTo>
                  <a:pt x="258" y="114"/>
                </a:lnTo>
                <a:lnTo>
                  <a:pt x="264" y="114"/>
                </a:lnTo>
                <a:lnTo>
                  <a:pt x="276" y="96"/>
                </a:lnTo>
                <a:lnTo>
                  <a:pt x="288" y="90"/>
                </a:lnTo>
                <a:lnTo>
                  <a:pt x="288" y="84"/>
                </a:lnTo>
                <a:lnTo>
                  <a:pt x="294" y="84"/>
                </a:lnTo>
                <a:lnTo>
                  <a:pt x="306" y="72"/>
                </a:lnTo>
                <a:lnTo>
                  <a:pt x="318" y="60"/>
                </a:lnTo>
                <a:lnTo>
                  <a:pt x="324" y="54"/>
                </a:lnTo>
                <a:lnTo>
                  <a:pt x="330" y="36"/>
                </a:lnTo>
                <a:lnTo>
                  <a:pt x="330" y="24"/>
                </a:lnTo>
                <a:lnTo>
                  <a:pt x="330" y="18"/>
                </a:lnTo>
                <a:lnTo>
                  <a:pt x="330" y="12"/>
                </a:lnTo>
                <a:lnTo>
                  <a:pt x="336" y="6"/>
                </a:lnTo>
                <a:lnTo>
                  <a:pt x="366" y="0"/>
                </a:lnTo>
                <a:lnTo>
                  <a:pt x="372" y="6"/>
                </a:lnTo>
                <a:lnTo>
                  <a:pt x="384" y="12"/>
                </a:lnTo>
                <a:lnTo>
                  <a:pt x="402" y="12"/>
                </a:lnTo>
                <a:lnTo>
                  <a:pt x="402" y="18"/>
                </a:lnTo>
                <a:lnTo>
                  <a:pt x="408" y="18"/>
                </a:lnTo>
                <a:lnTo>
                  <a:pt x="414" y="18"/>
                </a:lnTo>
                <a:lnTo>
                  <a:pt x="420" y="18"/>
                </a:lnTo>
                <a:lnTo>
                  <a:pt x="426" y="24"/>
                </a:lnTo>
                <a:lnTo>
                  <a:pt x="432" y="30"/>
                </a:lnTo>
                <a:lnTo>
                  <a:pt x="438" y="36"/>
                </a:lnTo>
                <a:lnTo>
                  <a:pt x="444" y="42"/>
                </a:lnTo>
                <a:lnTo>
                  <a:pt x="450" y="42"/>
                </a:lnTo>
                <a:lnTo>
                  <a:pt x="450" y="48"/>
                </a:lnTo>
                <a:lnTo>
                  <a:pt x="456" y="48"/>
                </a:lnTo>
                <a:lnTo>
                  <a:pt x="468" y="54"/>
                </a:lnTo>
                <a:lnTo>
                  <a:pt x="474" y="54"/>
                </a:lnTo>
                <a:lnTo>
                  <a:pt x="480" y="54"/>
                </a:lnTo>
                <a:lnTo>
                  <a:pt x="480" y="60"/>
                </a:lnTo>
                <a:lnTo>
                  <a:pt x="486" y="60"/>
                </a:lnTo>
                <a:lnTo>
                  <a:pt x="492" y="60"/>
                </a:lnTo>
                <a:lnTo>
                  <a:pt x="498" y="60"/>
                </a:lnTo>
                <a:lnTo>
                  <a:pt x="504" y="66"/>
                </a:lnTo>
                <a:lnTo>
                  <a:pt x="516" y="78"/>
                </a:lnTo>
                <a:lnTo>
                  <a:pt x="522" y="102"/>
                </a:lnTo>
                <a:lnTo>
                  <a:pt x="522" y="108"/>
                </a:lnTo>
                <a:lnTo>
                  <a:pt x="528" y="126"/>
                </a:lnTo>
                <a:lnTo>
                  <a:pt x="534" y="126"/>
                </a:lnTo>
                <a:lnTo>
                  <a:pt x="540" y="120"/>
                </a:lnTo>
                <a:lnTo>
                  <a:pt x="546" y="126"/>
                </a:lnTo>
                <a:lnTo>
                  <a:pt x="552" y="126"/>
                </a:lnTo>
                <a:lnTo>
                  <a:pt x="558" y="132"/>
                </a:lnTo>
                <a:lnTo>
                  <a:pt x="564" y="138"/>
                </a:lnTo>
                <a:lnTo>
                  <a:pt x="570" y="144"/>
                </a:lnTo>
                <a:lnTo>
                  <a:pt x="576" y="150"/>
                </a:lnTo>
                <a:lnTo>
                  <a:pt x="582" y="156"/>
                </a:lnTo>
                <a:lnTo>
                  <a:pt x="588" y="162"/>
                </a:lnTo>
                <a:lnTo>
                  <a:pt x="594" y="168"/>
                </a:lnTo>
                <a:lnTo>
                  <a:pt x="600" y="174"/>
                </a:lnTo>
                <a:lnTo>
                  <a:pt x="606" y="180"/>
                </a:lnTo>
                <a:lnTo>
                  <a:pt x="606" y="186"/>
                </a:lnTo>
                <a:lnTo>
                  <a:pt x="612" y="192"/>
                </a:lnTo>
                <a:lnTo>
                  <a:pt x="612" y="198"/>
                </a:lnTo>
                <a:lnTo>
                  <a:pt x="624" y="204"/>
                </a:lnTo>
                <a:lnTo>
                  <a:pt x="624" y="210"/>
                </a:lnTo>
                <a:lnTo>
                  <a:pt x="630" y="216"/>
                </a:lnTo>
                <a:lnTo>
                  <a:pt x="636" y="222"/>
                </a:lnTo>
                <a:lnTo>
                  <a:pt x="636" y="228"/>
                </a:lnTo>
                <a:lnTo>
                  <a:pt x="636" y="234"/>
                </a:lnTo>
                <a:lnTo>
                  <a:pt x="636" y="252"/>
                </a:lnTo>
                <a:lnTo>
                  <a:pt x="636" y="258"/>
                </a:lnTo>
                <a:lnTo>
                  <a:pt x="636" y="264"/>
                </a:lnTo>
                <a:lnTo>
                  <a:pt x="636" y="270"/>
                </a:lnTo>
                <a:lnTo>
                  <a:pt x="642" y="276"/>
                </a:lnTo>
                <a:lnTo>
                  <a:pt x="642" y="282"/>
                </a:lnTo>
                <a:lnTo>
                  <a:pt x="642" y="288"/>
                </a:lnTo>
                <a:lnTo>
                  <a:pt x="642" y="300"/>
                </a:lnTo>
                <a:lnTo>
                  <a:pt x="642" y="306"/>
                </a:lnTo>
                <a:lnTo>
                  <a:pt x="636" y="312"/>
                </a:lnTo>
                <a:lnTo>
                  <a:pt x="636" y="324"/>
                </a:lnTo>
                <a:lnTo>
                  <a:pt x="636" y="342"/>
                </a:lnTo>
                <a:lnTo>
                  <a:pt x="630" y="354"/>
                </a:lnTo>
                <a:lnTo>
                  <a:pt x="630" y="366"/>
                </a:lnTo>
                <a:lnTo>
                  <a:pt x="624" y="378"/>
                </a:lnTo>
                <a:lnTo>
                  <a:pt x="624" y="384"/>
                </a:lnTo>
                <a:lnTo>
                  <a:pt x="636" y="396"/>
                </a:lnTo>
                <a:lnTo>
                  <a:pt x="636" y="402"/>
                </a:lnTo>
                <a:lnTo>
                  <a:pt x="636" y="408"/>
                </a:lnTo>
                <a:lnTo>
                  <a:pt x="630" y="414"/>
                </a:lnTo>
                <a:lnTo>
                  <a:pt x="630" y="420"/>
                </a:lnTo>
                <a:lnTo>
                  <a:pt x="630" y="426"/>
                </a:lnTo>
                <a:lnTo>
                  <a:pt x="630" y="432"/>
                </a:lnTo>
                <a:lnTo>
                  <a:pt x="624" y="438"/>
                </a:lnTo>
                <a:lnTo>
                  <a:pt x="624" y="444"/>
                </a:lnTo>
                <a:lnTo>
                  <a:pt x="624" y="450"/>
                </a:lnTo>
                <a:lnTo>
                  <a:pt x="630" y="450"/>
                </a:lnTo>
                <a:lnTo>
                  <a:pt x="630" y="456"/>
                </a:lnTo>
                <a:lnTo>
                  <a:pt x="630" y="462"/>
                </a:lnTo>
                <a:lnTo>
                  <a:pt x="636" y="468"/>
                </a:lnTo>
                <a:lnTo>
                  <a:pt x="642" y="456"/>
                </a:lnTo>
                <a:lnTo>
                  <a:pt x="642" y="450"/>
                </a:lnTo>
                <a:lnTo>
                  <a:pt x="648" y="450"/>
                </a:lnTo>
                <a:lnTo>
                  <a:pt x="654" y="450"/>
                </a:lnTo>
                <a:lnTo>
                  <a:pt x="654" y="444"/>
                </a:lnTo>
                <a:lnTo>
                  <a:pt x="660" y="444"/>
                </a:lnTo>
                <a:lnTo>
                  <a:pt x="666" y="450"/>
                </a:lnTo>
                <a:lnTo>
                  <a:pt x="672" y="444"/>
                </a:lnTo>
                <a:lnTo>
                  <a:pt x="678" y="444"/>
                </a:lnTo>
                <a:lnTo>
                  <a:pt x="684" y="438"/>
                </a:lnTo>
                <a:lnTo>
                  <a:pt x="690" y="438"/>
                </a:lnTo>
                <a:lnTo>
                  <a:pt x="696" y="438"/>
                </a:lnTo>
                <a:lnTo>
                  <a:pt x="702" y="444"/>
                </a:lnTo>
                <a:lnTo>
                  <a:pt x="702" y="450"/>
                </a:lnTo>
                <a:lnTo>
                  <a:pt x="708" y="450"/>
                </a:lnTo>
                <a:lnTo>
                  <a:pt x="708" y="456"/>
                </a:lnTo>
                <a:lnTo>
                  <a:pt x="708" y="462"/>
                </a:lnTo>
                <a:lnTo>
                  <a:pt x="708" y="468"/>
                </a:lnTo>
                <a:lnTo>
                  <a:pt x="708" y="504"/>
                </a:lnTo>
                <a:lnTo>
                  <a:pt x="696" y="564"/>
                </a:lnTo>
                <a:lnTo>
                  <a:pt x="696" y="582"/>
                </a:lnTo>
                <a:lnTo>
                  <a:pt x="696" y="600"/>
                </a:lnTo>
                <a:lnTo>
                  <a:pt x="690" y="606"/>
                </a:lnTo>
                <a:lnTo>
                  <a:pt x="684" y="606"/>
                </a:lnTo>
                <a:lnTo>
                  <a:pt x="690" y="612"/>
                </a:lnTo>
                <a:lnTo>
                  <a:pt x="684" y="612"/>
                </a:lnTo>
                <a:lnTo>
                  <a:pt x="678" y="618"/>
                </a:lnTo>
                <a:lnTo>
                  <a:pt x="672" y="624"/>
                </a:lnTo>
                <a:lnTo>
                  <a:pt x="666" y="630"/>
                </a:lnTo>
                <a:lnTo>
                  <a:pt x="660" y="636"/>
                </a:lnTo>
                <a:lnTo>
                  <a:pt x="672" y="636"/>
                </a:lnTo>
                <a:lnTo>
                  <a:pt x="678" y="642"/>
                </a:lnTo>
                <a:lnTo>
                  <a:pt x="678" y="648"/>
                </a:lnTo>
                <a:lnTo>
                  <a:pt x="684" y="654"/>
                </a:lnTo>
                <a:lnTo>
                  <a:pt x="690" y="666"/>
                </a:lnTo>
                <a:lnTo>
                  <a:pt x="690" y="672"/>
                </a:lnTo>
                <a:lnTo>
                  <a:pt x="696" y="672"/>
                </a:lnTo>
                <a:lnTo>
                  <a:pt x="696" y="684"/>
                </a:lnTo>
                <a:lnTo>
                  <a:pt x="708" y="690"/>
                </a:lnTo>
                <a:lnTo>
                  <a:pt x="720" y="696"/>
                </a:lnTo>
                <a:lnTo>
                  <a:pt x="726" y="696"/>
                </a:lnTo>
                <a:lnTo>
                  <a:pt x="732" y="696"/>
                </a:lnTo>
                <a:lnTo>
                  <a:pt x="738" y="696"/>
                </a:lnTo>
                <a:lnTo>
                  <a:pt x="738" y="702"/>
                </a:lnTo>
                <a:lnTo>
                  <a:pt x="738" y="708"/>
                </a:lnTo>
                <a:lnTo>
                  <a:pt x="738" y="714"/>
                </a:lnTo>
                <a:lnTo>
                  <a:pt x="744" y="714"/>
                </a:lnTo>
                <a:lnTo>
                  <a:pt x="756" y="720"/>
                </a:lnTo>
                <a:lnTo>
                  <a:pt x="780" y="726"/>
                </a:lnTo>
                <a:lnTo>
                  <a:pt x="792" y="732"/>
                </a:lnTo>
                <a:lnTo>
                  <a:pt x="816" y="756"/>
                </a:lnTo>
                <a:lnTo>
                  <a:pt x="816" y="762"/>
                </a:lnTo>
                <a:lnTo>
                  <a:pt x="816" y="768"/>
                </a:lnTo>
                <a:lnTo>
                  <a:pt x="822" y="774"/>
                </a:lnTo>
                <a:lnTo>
                  <a:pt x="834" y="786"/>
                </a:lnTo>
                <a:lnTo>
                  <a:pt x="834" y="792"/>
                </a:lnTo>
                <a:lnTo>
                  <a:pt x="834" y="798"/>
                </a:lnTo>
                <a:lnTo>
                  <a:pt x="828" y="798"/>
                </a:lnTo>
                <a:lnTo>
                  <a:pt x="828" y="804"/>
                </a:lnTo>
                <a:lnTo>
                  <a:pt x="834" y="816"/>
                </a:lnTo>
                <a:lnTo>
                  <a:pt x="834" y="834"/>
                </a:lnTo>
                <a:lnTo>
                  <a:pt x="834" y="840"/>
                </a:lnTo>
                <a:lnTo>
                  <a:pt x="834" y="846"/>
                </a:lnTo>
                <a:lnTo>
                  <a:pt x="840" y="852"/>
                </a:lnTo>
                <a:lnTo>
                  <a:pt x="834" y="858"/>
                </a:lnTo>
                <a:lnTo>
                  <a:pt x="834" y="864"/>
                </a:lnTo>
                <a:lnTo>
                  <a:pt x="834" y="876"/>
                </a:lnTo>
                <a:lnTo>
                  <a:pt x="828" y="960"/>
                </a:lnTo>
                <a:lnTo>
                  <a:pt x="816" y="966"/>
                </a:lnTo>
                <a:lnTo>
                  <a:pt x="798" y="972"/>
                </a:lnTo>
                <a:lnTo>
                  <a:pt x="786" y="990"/>
                </a:lnTo>
                <a:lnTo>
                  <a:pt x="774" y="990"/>
                </a:lnTo>
                <a:lnTo>
                  <a:pt x="762" y="1008"/>
                </a:lnTo>
                <a:lnTo>
                  <a:pt x="732" y="1014"/>
                </a:lnTo>
                <a:lnTo>
                  <a:pt x="714" y="1026"/>
                </a:lnTo>
                <a:lnTo>
                  <a:pt x="690" y="1050"/>
                </a:lnTo>
                <a:lnTo>
                  <a:pt x="654" y="1056"/>
                </a:lnTo>
                <a:lnTo>
                  <a:pt x="630" y="1056"/>
                </a:lnTo>
                <a:lnTo>
                  <a:pt x="606" y="1068"/>
                </a:lnTo>
                <a:lnTo>
                  <a:pt x="600" y="1092"/>
                </a:lnTo>
                <a:lnTo>
                  <a:pt x="600" y="1098"/>
                </a:lnTo>
                <a:lnTo>
                  <a:pt x="588" y="1104"/>
                </a:lnTo>
                <a:lnTo>
                  <a:pt x="582" y="1104"/>
                </a:lnTo>
                <a:lnTo>
                  <a:pt x="570" y="1110"/>
                </a:lnTo>
                <a:lnTo>
                  <a:pt x="564" y="111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27" name="Freeform 13"/>
          <p:cNvSpPr>
            <a:spLocks/>
          </p:cNvSpPr>
          <p:nvPr/>
        </p:nvSpPr>
        <p:spPr bwMode="gray">
          <a:xfrm>
            <a:off x="3132138" y="2733675"/>
            <a:ext cx="1362075" cy="1282700"/>
          </a:xfrm>
          <a:custGeom>
            <a:avLst/>
            <a:gdLst>
              <a:gd name="T0" fmla="*/ 108029 w 1740"/>
              <a:gd name="T1" fmla="*/ 108093 h 1590"/>
              <a:gd name="T2" fmla="*/ 100201 w 1740"/>
              <a:gd name="T3" fmla="*/ 105673 h 1590"/>
              <a:gd name="T4" fmla="*/ 94721 w 1740"/>
              <a:gd name="T5" fmla="*/ 104866 h 1590"/>
              <a:gd name="T6" fmla="*/ 93155 w 1740"/>
              <a:gd name="T7" fmla="*/ 108093 h 1590"/>
              <a:gd name="T8" fmla="*/ 86110 w 1740"/>
              <a:gd name="T9" fmla="*/ 106480 h 1590"/>
              <a:gd name="T10" fmla="*/ 86893 w 1740"/>
              <a:gd name="T11" fmla="*/ 102446 h 1590"/>
              <a:gd name="T12" fmla="*/ 80630 w 1740"/>
              <a:gd name="T13" fmla="*/ 94380 h 1590"/>
              <a:gd name="T14" fmla="*/ 72802 w 1740"/>
              <a:gd name="T15" fmla="*/ 99220 h 1590"/>
              <a:gd name="T16" fmla="*/ 62626 w 1740"/>
              <a:gd name="T17" fmla="*/ 95186 h 1590"/>
              <a:gd name="T18" fmla="*/ 51666 w 1740"/>
              <a:gd name="T19" fmla="*/ 94380 h 1590"/>
              <a:gd name="T20" fmla="*/ 51666 w 1740"/>
              <a:gd name="T21" fmla="*/ 88733 h 1590"/>
              <a:gd name="T22" fmla="*/ 54015 w 1740"/>
              <a:gd name="T23" fmla="*/ 86313 h 1590"/>
              <a:gd name="T24" fmla="*/ 53232 w 1740"/>
              <a:gd name="T25" fmla="*/ 82280 h 1590"/>
              <a:gd name="T26" fmla="*/ 53232 w 1740"/>
              <a:gd name="T27" fmla="*/ 77440 h 1590"/>
              <a:gd name="T28" fmla="*/ 52449 w 1740"/>
              <a:gd name="T29" fmla="*/ 66146 h 1590"/>
              <a:gd name="T30" fmla="*/ 45403 w 1740"/>
              <a:gd name="T31" fmla="*/ 66146 h 1590"/>
              <a:gd name="T32" fmla="*/ 40707 w 1740"/>
              <a:gd name="T33" fmla="*/ 66146 h 1590"/>
              <a:gd name="T34" fmla="*/ 36010 w 1740"/>
              <a:gd name="T35" fmla="*/ 64533 h 1590"/>
              <a:gd name="T36" fmla="*/ 35227 w 1740"/>
              <a:gd name="T37" fmla="*/ 59693 h 1590"/>
              <a:gd name="T38" fmla="*/ 40707 w 1740"/>
              <a:gd name="T39" fmla="*/ 56466 h 1590"/>
              <a:gd name="T40" fmla="*/ 40707 w 1740"/>
              <a:gd name="T41" fmla="*/ 51626 h 1590"/>
              <a:gd name="T42" fmla="*/ 32878 w 1740"/>
              <a:gd name="T43" fmla="*/ 42753 h 1590"/>
              <a:gd name="T44" fmla="*/ 27399 w 1740"/>
              <a:gd name="T45" fmla="*/ 41947 h 1590"/>
              <a:gd name="T46" fmla="*/ 15656 w 1740"/>
              <a:gd name="T47" fmla="*/ 41140 h 1590"/>
              <a:gd name="T48" fmla="*/ 13308 w 1740"/>
              <a:gd name="T49" fmla="*/ 45173 h 1590"/>
              <a:gd name="T50" fmla="*/ 8611 w 1740"/>
              <a:gd name="T51" fmla="*/ 49206 h 1590"/>
              <a:gd name="T52" fmla="*/ 5480 w 1740"/>
              <a:gd name="T53" fmla="*/ 50820 h 1590"/>
              <a:gd name="T54" fmla="*/ 0 w 1740"/>
              <a:gd name="T55" fmla="*/ 44366 h 1590"/>
              <a:gd name="T56" fmla="*/ 1566 w 1740"/>
              <a:gd name="T57" fmla="*/ 40333 h 1590"/>
              <a:gd name="T58" fmla="*/ 0 w 1740"/>
              <a:gd name="T59" fmla="*/ 35493 h 1590"/>
              <a:gd name="T60" fmla="*/ 1566 w 1740"/>
              <a:gd name="T61" fmla="*/ 30653 h 1590"/>
              <a:gd name="T62" fmla="*/ 5480 w 1740"/>
              <a:gd name="T63" fmla="*/ 28233 h 1590"/>
              <a:gd name="T64" fmla="*/ 8611 w 1740"/>
              <a:gd name="T65" fmla="*/ 24200 h 1590"/>
              <a:gd name="T66" fmla="*/ 16439 w 1740"/>
              <a:gd name="T67" fmla="*/ 20973 h 1590"/>
              <a:gd name="T68" fmla="*/ 22702 w 1740"/>
              <a:gd name="T69" fmla="*/ 20167 h 1590"/>
              <a:gd name="T70" fmla="*/ 27399 w 1740"/>
              <a:gd name="T71" fmla="*/ 16940 h 1590"/>
              <a:gd name="T72" fmla="*/ 28181 w 1740"/>
              <a:gd name="T73" fmla="*/ 12907 h 1590"/>
              <a:gd name="T74" fmla="*/ 32096 w 1740"/>
              <a:gd name="T75" fmla="*/ 8873 h 1590"/>
              <a:gd name="T76" fmla="*/ 39924 w 1740"/>
              <a:gd name="T77" fmla="*/ 7260 h 1590"/>
              <a:gd name="T78" fmla="*/ 46186 w 1740"/>
              <a:gd name="T79" fmla="*/ 16940 h 1590"/>
              <a:gd name="T80" fmla="*/ 50883 w 1740"/>
              <a:gd name="T81" fmla="*/ 10487 h 1590"/>
              <a:gd name="T82" fmla="*/ 57146 w 1740"/>
              <a:gd name="T83" fmla="*/ 6453 h 1590"/>
              <a:gd name="T84" fmla="*/ 64191 w 1740"/>
              <a:gd name="T85" fmla="*/ 9680 h 1590"/>
              <a:gd name="T86" fmla="*/ 68888 w 1740"/>
              <a:gd name="T87" fmla="*/ 9680 h 1590"/>
              <a:gd name="T88" fmla="*/ 77499 w 1740"/>
              <a:gd name="T89" fmla="*/ 5647 h 1590"/>
              <a:gd name="T90" fmla="*/ 89241 w 1740"/>
              <a:gd name="T91" fmla="*/ 0 h 1590"/>
              <a:gd name="T92" fmla="*/ 91590 w 1740"/>
              <a:gd name="T93" fmla="*/ 8067 h 1590"/>
              <a:gd name="T94" fmla="*/ 103332 w 1740"/>
              <a:gd name="T95" fmla="*/ 13713 h 1590"/>
              <a:gd name="T96" fmla="*/ 109595 w 1740"/>
              <a:gd name="T97" fmla="*/ 20167 h 1590"/>
              <a:gd name="T98" fmla="*/ 109595 w 1740"/>
              <a:gd name="T99" fmla="*/ 26620 h 1590"/>
              <a:gd name="T100" fmla="*/ 109595 w 1740"/>
              <a:gd name="T101" fmla="*/ 35493 h 1590"/>
              <a:gd name="T102" fmla="*/ 108029 w 1740"/>
              <a:gd name="T103" fmla="*/ 38720 h 1590"/>
              <a:gd name="T104" fmla="*/ 110377 w 1740"/>
              <a:gd name="T105" fmla="*/ 39527 h 1590"/>
              <a:gd name="T106" fmla="*/ 114292 w 1740"/>
              <a:gd name="T107" fmla="*/ 40333 h 1590"/>
              <a:gd name="T108" fmla="*/ 116640 w 1740"/>
              <a:gd name="T109" fmla="*/ 47593 h 1590"/>
              <a:gd name="T110" fmla="*/ 115857 w 1740"/>
              <a:gd name="T111" fmla="*/ 54046 h 1590"/>
              <a:gd name="T112" fmla="*/ 110377 w 1740"/>
              <a:gd name="T113" fmla="*/ 62920 h 1590"/>
              <a:gd name="T114" fmla="*/ 110377 w 1740"/>
              <a:gd name="T115" fmla="*/ 73406 h 1590"/>
              <a:gd name="T116" fmla="*/ 108029 w 1740"/>
              <a:gd name="T117" fmla="*/ 82280 h 1590"/>
              <a:gd name="T118" fmla="*/ 108029 w 1740"/>
              <a:gd name="T119" fmla="*/ 88733 h 1590"/>
              <a:gd name="T120" fmla="*/ 112726 w 1740"/>
              <a:gd name="T121" fmla="*/ 95186 h 1590"/>
              <a:gd name="T122" fmla="*/ 111943 w 1740"/>
              <a:gd name="T123" fmla="*/ 100833 h 1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0"/>
              <a:gd name="T187" fmla="*/ 0 h 1590"/>
              <a:gd name="T188" fmla="*/ 1740 w 1740"/>
              <a:gd name="T189" fmla="*/ 1590 h 159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0" h="1590">
                <a:moveTo>
                  <a:pt x="1638" y="1458"/>
                </a:moveTo>
                <a:lnTo>
                  <a:pt x="1638" y="1482"/>
                </a:lnTo>
                <a:lnTo>
                  <a:pt x="1638" y="1500"/>
                </a:lnTo>
                <a:lnTo>
                  <a:pt x="1626" y="1500"/>
                </a:lnTo>
                <a:lnTo>
                  <a:pt x="1620" y="1500"/>
                </a:lnTo>
                <a:lnTo>
                  <a:pt x="1614" y="1500"/>
                </a:lnTo>
                <a:lnTo>
                  <a:pt x="1614" y="1506"/>
                </a:lnTo>
                <a:lnTo>
                  <a:pt x="1614" y="1512"/>
                </a:lnTo>
                <a:lnTo>
                  <a:pt x="1620" y="1518"/>
                </a:lnTo>
                <a:lnTo>
                  <a:pt x="1614" y="1524"/>
                </a:lnTo>
                <a:lnTo>
                  <a:pt x="1590" y="1536"/>
                </a:lnTo>
                <a:lnTo>
                  <a:pt x="1584" y="1566"/>
                </a:lnTo>
                <a:lnTo>
                  <a:pt x="1578" y="1590"/>
                </a:lnTo>
                <a:lnTo>
                  <a:pt x="1548" y="1590"/>
                </a:lnTo>
                <a:lnTo>
                  <a:pt x="1542" y="1584"/>
                </a:lnTo>
                <a:lnTo>
                  <a:pt x="1542" y="1572"/>
                </a:lnTo>
                <a:lnTo>
                  <a:pt x="1536" y="1566"/>
                </a:lnTo>
                <a:lnTo>
                  <a:pt x="1536" y="1554"/>
                </a:lnTo>
                <a:lnTo>
                  <a:pt x="1536" y="1548"/>
                </a:lnTo>
                <a:lnTo>
                  <a:pt x="1506" y="1530"/>
                </a:lnTo>
                <a:lnTo>
                  <a:pt x="1488" y="1506"/>
                </a:lnTo>
                <a:lnTo>
                  <a:pt x="1464" y="1500"/>
                </a:lnTo>
                <a:lnTo>
                  <a:pt x="1470" y="1494"/>
                </a:lnTo>
                <a:lnTo>
                  <a:pt x="1470" y="1488"/>
                </a:lnTo>
                <a:lnTo>
                  <a:pt x="1470" y="1482"/>
                </a:lnTo>
                <a:lnTo>
                  <a:pt x="1428" y="1464"/>
                </a:lnTo>
                <a:lnTo>
                  <a:pt x="1404" y="1470"/>
                </a:lnTo>
                <a:lnTo>
                  <a:pt x="1398" y="1470"/>
                </a:lnTo>
                <a:lnTo>
                  <a:pt x="1392" y="1476"/>
                </a:lnTo>
                <a:lnTo>
                  <a:pt x="1386" y="1476"/>
                </a:lnTo>
                <a:lnTo>
                  <a:pt x="1386" y="1482"/>
                </a:lnTo>
                <a:lnTo>
                  <a:pt x="1392" y="1482"/>
                </a:lnTo>
                <a:lnTo>
                  <a:pt x="1386" y="1488"/>
                </a:lnTo>
                <a:lnTo>
                  <a:pt x="1386" y="1494"/>
                </a:lnTo>
                <a:lnTo>
                  <a:pt x="1380" y="1494"/>
                </a:lnTo>
                <a:lnTo>
                  <a:pt x="1380" y="1500"/>
                </a:lnTo>
                <a:lnTo>
                  <a:pt x="1380" y="1512"/>
                </a:lnTo>
                <a:lnTo>
                  <a:pt x="1380" y="1518"/>
                </a:lnTo>
                <a:lnTo>
                  <a:pt x="1380" y="1524"/>
                </a:lnTo>
                <a:lnTo>
                  <a:pt x="1380" y="1530"/>
                </a:lnTo>
                <a:lnTo>
                  <a:pt x="1374" y="1536"/>
                </a:lnTo>
                <a:lnTo>
                  <a:pt x="1374" y="1542"/>
                </a:lnTo>
                <a:lnTo>
                  <a:pt x="1368" y="1542"/>
                </a:lnTo>
                <a:lnTo>
                  <a:pt x="1362" y="1536"/>
                </a:lnTo>
                <a:lnTo>
                  <a:pt x="1356" y="1542"/>
                </a:lnTo>
                <a:lnTo>
                  <a:pt x="1344" y="1554"/>
                </a:lnTo>
                <a:lnTo>
                  <a:pt x="1332" y="1560"/>
                </a:lnTo>
                <a:lnTo>
                  <a:pt x="1302" y="1554"/>
                </a:lnTo>
                <a:lnTo>
                  <a:pt x="1290" y="1554"/>
                </a:lnTo>
                <a:lnTo>
                  <a:pt x="1278" y="1542"/>
                </a:lnTo>
                <a:lnTo>
                  <a:pt x="1272" y="1530"/>
                </a:lnTo>
                <a:lnTo>
                  <a:pt x="1272" y="1524"/>
                </a:lnTo>
                <a:lnTo>
                  <a:pt x="1272" y="1518"/>
                </a:lnTo>
                <a:lnTo>
                  <a:pt x="1266" y="1518"/>
                </a:lnTo>
                <a:lnTo>
                  <a:pt x="1266" y="1512"/>
                </a:lnTo>
                <a:lnTo>
                  <a:pt x="1266" y="1506"/>
                </a:lnTo>
                <a:lnTo>
                  <a:pt x="1272" y="1506"/>
                </a:lnTo>
                <a:lnTo>
                  <a:pt x="1272" y="1500"/>
                </a:lnTo>
                <a:lnTo>
                  <a:pt x="1278" y="1500"/>
                </a:lnTo>
                <a:lnTo>
                  <a:pt x="1278" y="1494"/>
                </a:lnTo>
                <a:lnTo>
                  <a:pt x="1278" y="1488"/>
                </a:lnTo>
                <a:lnTo>
                  <a:pt x="1284" y="1488"/>
                </a:lnTo>
                <a:lnTo>
                  <a:pt x="1284" y="1482"/>
                </a:lnTo>
                <a:lnTo>
                  <a:pt x="1290" y="1476"/>
                </a:lnTo>
                <a:lnTo>
                  <a:pt x="1284" y="1470"/>
                </a:lnTo>
                <a:lnTo>
                  <a:pt x="1278" y="1458"/>
                </a:lnTo>
                <a:lnTo>
                  <a:pt x="1278" y="1452"/>
                </a:lnTo>
                <a:lnTo>
                  <a:pt x="1260" y="1428"/>
                </a:lnTo>
                <a:lnTo>
                  <a:pt x="1254" y="1416"/>
                </a:lnTo>
                <a:lnTo>
                  <a:pt x="1254" y="1410"/>
                </a:lnTo>
                <a:lnTo>
                  <a:pt x="1248" y="1398"/>
                </a:lnTo>
                <a:lnTo>
                  <a:pt x="1242" y="1398"/>
                </a:lnTo>
                <a:lnTo>
                  <a:pt x="1236" y="1398"/>
                </a:lnTo>
                <a:lnTo>
                  <a:pt x="1218" y="1386"/>
                </a:lnTo>
                <a:lnTo>
                  <a:pt x="1212" y="1362"/>
                </a:lnTo>
                <a:lnTo>
                  <a:pt x="1200" y="1344"/>
                </a:lnTo>
                <a:lnTo>
                  <a:pt x="1188" y="1338"/>
                </a:lnTo>
                <a:lnTo>
                  <a:pt x="1164" y="1338"/>
                </a:lnTo>
                <a:lnTo>
                  <a:pt x="1158" y="1344"/>
                </a:lnTo>
                <a:lnTo>
                  <a:pt x="1152" y="1350"/>
                </a:lnTo>
                <a:lnTo>
                  <a:pt x="1152" y="1356"/>
                </a:lnTo>
                <a:lnTo>
                  <a:pt x="1140" y="1362"/>
                </a:lnTo>
                <a:lnTo>
                  <a:pt x="1134" y="1380"/>
                </a:lnTo>
                <a:lnTo>
                  <a:pt x="1116" y="1398"/>
                </a:lnTo>
                <a:lnTo>
                  <a:pt x="1110" y="1416"/>
                </a:lnTo>
                <a:lnTo>
                  <a:pt x="1086" y="1416"/>
                </a:lnTo>
                <a:lnTo>
                  <a:pt x="1080" y="1410"/>
                </a:lnTo>
                <a:lnTo>
                  <a:pt x="1074" y="1410"/>
                </a:lnTo>
                <a:lnTo>
                  <a:pt x="1074" y="1404"/>
                </a:lnTo>
                <a:lnTo>
                  <a:pt x="1062" y="1404"/>
                </a:lnTo>
                <a:lnTo>
                  <a:pt x="1062" y="1380"/>
                </a:lnTo>
                <a:lnTo>
                  <a:pt x="1038" y="1380"/>
                </a:lnTo>
                <a:lnTo>
                  <a:pt x="1026" y="1350"/>
                </a:lnTo>
                <a:lnTo>
                  <a:pt x="996" y="1326"/>
                </a:lnTo>
                <a:lnTo>
                  <a:pt x="966" y="1314"/>
                </a:lnTo>
                <a:lnTo>
                  <a:pt x="954" y="1320"/>
                </a:lnTo>
                <a:lnTo>
                  <a:pt x="942" y="1338"/>
                </a:lnTo>
                <a:lnTo>
                  <a:pt x="930" y="1338"/>
                </a:lnTo>
                <a:lnTo>
                  <a:pt x="924" y="1350"/>
                </a:lnTo>
                <a:lnTo>
                  <a:pt x="906" y="1356"/>
                </a:lnTo>
                <a:lnTo>
                  <a:pt x="846" y="1356"/>
                </a:lnTo>
                <a:lnTo>
                  <a:pt x="834" y="1368"/>
                </a:lnTo>
                <a:lnTo>
                  <a:pt x="810" y="1362"/>
                </a:lnTo>
                <a:lnTo>
                  <a:pt x="792" y="1362"/>
                </a:lnTo>
                <a:lnTo>
                  <a:pt x="780" y="1368"/>
                </a:lnTo>
                <a:lnTo>
                  <a:pt x="762" y="1368"/>
                </a:lnTo>
                <a:lnTo>
                  <a:pt x="762" y="1362"/>
                </a:lnTo>
                <a:lnTo>
                  <a:pt x="750" y="1362"/>
                </a:lnTo>
                <a:lnTo>
                  <a:pt x="750" y="1338"/>
                </a:lnTo>
                <a:lnTo>
                  <a:pt x="762" y="1338"/>
                </a:lnTo>
                <a:lnTo>
                  <a:pt x="762" y="1326"/>
                </a:lnTo>
                <a:lnTo>
                  <a:pt x="762" y="1314"/>
                </a:lnTo>
                <a:lnTo>
                  <a:pt x="732" y="1314"/>
                </a:lnTo>
                <a:lnTo>
                  <a:pt x="726" y="1308"/>
                </a:lnTo>
                <a:lnTo>
                  <a:pt x="732" y="1284"/>
                </a:lnTo>
                <a:lnTo>
                  <a:pt x="732" y="1278"/>
                </a:lnTo>
                <a:lnTo>
                  <a:pt x="738" y="1272"/>
                </a:lnTo>
                <a:lnTo>
                  <a:pt x="738" y="1266"/>
                </a:lnTo>
                <a:lnTo>
                  <a:pt x="744" y="1266"/>
                </a:lnTo>
                <a:lnTo>
                  <a:pt x="750" y="1272"/>
                </a:lnTo>
                <a:lnTo>
                  <a:pt x="756" y="1266"/>
                </a:lnTo>
                <a:lnTo>
                  <a:pt x="762" y="1266"/>
                </a:lnTo>
                <a:lnTo>
                  <a:pt x="768" y="1260"/>
                </a:lnTo>
                <a:lnTo>
                  <a:pt x="774" y="1260"/>
                </a:lnTo>
                <a:lnTo>
                  <a:pt x="780" y="1254"/>
                </a:lnTo>
                <a:lnTo>
                  <a:pt x="774" y="1254"/>
                </a:lnTo>
                <a:lnTo>
                  <a:pt x="768" y="1254"/>
                </a:lnTo>
                <a:lnTo>
                  <a:pt x="774" y="1248"/>
                </a:lnTo>
                <a:lnTo>
                  <a:pt x="774" y="1242"/>
                </a:lnTo>
                <a:lnTo>
                  <a:pt x="780" y="1236"/>
                </a:lnTo>
                <a:lnTo>
                  <a:pt x="786" y="1236"/>
                </a:lnTo>
                <a:lnTo>
                  <a:pt x="792" y="1230"/>
                </a:lnTo>
                <a:lnTo>
                  <a:pt x="792" y="1236"/>
                </a:lnTo>
                <a:lnTo>
                  <a:pt x="798" y="1236"/>
                </a:lnTo>
                <a:lnTo>
                  <a:pt x="798" y="1230"/>
                </a:lnTo>
                <a:lnTo>
                  <a:pt x="804" y="1230"/>
                </a:lnTo>
                <a:lnTo>
                  <a:pt x="804" y="1218"/>
                </a:lnTo>
                <a:lnTo>
                  <a:pt x="804" y="1206"/>
                </a:lnTo>
                <a:lnTo>
                  <a:pt x="792" y="1188"/>
                </a:lnTo>
                <a:lnTo>
                  <a:pt x="768" y="1182"/>
                </a:lnTo>
                <a:lnTo>
                  <a:pt x="768" y="1170"/>
                </a:lnTo>
                <a:lnTo>
                  <a:pt x="774" y="1170"/>
                </a:lnTo>
                <a:lnTo>
                  <a:pt x="780" y="1170"/>
                </a:lnTo>
                <a:lnTo>
                  <a:pt x="786" y="1170"/>
                </a:lnTo>
                <a:lnTo>
                  <a:pt x="780" y="1152"/>
                </a:lnTo>
                <a:lnTo>
                  <a:pt x="780" y="1146"/>
                </a:lnTo>
                <a:lnTo>
                  <a:pt x="744" y="1140"/>
                </a:lnTo>
                <a:lnTo>
                  <a:pt x="732" y="1128"/>
                </a:lnTo>
                <a:lnTo>
                  <a:pt x="720" y="1122"/>
                </a:lnTo>
                <a:lnTo>
                  <a:pt x="732" y="1116"/>
                </a:lnTo>
                <a:lnTo>
                  <a:pt x="750" y="1104"/>
                </a:lnTo>
                <a:lnTo>
                  <a:pt x="756" y="1116"/>
                </a:lnTo>
                <a:lnTo>
                  <a:pt x="774" y="1116"/>
                </a:lnTo>
                <a:lnTo>
                  <a:pt x="780" y="1104"/>
                </a:lnTo>
                <a:lnTo>
                  <a:pt x="780" y="1080"/>
                </a:lnTo>
                <a:lnTo>
                  <a:pt x="786" y="1080"/>
                </a:lnTo>
                <a:lnTo>
                  <a:pt x="786" y="1074"/>
                </a:lnTo>
                <a:lnTo>
                  <a:pt x="792" y="1074"/>
                </a:lnTo>
                <a:lnTo>
                  <a:pt x="786" y="1068"/>
                </a:lnTo>
                <a:lnTo>
                  <a:pt x="786" y="1062"/>
                </a:lnTo>
                <a:lnTo>
                  <a:pt x="786" y="1056"/>
                </a:lnTo>
                <a:lnTo>
                  <a:pt x="792" y="1050"/>
                </a:lnTo>
                <a:lnTo>
                  <a:pt x="786" y="1020"/>
                </a:lnTo>
                <a:lnTo>
                  <a:pt x="780" y="960"/>
                </a:lnTo>
                <a:lnTo>
                  <a:pt x="768" y="942"/>
                </a:lnTo>
                <a:lnTo>
                  <a:pt x="732" y="936"/>
                </a:lnTo>
                <a:lnTo>
                  <a:pt x="732" y="942"/>
                </a:lnTo>
                <a:lnTo>
                  <a:pt x="726" y="942"/>
                </a:lnTo>
                <a:lnTo>
                  <a:pt x="720" y="936"/>
                </a:lnTo>
                <a:lnTo>
                  <a:pt x="714" y="942"/>
                </a:lnTo>
                <a:lnTo>
                  <a:pt x="708" y="942"/>
                </a:lnTo>
                <a:lnTo>
                  <a:pt x="702" y="942"/>
                </a:lnTo>
                <a:lnTo>
                  <a:pt x="690" y="936"/>
                </a:lnTo>
                <a:lnTo>
                  <a:pt x="684" y="936"/>
                </a:lnTo>
                <a:lnTo>
                  <a:pt x="678" y="936"/>
                </a:lnTo>
                <a:lnTo>
                  <a:pt x="672" y="936"/>
                </a:lnTo>
                <a:lnTo>
                  <a:pt x="666" y="942"/>
                </a:lnTo>
                <a:lnTo>
                  <a:pt x="660" y="942"/>
                </a:lnTo>
                <a:lnTo>
                  <a:pt x="654" y="942"/>
                </a:lnTo>
                <a:lnTo>
                  <a:pt x="648" y="942"/>
                </a:lnTo>
                <a:lnTo>
                  <a:pt x="642" y="936"/>
                </a:lnTo>
                <a:lnTo>
                  <a:pt x="636" y="936"/>
                </a:lnTo>
                <a:lnTo>
                  <a:pt x="630" y="930"/>
                </a:lnTo>
                <a:lnTo>
                  <a:pt x="618" y="930"/>
                </a:lnTo>
                <a:lnTo>
                  <a:pt x="612" y="930"/>
                </a:lnTo>
                <a:lnTo>
                  <a:pt x="606" y="936"/>
                </a:lnTo>
                <a:lnTo>
                  <a:pt x="600" y="942"/>
                </a:lnTo>
                <a:lnTo>
                  <a:pt x="600" y="936"/>
                </a:lnTo>
                <a:lnTo>
                  <a:pt x="594" y="930"/>
                </a:lnTo>
                <a:lnTo>
                  <a:pt x="588" y="930"/>
                </a:lnTo>
                <a:lnTo>
                  <a:pt x="582" y="930"/>
                </a:lnTo>
                <a:lnTo>
                  <a:pt x="576" y="930"/>
                </a:lnTo>
                <a:lnTo>
                  <a:pt x="564" y="936"/>
                </a:lnTo>
                <a:lnTo>
                  <a:pt x="558" y="936"/>
                </a:lnTo>
                <a:lnTo>
                  <a:pt x="546" y="924"/>
                </a:lnTo>
                <a:lnTo>
                  <a:pt x="540" y="924"/>
                </a:lnTo>
                <a:lnTo>
                  <a:pt x="534" y="918"/>
                </a:lnTo>
                <a:lnTo>
                  <a:pt x="528" y="918"/>
                </a:lnTo>
                <a:lnTo>
                  <a:pt x="516" y="918"/>
                </a:lnTo>
                <a:lnTo>
                  <a:pt x="516" y="924"/>
                </a:lnTo>
                <a:lnTo>
                  <a:pt x="516" y="918"/>
                </a:lnTo>
                <a:lnTo>
                  <a:pt x="516" y="912"/>
                </a:lnTo>
                <a:lnTo>
                  <a:pt x="510" y="894"/>
                </a:lnTo>
                <a:lnTo>
                  <a:pt x="510" y="882"/>
                </a:lnTo>
                <a:lnTo>
                  <a:pt x="510" y="876"/>
                </a:lnTo>
                <a:lnTo>
                  <a:pt x="516" y="870"/>
                </a:lnTo>
                <a:lnTo>
                  <a:pt x="510" y="864"/>
                </a:lnTo>
                <a:lnTo>
                  <a:pt x="516" y="858"/>
                </a:lnTo>
                <a:lnTo>
                  <a:pt x="522" y="858"/>
                </a:lnTo>
                <a:lnTo>
                  <a:pt x="528" y="858"/>
                </a:lnTo>
                <a:lnTo>
                  <a:pt x="522" y="852"/>
                </a:lnTo>
                <a:lnTo>
                  <a:pt x="528" y="852"/>
                </a:lnTo>
                <a:lnTo>
                  <a:pt x="528" y="846"/>
                </a:lnTo>
                <a:lnTo>
                  <a:pt x="552" y="846"/>
                </a:lnTo>
                <a:lnTo>
                  <a:pt x="558" y="840"/>
                </a:lnTo>
                <a:lnTo>
                  <a:pt x="564" y="828"/>
                </a:lnTo>
                <a:lnTo>
                  <a:pt x="570" y="816"/>
                </a:lnTo>
                <a:lnTo>
                  <a:pt x="582" y="810"/>
                </a:lnTo>
                <a:lnTo>
                  <a:pt x="588" y="804"/>
                </a:lnTo>
                <a:lnTo>
                  <a:pt x="594" y="804"/>
                </a:lnTo>
                <a:lnTo>
                  <a:pt x="594" y="792"/>
                </a:lnTo>
                <a:lnTo>
                  <a:pt x="600" y="786"/>
                </a:lnTo>
                <a:lnTo>
                  <a:pt x="606" y="780"/>
                </a:lnTo>
                <a:lnTo>
                  <a:pt x="612" y="774"/>
                </a:lnTo>
                <a:lnTo>
                  <a:pt x="618" y="774"/>
                </a:lnTo>
                <a:lnTo>
                  <a:pt x="618" y="768"/>
                </a:lnTo>
                <a:lnTo>
                  <a:pt x="618" y="762"/>
                </a:lnTo>
                <a:lnTo>
                  <a:pt x="624" y="756"/>
                </a:lnTo>
                <a:lnTo>
                  <a:pt x="618" y="750"/>
                </a:lnTo>
                <a:lnTo>
                  <a:pt x="618" y="744"/>
                </a:lnTo>
                <a:lnTo>
                  <a:pt x="600" y="738"/>
                </a:lnTo>
                <a:lnTo>
                  <a:pt x="558" y="744"/>
                </a:lnTo>
                <a:lnTo>
                  <a:pt x="552" y="732"/>
                </a:lnTo>
                <a:lnTo>
                  <a:pt x="546" y="720"/>
                </a:lnTo>
                <a:lnTo>
                  <a:pt x="564" y="702"/>
                </a:lnTo>
                <a:lnTo>
                  <a:pt x="570" y="684"/>
                </a:lnTo>
                <a:lnTo>
                  <a:pt x="564" y="648"/>
                </a:lnTo>
                <a:lnTo>
                  <a:pt x="534" y="624"/>
                </a:lnTo>
                <a:lnTo>
                  <a:pt x="504" y="612"/>
                </a:lnTo>
                <a:lnTo>
                  <a:pt x="498" y="606"/>
                </a:lnTo>
                <a:lnTo>
                  <a:pt x="492" y="600"/>
                </a:lnTo>
                <a:lnTo>
                  <a:pt x="486" y="606"/>
                </a:lnTo>
                <a:lnTo>
                  <a:pt x="480" y="558"/>
                </a:lnTo>
                <a:lnTo>
                  <a:pt x="462" y="546"/>
                </a:lnTo>
                <a:lnTo>
                  <a:pt x="408" y="540"/>
                </a:lnTo>
                <a:lnTo>
                  <a:pt x="408" y="546"/>
                </a:lnTo>
                <a:lnTo>
                  <a:pt x="408" y="558"/>
                </a:lnTo>
                <a:lnTo>
                  <a:pt x="408" y="564"/>
                </a:lnTo>
                <a:lnTo>
                  <a:pt x="408" y="570"/>
                </a:lnTo>
                <a:lnTo>
                  <a:pt x="414" y="582"/>
                </a:lnTo>
                <a:lnTo>
                  <a:pt x="408" y="594"/>
                </a:lnTo>
                <a:lnTo>
                  <a:pt x="414" y="594"/>
                </a:lnTo>
                <a:lnTo>
                  <a:pt x="408" y="600"/>
                </a:lnTo>
                <a:lnTo>
                  <a:pt x="348" y="600"/>
                </a:lnTo>
                <a:lnTo>
                  <a:pt x="324" y="600"/>
                </a:lnTo>
                <a:lnTo>
                  <a:pt x="324" y="612"/>
                </a:lnTo>
                <a:lnTo>
                  <a:pt x="306" y="618"/>
                </a:lnTo>
                <a:lnTo>
                  <a:pt x="312" y="618"/>
                </a:lnTo>
                <a:lnTo>
                  <a:pt x="294" y="588"/>
                </a:lnTo>
                <a:lnTo>
                  <a:pt x="258" y="564"/>
                </a:lnTo>
                <a:lnTo>
                  <a:pt x="252" y="564"/>
                </a:lnTo>
                <a:lnTo>
                  <a:pt x="252" y="576"/>
                </a:lnTo>
                <a:lnTo>
                  <a:pt x="240" y="582"/>
                </a:lnTo>
                <a:lnTo>
                  <a:pt x="234" y="582"/>
                </a:lnTo>
                <a:lnTo>
                  <a:pt x="228" y="588"/>
                </a:lnTo>
                <a:lnTo>
                  <a:pt x="222" y="588"/>
                </a:lnTo>
                <a:lnTo>
                  <a:pt x="216" y="594"/>
                </a:lnTo>
                <a:lnTo>
                  <a:pt x="204" y="594"/>
                </a:lnTo>
                <a:lnTo>
                  <a:pt x="198" y="600"/>
                </a:lnTo>
                <a:lnTo>
                  <a:pt x="192" y="612"/>
                </a:lnTo>
                <a:lnTo>
                  <a:pt x="192" y="618"/>
                </a:lnTo>
                <a:lnTo>
                  <a:pt x="198" y="624"/>
                </a:lnTo>
                <a:lnTo>
                  <a:pt x="192" y="624"/>
                </a:lnTo>
                <a:lnTo>
                  <a:pt x="192" y="630"/>
                </a:lnTo>
                <a:lnTo>
                  <a:pt x="192" y="642"/>
                </a:lnTo>
                <a:lnTo>
                  <a:pt x="180" y="648"/>
                </a:lnTo>
                <a:lnTo>
                  <a:pt x="174" y="654"/>
                </a:lnTo>
                <a:lnTo>
                  <a:pt x="168" y="660"/>
                </a:lnTo>
                <a:lnTo>
                  <a:pt x="162" y="660"/>
                </a:lnTo>
                <a:lnTo>
                  <a:pt x="156" y="666"/>
                </a:lnTo>
                <a:lnTo>
                  <a:pt x="156" y="672"/>
                </a:lnTo>
                <a:lnTo>
                  <a:pt x="150" y="678"/>
                </a:lnTo>
                <a:lnTo>
                  <a:pt x="144" y="684"/>
                </a:lnTo>
                <a:lnTo>
                  <a:pt x="138" y="690"/>
                </a:lnTo>
                <a:lnTo>
                  <a:pt x="132" y="690"/>
                </a:lnTo>
                <a:lnTo>
                  <a:pt x="126" y="702"/>
                </a:lnTo>
                <a:lnTo>
                  <a:pt x="132" y="708"/>
                </a:lnTo>
                <a:lnTo>
                  <a:pt x="126" y="708"/>
                </a:lnTo>
                <a:lnTo>
                  <a:pt x="120" y="708"/>
                </a:lnTo>
                <a:lnTo>
                  <a:pt x="114" y="708"/>
                </a:lnTo>
                <a:lnTo>
                  <a:pt x="108" y="708"/>
                </a:lnTo>
                <a:lnTo>
                  <a:pt x="108" y="714"/>
                </a:lnTo>
                <a:lnTo>
                  <a:pt x="102" y="714"/>
                </a:lnTo>
                <a:lnTo>
                  <a:pt x="96" y="714"/>
                </a:lnTo>
                <a:lnTo>
                  <a:pt x="90" y="714"/>
                </a:lnTo>
                <a:lnTo>
                  <a:pt x="84" y="714"/>
                </a:lnTo>
                <a:lnTo>
                  <a:pt x="78" y="720"/>
                </a:lnTo>
                <a:lnTo>
                  <a:pt x="72" y="720"/>
                </a:lnTo>
                <a:lnTo>
                  <a:pt x="66" y="720"/>
                </a:lnTo>
                <a:lnTo>
                  <a:pt x="54" y="732"/>
                </a:lnTo>
                <a:lnTo>
                  <a:pt x="48" y="702"/>
                </a:lnTo>
                <a:lnTo>
                  <a:pt x="36" y="666"/>
                </a:lnTo>
                <a:lnTo>
                  <a:pt x="0" y="660"/>
                </a:lnTo>
                <a:lnTo>
                  <a:pt x="6" y="660"/>
                </a:lnTo>
                <a:lnTo>
                  <a:pt x="6" y="654"/>
                </a:lnTo>
                <a:lnTo>
                  <a:pt x="6" y="648"/>
                </a:lnTo>
                <a:lnTo>
                  <a:pt x="6" y="642"/>
                </a:lnTo>
                <a:lnTo>
                  <a:pt x="6" y="624"/>
                </a:lnTo>
                <a:lnTo>
                  <a:pt x="6" y="612"/>
                </a:lnTo>
                <a:lnTo>
                  <a:pt x="6" y="606"/>
                </a:lnTo>
                <a:lnTo>
                  <a:pt x="12" y="612"/>
                </a:lnTo>
                <a:lnTo>
                  <a:pt x="18" y="606"/>
                </a:lnTo>
                <a:lnTo>
                  <a:pt x="24" y="606"/>
                </a:lnTo>
                <a:lnTo>
                  <a:pt x="24" y="600"/>
                </a:lnTo>
                <a:lnTo>
                  <a:pt x="30" y="594"/>
                </a:lnTo>
                <a:lnTo>
                  <a:pt x="30" y="588"/>
                </a:lnTo>
                <a:lnTo>
                  <a:pt x="30" y="582"/>
                </a:lnTo>
                <a:lnTo>
                  <a:pt x="24" y="576"/>
                </a:lnTo>
                <a:lnTo>
                  <a:pt x="18" y="576"/>
                </a:lnTo>
                <a:lnTo>
                  <a:pt x="18" y="570"/>
                </a:lnTo>
                <a:lnTo>
                  <a:pt x="18" y="558"/>
                </a:lnTo>
                <a:lnTo>
                  <a:pt x="24" y="558"/>
                </a:lnTo>
                <a:lnTo>
                  <a:pt x="30" y="552"/>
                </a:lnTo>
                <a:lnTo>
                  <a:pt x="30" y="540"/>
                </a:lnTo>
                <a:lnTo>
                  <a:pt x="36" y="528"/>
                </a:lnTo>
                <a:lnTo>
                  <a:pt x="30" y="522"/>
                </a:lnTo>
                <a:lnTo>
                  <a:pt x="24" y="522"/>
                </a:lnTo>
                <a:lnTo>
                  <a:pt x="18" y="510"/>
                </a:lnTo>
                <a:lnTo>
                  <a:pt x="12" y="516"/>
                </a:lnTo>
                <a:lnTo>
                  <a:pt x="6" y="510"/>
                </a:lnTo>
                <a:lnTo>
                  <a:pt x="6" y="504"/>
                </a:lnTo>
                <a:lnTo>
                  <a:pt x="18" y="498"/>
                </a:lnTo>
                <a:lnTo>
                  <a:pt x="18" y="492"/>
                </a:lnTo>
                <a:lnTo>
                  <a:pt x="18" y="486"/>
                </a:lnTo>
                <a:lnTo>
                  <a:pt x="18" y="480"/>
                </a:lnTo>
                <a:lnTo>
                  <a:pt x="18" y="474"/>
                </a:lnTo>
                <a:lnTo>
                  <a:pt x="12" y="468"/>
                </a:lnTo>
                <a:lnTo>
                  <a:pt x="12" y="462"/>
                </a:lnTo>
                <a:lnTo>
                  <a:pt x="18" y="456"/>
                </a:lnTo>
                <a:lnTo>
                  <a:pt x="18" y="444"/>
                </a:lnTo>
                <a:lnTo>
                  <a:pt x="18" y="438"/>
                </a:lnTo>
                <a:lnTo>
                  <a:pt x="24" y="438"/>
                </a:lnTo>
                <a:lnTo>
                  <a:pt x="30" y="432"/>
                </a:lnTo>
                <a:lnTo>
                  <a:pt x="30" y="426"/>
                </a:lnTo>
                <a:lnTo>
                  <a:pt x="30" y="420"/>
                </a:lnTo>
                <a:lnTo>
                  <a:pt x="30" y="414"/>
                </a:lnTo>
                <a:lnTo>
                  <a:pt x="48" y="414"/>
                </a:lnTo>
                <a:lnTo>
                  <a:pt x="54" y="408"/>
                </a:lnTo>
                <a:lnTo>
                  <a:pt x="60" y="402"/>
                </a:lnTo>
                <a:lnTo>
                  <a:pt x="66" y="402"/>
                </a:lnTo>
                <a:lnTo>
                  <a:pt x="72" y="402"/>
                </a:lnTo>
                <a:lnTo>
                  <a:pt x="78" y="408"/>
                </a:lnTo>
                <a:lnTo>
                  <a:pt x="84" y="396"/>
                </a:lnTo>
                <a:lnTo>
                  <a:pt x="90" y="390"/>
                </a:lnTo>
                <a:lnTo>
                  <a:pt x="90" y="378"/>
                </a:lnTo>
                <a:lnTo>
                  <a:pt x="96" y="372"/>
                </a:lnTo>
                <a:lnTo>
                  <a:pt x="96" y="366"/>
                </a:lnTo>
                <a:lnTo>
                  <a:pt x="96" y="360"/>
                </a:lnTo>
                <a:lnTo>
                  <a:pt x="108" y="354"/>
                </a:lnTo>
                <a:lnTo>
                  <a:pt x="114" y="348"/>
                </a:lnTo>
                <a:lnTo>
                  <a:pt x="120" y="342"/>
                </a:lnTo>
                <a:lnTo>
                  <a:pt x="120" y="348"/>
                </a:lnTo>
                <a:lnTo>
                  <a:pt x="126" y="348"/>
                </a:lnTo>
                <a:lnTo>
                  <a:pt x="132" y="336"/>
                </a:lnTo>
                <a:lnTo>
                  <a:pt x="132" y="330"/>
                </a:lnTo>
                <a:lnTo>
                  <a:pt x="138" y="324"/>
                </a:lnTo>
                <a:lnTo>
                  <a:pt x="138" y="318"/>
                </a:lnTo>
                <a:lnTo>
                  <a:pt x="144" y="306"/>
                </a:lnTo>
                <a:lnTo>
                  <a:pt x="156" y="306"/>
                </a:lnTo>
                <a:lnTo>
                  <a:pt x="186" y="300"/>
                </a:lnTo>
                <a:lnTo>
                  <a:pt x="198" y="300"/>
                </a:lnTo>
                <a:lnTo>
                  <a:pt x="210" y="300"/>
                </a:lnTo>
                <a:lnTo>
                  <a:pt x="222" y="300"/>
                </a:lnTo>
                <a:lnTo>
                  <a:pt x="246" y="300"/>
                </a:lnTo>
                <a:lnTo>
                  <a:pt x="264" y="312"/>
                </a:lnTo>
                <a:lnTo>
                  <a:pt x="270" y="312"/>
                </a:lnTo>
                <a:lnTo>
                  <a:pt x="282" y="306"/>
                </a:lnTo>
                <a:lnTo>
                  <a:pt x="288" y="300"/>
                </a:lnTo>
                <a:lnTo>
                  <a:pt x="294" y="306"/>
                </a:lnTo>
                <a:lnTo>
                  <a:pt x="300" y="306"/>
                </a:lnTo>
                <a:lnTo>
                  <a:pt x="312" y="306"/>
                </a:lnTo>
                <a:lnTo>
                  <a:pt x="318" y="300"/>
                </a:lnTo>
                <a:lnTo>
                  <a:pt x="324" y="300"/>
                </a:lnTo>
                <a:lnTo>
                  <a:pt x="330" y="294"/>
                </a:lnTo>
                <a:lnTo>
                  <a:pt x="336" y="288"/>
                </a:lnTo>
                <a:lnTo>
                  <a:pt x="354" y="288"/>
                </a:lnTo>
                <a:lnTo>
                  <a:pt x="360" y="288"/>
                </a:lnTo>
                <a:lnTo>
                  <a:pt x="366" y="282"/>
                </a:lnTo>
                <a:lnTo>
                  <a:pt x="372" y="282"/>
                </a:lnTo>
                <a:lnTo>
                  <a:pt x="378" y="282"/>
                </a:lnTo>
                <a:lnTo>
                  <a:pt x="384" y="276"/>
                </a:lnTo>
                <a:lnTo>
                  <a:pt x="384" y="270"/>
                </a:lnTo>
                <a:lnTo>
                  <a:pt x="390" y="264"/>
                </a:lnTo>
                <a:lnTo>
                  <a:pt x="402" y="258"/>
                </a:lnTo>
                <a:lnTo>
                  <a:pt x="402" y="252"/>
                </a:lnTo>
                <a:lnTo>
                  <a:pt x="402" y="246"/>
                </a:lnTo>
                <a:lnTo>
                  <a:pt x="408" y="234"/>
                </a:lnTo>
                <a:lnTo>
                  <a:pt x="414" y="234"/>
                </a:lnTo>
                <a:lnTo>
                  <a:pt x="414" y="228"/>
                </a:lnTo>
                <a:lnTo>
                  <a:pt x="420" y="222"/>
                </a:lnTo>
                <a:lnTo>
                  <a:pt x="414" y="216"/>
                </a:lnTo>
                <a:lnTo>
                  <a:pt x="414" y="210"/>
                </a:lnTo>
                <a:lnTo>
                  <a:pt x="420" y="210"/>
                </a:lnTo>
                <a:lnTo>
                  <a:pt x="414" y="198"/>
                </a:lnTo>
                <a:lnTo>
                  <a:pt x="414" y="192"/>
                </a:lnTo>
                <a:lnTo>
                  <a:pt x="420" y="192"/>
                </a:lnTo>
                <a:lnTo>
                  <a:pt x="420" y="186"/>
                </a:lnTo>
                <a:lnTo>
                  <a:pt x="420" y="174"/>
                </a:lnTo>
                <a:lnTo>
                  <a:pt x="420" y="168"/>
                </a:lnTo>
                <a:lnTo>
                  <a:pt x="426" y="162"/>
                </a:lnTo>
                <a:lnTo>
                  <a:pt x="432" y="156"/>
                </a:lnTo>
                <a:lnTo>
                  <a:pt x="438" y="144"/>
                </a:lnTo>
                <a:lnTo>
                  <a:pt x="444" y="144"/>
                </a:lnTo>
                <a:lnTo>
                  <a:pt x="450" y="138"/>
                </a:lnTo>
                <a:lnTo>
                  <a:pt x="456" y="138"/>
                </a:lnTo>
                <a:lnTo>
                  <a:pt x="462" y="132"/>
                </a:lnTo>
                <a:lnTo>
                  <a:pt x="462" y="126"/>
                </a:lnTo>
                <a:lnTo>
                  <a:pt x="468" y="126"/>
                </a:lnTo>
                <a:lnTo>
                  <a:pt x="474" y="126"/>
                </a:lnTo>
                <a:lnTo>
                  <a:pt x="480" y="120"/>
                </a:lnTo>
                <a:lnTo>
                  <a:pt x="486" y="108"/>
                </a:lnTo>
                <a:lnTo>
                  <a:pt x="492" y="108"/>
                </a:lnTo>
                <a:lnTo>
                  <a:pt x="498" y="102"/>
                </a:lnTo>
                <a:lnTo>
                  <a:pt x="504" y="96"/>
                </a:lnTo>
                <a:lnTo>
                  <a:pt x="504" y="108"/>
                </a:lnTo>
                <a:lnTo>
                  <a:pt x="522" y="102"/>
                </a:lnTo>
                <a:lnTo>
                  <a:pt x="540" y="102"/>
                </a:lnTo>
                <a:lnTo>
                  <a:pt x="552" y="108"/>
                </a:lnTo>
                <a:lnTo>
                  <a:pt x="582" y="102"/>
                </a:lnTo>
                <a:lnTo>
                  <a:pt x="594" y="126"/>
                </a:lnTo>
                <a:lnTo>
                  <a:pt x="594" y="144"/>
                </a:lnTo>
                <a:lnTo>
                  <a:pt x="588" y="156"/>
                </a:lnTo>
                <a:lnTo>
                  <a:pt x="588" y="168"/>
                </a:lnTo>
                <a:lnTo>
                  <a:pt x="582" y="180"/>
                </a:lnTo>
                <a:lnTo>
                  <a:pt x="570" y="192"/>
                </a:lnTo>
                <a:lnTo>
                  <a:pt x="594" y="192"/>
                </a:lnTo>
                <a:lnTo>
                  <a:pt x="618" y="198"/>
                </a:lnTo>
                <a:lnTo>
                  <a:pt x="642" y="210"/>
                </a:lnTo>
                <a:lnTo>
                  <a:pt x="660" y="234"/>
                </a:lnTo>
                <a:lnTo>
                  <a:pt x="678" y="246"/>
                </a:lnTo>
                <a:lnTo>
                  <a:pt x="684" y="252"/>
                </a:lnTo>
                <a:lnTo>
                  <a:pt x="702" y="252"/>
                </a:lnTo>
                <a:lnTo>
                  <a:pt x="732" y="234"/>
                </a:lnTo>
                <a:lnTo>
                  <a:pt x="732" y="222"/>
                </a:lnTo>
                <a:lnTo>
                  <a:pt x="720" y="216"/>
                </a:lnTo>
                <a:lnTo>
                  <a:pt x="714" y="198"/>
                </a:lnTo>
                <a:lnTo>
                  <a:pt x="714" y="174"/>
                </a:lnTo>
                <a:lnTo>
                  <a:pt x="720" y="162"/>
                </a:lnTo>
                <a:lnTo>
                  <a:pt x="726" y="162"/>
                </a:lnTo>
                <a:lnTo>
                  <a:pt x="732" y="156"/>
                </a:lnTo>
                <a:lnTo>
                  <a:pt x="744" y="150"/>
                </a:lnTo>
                <a:lnTo>
                  <a:pt x="774" y="162"/>
                </a:lnTo>
                <a:lnTo>
                  <a:pt x="786" y="162"/>
                </a:lnTo>
                <a:lnTo>
                  <a:pt x="816" y="162"/>
                </a:lnTo>
                <a:lnTo>
                  <a:pt x="816" y="156"/>
                </a:lnTo>
                <a:lnTo>
                  <a:pt x="816" y="150"/>
                </a:lnTo>
                <a:lnTo>
                  <a:pt x="822" y="144"/>
                </a:lnTo>
                <a:lnTo>
                  <a:pt x="822" y="138"/>
                </a:lnTo>
                <a:lnTo>
                  <a:pt x="822" y="132"/>
                </a:lnTo>
                <a:lnTo>
                  <a:pt x="822" y="114"/>
                </a:lnTo>
                <a:lnTo>
                  <a:pt x="828" y="108"/>
                </a:lnTo>
                <a:lnTo>
                  <a:pt x="834" y="96"/>
                </a:lnTo>
                <a:lnTo>
                  <a:pt x="846" y="96"/>
                </a:lnTo>
                <a:lnTo>
                  <a:pt x="858" y="90"/>
                </a:lnTo>
                <a:lnTo>
                  <a:pt x="870" y="84"/>
                </a:lnTo>
                <a:lnTo>
                  <a:pt x="888" y="84"/>
                </a:lnTo>
                <a:lnTo>
                  <a:pt x="894" y="90"/>
                </a:lnTo>
                <a:lnTo>
                  <a:pt x="894" y="102"/>
                </a:lnTo>
                <a:lnTo>
                  <a:pt x="900" y="102"/>
                </a:lnTo>
                <a:lnTo>
                  <a:pt x="906" y="114"/>
                </a:lnTo>
                <a:lnTo>
                  <a:pt x="930" y="120"/>
                </a:lnTo>
                <a:lnTo>
                  <a:pt x="942" y="126"/>
                </a:lnTo>
                <a:lnTo>
                  <a:pt x="948" y="132"/>
                </a:lnTo>
                <a:lnTo>
                  <a:pt x="954" y="138"/>
                </a:lnTo>
                <a:lnTo>
                  <a:pt x="966" y="144"/>
                </a:lnTo>
                <a:lnTo>
                  <a:pt x="966" y="150"/>
                </a:lnTo>
                <a:lnTo>
                  <a:pt x="972" y="150"/>
                </a:lnTo>
                <a:lnTo>
                  <a:pt x="978" y="150"/>
                </a:lnTo>
                <a:lnTo>
                  <a:pt x="978" y="144"/>
                </a:lnTo>
                <a:lnTo>
                  <a:pt x="984" y="144"/>
                </a:lnTo>
                <a:lnTo>
                  <a:pt x="990" y="138"/>
                </a:lnTo>
                <a:lnTo>
                  <a:pt x="996" y="138"/>
                </a:lnTo>
                <a:lnTo>
                  <a:pt x="1002" y="138"/>
                </a:lnTo>
                <a:lnTo>
                  <a:pt x="1008" y="138"/>
                </a:lnTo>
                <a:lnTo>
                  <a:pt x="1026" y="132"/>
                </a:lnTo>
                <a:lnTo>
                  <a:pt x="1044" y="126"/>
                </a:lnTo>
                <a:lnTo>
                  <a:pt x="1056" y="120"/>
                </a:lnTo>
                <a:lnTo>
                  <a:pt x="1062" y="108"/>
                </a:lnTo>
                <a:lnTo>
                  <a:pt x="1056" y="102"/>
                </a:lnTo>
                <a:lnTo>
                  <a:pt x="1062" y="96"/>
                </a:lnTo>
                <a:lnTo>
                  <a:pt x="1074" y="90"/>
                </a:lnTo>
                <a:lnTo>
                  <a:pt x="1080" y="84"/>
                </a:lnTo>
                <a:lnTo>
                  <a:pt x="1128" y="84"/>
                </a:lnTo>
                <a:lnTo>
                  <a:pt x="1134" y="84"/>
                </a:lnTo>
                <a:lnTo>
                  <a:pt x="1140" y="78"/>
                </a:lnTo>
                <a:lnTo>
                  <a:pt x="1152" y="72"/>
                </a:lnTo>
                <a:lnTo>
                  <a:pt x="1164" y="66"/>
                </a:lnTo>
                <a:lnTo>
                  <a:pt x="1170" y="60"/>
                </a:lnTo>
                <a:lnTo>
                  <a:pt x="1188" y="48"/>
                </a:lnTo>
                <a:lnTo>
                  <a:pt x="1200" y="36"/>
                </a:lnTo>
                <a:lnTo>
                  <a:pt x="1218" y="24"/>
                </a:lnTo>
                <a:lnTo>
                  <a:pt x="1248" y="24"/>
                </a:lnTo>
                <a:lnTo>
                  <a:pt x="1272" y="24"/>
                </a:lnTo>
                <a:lnTo>
                  <a:pt x="1284" y="12"/>
                </a:lnTo>
                <a:lnTo>
                  <a:pt x="1302" y="0"/>
                </a:lnTo>
                <a:lnTo>
                  <a:pt x="1314" y="0"/>
                </a:lnTo>
                <a:lnTo>
                  <a:pt x="1326" y="18"/>
                </a:lnTo>
                <a:lnTo>
                  <a:pt x="1338" y="30"/>
                </a:lnTo>
                <a:lnTo>
                  <a:pt x="1338" y="54"/>
                </a:lnTo>
                <a:lnTo>
                  <a:pt x="1332" y="72"/>
                </a:lnTo>
                <a:lnTo>
                  <a:pt x="1326" y="72"/>
                </a:lnTo>
                <a:lnTo>
                  <a:pt x="1326" y="78"/>
                </a:lnTo>
                <a:lnTo>
                  <a:pt x="1326" y="102"/>
                </a:lnTo>
                <a:lnTo>
                  <a:pt x="1332" y="102"/>
                </a:lnTo>
                <a:lnTo>
                  <a:pt x="1332" y="108"/>
                </a:lnTo>
                <a:lnTo>
                  <a:pt x="1344" y="114"/>
                </a:lnTo>
                <a:lnTo>
                  <a:pt x="1350" y="114"/>
                </a:lnTo>
                <a:lnTo>
                  <a:pt x="1368" y="126"/>
                </a:lnTo>
                <a:lnTo>
                  <a:pt x="1386" y="120"/>
                </a:lnTo>
                <a:lnTo>
                  <a:pt x="1404" y="132"/>
                </a:lnTo>
                <a:lnTo>
                  <a:pt x="1404" y="138"/>
                </a:lnTo>
                <a:lnTo>
                  <a:pt x="1410" y="150"/>
                </a:lnTo>
                <a:lnTo>
                  <a:pt x="1416" y="162"/>
                </a:lnTo>
                <a:lnTo>
                  <a:pt x="1428" y="168"/>
                </a:lnTo>
                <a:lnTo>
                  <a:pt x="1440" y="180"/>
                </a:lnTo>
                <a:lnTo>
                  <a:pt x="1476" y="174"/>
                </a:lnTo>
                <a:lnTo>
                  <a:pt x="1494" y="174"/>
                </a:lnTo>
                <a:lnTo>
                  <a:pt x="1512" y="192"/>
                </a:lnTo>
                <a:lnTo>
                  <a:pt x="1518" y="204"/>
                </a:lnTo>
                <a:lnTo>
                  <a:pt x="1530" y="216"/>
                </a:lnTo>
                <a:lnTo>
                  <a:pt x="1548" y="228"/>
                </a:lnTo>
                <a:lnTo>
                  <a:pt x="1548" y="234"/>
                </a:lnTo>
                <a:lnTo>
                  <a:pt x="1542" y="246"/>
                </a:lnTo>
                <a:lnTo>
                  <a:pt x="1560" y="246"/>
                </a:lnTo>
                <a:lnTo>
                  <a:pt x="1560" y="252"/>
                </a:lnTo>
                <a:lnTo>
                  <a:pt x="1566" y="258"/>
                </a:lnTo>
                <a:lnTo>
                  <a:pt x="1578" y="270"/>
                </a:lnTo>
                <a:lnTo>
                  <a:pt x="1596" y="270"/>
                </a:lnTo>
                <a:lnTo>
                  <a:pt x="1602" y="288"/>
                </a:lnTo>
                <a:lnTo>
                  <a:pt x="1608" y="306"/>
                </a:lnTo>
                <a:lnTo>
                  <a:pt x="1608" y="318"/>
                </a:lnTo>
                <a:lnTo>
                  <a:pt x="1608" y="324"/>
                </a:lnTo>
                <a:lnTo>
                  <a:pt x="1614" y="330"/>
                </a:lnTo>
                <a:lnTo>
                  <a:pt x="1614" y="336"/>
                </a:lnTo>
                <a:lnTo>
                  <a:pt x="1614" y="342"/>
                </a:lnTo>
                <a:lnTo>
                  <a:pt x="1614" y="354"/>
                </a:lnTo>
                <a:lnTo>
                  <a:pt x="1614" y="360"/>
                </a:lnTo>
                <a:lnTo>
                  <a:pt x="1614" y="372"/>
                </a:lnTo>
                <a:lnTo>
                  <a:pt x="1608" y="372"/>
                </a:lnTo>
                <a:lnTo>
                  <a:pt x="1608" y="378"/>
                </a:lnTo>
                <a:lnTo>
                  <a:pt x="1608" y="384"/>
                </a:lnTo>
                <a:lnTo>
                  <a:pt x="1608" y="390"/>
                </a:lnTo>
                <a:lnTo>
                  <a:pt x="1602" y="390"/>
                </a:lnTo>
                <a:lnTo>
                  <a:pt x="1602" y="396"/>
                </a:lnTo>
                <a:lnTo>
                  <a:pt x="1584" y="420"/>
                </a:lnTo>
                <a:lnTo>
                  <a:pt x="1584" y="426"/>
                </a:lnTo>
                <a:lnTo>
                  <a:pt x="1602" y="474"/>
                </a:lnTo>
                <a:lnTo>
                  <a:pt x="1608" y="480"/>
                </a:lnTo>
                <a:lnTo>
                  <a:pt x="1608" y="486"/>
                </a:lnTo>
                <a:lnTo>
                  <a:pt x="1614" y="486"/>
                </a:lnTo>
                <a:lnTo>
                  <a:pt x="1608" y="504"/>
                </a:lnTo>
                <a:lnTo>
                  <a:pt x="1572" y="504"/>
                </a:lnTo>
                <a:lnTo>
                  <a:pt x="1560" y="510"/>
                </a:lnTo>
                <a:lnTo>
                  <a:pt x="1554" y="522"/>
                </a:lnTo>
                <a:lnTo>
                  <a:pt x="1560" y="552"/>
                </a:lnTo>
                <a:lnTo>
                  <a:pt x="1566" y="552"/>
                </a:lnTo>
                <a:lnTo>
                  <a:pt x="1566" y="558"/>
                </a:lnTo>
                <a:lnTo>
                  <a:pt x="1572" y="558"/>
                </a:lnTo>
                <a:lnTo>
                  <a:pt x="1578" y="558"/>
                </a:lnTo>
                <a:lnTo>
                  <a:pt x="1578" y="552"/>
                </a:lnTo>
                <a:lnTo>
                  <a:pt x="1584" y="552"/>
                </a:lnTo>
                <a:lnTo>
                  <a:pt x="1590" y="552"/>
                </a:lnTo>
                <a:lnTo>
                  <a:pt x="1590" y="546"/>
                </a:lnTo>
                <a:lnTo>
                  <a:pt x="1596" y="546"/>
                </a:lnTo>
                <a:lnTo>
                  <a:pt x="1602" y="552"/>
                </a:lnTo>
                <a:lnTo>
                  <a:pt x="1602" y="546"/>
                </a:lnTo>
                <a:lnTo>
                  <a:pt x="1608" y="546"/>
                </a:lnTo>
                <a:lnTo>
                  <a:pt x="1608" y="552"/>
                </a:lnTo>
                <a:lnTo>
                  <a:pt x="1614" y="552"/>
                </a:lnTo>
                <a:lnTo>
                  <a:pt x="1614" y="546"/>
                </a:lnTo>
                <a:lnTo>
                  <a:pt x="1620" y="552"/>
                </a:lnTo>
                <a:lnTo>
                  <a:pt x="1626" y="552"/>
                </a:lnTo>
                <a:lnTo>
                  <a:pt x="1626" y="558"/>
                </a:lnTo>
                <a:lnTo>
                  <a:pt x="1632" y="558"/>
                </a:lnTo>
                <a:lnTo>
                  <a:pt x="1638" y="558"/>
                </a:lnTo>
                <a:lnTo>
                  <a:pt x="1644" y="558"/>
                </a:lnTo>
                <a:lnTo>
                  <a:pt x="1650" y="558"/>
                </a:lnTo>
                <a:lnTo>
                  <a:pt x="1650" y="564"/>
                </a:lnTo>
                <a:lnTo>
                  <a:pt x="1656" y="564"/>
                </a:lnTo>
                <a:lnTo>
                  <a:pt x="1662" y="564"/>
                </a:lnTo>
                <a:lnTo>
                  <a:pt x="1668" y="564"/>
                </a:lnTo>
                <a:lnTo>
                  <a:pt x="1668" y="570"/>
                </a:lnTo>
                <a:lnTo>
                  <a:pt x="1674" y="570"/>
                </a:lnTo>
                <a:lnTo>
                  <a:pt x="1680" y="570"/>
                </a:lnTo>
                <a:lnTo>
                  <a:pt x="1686" y="576"/>
                </a:lnTo>
                <a:lnTo>
                  <a:pt x="1686" y="582"/>
                </a:lnTo>
                <a:lnTo>
                  <a:pt x="1710" y="588"/>
                </a:lnTo>
                <a:lnTo>
                  <a:pt x="1710" y="594"/>
                </a:lnTo>
                <a:lnTo>
                  <a:pt x="1704" y="600"/>
                </a:lnTo>
                <a:lnTo>
                  <a:pt x="1710" y="624"/>
                </a:lnTo>
                <a:lnTo>
                  <a:pt x="1698" y="672"/>
                </a:lnTo>
                <a:lnTo>
                  <a:pt x="1704" y="678"/>
                </a:lnTo>
                <a:lnTo>
                  <a:pt x="1716" y="684"/>
                </a:lnTo>
                <a:lnTo>
                  <a:pt x="1716" y="678"/>
                </a:lnTo>
                <a:lnTo>
                  <a:pt x="1716" y="684"/>
                </a:lnTo>
                <a:lnTo>
                  <a:pt x="1728" y="684"/>
                </a:lnTo>
                <a:lnTo>
                  <a:pt x="1728" y="690"/>
                </a:lnTo>
                <a:lnTo>
                  <a:pt x="1734" y="696"/>
                </a:lnTo>
                <a:lnTo>
                  <a:pt x="1734" y="702"/>
                </a:lnTo>
                <a:lnTo>
                  <a:pt x="1740" y="708"/>
                </a:lnTo>
                <a:lnTo>
                  <a:pt x="1740" y="714"/>
                </a:lnTo>
                <a:lnTo>
                  <a:pt x="1710" y="714"/>
                </a:lnTo>
                <a:lnTo>
                  <a:pt x="1710" y="756"/>
                </a:lnTo>
                <a:lnTo>
                  <a:pt x="1704" y="762"/>
                </a:lnTo>
                <a:lnTo>
                  <a:pt x="1698" y="762"/>
                </a:lnTo>
                <a:lnTo>
                  <a:pt x="1698" y="768"/>
                </a:lnTo>
                <a:lnTo>
                  <a:pt x="1698" y="774"/>
                </a:lnTo>
                <a:lnTo>
                  <a:pt x="1692" y="780"/>
                </a:lnTo>
                <a:lnTo>
                  <a:pt x="1692" y="786"/>
                </a:lnTo>
                <a:lnTo>
                  <a:pt x="1686" y="786"/>
                </a:lnTo>
                <a:lnTo>
                  <a:pt x="1668" y="798"/>
                </a:lnTo>
                <a:lnTo>
                  <a:pt x="1662" y="810"/>
                </a:lnTo>
                <a:lnTo>
                  <a:pt x="1650" y="810"/>
                </a:lnTo>
                <a:lnTo>
                  <a:pt x="1644" y="816"/>
                </a:lnTo>
                <a:lnTo>
                  <a:pt x="1638" y="816"/>
                </a:lnTo>
                <a:lnTo>
                  <a:pt x="1626" y="852"/>
                </a:lnTo>
                <a:lnTo>
                  <a:pt x="1620" y="888"/>
                </a:lnTo>
                <a:lnTo>
                  <a:pt x="1626" y="888"/>
                </a:lnTo>
                <a:lnTo>
                  <a:pt x="1638" y="912"/>
                </a:lnTo>
                <a:lnTo>
                  <a:pt x="1644" y="918"/>
                </a:lnTo>
                <a:lnTo>
                  <a:pt x="1650" y="966"/>
                </a:lnTo>
                <a:lnTo>
                  <a:pt x="1626" y="972"/>
                </a:lnTo>
                <a:lnTo>
                  <a:pt x="1608" y="978"/>
                </a:lnTo>
                <a:lnTo>
                  <a:pt x="1614" y="984"/>
                </a:lnTo>
                <a:lnTo>
                  <a:pt x="1620" y="984"/>
                </a:lnTo>
                <a:lnTo>
                  <a:pt x="1620" y="1020"/>
                </a:lnTo>
                <a:lnTo>
                  <a:pt x="1614" y="1038"/>
                </a:lnTo>
                <a:lnTo>
                  <a:pt x="1620" y="1044"/>
                </a:lnTo>
                <a:lnTo>
                  <a:pt x="1626" y="1056"/>
                </a:lnTo>
                <a:lnTo>
                  <a:pt x="1626" y="1074"/>
                </a:lnTo>
                <a:lnTo>
                  <a:pt x="1620" y="1080"/>
                </a:lnTo>
                <a:lnTo>
                  <a:pt x="1620" y="1104"/>
                </a:lnTo>
                <a:lnTo>
                  <a:pt x="1620" y="1110"/>
                </a:lnTo>
                <a:lnTo>
                  <a:pt x="1614" y="1116"/>
                </a:lnTo>
                <a:lnTo>
                  <a:pt x="1608" y="1140"/>
                </a:lnTo>
                <a:lnTo>
                  <a:pt x="1602" y="1146"/>
                </a:lnTo>
                <a:lnTo>
                  <a:pt x="1602" y="1164"/>
                </a:lnTo>
                <a:lnTo>
                  <a:pt x="1596" y="1170"/>
                </a:lnTo>
                <a:lnTo>
                  <a:pt x="1590" y="1164"/>
                </a:lnTo>
                <a:lnTo>
                  <a:pt x="1584" y="1164"/>
                </a:lnTo>
                <a:lnTo>
                  <a:pt x="1578" y="1164"/>
                </a:lnTo>
                <a:lnTo>
                  <a:pt x="1578" y="1188"/>
                </a:lnTo>
                <a:lnTo>
                  <a:pt x="1584" y="1194"/>
                </a:lnTo>
                <a:lnTo>
                  <a:pt x="1590" y="1194"/>
                </a:lnTo>
                <a:lnTo>
                  <a:pt x="1590" y="1212"/>
                </a:lnTo>
                <a:lnTo>
                  <a:pt x="1584" y="1212"/>
                </a:lnTo>
                <a:lnTo>
                  <a:pt x="1584" y="1224"/>
                </a:lnTo>
                <a:lnTo>
                  <a:pt x="1578" y="1224"/>
                </a:lnTo>
                <a:lnTo>
                  <a:pt x="1578" y="1236"/>
                </a:lnTo>
                <a:lnTo>
                  <a:pt x="1584" y="1254"/>
                </a:lnTo>
                <a:lnTo>
                  <a:pt x="1584" y="1260"/>
                </a:lnTo>
                <a:lnTo>
                  <a:pt x="1590" y="1260"/>
                </a:lnTo>
                <a:lnTo>
                  <a:pt x="1590" y="1266"/>
                </a:lnTo>
                <a:lnTo>
                  <a:pt x="1596" y="1284"/>
                </a:lnTo>
                <a:lnTo>
                  <a:pt x="1602" y="1278"/>
                </a:lnTo>
                <a:lnTo>
                  <a:pt x="1608" y="1284"/>
                </a:lnTo>
                <a:lnTo>
                  <a:pt x="1632" y="1350"/>
                </a:lnTo>
                <a:lnTo>
                  <a:pt x="1638" y="1356"/>
                </a:lnTo>
                <a:lnTo>
                  <a:pt x="1644" y="1356"/>
                </a:lnTo>
                <a:lnTo>
                  <a:pt x="1650" y="1356"/>
                </a:lnTo>
                <a:lnTo>
                  <a:pt x="1656" y="1356"/>
                </a:lnTo>
                <a:lnTo>
                  <a:pt x="1662" y="1362"/>
                </a:lnTo>
                <a:lnTo>
                  <a:pt x="1668" y="1356"/>
                </a:lnTo>
                <a:lnTo>
                  <a:pt x="1668" y="1380"/>
                </a:lnTo>
                <a:lnTo>
                  <a:pt x="1662" y="1392"/>
                </a:lnTo>
                <a:lnTo>
                  <a:pt x="1656" y="1404"/>
                </a:lnTo>
                <a:lnTo>
                  <a:pt x="1656" y="1410"/>
                </a:lnTo>
                <a:lnTo>
                  <a:pt x="1656" y="1416"/>
                </a:lnTo>
                <a:lnTo>
                  <a:pt x="1650" y="1422"/>
                </a:lnTo>
                <a:lnTo>
                  <a:pt x="1650" y="1428"/>
                </a:lnTo>
                <a:lnTo>
                  <a:pt x="1644" y="1428"/>
                </a:lnTo>
                <a:lnTo>
                  <a:pt x="1644" y="1434"/>
                </a:lnTo>
                <a:lnTo>
                  <a:pt x="1638" y="1434"/>
                </a:lnTo>
                <a:lnTo>
                  <a:pt x="1638" y="1440"/>
                </a:lnTo>
                <a:lnTo>
                  <a:pt x="1632" y="1440"/>
                </a:lnTo>
                <a:lnTo>
                  <a:pt x="1638" y="1458"/>
                </a:lnTo>
                <a:close/>
              </a:path>
            </a:pathLst>
          </a:custGeom>
          <a:solidFill>
            <a:srgbClr val="CD202C"/>
          </a:solidFill>
          <a:ln w="9525">
            <a:solidFill>
              <a:schemeClr val="bg1"/>
            </a:solidFill>
            <a:round/>
            <a:headEnd/>
            <a:tailEnd/>
          </a:ln>
        </p:spPr>
        <p:txBody>
          <a:bodyPr/>
          <a:lstStyle/>
          <a:p>
            <a:endParaRPr lang="en-GB"/>
          </a:p>
        </p:txBody>
      </p:sp>
      <p:sp>
        <p:nvSpPr>
          <p:cNvPr id="17428" name="Freeform 14"/>
          <p:cNvSpPr>
            <a:spLocks/>
          </p:cNvSpPr>
          <p:nvPr/>
        </p:nvSpPr>
        <p:spPr bwMode="gray">
          <a:xfrm>
            <a:off x="3476625" y="3792538"/>
            <a:ext cx="487363" cy="542925"/>
          </a:xfrm>
          <a:custGeom>
            <a:avLst/>
            <a:gdLst>
              <a:gd name="T0" fmla="*/ 8596 w 624"/>
              <a:gd name="T1" fmla="*/ 47599 h 672"/>
              <a:gd name="T2" fmla="*/ 3126 w 624"/>
              <a:gd name="T3" fmla="*/ 46792 h 672"/>
              <a:gd name="T4" fmla="*/ 2344 w 624"/>
              <a:gd name="T5" fmla="*/ 46792 h 672"/>
              <a:gd name="T6" fmla="*/ 1563 w 624"/>
              <a:gd name="T7" fmla="*/ 8874 h 672"/>
              <a:gd name="T8" fmla="*/ 10158 w 624"/>
              <a:gd name="T9" fmla="*/ 8874 h 672"/>
              <a:gd name="T10" fmla="*/ 10940 w 624"/>
              <a:gd name="T11" fmla="*/ 8874 h 672"/>
              <a:gd name="T12" fmla="*/ 11721 w 624"/>
              <a:gd name="T13" fmla="*/ 9681 h 672"/>
              <a:gd name="T14" fmla="*/ 14065 w 624"/>
              <a:gd name="T15" fmla="*/ 11295 h 672"/>
              <a:gd name="T16" fmla="*/ 16410 w 624"/>
              <a:gd name="T17" fmla="*/ 12908 h 672"/>
              <a:gd name="T18" fmla="*/ 17191 w 624"/>
              <a:gd name="T19" fmla="*/ 14522 h 672"/>
              <a:gd name="T20" fmla="*/ 17973 w 624"/>
              <a:gd name="T21" fmla="*/ 15329 h 672"/>
              <a:gd name="T22" fmla="*/ 18754 w 624"/>
              <a:gd name="T23" fmla="*/ 15329 h 672"/>
              <a:gd name="T24" fmla="*/ 20317 w 624"/>
              <a:gd name="T25" fmla="*/ 15329 h 672"/>
              <a:gd name="T26" fmla="*/ 21098 w 624"/>
              <a:gd name="T27" fmla="*/ 14522 h 672"/>
              <a:gd name="T28" fmla="*/ 22661 w 624"/>
              <a:gd name="T29" fmla="*/ 12101 h 672"/>
              <a:gd name="T30" fmla="*/ 23442 w 624"/>
              <a:gd name="T31" fmla="*/ 11295 h 672"/>
              <a:gd name="T32" fmla="*/ 24224 w 624"/>
              <a:gd name="T33" fmla="*/ 9681 h 672"/>
              <a:gd name="T34" fmla="*/ 25005 w 624"/>
              <a:gd name="T35" fmla="*/ 9681 h 672"/>
              <a:gd name="T36" fmla="*/ 25787 w 624"/>
              <a:gd name="T37" fmla="*/ 8068 h 672"/>
              <a:gd name="T38" fmla="*/ 26568 w 624"/>
              <a:gd name="T39" fmla="*/ 6454 h 672"/>
              <a:gd name="T40" fmla="*/ 26568 w 624"/>
              <a:gd name="T41" fmla="*/ 4841 h 672"/>
              <a:gd name="T42" fmla="*/ 27349 w 624"/>
              <a:gd name="T43" fmla="*/ 3227 h 672"/>
              <a:gd name="T44" fmla="*/ 32819 w 624"/>
              <a:gd name="T45" fmla="*/ 2420 h 672"/>
              <a:gd name="T46" fmla="*/ 34382 w 624"/>
              <a:gd name="T47" fmla="*/ 1614 h 672"/>
              <a:gd name="T48" fmla="*/ 35945 w 624"/>
              <a:gd name="T49" fmla="*/ 0 h 672"/>
              <a:gd name="T50" fmla="*/ 39852 w 624"/>
              <a:gd name="T51" fmla="*/ 2420 h 672"/>
              <a:gd name="T52" fmla="*/ 42196 w 624"/>
              <a:gd name="T53" fmla="*/ 4841 h 672"/>
              <a:gd name="T54" fmla="*/ 42196 w 624"/>
              <a:gd name="T55" fmla="*/ 6454 h 672"/>
              <a:gd name="T56" fmla="*/ 40633 w 624"/>
              <a:gd name="T57" fmla="*/ 7261 h 672"/>
              <a:gd name="T58" fmla="*/ 38289 w 624"/>
              <a:gd name="T59" fmla="*/ 8874 h 672"/>
              <a:gd name="T60" fmla="*/ 37508 w 624"/>
              <a:gd name="T61" fmla="*/ 11295 h 672"/>
              <a:gd name="T62" fmla="*/ 35945 w 624"/>
              <a:gd name="T63" fmla="*/ 17749 h 672"/>
              <a:gd name="T64" fmla="*/ 35164 w 624"/>
              <a:gd name="T65" fmla="*/ 31464 h 672"/>
              <a:gd name="T66" fmla="*/ 33601 w 624"/>
              <a:gd name="T67" fmla="*/ 34691 h 672"/>
              <a:gd name="T68" fmla="*/ 30475 w 624"/>
              <a:gd name="T69" fmla="*/ 40338 h 672"/>
              <a:gd name="T70" fmla="*/ 28131 w 624"/>
              <a:gd name="T71" fmla="*/ 42759 h 672"/>
              <a:gd name="T72" fmla="*/ 25005 w 624"/>
              <a:gd name="T73" fmla="*/ 45179 h 672"/>
              <a:gd name="T74" fmla="*/ 23442 w 624"/>
              <a:gd name="T75" fmla="*/ 46792 h 672"/>
              <a:gd name="T76" fmla="*/ 15628 w 624"/>
              <a:gd name="T77" fmla="*/ 47599 h 672"/>
              <a:gd name="T78" fmla="*/ 11721 w 624"/>
              <a:gd name="T79" fmla="*/ 47599 h 6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24"/>
              <a:gd name="T121" fmla="*/ 0 h 672"/>
              <a:gd name="T122" fmla="*/ 624 w 624"/>
              <a:gd name="T123" fmla="*/ 672 h 67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24" h="672">
                <a:moveTo>
                  <a:pt x="168" y="672"/>
                </a:moveTo>
                <a:lnTo>
                  <a:pt x="132" y="672"/>
                </a:lnTo>
                <a:lnTo>
                  <a:pt x="72" y="666"/>
                </a:lnTo>
                <a:lnTo>
                  <a:pt x="42" y="666"/>
                </a:lnTo>
                <a:lnTo>
                  <a:pt x="36" y="666"/>
                </a:lnTo>
                <a:lnTo>
                  <a:pt x="30" y="660"/>
                </a:lnTo>
                <a:lnTo>
                  <a:pt x="0" y="660"/>
                </a:lnTo>
                <a:lnTo>
                  <a:pt x="24" y="120"/>
                </a:lnTo>
                <a:lnTo>
                  <a:pt x="60" y="120"/>
                </a:lnTo>
                <a:lnTo>
                  <a:pt x="150" y="126"/>
                </a:lnTo>
                <a:lnTo>
                  <a:pt x="156" y="126"/>
                </a:lnTo>
                <a:lnTo>
                  <a:pt x="162" y="120"/>
                </a:lnTo>
                <a:lnTo>
                  <a:pt x="168" y="120"/>
                </a:lnTo>
                <a:lnTo>
                  <a:pt x="174" y="132"/>
                </a:lnTo>
                <a:lnTo>
                  <a:pt x="186" y="138"/>
                </a:lnTo>
                <a:lnTo>
                  <a:pt x="210" y="156"/>
                </a:lnTo>
                <a:lnTo>
                  <a:pt x="222" y="174"/>
                </a:lnTo>
                <a:lnTo>
                  <a:pt x="240" y="186"/>
                </a:lnTo>
                <a:lnTo>
                  <a:pt x="252" y="198"/>
                </a:lnTo>
                <a:lnTo>
                  <a:pt x="258" y="204"/>
                </a:lnTo>
                <a:lnTo>
                  <a:pt x="264" y="204"/>
                </a:lnTo>
                <a:lnTo>
                  <a:pt x="264" y="216"/>
                </a:lnTo>
                <a:lnTo>
                  <a:pt x="270" y="216"/>
                </a:lnTo>
                <a:lnTo>
                  <a:pt x="282" y="222"/>
                </a:lnTo>
                <a:lnTo>
                  <a:pt x="288" y="222"/>
                </a:lnTo>
                <a:lnTo>
                  <a:pt x="294" y="216"/>
                </a:lnTo>
                <a:lnTo>
                  <a:pt x="294" y="210"/>
                </a:lnTo>
                <a:lnTo>
                  <a:pt x="312" y="204"/>
                </a:lnTo>
                <a:lnTo>
                  <a:pt x="330" y="186"/>
                </a:lnTo>
                <a:lnTo>
                  <a:pt x="336" y="174"/>
                </a:lnTo>
                <a:lnTo>
                  <a:pt x="342" y="162"/>
                </a:lnTo>
                <a:lnTo>
                  <a:pt x="342" y="156"/>
                </a:lnTo>
                <a:lnTo>
                  <a:pt x="348" y="150"/>
                </a:lnTo>
                <a:lnTo>
                  <a:pt x="354" y="144"/>
                </a:lnTo>
                <a:lnTo>
                  <a:pt x="360" y="138"/>
                </a:lnTo>
                <a:lnTo>
                  <a:pt x="366" y="132"/>
                </a:lnTo>
                <a:lnTo>
                  <a:pt x="372" y="114"/>
                </a:lnTo>
                <a:lnTo>
                  <a:pt x="378" y="114"/>
                </a:lnTo>
                <a:lnTo>
                  <a:pt x="378" y="96"/>
                </a:lnTo>
                <a:lnTo>
                  <a:pt x="390" y="96"/>
                </a:lnTo>
                <a:lnTo>
                  <a:pt x="396" y="84"/>
                </a:lnTo>
                <a:lnTo>
                  <a:pt x="396" y="72"/>
                </a:lnTo>
                <a:lnTo>
                  <a:pt x="396" y="54"/>
                </a:lnTo>
                <a:lnTo>
                  <a:pt x="408" y="42"/>
                </a:lnTo>
                <a:lnTo>
                  <a:pt x="468" y="42"/>
                </a:lnTo>
                <a:lnTo>
                  <a:pt x="486" y="36"/>
                </a:lnTo>
                <a:lnTo>
                  <a:pt x="492" y="24"/>
                </a:lnTo>
                <a:lnTo>
                  <a:pt x="504" y="24"/>
                </a:lnTo>
                <a:lnTo>
                  <a:pt x="516" y="6"/>
                </a:lnTo>
                <a:lnTo>
                  <a:pt x="528" y="0"/>
                </a:lnTo>
                <a:lnTo>
                  <a:pt x="558" y="12"/>
                </a:lnTo>
                <a:lnTo>
                  <a:pt x="588" y="36"/>
                </a:lnTo>
                <a:lnTo>
                  <a:pt x="600" y="66"/>
                </a:lnTo>
                <a:lnTo>
                  <a:pt x="624" y="66"/>
                </a:lnTo>
                <a:lnTo>
                  <a:pt x="624" y="90"/>
                </a:lnTo>
                <a:lnTo>
                  <a:pt x="618" y="90"/>
                </a:lnTo>
                <a:lnTo>
                  <a:pt x="618" y="96"/>
                </a:lnTo>
                <a:lnTo>
                  <a:pt x="600" y="102"/>
                </a:lnTo>
                <a:lnTo>
                  <a:pt x="588" y="108"/>
                </a:lnTo>
                <a:lnTo>
                  <a:pt x="570" y="120"/>
                </a:lnTo>
                <a:lnTo>
                  <a:pt x="564" y="138"/>
                </a:lnTo>
                <a:lnTo>
                  <a:pt x="558" y="162"/>
                </a:lnTo>
                <a:lnTo>
                  <a:pt x="540" y="210"/>
                </a:lnTo>
                <a:lnTo>
                  <a:pt x="528" y="252"/>
                </a:lnTo>
                <a:lnTo>
                  <a:pt x="528" y="402"/>
                </a:lnTo>
                <a:lnTo>
                  <a:pt x="522" y="444"/>
                </a:lnTo>
                <a:lnTo>
                  <a:pt x="510" y="468"/>
                </a:lnTo>
                <a:lnTo>
                  <a:pt x="498" y="498"/>
                </a:lnTo>
                <a:lnTo>
                  <a:pt x="474" y="534"/>
                </a:lnTo>
                <a:lnTo>
                  <a:pt x="456" y="570"/>
                </a:lnTo>
                <a:lnTo>
                  <a:pt x="444" y="576"/>
                </a:lnTo>
                <a:lnTo>
                  <a:pt x="420" y="606"/>
                </a:lnTo>
                <a:lnTo>
                  <a:pt x="390" y="624"/>
                </a:lnTo>
                <a:lnTo>
                  <a:pt x="372" y="642"/>
                </a:lnTo>
                <a:lnTo>
                  <a:pt x="366" y="654"/>
                </a:lnTo>
                <a:lnTo>
                  <a:pt x="342" y="660"/>
                </a:lnTo>
                <a:lnTo>
                  <a:pt x="300" y="666"/>
                </a:lnTo>
                <a:lnTo>
                  <a:pt x="234" y="672"/>
                </a:lnTo>
                <a:lnTo>
                  <a:pt x="192" y="672"/>
                </a:lnTo>
                <a:lnTo>
                  <a:pt x="168" y="672"/>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29" name="Freeform 15"/>
          <p:cNvSpPr>
            <a:spLocks/>
          </p:cNvSpPr>
          <p:nvPr/>
        </p:nvSpPr>
        <p:spPr bwMode="gray">
          <a:xfrm>
            <a:off x="3573463" y="3813175"/>
            <a:ext cx="1333500" cy="850900"/>
          </a:xfrm>
          <a:custGeom>
            <a:avLst/>
            <a:gdLst>
              <a:gd name="T0" fmla="*/ 24266 w 1704"/>
              <a:gd name="T1" fmla="*/ 62889 h 1056"/>
              <a:gd name="T2" fmla="*/ 18004 w 1704"/>
              <a:gd name="T3" fmla="*/ 62889 h 1056"/>
              <a:gd name="T4" fmla="*/ 8610 w 1704"/>
              <a:gd name="T5" fmla="*/ 63696 h 1056"/>
              <a:gd name="T6" fmla="*/ 783 w 1704"/>
              <a:gd name="T7" fmla="*/ 65308 h 1056"/>
              <a:gd name="T8" fmla="*/ 0 w 1704"/>
              <a:gd name="T9" fmla="*/ 49989 h 1056"/>
              <a:gd name="T10" fmla="*/ 7045 w 1704"/>
              <a:gd name="T11" fmla="*/ 45151 h 1056"/>
              <a:gd name="T12" fmla="*/ 21135 w 1704"/>
              <a:gd name="T13" fmla="*/ 38701 h 1056"/>
              <a:gd name="T14" fmla="*/ 27397 w 1704"/>
              <a:gd name="T15" fmla="*/ 16125 h 1056"/>
              <a:gd name="T16" fmla="*/ 33659 w 1704"/>
              <a:gd name="T17" fmla="*/ 4838 h 1056"/>
              <a:gd name="T18" fmla="*/ 36790 w 1704"/>
              <a:gd name="T19" fmla="*/ 5644 h 1056"/>
              <a:gd name="T20" fmla="*/ 40704 w 1704"/>
              <a:gd name="T21" fmla="*/ 0 h 1056"/>
              <a:gd name="T22" fmla="*/ 46183 w 1704"/>
              <a:gd name="T23" fmla="*/ 4031 h 1056"/>
              <a:gd name="T24" fmla="*/ 49314 w 1704"/>
              <a:gd name="T25" fmla="*/ 9675 h 1056"/>
              <a:gd name="T26" fmla="*/ 48532 w 1704"/>
              <a:gd name="T27" fmla="*/ 12094 h 1056"/>
              <a:gd name="T28" fmla="*/ 48532 w 1704"/>
              <a:gd name="T29" fmla="*/ 14513 h 1056"/>
              <a:gd name="T30" fmla="*/ 54794 w 1704"/>
              <a:gd name="T31" fmla="*/ 14513 h 1056"/>
              <a:gd name="T32" fmla="*/ 55577 w 1704"/>
              <a:gd name="T33" fmla="*/ 11288 h 1056"/>
              <a:gd name="T34" fmla="*/ 56359 w 1704"/>
              <a:gd name="T35" fmla="*/ 9675 h 1056"/>
              <a:gd name="T36" fmla="*/ 61056 w 1704"/>
              <a:gd name="T37" fmla="*/ 11288 h 1056"/>
              <a:gd name="T38" fmla="*/ 66535 w 1704"/>
              <a:gd name="T39" fmla="*/ 16932 h 1056"/>
              <a:gd name="T40" fmla="*/ 71232 w 1704"/>
              <a:gd name="T41" fmla="*/ 12094 h 1056"/>
              <a:gd name="T42" fmla="*/ 72798 w 1704"/>
              <a:gd name="T43" fmla="*/ 8063 h 1056"/>
              <a:gd name="T44" fmla="*/ 79060 w 1704"/>
              <a:gd name="T45" fmla="*/ 11288 h 1056"/>
              <a:gd name="T46" fmla="*/ 80625 w 1704"/>
              <a:gd name="T47" fmla="*/ 15319 h 1056"/>
              <a:gd name="T48" fmla="*/ 90018 w 1704"/>
              <a:gd name="T49" fmla="*/ 16125 h 1056"/>
              <a:gd name="T50" fmla="*/ 92367 w 1704"/>
              <a:gd name="T51" fmla="*/ 18544 h 1056"/>
              <a:gd name="T52" fmla="*/ 91584 w 1704"/>
              <a:gd name="T53" fmla="*/ 21769 h 1056"/>
              <a:gd name="T54" fmla="*/ 86887 w 1704"/>
              <a:gd name="T55" fmla="*/ 26607 h 1056"/>
              <a:gd name="T56" fmla="*/ 84539 w 1704"/>
              <a:gd name="T57" fmla="*/ 29026 h 1056"/>
              <a:gd name="T58" fmla="*/ 85322 w 1704"/>
              <a:gd name="T59" fmla="*/ 32251 h 1056"/>
              <a:gd name="T60" fmla="*/ 86887 w 1704"/>
              <a:gd name="T61" fmla="*/ 34670 h 1056"/>
              <a:gd name="T62" fmla="*/ 88453 w 1704"/>
              <a:gd name="T63" fmla="*/ 40314 h 1056"/>
              <a:gd name="T64" fmla="*/ 94715 w 1704"/>
              <a:gd name="T65" fmla="*/ 44345 h 1056"/>
              <a:gd name="T66" fmla="*/ 103326 w 1704"/>
              <a:gd name="T67" fmla="*/ 41926 h 1056"/>
              <a:gd name="T68" fmla="*/ 115850 w 1704"/>
              <a:gd name="T69" fmla="*/ 46764 h 1056"/>
              <a:gd name="T70" fmla="*/ 115850 w 1704"/>
              <a:gd name="T71" fmla="*/ 49183 h 1056"/>
              <a:gd name="T72" fmla="*/ 115850 w 1704"/>
              <a:gd name="T73" fmla="*/ 51601 h 1056"/>
              <a:gd name="T74" fmla="*/ 105674 w 1704"/>
              <a:gd name="T75" fmla="*/ 49183 h 1056"/>
              <a:gd name="T76" fmla="*/ 105674 w 1704"/>
              <a:gd name="T77" fmla="*/ 53214 h 1056"/>
              <a:gd name="T78" fmla="*/ 107239 w 1704"/>
              <a:gd name="T79" fmla="*/ 57245 h 1056"/>
              <a:gd name="T80" fmla="*/ 106457 w 1704"/>
              <a:gd name="T81" fmla="*/ 63696 h 1056"/>
              <a:gd name="T82" fmla="*/ 98629 w 1704"/>
              <a:gd name="T83" fmla="*/ 67727 h 1056"/>
              <a:gd name="T84" fmla="*/ 94715 w 1704"/>
              <a:gd name="T85" fmla="*/ 63696 h 1056"/>
              <a:gd name="T86" fmla="*/ 91584 w 1704"/>
              <a:gd name="T87" fmla="*/ 60470 h 1056"/>
              <a:gd name="T88" fmla="*/ 76711 w 1704"/>
              <a:gd name="T89" fmla="*/ 59664 h 1056"/>
              <a:gd name="T90" fmla="*/ 63404 w 1704"/>
              <a:gd name="T91" fmla="*/ 60470 h 1056"/>
              <a:gd name="T92" fmla="*/ 64970 w 1704"/>
              <a:gd name="T93" fmla="*/ 70952 h 1056"/>
              <a:gd name="T94" fmla="*/ 64187 w 1704"/>
              <a:gd name="T95" fmla="*/ 73371 h 1056"/>
              <a:gd name="T96" fmla="*/ 60273 w 1704"/>
              <a:gd name="T97" fmla="*/ 72565 h 1056"/>
              <a:gd name="T98" fmla="*/ 57142 w 1704"/>
              <a:gd name="T99" fmla="*/ 69339 h 1056"/>
              <a:gd name="T100" fmla="*/ 53228 w 1704"/>
              <a:gd name="T101" fmla="*/ 68533 h 1056"/>
              <a:gd name="T102" fmla="*/ 50097 w 1704"/>
              <a:gd name="T103" fmla="*/ 66921 h 1056"/>
              <a:gd name="T104" fmla="*/ 44618 w 1704"/>
              <a:gd name="T105" fmla="*/ 65308 h 1056"/>
              <a:gd name="T106" fmla="*/ 40704 w 1704"/>
              <a:gd name="T107" fmla="*/ 64502 h 1056"/>
              <a:gd name="T108" fmla="*/ 39138 w 1704"/>
              <a:gd name="T109" fmla="*/ 64502 h 1056"/>
              <a:gd name="T110" fmla="*/ 36007 w 1704"/>
              <a:gd name="T111" fmla="*/ 63696 h 1056"/>
              <a:gd name="T112" fmla="*/ 32094 w 1704"/>
              <a:gd name="T113" fmla="*/ 62889 h 10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04"/>
              <a:gd name="T172" fmla="*/ 0 h 1056"/>
              <a:gd name="T173" fmla="*/ 1704 w 1704"/>
              <a:gd name="T174" fmla="*/ 1056 h 10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04" h="1056">
                <a:moveTo>
                  <a:pt x="450" y="888"/>
                </a:moveTo>
                <a:lnTo>
                  <a:pt x="420" y="888"/>
                </a:lnTo>
                <a:lnTo>
                  <a:pt x="414" y="888"/>
                </a:lnTo>
                <a:lnTo>
                  <a:pt x="396" y="888"/>
                </a:lnTo>
                <a:lnTo>
                  <a:pt x="372" y="888"/>
                </a:lnTo>
                <a:lnTo>
                  <a:pt x="366" y="888"/>
                </a:lnTo>
                <a:lnTo>
                  <a:pt x="360" y="888"/>
                </a:lnTo>
                <a:lnTo>
                  <a:pt x="348" y="888"/>
                </a:lnTo>
                <a:lnTo>
                  <a:pt x="330" y="894"/>
                </a:lnTo>
                <a:lnTo>
                  <a:pt x="324" y="894"/>
                </a:lnTo>
                <a:lnTo>
                  <a:pt x="312" y="888"/>
                </a:lnTo>
                <a:lnTo>
                  <a:pt x="300" y="888"/>
                </a:lnTo>
                <a:lnTo>
                  <a:pt x="282" y="888"/>
                </a:lnTo>
                <a:lnTo>
                  <a:pt x="270" y="888"/>
                </a:lnTo>
                <a:lnTo>
                  <a:pt x="240" y="882"/>
                </a:lnTo>
                <a:lnTo>
                  <a:pt x="222" y="882"/>
                </a:lnTo>
                <a:lnTo>
                  <a:pt x="198" y="882"/>
                </a:lnTo>
                <a:lnTo>
                  <a:pt x="174" y="894"/>
                </a:lnTo>
                <a:lnTo>
                  <a:pt x="162" y="900"/>
                </a:lnTo>
                <a:lnTo>
                  <a:pt x="144" y="906"/>
                </a:lnTo>
                <a:lnTo>
                  <a:pt x="126" y="912"/>
                </a:lnTo>
                <a:lnTo>
                  <a:pt x="102" y="924"/>
                </a:lnTo>
                <a:lnTo>
                  <a:pt x="78" y="930"/>
                </a:lnTo>
                <a:lnTo>
                  <a:pt x="72" y="936"/>
                </a:lnTo>
                <a:lnTo>
                  <a:pt x="30" y="954"/>
                </a:lnTo>
                <a:lnTo>
                  <a:pt x="12" y="966"/>
                </a:lnTo>
                <a:lnTo>
                  <a:pt x="12" y="954"/>
                </a:lnTo>
                <a:lnTo>
                  <a:pt x="12" y="930"/>
                </a:lnTo>
                <a:lnTo>
                  <a:pt x="12" y="894"/>
                </a:lnTo>
                <a:lnTo>
                  <a:pt x="30" y="828"/>
                </a:lnTo>
                <a:lnTo>
                  <a:pt x="36" y="798"/>
                </a:lnTo>
                <a:lnTo>
                  <a:pt x="18" y="774"/>
                </a:lnTo>
                <a:lnTo>
                  <a:pt x="18" y="756"/>
                </a:lnTo>
                <a:lnTo>
                  <a:pt x="6" y="738"/>
                </a:lnTo>
                <a:lnTo>
                  <a:pt x="0" y="714"/>
                </a:lnTo>
                <a:lnTo>
                  <a:pt x="12" y="678"/>
                </a:lnTo>
                <a:lnTo>
                  <a:pt x="18" y="678"/>
                </a:lnTo>
                <a:lnTo>
                  <a:pt x="24" y="672"/>
                </a:lnTo>
                <a:lnTo>
                  <a:pt x="30" y="666"/>
                </a:lnTo>
                <a:lnTo>
                  <a:pt x="42" y="648"/>
                </a:lnTo>
                <a:lnTo>
                  <a:pt x="66" y="648"/>
                </a:lnTo>
                <a:lnTo>
                  <a:pt x="108" y="648"/>
                </a:lnTo>
                <a:lnTo>
                  <a:pt x="174" y="642"/>
                </a:lnTo>
                <a:lnTo>
                  <a:pt x="216" y="636"/>
                </a:lnTo>
                <a:lnTo>
                  <a:pt x="240" y="630"/>
                </a:lnTo>
                <a:lnTo>
                  <a:pt x="246" y="618"/>
                </a:lnTo>
                <a:lnTo>
                  <a:pt x="264" y="600"/>
                </a:lnTo>
                <a:lnTo>
                  <a:pt x="294" y="582"/>
                </a:lnTo>
                <a:lnTo>
                  <a:pt x="318" y="552"/>
                </a:lnTo>
                <a:lnTo>
                  <a:pt x="330" y="546"/>
                </a:lnTo>
                <a:lnTo>
                  <a:pt x="348" y="510"/>
                </a:lnTo>
                <a:lnTo>
                  <a:pt x="372" y="474"/>
                </a:lnTo>
                <a:lnTo>
                  <a:pt x="384" y="444"/>
                </a:lnTo>
                <a:lnTo>
                  <a:pt x="396" y="420"/>
                </a:lnTo>
                <a:lnTo>
                  <a:pt x="402" y="378"/>
                </a:lnTo>
                <a:lnTo>
                  <a:pt x="402" y="228"/>
                </a:lnTo>
                <a:lnTo>
                  <a:pt x="414" y="186"/>
                </a:lnTo>
                <a:lnTo>
                  <a:pt x="432" y="138"/>
                </a:lnTo>
                <a:lnTo>
                  <a:pt x="438" y="114"/>
                </a:lnTo>
                <a:lnTo>
                  <a:pt x="444" y="96"/>
                </a:lnTo>
                <a:lnTo>
                  <a:pt x="462" y="84"/>
                </a:lnTo>
                <a:lnTo>
                  <a:pt x="474" y="78"/>
                </a:lnTo>
                <a:lnTo>
                  <a:pt x="492" y="72"/>
                </a:lnTo>
                <a:lnTo>
                  <a:pt x="492" y="66"/>
                </a:lnTo>
                <a:lnTo>
                  <a:pt x="498" y="66"/>
                </a:lnTo>
                <a:lnTo>
                  <a:pt x="510" y="66"/>
                </a:lnTo>
                <a:lnTo>
                  <a:pt x="510" y="72"/>
                </a:lnTo>
                <a:lnTo>
                  <a:pt x="516" y="72"/>
                </a:lnTo>
                <a:lnTo>
                  <a:pt x="522" y="78"/>
                </a:lnTo>
                <a:lnTo>
                  <a:pt x="546" y="78"/>
                </a:lnTo>
                <a:lnTo>
                  <a:pt x="552" y="60"/>
                </a:lnTo>
                <a:lnTo>
                  <a:pt x="570" y="42"/>
                </a:lnTo>
                <a:lnTo>
                  <a:pt x="576" y="24"/>
                </a:lnTo>
                <a:lnTo>
                  <a:pt x="588" y="18"/>
                </a:lnTo>
                <a:lnTo>
                  <a:pt x="588" y="12"/>
                </a:lnTo>
                <a:lnTo>
                  <a:pt x="594" y="6"/>
                </a:lnTo>
                <a:lnTo>
                  <a:pt x="600" y="0"/>
                </a:lnTo>
                <a:lnTo>
                  <a:pt x="624" y="0"/>
                </a:lnTo>
                <a:lnTo>
                  <a:pt x="636" y="6"/>
                </a:lnTo>
                <a:lnTo>
                  <a:pt x="648" y="24"/>
                </a:lnTo>
                <a:lnTo>
                  <a:pt x="654" y="48"/>
                </a:lnTo>
                <a:lnTo>
                  <a:pt x="672" y="60"/>
                </a:lnTo>
                <a:lnTo>
                  <a:pt x="678" y="60"/>
                </a:lnTo>
                <a:lnTo>
                  <a:pt x="684" y="60"/>
                </a:lnTo>
                <a:lnTo>
                  <a:pt x="690" y="72"/>
                </a:lnTo>
                <a:lnTo>
                  <a:pt x="690" y="78"/>
                </a:lnTo>
                <a:lnTo>
                  <a:pt x="696" y="90"/>
                </a:lnTo>
                <a:lnTo>
                  <a:pt x="714" y="114"/>
                </a:lnTo>
                <a:lnTo>
                  <a:pt x="714" y="120"/>
                </a:lnTo>
                <a:lnTo>
                  <a:pt x="720" y="132"/>
                </a:lnTo>
                <a:lnTo>
                  <a:pt x="726" y="138"/>
                </a:lnTo>
                <a:lnTo>
                  <a:pt x="720" y="144"/>
                </a:lnTo>
                <a:lnTo>
                  <a:pt x="720" y="150"/>
                </a:lnTo>
                <a:lnTo>
                  <a:pt x="714" y="150"/>
                </a:lnTo>
                <a:lnTo>
                  <a:pt x="714" y="156"/>
                </a:lnTo>
                <a:lnTo>
                  <a:pt x="714" y="162"/>
                </a:lnTo>
                <a:lnTo>
                  <a:pt x="708" y="162"/>
                </a:lnTo>
                <a:lnTo>
                  <a:pt x="708" y="168"/>
                </a:lnTo>
                <a:lnTo>
                  <a:pt x="702" y="168"/>
                </a:lnTo>
                <a:lnTo>
                  <a:pt x="702" y="174"/>
                </a:lnTo>
                <a:lnTo>
                  <a:pt x="702" y="180"/>
                </a:lnTo>
                <a:lnTo>
                  <a:pt x="708" y="180"/>
                </a:lnTo>
                <a:lnTo>
                  <a:pt x="708" y="186"/>
                </a:lnTo>
                <a:lnTo>
                  <a:pt x="708" y="192"/>
                </a:lnTo>
                <a:lnTo>
                  <a:pt x="714" y="204"/>
                </a:lnTo>
                <a:lnTo>
                  <a:pt x="726" y="216"/>
                </a:lnTo>
                <a:lnTo>
                  <a:pt x="738" y="216"/>
                </a:lnTo>
                <a:lnTo>
                  <a:pt x="768" y="222"/>
                </a:lnTo>
                <a:lnTo>
                  <a:pt x="780" y="216"/>
                </a:lnTo>
                <a:lnTo>
                  <a:pt x="792" y="204"/>
                </a:lnTo>
                <a:lnTo>
                  <a:pt x="798" y="198"/>
                </a:lnTo>
                <a:lnTo>
                  <a:pt x="804" y="204"/>
                </a:lnTo>
                <a:lnTo>
                  <a:pt x="810" y="204"/>
                </a:lnTo>
                <a:lnTo>
                  <a:pt x="810" y="198"/>
                </a:lnTo>
                <a:lnTo>
                  <a:pt x="816" y="192"/>
                </a:lnTo>
                <a:lnTo>
                  <a:pt x="816" y="186"/>
                </a:lnTo>
                <a:lnTo>
                  <a:pt x="816" y="180"/>
                </a:lnTo>
                <a:lnTo>
                  <a:pt x="816" y="174"/>
                </a:lnTo>
                <a:lnTo>
                  <a:pt x="816" y="162"/>
                </a:lnTo>
                <a:lnTo>
                  <a:pt x="816" y="156"/>
                </a:lnTo>
                <a:lnTo>
                  <a:pt x="822" y="156"/>
                </a:lnTo>
                <a:lnTo>
                  <a:pt x="822" y="150"/>
                </a:lnTo>
                <a:lnTo>
                  <a:pt x="828" y="144"/>
                </a:lnTo>
                <a:lnTo>
                  <a:pt x="822" y="144"/>
                </a:lnTo>
                <a:lnTo>
                  <a:pt x="822" y="138"/>
                </a:lnTo>
                <a:lnTo>
                  <a:pt x="828" y="138"/>
                </a:lnTo>
                <a:lnTo>
                  <a:pt x="834" y="132"/>
                </a:lnTo>
                <a:lnTo>
                  <a:pt x="840" y="132"/>
                </a:lnTo>
                <a:lnTo>
                  <a:pt x="864" y="126"/>
                </a:lnTo>
                <a:lnTo>
                  <a:pt x="906" y="144"/>
                </a:lnTo>
                <a:lnTo>
                  <a:pt x="906" y="150"/>
                </a:lnTo>
                <a:lnTo>
                  <a:pt x="906" y="156"/>
                </a:lnTo>
                <a:lnTo>
                  <a:pt x="900" y="162"/>
                </a:lnTo>
                <a:lnTo>
                  <a:pt x="924" y="168"/>
                </a:lnTo>
                <a:lnTo>
                  <a:pt x="942" y="192"/>
                </a:lnTo>
                <a:lnTo>
                  <a:pt x="972" y="210"/>
                </a:lnTo>
                <a:lnTo>
                  <a:pt x="972" y="216"/>
                </a:lnTo>
                <a:lnTo>
                  <a:pt x="972" y="228"/>
                </a:lnTo>
                <a:lnTo>
                  <a:pt x="978" y="234"/>
                </a:lnTo>
                <a:lnTo>
                  <a:pt x="978" y="246"/>
                </a:lnTo>
                <a:lnTo>
                  <a:pt x="984" y="252"/>
                </a:lnTo>
                <a:lnTo>
                  <a:pt x="1014" y="252"/>
                </a:lnTo>
                <a:lnTo>
                  <a:pt x="1020" y="228"/>
                </a:lnTo>
                <a:lnTo>
                  <a:pt x="1026" y="198"/>
                </a:lnTo>
                <a:lnTo>
                  <a:pt x="1050" y="186"/>
                </a:lnTo>
                <a:lnTo>
                  <a:pt x="1056" y="180"/>
                </a:lnTo>
                <a:lnTo>
                  <a:pt x="1050" y="174"/>
                </a:lnTo>
                <a:lnTo>
                  <a:pt x="1050" y="168"/>
                </a:lnTo>
                <a:lnTo>
                  <a:pt x="1050" y="162"/>
                </a:lnTo>
                <a:lnTo>
                  <a:pt x="1056" y="162"/>
                </a:lnTo>
                <a:lnTo>
                  <a:pt x="1062" y="162"/>
                </a:lnTo>
                <a:lnTo>
                  <a:pt x="1074" y="162"/>
                </a:lnTo>
                <a:lnTo>
                  <a:pt x="1074" y="144"/>
                </a:lnTo>
                <a:lnTo>
                  <a:pt x="1074" y="120"/>
                </a:lnTo>
                <a:lnTo>
                  <a:pt x="1092" y="120"/>
                </a:lnTo>
                <a:lnTo>
                  <a:pt x="1098" y="126"/>
                </a:lnTo>
                <a:lnTo>
                  <a:pt x="1134" y="132"/>
                </a:lnTo>
                <a:lnTo>
                  <a:pt x="1146" y="132"/>
                </a:lnTo>
                <a:lnTo>
                  <a:pt x="1158" y="150"/>
                </a:lnTo>
                <a:lnTo>
                  <a:pt x="1158" y="156"/>
                </a:lnTo>
                <a:lnTo>
                  <a:pt x="1158" y="162"/>
                </a:lnTo>
                <a:lnTo>
                  <a:pt x="1158" y="180"/>
                </a:lnTo>
                <a:lnTo>
                  <a:pt x="1158" y="186"/>
                </a:lnTo>
                <a:lnTo>
                  <a:pt x="1164" y="192"/>
                </a:lnTo>
                <a:lnTo>
                  <a:pt x="1176" y="198"/>
                </a:lnTo>
                <a:lnTo>
                  <a:pt x="1182" y="198"/>
                </a:lnTo>
                <a:lnTo>
                  <a:pt x="1182" y="210"/>
                </a:lnTo>
                <a:lnTo>
                  <a:pt x="1182" y="216"/>
                </a:lnTo>
                <a:lnTo>
                  <a:pt x="1182" y="228"/>
                </a:lnTo>
                <a:lnTo>
                  <a:pt x="1188" y="234"/>
                </a:lnTo>
                <a:lnTo>
                  <a:pt x="1212" y="234"/>
                </a:lnTo>
                <a:lnTo>
                  <a:pt x="1242" y="234"/>
                </a:lnTo>
                <a:lnTo>
                  <a:pt x="1248" y="234"/>
                </a:lnTo>
                <a:lnTo>
                  <a:pt x="1278" y="240"/>
                </a:lnTo>
                <a:lnTo>
                  <a:pt x="1320" y="234"/>
                </a:lnTo>
                <a:lnTo>
                  <a:pt x="1332" y="228"/>
                </a:lnTo>
                <a:lnTo>
                  <a:pt x="1344" y="228"/>
                </a:lnTo>
                <a:lnTo>
                  <a:pt x="1350" y="234"/>
                </a:lnTo>
                <a:lnTo>
                  <a:pt x="1350" y="240"/>
                </a:lnTo>
                <a:lnTo>
                  <a:pt x="1356" y="246"/>
                </a:lnTo>
                <a:lnTo>
                  <a:pt x="1350" y="252"/>
                </a:lnTo>
                <a:lnTo>
                  <a:pt x="1356" y="264"/>
                </a:lnTo>
                <a:lnTo>
                  <a:pt x="1356" y="270"/>
                </a:lnTo>
                <a:lnTo>
                  <a:pt x="1356" y="276"/>
                </a:lnTo>
                <a:lnTo>
                  <a:pt x="1356" y="282"/>
                </a:lnTo>
                <a:lnTo>
                  <a:pt x="1356" y="288"/>
                </a:lnTo>
                <a:lnTo>
                  <a:pt x="1350" y="294"/>
                </a:lnTo>
                <a:lnTo>
                  <a:pt x="1344" y="300"/>
                </a:lnTo>
                <a:lnTo>
                  <a:pt x="1344" y="306"/>
                </a:lnTo>
                <a:lnTo>
                  <a:pt x="1338" y="312"/>
                </a:lnTo>
                <a:lnTo>
                  <a:pt x="1326" y="342"/>
                </a:lnTo>
                <a:lnTo>
                  <a:pt x="1320" y="348"/>
                </a:lnTo>
                <a:lnTo>
                  <a:pt x="1314" y="354"/>
                </a:lnTo>
                <a:lnTo>
                  <a:pt x="1290" y="354"/>
                </a:lnTo>
                <a:lnTo>
                  <a:pt x="1284" y="360"/>
                </a:lnTo>
                <a:lnTo>
                  <a:pt x="1278" y="378"/>
                </a:lnTo>
                <a:lnTo>
                  <a:pt x="1278" y="384"/>
                </a:lnTo>
                <a:lnTo>
                  <a:pt x="1272" y="390"/>
                </a:lnTo>
                <a:lnTo>
                  <a:pt x="1266" y="396"/>
                </a:lnTo>
                <a:lnTo>
                  <a:pt x="1260" y="396"/>
                </a:lnTo>
                <a:lnTo>
                  <a:pt x="1248" y="402"/>
                </a:lnTo>
                <a:lnTo>
                  <a:pt x="1242" y="408"/>
                </a:lnTo>
                <a:lnTo>
                  <a:pt x="1242" y="414"/>
                </a:lnTo>
                <a:lnTo>
                  <a:pt x="1242" y="420"/>
                </a:lnTo>
                <a:lnTo>
                  <a:pt x="1236" y="432"/>
                </a:lnTo>
                <a:lnTo>
                  <a:pt x="1242" y="432"/>
                </a:lnTo>
                <a:lnTo>
                  <a:pt x="1242" y="444"/>
                </a:lnTo>
                <a:lnTo>
                  <a:pt x="1242" y="456"/>
                </a:lnTo>
                <a:lnTo>
                  <a:pt x="1248" y="456"/>
                </a:lnTo>
                <a:lnTo>
                  <a:pt x="1254" y="462"/>
                </a:lnTo>
                <a:lnTo>
                  <a:pt x="1248" y="468"/>
                </a:lnTo>
                <a:lnTo>
                  <a:pt x="1254" y="468"/>
                </a:lnTo>
                <a:lnTo>
                  <a:pt x="1266" y="474"/>
                </a:lnTo>
                <a:lnTo>
                  <a:pt x="1266" y="480"/>
                </a:lnTo>
                <a:lnTo>
                  <a:pt x="1266" y="486"/>
                </a:lnTo>
                <a:lnTo>
                  <a:pt x="1272" y="486"/>
                </a:lnTo>
                <a:lnTo>
                  <a:pt x="1272" y="492"/>
                </a:lnTo>
                <a:lnTo>
                  <a:pt x="1290" y="510"/>
                </a:lnTo>
                <a:lnTo>
                  <a:pt x="1296" y="516"/>
                </a:lnTo>
                <a:lnTo>
                  <a:pt x="1302" y="540"/>
                </a:lnTo>
                <a:lnTo>
                  <a:pt x="1302" y="546"/>
                </a:lnTo>
                <a:lnTo>
                  <a:pt x="1302" y="558"/>
                </a:lnTo>
                <a:lnTo>
                  <a:pt x="1302" y="570"/>
                </a:lnTo>
                <a:lnTo>
                  <a:pt x="1302" y="576"/>
                </a:lnTo>
                <a:lnTo>
                  <a:pt x="1344" y="570"/>
                </a:lnTo>
                <a:lnTo>
                  <a:pt x="1350" y="582"/>
                </a:lnTo>
                <a:lnTo>
                  <a:pt x="1368" y="594"/>
                </a:lnTo>
                <a:lnTo>
                  <a:pt x="1374" y="600"/>
                </a:lnTo>
                <a:lnTo>
                  <a:pt x="1380" y="600"/>
                </a:lnTo>
                <a:lnTo>
                  <a:pt x="1380" y="618"/>
                </a:lnTo>
                <a:lnTo>
                  <a:pt x="1386" y="624"/>
                </a:lnTo>
                <a:lnTo>
                  <a:pt x="1404" y="624"/>
                </a:lnTo>
                <a:lnTo>
                  <a:pt x="1410" y="612"/>
                </a:lnTo>
                <a:lnTo>
                  <a:pt x="1428" y="606"/>
                </a:lnTo>
                <a:lnTo>
                  <a:pt x="1488" y="606"/>
                </a:lnTo>
                <a:lnTo>
                  <a:pt x="1506" y="606"/>
                </a:lnTo>
                <a:lnTo>
                  <a:pt x="1512" y="600"/>
                </a:lnTo>
                <a:lnTo>
                  <a:pt x="1524" y="594"/>
                </a:lnTo>
                <a:lnTo>
                  <a:pt x="1554" y="594"/>
                </a:lnTo>
                <a:lnTo>
                  <a:pt x="1578" y="606"/>
                </a:lnTo>
                <a:lnTo>
                  <a:pt x="1596" y="624"/>
                </a:lnTo>
                <a:lnTo>
                  <a:pt x="1650" y="642"/>
                </a:lnTo>
                <a:lnTo>
                  <a:pt x="1686" y="648"/>
                </a:lnTo>
                <a:lnTo>
                  <a:pt x="1698" y="654"/>
                </a:lnTo>
                <a:lnTo>
                  <a:pt x="1698" y="660"/>
                </a:lnTo>
                <a:lnTo>
                  <a:pt x="1692" y="666"/>
                </a:lnTo>
                <a:lnTo>
                  <a:pt x="1692" y="672"/>
                </a:lnTo>
                <a:lnTo>
                  <a:pt x="1698" y="678"/>
                </a:lnTo>
                <a:lnTo>
                  <a:pt x="1698" y="684"/>
                </a:lnTo>
                <a:lnTo>
                  <a:pt x="1692" y="684"/>
                </a:lnTo>
                <a:lnTo>
                  <a:pt x="1692" y="690"/>
                </a:lnTo>
                <a:lnTo>
                  <a:pt x="1698" y="696"/>
                </a:lnTo>
                <a:lnTo>
                  <a:pt x="1698" y="702"/>
                </a:lnTo>
                <a:lnTo>
                  <a:pt x="1698" y="708"/>
                </a:lnTo>
                <a:lnTo>
                  <a:pt x="1704" y="714"/>
                </a:lnTo>
                <a:lnTo>
                  <a:pt x="1704" y="720"/>
                </a:lnTo>
                <a:lnTo>
                  <a:pt x="1704" y="726"/>
                </a:lnTo>
                <a:lnTo>
                  <a:pt x="1704" y="732"/>
                </a:lnTo>
                <a:lnTo>
                  <a:pt x="1704" y="738"/>
                </a:lnTo>
                <a:lnTo>
                  <a:pt x="1698" y="726"/>
                </a:lnTo>
                <a:lnTo>
                  <a:pt x="1668" y="720"/>
                </a:lnTo>
                <a:lnTo>
                  <a:pt x="1626" y="714"/>
                </a:lnTo>
                <a:lnTo>
                  <a:pt x="1614" y="708"/>
                </a:lnTo>
                <a:lnTo>
                  <a:pt x="1578" y="696"/>
                </a:lnTo>
                <a:lnTo>
                  <a:pt x="1566" y="696"/>
                </a:lnTo>
                <a:lnTo>
                  <a:pt x="1548" y="702"/>
                </a:lnTo>
                <a:lnTo>
                  <a:pt x="1542" y="714"/>
                </a:lnTo>
                <a:lnTo>
                  <a:pt x="1536" y="732"/>
                </a:lnTo>
                <a:lnTo>
                  <a:pt x="1530" y="750"/>
                </a:lnTo>
                <a:lnTo>
                  <a:pt x="1536" y="750"/>
                </a:lnTo>
                <a:lnTo>
                  <a:pt x="1542" y="756"/>
                </a:lnTo>
                <a:lnTo>
                  <a:pt x="1542" y="762"/>
                </a:lnTo>
                <a:lnTo>
                  <a:pt x="1548" y="762"/>
                </a:lnTo>
                <a:lnTo>
                  <a:pt x="1554" y="762"/>
                </a:lnTo>
                <a:lnTo>
                  <a:pt x="1554" y="768"/>
                </a:lnTo>
                <a:lnTo>
                  <a:pt x="1560" y="774"/>
                </a:lnTo>
                <a:lnTo>
                  <a:pt x="1566" y="774"/>
                </a:lnTo>
                <a:lnTo>
                  <a:pt x="1584" y="792"/>
                </a:lnTo>
                <a:lnTo>
                  <a:pt x="1584" y="810"/>
                </a:lnTo>
                <a:lnTo>
                  <a:pt x="1572" y="816"/>
                </a:lnTo>
                <a:lnTo>
                  <a:pt x="1578" y="834"/>
                </a:lnTo>
                <a:lnTo>
                  <a:pt x="1578" y="846"/>
                </a:lnTo>
                <a:lnTo>
                  <a:pt x="1584" y="858"/>
                </a:lnTo>
                <a:lnTo>
                  <a:pt x="1590" y="864"/>
                </a:lnTo>
                <a:lnTo>
                  <a:pt x="1590" y="876"/>
                </a:lnTo>
                <a:lnTo>
                  <a:pt x="1578" y="888"/>
                </a:lnTo>
                <a:lnTo>
                  <a:pt x="1560" y="906"/>
                </a:lnTo>
                <a:lnTo>
                  <a:pt x="1536" y="930"/>
                </a:lnTo>
                <a:lnTo>
                  <a:pt x="1530" y="930"/>
                </a:lnTo>
                <a:lnTo>
                  <a:pt x="1506" y="942"/>
                </a:lnTo>
                <a:lnTo>
                  <a:pt x="1488" y="948"/>
                </a:lnTo>
                <a:lnTo>
                  <a:pt x="1476" y="954"/>
                </a:lnTo>
                <a:lnTo>
                  <a:pt x="1458" y="960"/>
                </a:lnTo>
                <a:lnTo>
                  <a:pt x="1452" y="966"/>
                </a:lnTo>
                <a:lnTo>
                  <a:pt x="1446" y="966"/>
                </a:lnTo>
                <a:lnTo>
                  <a:pt x="1434" y="972"/>
                </a:lnTo>
                <a:lnTo>
                  <a:pt x="1434" y="954"/>
                </a:lnTo>
                <a:lnTo>
                  <a:pt x="1422" y="942"/>
                </a:lnTo>
                <a:lnTo>
                  <a:pt x="1398" y="924"/>
                </a:lnTo>
                <a:lnTo>
                  <a:pt x="1398" y="912"/>
                </a:lnTo>
                <a:lnTo>
                  <a:pt x="1398" y="906"/>
                </a:lnTo>
                <a:lnTo>
                  <a:pt x="1398" y="900"/>
                </a:lnTo>
                <a:lnTo>
                  <a:pt x="1380" y="900"/>
                </a:lnTo>
                <a:lnTo>
                  <a:pt x="1380" y="894"/>
                </a:lnTo>
                <a:lnTo>
                  <a:pt x="1368" y="888"/>
                </a:lnTo>
                <a:lnTo>
                  <a:pt x="1362" y="882"/>
                </a:lnTo>
                <a:lnTo>
                  <a:pt x="1356" y="876"/>
                </a:lnTo>
                <a:lnTo>
                  <a:pt x="1350" y="864"/>
                </a:lnTo>
                <a:lnTo>
                  <a:pt x="1344" y="858"/>
                </a:lnTo>
                <a:lnTo>
                  <a:pt x="1314" y="870"/>
                </a:lnTo>
                <a:lnTo>
                  <a:pt x="1272" y="876"/>
                </a:lnTo>
                <a:lnTo>
                  <a:pt x="1218" y="870"/>
                </a:lnTo>
                <a:lnTo>
                  <a:pt x="1200" y="864"/>
                </a:lnTo>
                <a:lnTo>
                  <a:pt x="1182" y="864"/>
                </a:lnTo>
                <a:lnTo>
                  <a:pt x="1134" y="858"/>
                </a:lnTo>
                <a:lnTo>
                  <a:pt x="1110" y="840"/>
                </a:lnTo>
                <a:lnTo>
                  <a:pt x="1086" y="828"/>
                </a:lnTo>
                <a:lnTo>
                  <a:pt x="1044" y="816"/>
                </a:lnTo>
                <a:lnTo>
                  <a:pt x="1014" y="816"/>
                </a:lnTo>
                <a:lnTo>
                  <a:pt x="990" y="822"/>
                </a:lnTo>
                <a:lnTo>
                  <a:pt x="948" y="858"/>
                </a:lnTo>
                <a:lnTo>
                  <a:pt x="930" y="864"/>
                </a:lnTo>
                <a:lnTo>
                  <a:pt x="924" y="876"/>
                </a:lnTo>
                <a:lnTo>
                  <a:pt x="918" y="906"/>
                </a:lnTo>
                <a:lnTo>
                  <a:pt x="924" y="930"/>
                </a:lnTo>
                <a:lnTo>
                  <a:pt x="948" y="984"/>
                </a:lnTo>
                <a:lnTo>
                  <a:pt x="954" y="1008"/>
                </a:lnTo>
                <a:lnTo>
                  <a:pt x="948" y="1014"/>
                </a:lnTo>
                <a:lnTo>
                  <a:pt x="954" y="1014"/>
                </a:lnTo>
                <a:lnTo>
                  <a:pt x="954" y="1032"/>
                </a:lnTo>
                <a:lnTo>
                  <a:pt x="966" y="1044"/>
                </a:lnTo>
                <a:lnTo>
                  <a:pt x="960" y="1056"/>
                </a:lnTo>
                <a:lnTo>
                  <a:pt x="954" y="1056"/>
                </a:lnTo>
                <a:lnTo>
                  <a:pt x="948" y="1056"/>
                </a:lnTo>
                <a:lnTo>
                  <a:pt x="942" y="1056"/>
                </a:lnTo>
                <a:lnTo>
                  <a:pt x="936" y="1050"/>
                </a:lnTo>
                <a:lnTo>
                  <a:pt x="930" y="1044"/>
                </a:lnTo>
                <a:lnTo>
                  <a:pt x="924" y="1044"/>
                </a:lnTo>
                <a:lnTo>
                  <a:pt x="918" y="1038"/>
                </a:lnTo>
                <a:lnTo>
                  <a:pt x="912" y="1038"/>
                </a:lnTo>
                <a:lnTo>
                  <a:pt x="906" y="1032"/>
                </a:lnTo>
                <a:lnTo>
                  <a:pt x="900" y="1032"/>
                </a:lnTo>
                <a:lnTo>
                  <a:pt x="888" y="1026"/>
                </a:lnTo>
                <a:lnTo>
                  <a:pt x="882" y="1026"/>
                </a:lnTo>
                <a:lnTo>
                  <a:pt x="876" y="1026"/>
                </a:lnTo>
                <a:lnTo>
                  <a:pt x="864" y="1014"/>
                </a:lnTo>
                <a:lnTo>
                  <a:pt x="846" y="1008"/>
                </a:lnTo>
                <a:lnTo>
                  <a:pt x="840" y="996"/>
                </a:lnTo>
                <a:lnTo>
                  <a:pt x="840" y="990"/>
                </a:lnTo>
                <a:lnTo>
                  <a:pt x="834" y="990"/>
                </a:lnTo>
                <a:lnTo>
                  <a:pt x="828" y="990"/>
                </a:lnTo>
                <a:lnTo>
                  <a:pt x="816" y="990"/>
                </a:lnTo>
                <a:lnTo>
                  <a:pt x="810" y="990"/>
                </a:lnTo>
                <a:lnTo>
                  <a:pt x="804" y="984"/>
                </a:lnTo>
                <a:lnTo>
                  <a:pt x="792" y="978"/>
                </a:lnTo>
                <a:lnTo>
                  <a:pt x="786" y="972"/>
                </a:lnTo>
                <a:lnTo>
                  <a:pt x="780" y="972"/>
                </a:lnTo>
                <a:lnTo>
                  <a:pt x="768" y="966"/>
                </a:lnTo>
                <a:lnTo>
                  <a:pt x="762" y="966"/>
                </a:lnTo>
                <a:lnTo>
                  <a:pt x="756" y="966"/>
                </a:lnTo>
                <a:lnTo>
                  <a:pt x="750" y="966"/>
                </a:lnTo>
                <a:lnTo>
                  <a:pt x="744" y="966"/>
                </a:lnTo>
                <a:lnTo>
                  <a:pt x="738" y="960"/>
                </a:lnTo>
                <a:lnTo>
                  <a:pt x="732" y="954"/>
                </a:lnTo>
                <a:lnTo>
                  <a:pt x="720" y="954"/>
                </a:lnTo>
                <a:lnTo>
                  <a:pt x="714" y="948"/>
                </a:lnTo>
                <a:lnTo>
                  <a:pt x="708" y="948"/>
                </a:lnTo>
                <a:lnTo>
                  <a:pt x="696" y="948"/>
                </a:lnTo>
                <a:lnTo>
                  <a:pt x="684" y="942"/>
                </a:lnTo>
                <a:lnTo>
                  <a:pt x="678" y="936"/>
                </a:lnTo>
                <a:lnTo>
                  <a:pt x="660" y="930"/>
                </a:lnTo>
                <a:lnTo>
                  <a:pt x="642" y="924"/>
                </a:lnTo>
                <a:lnTo>
                  <a:pt x="636" y="924"/>
                </a:lnTo>
                <a:lnTo>
                  <a:pt x="630" y="924"/>
                </a:lnTo>
                <a:lnTo>
                  <a:pt x="618" y="924"/>
                </a:lnTo>
                <a:lnTo>
                  <a:pt x="618" y="918"/>
                </a:lnTo>
                <a:lnTo>
                  <a:pt x="606" y="918"/>
                </a:lnTo>
                <a:lnTo>
                  <a:pt x="600" y="918"/>
                </a:lnTo>
                <a:lnTo>
                  <a:pt x="594" y="918"/>
                </a:lnTo>
                <a:lnTo>
                  <a:pt x="594" y="912"/>
                </a:lnTo>
                <a:lnTo>
                  <a:pt x="588" y="912"/>
                </a:lnTo>
                <a:lnTo>
                  <a:pt x="582" y="912"/>
                </a:lnTo>
                <a:lnTo>
                  <a:pt x="582" y="918"/>
                </a:lnTo>
                <a:lnTo>
                  <a:pt x="576" y="918"/>
                </a:lnTo>
                <a:lnTo>
                  <a:pt x="570" y="918"/>
                </a:lnTo>
                <a:lnTo>
                  <a:pt x="570" y="912"/>
                </a:lnTo>
                <a:lnTo>
                  <a:pt x="564" y="912"/>
                </a:lnTo>
                <a:lnTo>
                  <a:pt x="558" y="918"/>
                </a:lnTo>
                <a:lnTo>
                  <a:pt x="552" y="912"/>
                </a:lnTo>
                <a:lnTo>
                  <a:pt x="546" y="912"/>
                </a:lnTo>
                <a:lnTo>
                  <a:pt x="540" y="912"/>
                </a:lnTo>
                <a:lnTo>
                  <a:pt x="528" y="906"/>
                </a:lnTo>
                <a:lnTo>
                  <a:pt x="522" y="906"/>
                </a:lnTo>
                <a:lnTo>
                  <a:pt x="522" y="900"/>
                </a:lnTo>
                <a:lnTo>
                  <a:pt x="516" y="900"/>
                </a:lnTo>
                <a:lnTo>
                  <a:pt x="510" y="900"/>
                </a:lnTo>
                <a:lnTo>
                  <a:pt x="486" y="894"/>
                </a:lnTo>
                <a:lnTo>
                  <a:pt x="474" y="888"/>
                </a:lnTo>
                <a:lnTo>
                  <a:pt x="468" y="888"/>
                </a:lnTo>
                <a:lnTo>
                  <a:pt x="450" y="888"/>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30" name="Freeform 16"/>
          <p:cNvSpPr>
            <a:spLocks/>
          </p:cNvSpPr>
          <p:nvPr/>
        </p:nvSpPr>
        <p:spPr bwMode="gray">
          <a:xfrm>
            <a:off x="4368800" y="3308350"/>
            <a:ext cx="1065213" cy="1055688"/>
          </a:xfrm>
          <a:custGeom>
            <a:avLst/>
            <a:gdLst>
              <a:gd name="T0" fmla="*/ 34415 w 1362"/>
              <a:gd name="T1" fmla="*/ 85512 h 1308"/>
              <a:gd name="T2" fmla="*/ 25029 w 1362"/>
              <a:gd name="T3" fmla="*/ 87932 h 1308"/>
              <a:gd name="T4" fmla="*/ 19554 w 1362"/>
              <a:gd name="T5" fmla="*/ 84705 h 1308"/>
              <a:gd name="T6" fmla="*/ 17208 w 1362"/>
              <a:gd name="T7" fmla="*/ 78251 h 1308"/>
              <a:gd name="T8" fmla="*/ 16425 w 1362"/>
              <a:gd name="T9" fmla="*/ 76638 h 1308"/>
              <a:gd name="T10" fmla="*/ 15643 w 1362"/>
              <a:gd name="T11" fmla="*/ 72604 h 1308"/>
              <a:gd name="T12" fmla="*/ 17990 w 1362"/>
              <a:gd name="T13" fmla="*/ 70184 h 1308"/>
              <a:gd name="T14" fmla="*/ 22683 w 1362"/>
              <a:gd name="T15" fmla="*/ 65344 h 1308"/>
              <a:gd name="T16" fmla="*/ 23465 w 1362"/>
              <a:gd name="T17" fmla="*/ 62924 h 1308"/>
              <a:gd name="T18" fmla="*/ 21118 w 1362"/>
              <a:gd name="T19" fmla="*/ 60504 h 1308"/>
              <a:gd name="T20" fmla="*/ 11732 w 1362"/>
              <a:gd name="T21" fmla="*/ 58890 h 1308"/>
              <a:gd name="T22" fmla="*/ 9386 w 1362"/>
              <a:gd name="T23" fmla="*/ 55663 h 1308"/>
              <a:gd name="T24" fmla="*/ 3911 w 1362"/>
              <a:gd name="T25" fmla="*/ 52437 h 1308"/>
              <a:gd name="T26" fmla="*/ 4693 w 1362"/>
              <a:gd name="T27" fmla="*/ 50016 h 1308"/>
              <a:gd name="T28" fmla="*/ 5475 w 1362"/>
              <a:gd name="T29" fmla="*/ 45176 h 1308"/>
              <a:gd name="T30" fmla="*/ 1564 w 1362"/>
              <a:gd name="T31" fmla="*/ 39529 h 1308"/>
              <a:gd name="T32" fmla="*/ 0 w 1362"/>
              <a:gd name="T33" fmla="*/ 35496 h 1308"/>
              <a:gd name="T34" fmla="*/ 0 w 1362"/>
              <a:gd name="T35" fmla="*/ 31462 h 1308"/>
              <a:gd name="T36" fmla="*/ 2346 w 1362"/>
              <a:gd name="T37" fmla="*/ 28235 h 1308"/>
              <a:gd name="T38" fmla="*/ 2346 w 1362"/>
              <a:gd name="T39" fmla="*/ 22588 h 1308"/>
              <a:gd name="T40" fmla="*/ 4693 w 1362"/>
              <a:gd name="T41" fmla="*/ 14521 h 1308"/>
              <a:gd name="T42" fmla="*/ 4693 w 1362"/>
              <a:gd name="T43" fmla="*/ 6454 h 1308"/>
              <a:gd name="T44" fmla="*/ 7822 w 1362"/>
              <a:gd name="T45" fmla="*/ 4034 h 1308"/>
              <a:gd name="T46" fmla="*/ 11732 w 1362"/>
              <a:gd name="T47" fmla="*/ 0 h 1308"/>
              <a:gd name="T48" fmla="*/ 16425 w 1362"/>
              <a:gd name="T49" fmla="*/ 5647 h 1308"/>
              <a:gd name="T50" fmla="*/ 19554 w 1362"/>
              <a:gd name="T51" fmla="*/ 12101 h 1308"/>
              <a:gd name="T52" fmla="*/ 18772 w 1362"/>
              <a:gd name="T53" fmla="*/ 15328 h 1308"/>
              <a:gd name="T54" fmla="*/ 25029 w 1362"/>
              <a:gd name="T55" fmla="*/ 15328 h 1308"/>
              <a:gd name="T56" fmla="*/ 27376 w 1362"/>
              <a:gd name="T57" fmla="*/ 16134 h 1308"/>
              <a:gd name="T58" fmla="*/ 31286 w 1362"/>
              <a:gd name="T59" fmla="*/ 18554 h 1308"/>
              <a:gd name="T60" fmla="*/ 31286 w 1362"/>
              <a:gd name="T61" fmla="*/ 20975 h 1308"/>
              <a:gd name="T62" fmla="*/ 26593 w 1362"/>
              <a:gd name="T63" fmla="*/ 28235 h 1308"/>
              <a:gd name="T64" fmla="*/ 32069 w 1362"/>
              <a:gd name="T65" fmla="*/ 29849 h 1308"/>
              <a:gd name="T66" fmla="*/ 33633 w 1362"/>
              <a:gd name="T67" fmla="*/ 35496 h 1308"/>
              <a:gd name="T68" fmla="*/ 37544 w 1362"/>
              <a:gd name="T69" fmla="*/ 37916 h 1308"/>
              <a:gd name="T70" fmla="*/ 44583 w 1362"/>
              <a:gd name="T71" fmla="*/ 38722 h 1308"/>
              <a:gd name="T72" fmla="*/ 54751 w 1362"/>
              <a:gd name="T73" fmla="*/ 35496 h 1308"/>
              <a:gd name="T74" fmla="*/ 62573 w 1362"/>
              <a:gd name="T75" fmla="*/ 27428 h 1308"/>
              <a:gd name="T76" fmla="*/ 74305 w 1362"/>
              <a:gd name="T77" fmla="*/ 33075 h 1308"/>
              <a:gd name="T78" fmla="*/ 85256 w 1362"/>
              <a:gd name="T79" fmla="*/ 37916 h 1308"/>
              <a:gd name="T80" fmla="*/ 86820 w 1362"/>
              <a:gd name="T81" fmla="*/ 40336 h 1308"/>
              <a:gd name="T82" fmla="*/ 88384 w 1362"/>
              <a:gd name="T83" fmla="*/ 42756 h 1308"/>
              <a:gd name="T84" fmla="*/ 88384 w 1362"/>
              <a:gd name="T85" fmla="*/ 44369 h 1308"/>
              <a:gd name="T86" fmla="*/ 88384 w 1362"/>
              <a:gd name="T87" fmla="*/ 47596 h 1308"/>
              <a:gd name="T88" fmla="*/ 88384 w 1362"/>
              <a:gd name="T89" fmla="*/ 50016 h 1308"/>
              <a:gd name="T90" fmla="*/ 89949 w 1362"/>
              <a:gd name="T91" fmla="*/ 52437 h 1308"/>
              <a:gd name="T92" fmla="*/ 89949 w 1362"/>
              <a:gd name="T93" fmla="*/ 54050 h 1308"/>
              <a:gd name="T94" fmla="*/ 90731 w 1362"/>
              <a:gd name="T95" fmla="*/ 55663 h 1308"/>
              <a:gd name="T96" fmla="*/ 90731 w 1362"/>
              <a:gd name="T97" fmla="*/ 57277 h 1308"/>
              <a:gd name="T98" fmla="*/ 92295 w 1362"/>
              <a:gd name="T99" fmla="*/ 60504 h 1308"/>
              <a:gd name="T100" fmla="*/ 90731 w 1362"/>
              <a:gd name="T101" fmla="*/ 62117 h 1308"/>
              <a:gd name="T102" fmla="*/ 90731 w 1362"/>
              <a:gd name="T103" fmla="*/ 63731 h 1308"/>
              <a:gd name="T104" fmla="*/ 78998 w 1362"/>
              <a:gd name="T105" fmla="*/ 70184 h 1308"/>
              <a:gd name="T106" fmla="*/ 66484 w 1362"/>
              <a:gd name="T107" fmla="*/ 83092 h 1308"/>
              <a:gd name="T108" fmla="*/ 52405 w 1362"/>
              <a:gd name="T109" fmla="*/ 91966 h 13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62"/>
              <a:gd name="T166" fmla="*/ 0 h 1308"/>
              <a:gd name="T167" fmla="*/ 1362 w 1362"/>
              <a:gd name="T168" fmla="*/ 1308 h 13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62" h="1308">
                <a:moveTo>
                  <a:pt x="684" y="1278"/>
                </a:moveTo>
                <a:lnTo>
                  <a:pt x="672" y="1272"/>
                </a:lnTo>
                <a:lnTo>
                  <a:pt x="636" y="1266"/>
                </a:lnTo>
                <a:lnTo>
                  <a:pt x="582" y="1248"/>
                </a:lnTo>
                <a:lnTo>
                  <a:pt x="564" y="1230"/>
                </a:lnTo>
                <a:lnTo>
                  <a:pt x="540" y="1218"/>
                </a:lnTo>
                <a:lnTo>
                  <a:pt x="510" y="1218"/>
                </a:lnTo>
                <a:lnTo>
                  <a:pt x="498" y="1224"/>
                </a:lnTo>
                <a:lnTo>
                  <a:pt x="492" y="1230"/>
                </a:lnTo>
                <a:lnTo>
                  <a:pt x="474" y="1230"/>
                </a:lnTo>
                <a:lnTo>
                  <a:pt x="414" y="1230"/>
                </a:lnTo>
                <a:lnTo>
                  <a:pt x="396" y="1236"/>
                </a:lnTo>
                <a:lnTo>
                  <a:pt x="390" y="1248"/>
                </a:lnTo>
                <a:lnTo>
                  <a:pt x="372" y="1248"/>
                </a:lnTo>
                <a:lnTo>
                  <a:pt x="366" y="1242"/>
                </a:lnTo>
                <a:lnTo>
                  <a:pt x="366" y="1224"/>
                </a:lnTo>
                <a:lnTo>
                  <a:pt x="360" y="1224"/>
                </a:lnTo>
                <a:lnTo>
                  <a:pt x="354" y="1218"/>
                </a:lnTo>
                <a:lnTo>
                  <a:pt x="336" y="1206"/>
                </a:lnTo>
                <a:lnTo>
                  <a:pt x="330" y="1194"/>
                </a:lnTo>
                <a:lnTo>
                  <a:pt x="288" y="1200"/>
                </a:lnTo>
                <a:lnTo>
                  <a:pt x="288" y="1194"/>
                </a:lnTo>
                <a:lnTo>
                  <a:pt x="288" y="1182"/>
                </a:lnTo>
                <a:lnTo>
                  <a:pt x="288" y="1170"/>
                </a:lnTo>
                <a:lnTo>
                  <a:pt x="288" y="1164"/>
                </a:lnTo>
                <a:lnTo>
                  <a:pt x="282" y="1140"/>
                </a:lnTo>
                <a:lnTo>
                  <a:pt x="276" y="1134"/>
                </a:lnTo>
                <a:lnTo>
                  <a:pt x="258" y="1116"/>
                </a:lnTo>
                <a:lnTo>
                  <a:pt x="258" y="1110"/>
                </a:lnTo>
                <a:lnTo>
                  <a:pt x="252" y="1110"/>
                </a:lnTo>
                <a:lnTo>
                  <a:pt x="252" y="1104"/>
                </a:lnTo>
                <a:lnTo>
                  <a:pt x="252" y="1098"/>
                </a:lnTo>
                <a:lnTo>
                  <a:pt x="240" y="1092"/>
                </a:lnTo>
                <a:lnTo>
                  <a:pt x="234" y="1092"/>
                </a:lnTo>
                <a:lnTo>
                  <a:pt x="240" y="1086"/>
                </a:lnTo>
                <a:lnTo>
                  <a:pt x="234" y="1080"/>
                </a:lnTo>
                <a:lnTo>
                  <a:pt x="228" y="1080"/>
                </a:lnTo>
                <a:lnTo>
                  <a:pt x="228" y="1068"/>
                </a:lnTo>
                <a:lnTo>
                  <a:pt x="228" y="1056"/>
                </a:lnTo>
                <a:lnTo>
                  <a:pt x="222" y="1056"/>
                </a:lnTo>
                <a:lnTo>
                  <a:pt x="228" y="1044"/>
                </a:lnTo>
                <a:lnTo>
                  <a:pt x="228" y="1038"/>
                </a:lnTo>
                <a:lnTo>
                  <a:pt x="228" y="1032"/>
                </a:lnTo>
                <a:lnTo>
                  <a:pt x="234" y="1026"/>
                </a:lnTo>
                <a:lnTo>
                  <a:pt x="246" y="1020"/>
                </a:lnTo>
                <a:lnTo>
                  <a:pt x="252" y="1020"/>
                </a:lnTo>
                <a:lnTo>
                  <a:pt x="258" y="1014"/>
                </a:lnTo>
                <a:lnTo>
                  <a:pt x="264" y="1008"/>
                </a:lnTo>
                <a:lnTo>
                  <a:pt x="264" y="1002"/>
                </a:lnTo>
                <a:lnTo>
                  <a:pt x="270" y="984"/>
                </a:lnTo>
                <a:lnTo>
                  <a:pt x="276" y="978"/>
                </a:lnTo>
                <a:lnTo>
                  <a:pt x="300" y="978"/>
                </a:lnTo>
                <a:lnTo>
                  <a:pt x="306" y="972"/>
                </a:lnTo>
                <a:lnTo>
                  <a:pt x="312" y="966"/>
                </a:lnTo>
                <a:lnTo>
                  <a:pt x="324" y="936"/>
                </a:lnTo>
                <a:lnTo>
                  <a:pt x="330" y="930"/>
                </a:lnTo>
                <a:lnTo>
                  <a:pt x="330" y="924"/>
                </a:lnTo>
                <a:lnTo>
                  <a:pt x="336" y="918"/>
                </a:lnTo>
                <a:lnTo>
                  <a:pt x="342" y="912"/>
                </a:lnTo>
                <a:lnTo>
                  <a:pt x="342" y="906"/>
                </a:lnTo>
                <a:lnTo>
                  <a:pt x="342" y="900"/>
                </a:lnTo>
                <a:lnTo>
                  <a:pt x="342" y="894"/>
                </a:lnTo>
                <a:lnTo>
                  <a:pt x="342" y="888"/>
                </a:lnTo>
                <a:lnTo>
                  <a:pt x="336" y="876"/>
                </a:lnTo>
                <a:lnTo>
                  <a:pt x="342" y="870"/>
                </a:lnTo>
                <a:lnTo>
                  <a:pt x="336" y="864"/>
                </a:lnTo>
                <a:lnTo>
                  <a:pt x="336" y="858"/>
                </a:lnTo>
                <a:lnTo>
                  <a:pt x="330" y="852"/>
                </a:lnTo>
                <a:lnTo>
                  <a:pt x="318" y="852"/>
                </a:lnTo>
                <a:lnTo>
                  <a:pt x="306" y="858"/>
                </a:lnTo>
                <a:lnTo>
                  <a:pt x="264" y="864"/>
                </a:lnTo>
                <a:lnTo>
                  <a:pt x="234" y="858"/>
                </a:lnTo>
                <a:lnTo>
                  <a:pt x="228" y="858"/>
                </a:lnTo>
                <a:lnTo>
                  <a:pt x="198" y="858"/>
                </a:lnTo>
                <a:lnTo>
                  <a:pt x="174" y="858"/>
                </a:lnTo>
                <a:lnTo>
                  <a:pt x="168" y="852"/>
                </a:lnTo>
                <a:lnTo>
                  <a:pt x="168" y="840"/>
                </a:lnTo>
                <a:lnTo>
                  <a:pt x="168" y="834"/>
                </a:lnTo>
                <a:lnTo>
                  <a:pt x="168" y="822"/>
                </a:lnTo>
                <a:lnTo>
                  <a:pt x="162" y="822"/>
                </a:lnTo>
                <a:lnTo>
                  <a:pt x="150" y="816"/>
                </a:lnTo>
                <a:lnTo>
                  <a:pt x="144" y="810"/>
                </a:lnTo>
                <a:lnTo>
                  <a:pt x="144" y="804"/>
                </a:lnTo>
                <a:lnTo>
                  <a:pt x="144" y="786"/>
                </a:lnTo>
                <a:lnTo>
                  <a:pt x="144" y="780"/>
                </a:lnTo>
                <a:lnTo>
                  <a:pt x="144" y="774"/>
                </a:lnTo>
                <a:lnTo>
                  <a:pt x="132" y="756"/>
                </a:lnTo>
                <a:lnTo>
                  <a:pt x="120" y="756"/>
                </a:lnTo>
                <a:lnTo>
                  <a:pt x="84" y="750"/>
                </a:lnTo>
                <a:lnTo>
                  <a:pt x="78" y="744"/>
                </a:lnTo>
                <a:lnTo>
                  <a:pt x="60" y="744"/>
                </a:lnTo>
                <a:lnTo>
                  <a:pt x="54" y="726"/>
                </a:lnTo>
                <a:lnTo>
                  <a:pt x="60" y="726"/>
                </a:lnTo>
                <a:lnTo>
                  <a:pt x="60" y="720"/>
                </a:lnTo>
                <a:lnTo>
                  <a:pt x="66" y="720"/>
                </a:lnTo>
                <a:lnTo>
                  <a:pt x="66" y="714"/>
                </a:lnTo>
                <a:lnTo>
                  <a:pt x="72" y="714"/>
                </a:lnTo>
                <a:lnTo>
                  <a:pt x="72" y="708"/>
                </a:lnTo>
                <a:lnTo>
                  <a:pt x="78" y="702"/>
                </a:lnTo>
                <a:lnTo>
                  <a:pt x="78" y="696"/>
                </a:lnTo>
                <a:lnTo>
                  <a:pt x="78" y="690"/>
                </a:lnTo>
                <a:lnTo>
                  <a:pt x="84" y="678"/>
                </a:lnTo>
                <a:lnTo>
                  <a:pt x="90" y="666"/>
                </a:lnTo>
                <a:lnTo>
                  <a:pt x="90" y="642"/>
                </a:lnTo>
                <a:lnTo>
                  <a:pt x="84" y="648"/>
                </a:lnTo>
                <a:lnTo>
                  <a:pt x="78" y="642"/>
                </a:lnTo>
                <a:lnTo>
                  <a:pt x="72" y="642"/>
                </a:lnTo>
                <a:lnTo>
                  <a:pt x="66" y="642"/>
                </a:lnTo>
                <a:lnTo>
                  <a:pt x="60" y="642"/>
                </a:lnTo>
                <a:lnTo>
                  <a:pt x="54" y="636"/>
                </a:lnTo>
                <a:lnTo>
                  <a:pt x="30" y="570"/>
                </a:lnTo>
                <a:lnTo>
                  <a:pt x="24" y="564"/>
                </a:lnTo>
                <a:lnTo>
                  <a:pt x="18" y="570"/>
                </a:lnTo>
                <a:lnTo>
                  <a:pt x="12" y="552"/>
                </a:lnTo>
                <a:lnTo>
                  <a:pt x="12" y="546"/>
                </a:lnTo>
                <a:lnTo>
                  <a:pt x="6" y="546"/>
                </a:lnTo>
                <a:lnTo>
                  <a:pt x="6" y="540"/>
                </a:lnTo>
                <a:lnTo>
                  <a:pt x="0" y="522"/>
                </a:lnTo>
                <a:lnTo>
                  <a:pt x="0" y="510"/>
                </a:lnTo>
                <a:lnTo>
                  <a:pt x="6" y="510"/>
                </a:lnTo>
                <a:lnTo>
                  <a:pt x="6" y="498"/>
                </a:lnTo>
                <a:lnTo>
                  <a:pt x="12" y="498"/>
                </a:lnTo>
                <a:lnTo>
                  <a:pt x="12" y="480"/>
                </a:lnTo>
                <a:lnTo>
                  <a:pt x="6" y="480"/>
                </a:lnTo>
                <a:lnTo>
                  <a:pt x="0" y="474"/>
                </a:lnTo>
                <a:lnTo>
                  <a:pt x="0" y="450"/>
                </a:lnTo>
                <a:lnTo>
                  <a:pt x="6" y="450"/>
                </a:lnTo>
                <a:lnTo>
                  <a:pt x="12" y="450"/>
                </a:lnTo>
                <a:lnTo>
                  <a:pt x="18" y="456"/>
                </a:lnTo>
                <a:lnTo>
                  <a:pt x="24" y="450"/>
                </a:lnTo>
                <a:lnTo>
                  <a:pt x="24" y="432"/>
                </a:lnTo>
                <a:lnTo>
                  <a:pt x="30" y="426"/>
                </a:lnTo>
                <a:lnTo>
                  <a:pt x="36" y="402"/>
                </a:lnTo>
                <a:lnTo>
                  <a:pt x="42" y="396"/>
                </a:lnTo>
                <a:lnTo>
                  <a:pt x="42" y="390"/>
                </a:lnTo>
                <a:lnTo>
                  <a:pt x="42" y="366"/>
                </a:lnTo>
                <a:lnTo>
                  <a:pt x="48" y="360"/>
                </a:lnTo>
                <a:lnTo>
                  <a:pt x="48" y="342"/>
                </a:lnTo>
                <a:lnTo>
                  <a:pt x="42" y="330"/>
                </a:lnTo>
                <a:lnTo>
                  <a:pt x="36" y="324"/>
                </a:lnTo>
                <a:lnTo>
                  <a:pt x="42" y="306"/>
                </a:lnTo>
                <a:lnTo>
                  <a:pt x="42" y="270"/>
                </a:lnTo>
                <a:lnTo>
                  <a:pt x="36" y="270"/>
                </a:lnTo>
                <a:lnTo>
                  <a:pt x="30" y="264"/>
                </a:lnTo>
                <a:lnTo>
                  <a:pt x="48" y="258"/>
                </a:lnTo>
                <a:lnTo>
                  <a:pt x="72" y="252"/>
                </a:lnTo>
                <a:lnTo>
                  <a:pt x="66" y="204"/>
                </a:lnTo>
                <a:lnTo>
                  <a:pt x="60" y="198"/>
                </a:lnTo>
                <a:lnTo>
                  <a:pt x="48" y="174"/>
                </a:lnTo>
                <a:lnTo>
                  <a:pt x="42" y="174"/>
                </a:lnTo>
                <a:lnTo>
                  <a:pt x="48" y="138"/>
                </a:lnTo>
                <a:lnTo>
                  <a:pt x="60" y="102"/>
                </a:lnTo>
                <a:lnTo>
                  <a:pt x="66" y="102"/>
                </a:lnTo>
                <a:lnTo>
                  <a:pt x="72" y="96"/>
                </a:lnTo>
                <a:lnTo>
                  <a:pt x="84" y="96"/>
                </a:lnTo>
                <a:lnTo>
                  <a:pt x="90" y="84"/>
                </a:lnTo>
                <a:lnTo>
                  <a:pt x="108" y="72"/>
                </a:lnTo>
                <a:lnTo>
                  <a:pt x="114" y="72"/>
                </a:lnTo>
                <a:lnTo>
                  <a:pt x="114" y="66"/>
                </a:lnTo>
                <a:lnTo>
                  <a:pt x="120" y="60"/>
                </a:lnTo>
                <a:lnTo>
                  <a:pt x="120" y="54"/>
                </a:lnTo>
                <a:lnTo>
                  <a:pt x="120" y="48"/>
                </a:lnTo>
                <a:lnTo>
                  <a:pt x="126" y="48"/>
                </a:lnTo>
                <a:lnTo>
                  <a:pt x="132" y="42"/>
                </a:lnTo>
                <a:lnTo>
                  <a:pt x="132" y="0"/>
                </a:lnTo>
                <a:lnTo>
                  <a:pt x="162" y="0"/>
                </a:lnTo>
                <a:lnTo>
                  <a:pt x="168" y="0"/>
                </a:lnTo>
                <a:lnTo>
                  <a:pt x="174" y="6"/>
                </a:lnTo>
                <a:lnTo>
                  <a:pt x="180" y="12"/>
                </a:lnTo>
                <a:lnTo>
                  <a:pt x="180" y="18"/>
                </a:lnTo>
                <a:lnTo>
                  <a:pt x="240" y="18"/>
                </a:lnTo>
                <a:lnTo>
                  <a:pt x="246" y="42"/>
                </a:lnTo>
                <a:lnTo>
                  <a:pt x="240" y="72"/>
                </a:lnTo>
                <a:lnTo>
                  <a:pt x="246" y="78"/>
                </a:lnTo>
                <a:lnTo>
                  <a:pt x="246" y="84"/>
                </a:lnTo>
                <a:lnTo>
                  <a:pt x="246" y="90"/>
                </a:lnTo>
                <a:lnTo>
                  <a:pt x="258" y="108"/>
                </a:lnTo>
                <a:lnTo>
                  <a:pt x="276" y="114"/>
                </a:lnTo>
                <a:lnTo>
                  <a:pt x="294" y="150"/>
                </a:lnTo>
                <a:lnTo>
                  <a:pt x="294" y="162"/>
                </a:lnTo>
                <a:lnTo>
                  <a:pt x="288" y="162"/>
                </a:lnTo>
                <a:lnTo>
                  <a:pt x="288" y="168"/>
                </a:lnTo>
                <a:lnTo>
                  <a:pt x="288" y="174"/>
                </a:lnTo>
                <a:lnTo>
                  <a:pt x="282" y="180"/>
                </a:lnTo>
                <a:lnTo>
                  <a:pt x="282" y="186"/>
                </a:lnTo>
                <a:lnTo>
                  <a:pt x="282" y="192"/>
                </a:lnTo>
                <a:lnTo>
                  <a:pt x="276" y="204"/>
                </a:lnTo>
                <a:lnTo>
                  <a:pt x="276" y="210"/>
                </a:lnTo>
                <a:lnTo>
                  <a:pt x="276" y="216"/>
                </a:lnTo>
                <a:lnTo>
                  <a:pt x="288" y="240"/>
                </a:lnTo>
                <a:lnTo>
                  <a:pt x="312" y="228"/>
                </a:lnTo>
                <a:lnTo>
                  <a:pt x="324" y="228"/>
                </a:lnTo>
                <a:lnTo>
                  <a:pt x="330" y="228"/>
                </a:lnTo>
                <a:lnTo>
                  <a:pt x="366" y="228"/>
                </a:lnTo>
                <a:lnTo>
                  <a:pt x="372" y="228"/>
                </a:lnTo>
                <a:lnTo>
                  <a:pt x="372" y="222"/>
                </a:lnTo>
                <a:lnTo>
                  <a:pt x="378" y="222"/>
                </a:lnTo>
                <a:lnTo>
                  <a:pt x="384" y="222"/>
                </a:lnTo>
                <a:lnTo>
                  <a:pt x="390" y="222"/>
                </a:lnTo>
                <a:lnTo>
                  <a:pt x="396" y="222"/>
                </a:lnTo>
                <a:lnTo>
                  <a:pt x="402" y="222"/>
                </a:lnTo>
                <a:lnTo>
                  <a:pt x="402" y="228"/>
                </a:lnTo>
                <a:lnTo>
                  <a:pt x="408" y="228"/>
                </a:lnTo>
                <a:lnTo>
                  <a:pt x="414" y="222"/>
                </a:lnTo>
                <a:lnTo>
                  <a:pt x="420" y="216"/>
                </a:lnTo>
                <a:lnTo>
                  <a:pt x="426" y="216"/>
                </a:lnTo>
                <a:lnTo>
                  <a:pt x="438" y="210"/>
                </a:lnTo>
                <a:lnTo>
                  <a:pt x="444" y="210"/>
                </a:lnTo>
                <a:lnTo>
                  <a:pt x="468" y="258"/>
                </a:lnTo>
                <a:lnTo>
                  <a:pt x="462" y="264"/>
                </a:lnTo>
                <a:lnTo>
                  <a:pt x="468" y="264"/>
                </a:lnTo>
                <a:lnTo>
                  <a:pt x="468" y="270"/>
                </a:lnTo>
                <a:lnTo>
                  <a:pt x="474" y="270"/>
                </a:lnTo>
                <a:lnTo>
                  <a:pt x="480" y="276"/>
                </a:lnTo>
                <a:lnTo>
                  <a:pt x="474" y="282"/>
                </a:lnTo>
                <a:lnTo>
                  <a:pt x="474" y="288"/>
                </a:lnTo>
                <a:lnTo>
                  <a:pt x="462" y="294"/>
                </a:lnTo>
                <a:lnTo>
                  <a:pt x="468" y="324"/>
                </a:lnTo>
                <a:lnTo>
                  <a:pt x="462" y="336"/>
                </a:lnTo>
                <a:lnTo>
                  <a:pt x="456" y="354"/>
                </a:lnTo>
                <a:lnTo>
                  <a:pt x="432" y="390"/>
                </a:lnTo>
                <a:lnTo>
                  <a:pt x="420" y="390"/>
                </a:lnTo>
                <a:lnTo>
                  <a:pt x="402" y="390"/>
                </a:lnTo>
                <a:lnTo>
                  <a:pt x="396" y="396"/>
                </a:lnTo>
                <a:lnTo>
                  <a:pt x="390" y="396"/>
                </a:lnTo>
                <a:lnTo>
                  <a:pt x="390" y="402"/>
                </a:lnTo>
                <a:lnTo>
                  <a:pt x="384" y="402"/>
                </a:lnTo>
                <a:lnTo>
                  <a:pt x="408" y="432"/>
                </a:lnTo>
                <a:lnTo>
                  <a:pt x="432" y="438"/>
                </a:lnTo>
                <a:lnTo>
                  <a:pt x="456" y="432"/>
                </a:lnTo>
                <a:lnTo>
                  <a:pt x="468" y="426"/>
                </a:lnTo>
                <a:lnTo>
                  <a:pt x="468" y="444"/>
                </a:lnTo>
                <a:lnTo>
                  <a:pt x="468" y="450"/>
                </a:lnTo>
                <a:lnTo>
                  <a:pt x="468" y="474"/>
                </a:lnTo>
                <a:lnTo>
                  <a:pt x="486" y="480"/>
                </a:lnTo>
                <a:lnTo>
                  <a:pt x="486" y="486"/>
                </a:lnTo>
                <a:lnTo>
                  <a:pt x="492" y="498"/>
                </a:lnTo>
                <a:lnTo>
                  <a:pt x="492" y="504"/>
                </a:lnTo>
                <a:lnTo>
                  <a:pt x="498" y="510"/>
                </a:lnTo>
                <a:lnTo>
                  <a:pt x="498" y="516"/>
                </a:lnTo>
                <a:lnTo>
                  <a:pt x="504" y="516"/>
                </a:lnTo>
                <a:lnTo>
                  <a:pt x="510" y="516"/>
                </a:lnTo>
                <a:lnTo>
                  <a:pt x="522" y="528"/>
                </a:lnTo>
                <a:lnTo>
                  <a:pt x="546" y="540"/>
                </a:lnTo>
                <a:lnTo>
                  <a:pt x="552" y="546"/>
                </a:lnTo>
                <a:lnTo>
                  <a:pt x="570" y="552"/>
                </a:lnTo>
                <a:lnTo>
                  <a:pt x="594" y="552"/>
                </a:lnTo>
                <a:lnTo>
                  <a:pt x="606" y="546"/>
                </a:lnTo>
                <a:lnTo>
                  <a:pt x="612" y="540"/>
                </a:lnTo>
                <a:lnTo>
                  <a:pt x="630" y="540"/>
                </a:lnTo>
                <a:lnTo>
                  <a:pt x="630" y="552"/>
                </a:lnTo>
                <a:lnTo>
                  <a:pt x="654" y="552"/>
                </a:lnTo>
                <a:lnTo>
                  <a:pt x="702" y="558"/>
                </a:lnTo>
                <a:lnTo>
                  <a:pt x="762" y="546"/>
                </a:lnTo>
                <a:lnTo>
                  <a:pt x="780" y="546"/>
                </a:lnTo>
                <a:lnTo>
                  <a:pt x="780" y="528"/>
                </a:lnTo>
                <a:lnTo>
                  <a:pt x="798" y="522"/>
                </a:lnTo>
                <a:lnTo>
                  <a:pt x="810" y="510"/>
                </a:lnTo>
                <a:lnTo>
                  <a:pt x="810" y="504"/>
                </a:lnTo>
                <a:lnTo>
                  <a:pt x="828" y="492"/>
                </a:lnTo>
                <a:lnTo>
                  <a:pt x="888" y="486"/>
                </a:lnTo>
                <a:lnTo>
                  <a:pt x="912" y="486"/>
                </a:lnTo>
                <a:lnTo>
                  <a:pt x="930" y="474"/>
                </a:lnTo>
                <a:lnTo>
                  <a:pt x="918" y="456"/>
                </a:lnTo>
                <a:lnTo>
                  <a:pt x="912" y="450"/>
                </a:lnTo>
                <a:lnTo>
                  <a:pt x="918" y="390"/>
                </a:lnTo>
                <a:lnTo>
                  <a:pt x="954" y="396"/>
                </a:lnTo>
                <a:lnTo>
                  <a:pt x="984" y="402"/>
                </a:lnTo>
                <a:lnTo>
                  <a:pt x="1014" y="420"/>
                </a:lnTo>
                <a:lnTo>
                  <a:pt x="1026" y="432"/>
                </a:lnTo>
                <a:lnTo>
                  <a:pt x="1044" y="450"/>
                </a:lnTo>
                <a:lnTo>
                  <a:pt x="1062" y="462"/>
                </a:lnTo>
                <a:lnTo>
                  <a:pt x="1098" y="468"/>
                </a:lnTo>
                <a:lnTo>
                  <a:pt x="1128" y="480"/>
                </a:lnTo>
                <a:lnTo>
                  <a:pt x="1152" y="486"/>
                </a:lnTo>
                <a:lnTo>
                  <a:pt x="1188" y="498"/>
                </a:lnTo>
                <a:lnTo>
                  <a:pt x="1212" y="504"/>
                </a:lnTo>
                <a:lnTo>
                  <a:pt x="1224" y="528"/>
                </a:lnTo>
                <a:lnTo>
                  <a:pt x="1236" y="540"/>
                </a:lnTo>
                <a:lnTo>
                  <a:pt x="1254" y="540"/>
                </a:lnTo>
                <a:lnTo>
                  <a:pt x="1254" y="546"/>
                </a:lnTo>
                <a:lnTo>
                  <a:pt x="1260" y="552"/>
                </a:lnTo>
                <a:lnTo>
                  <a:pt x="1266" y="552"/>
                </a:lnTo>
                <a:lnTo>
                  <a:pt x="1266" y="558"/>
                </a:lnTo>
                <a:lnTo>
                  <a:pt x="1272" y="564"/>
                </a:lnTo>
                <a:lnTo>
                  <a:pt x="1278" y="564"/>
                </a:lnTo>
                <a:lnTo>
                  <a:pt x="1278" y="570"/>
                </a:lnTo>
                <a:lnTo>
                  <a:pt x="1284" y="576"/>
                </a:lnTo>
                <a:lnTo>
                  <a:pt x="1290" y="582"/>
                </a:lnTo>
                <a:lnTo>
                  <a:pt x="1296" y="582"/>
                </a:lnTo>
                <a:lnTo>
                  <a:pt x="1296" y="588"/>
                </a:lnTo>
                <a:lnTo>
                  <a:pt x="1308" y="594"/>
                </a:lnTo>
                <a:lnTo>
                  <a:pt x="1308" y="600"/>
                </a:lnTo>
                <a:lnTo>
                  <a:pt x="1308" y="606"/>
                </a:lnTo>
                <a:lnTo>
                  <a:pt x="1314" y="612"/>
                </a:lnTo>
                <a:lnTo>
                  <a:pt x="1308" y="618"/>
                </a:lnTo>
                <a:lnTo>
                  <a:pt x="1314" y="618"/>
                </a:lnTo>
                <a:lnTo>
                  <a:pt x="1314" y="624"/>
                </a:lnTo>
                <a:lnTo>
                  <a:pt x="1308" y="624"/>
                </a:lnTo>
                <a:lnTo>
                  <a:pt x="1302" y="630"/>
                </a:lnTo>
                <a:lnTo>
                  <a:pt x="1302" y="636"/>
                </a:lnTo>
                <a:lnTo>
                  <a:pt x="1296" y="642"/>
                </a:lnTo>
                <a:lnTo>
                  <a:pt x="1302" y="648"/>
                </a:lnTo>
                <a:lnTo>
                  <a:pt x="1296" y="654"/>
                </a:lnTo>
                <a:lnTo>
                  <a:pt x="1302" y="660"/>
                </a:lnTo>
                <a:lnTo>
                  <a:pt x="1302" y="666"/>
                </a:lnTo>
                <a:lnTo>
                  <a:pt x="1308" y="666"/>
                </a:lnTo>
                <a:lnTo>
                  <a:pt x="1308" y="672"/>
                </a:lnTo>
                <a:lnTo>
                  <a:pt x="1308" y="678"/>
                </a:lnTo>
                <a:lnTo>
                  <a:pt x="1308" y="684"/>
                </a:lnTo>
                <a:lnTo>
                  <a:pt x="1308" y="690"/>
                </a:lnTo>
                <a:lnTo>
                  <a:pt x="1302" y="696"/>
                </a:lnTo>
                <a:lnTo>
                  <a:pt x="1302" y="702"/>
                </a:lnTo>
                <a:lnTo>
                  <a:pt x="1308" y="702"/>
                </a:lnTo>
                <a:lnTo>
                  <a:pt x="1302" y="708"/>
                </a:lnTo>
                <a:lnTo>
                  <a:pt x="1308" y="714"/>
                </a:lnTo>
                <a:lnTo>
                  <a:pt x="1308" y="720"/>
                </a:lnTo>
                <a:lnTo>
                  <a:pt x="1308" y="726"/>
                </a:lnTo>
                <a:lnTo>
                  <a:pt x="1308" y="732"/>
                </a:lnTo>
                <a:lnTo>
                  <a:pt x="1314" y="732"/>
                </a:lnTo>
                <a:lnTo>
                  <a:pt x="1314" y="738"/>
                </a:lnTo>
                <a:lnTo>
                  <a:pt x="1320" y="744"/>
                </a:lnTo>
                <a:lnTo>
                  <a:pt x="1326" y="750"/>
                </a:lnTo>
                <a:lnTo>
                  <a:pt x="1320" y="750"/>
                </a:lnTo>
                <a:lnTo>
                  <a:pt x="1320" y="756"/>
                </a:lnTo>
                <a:lnTo>
                  <a:pt x="1314" y="756"/>
                </a:lnTo>
                <a:lnTo>
                  <a:pt x="1314" y="762"/>
                </a:lnTo>
                <a:lnTo>
                  <a:pt x="1314" y="768"/>
                </a:lnTo>
                <a:lnTo>
                  <a:pt x="1320" y="768"/>
                </a:lnTo>
                <a:lnTo>
                  <a:pt x="1320" y="762"/>
                </a:lnTo>
                <a:lnTo>
                  <a:pt x="1320" y="768"/>
                </a:lnTo>
                <a:lnTo>
                  <a:pt x="1326" y="774"/>
                </a:lnTo>
                <a:lnTo>
                  <a:pt x="1332" y="774"/>
                </a:lnTo>
                <a:lnTo>
                  <a:pt x="1332" y="780"/>
                </a:lnTo>
                <a:lnTo>
                  <a:pt x="1332" y="786"/>
                </a:lnTo>
                <a:lnTo>
                  <a:pt x="1332" y="792"/>
                </a:lnTo>
                <a:lnTo>
                  <a:pt x="1338" y="786"/>
                </a:lnTo>
                <a:lnTo>
                  <a:pt x="1338" y="792"/>
                </a:lnTo>
                <a:lnTo>
                  <a:pt x="1344" y="798"/>
                </a:lnTo>
                <a:lnTo>
                  <a:pt x="1344" y="804"/>
                </a:lnTo>
                <a:lnTo>
                  <a:pt x="1344" y="810"/>
                </a:lnTo>
                <a:lnTo>
                  <a:pt x="1344" y="816"/>
                </a:lnTo>
                <a:lnTo>
                  <a:pt x="1344" y="822"/>
                </a:lnTo>
                <a:lnTo>
                  <a:pt x="1338" y="828"/>
                </a:lnTo>
                <a:lnTo>
                  <a:pt x="1332" y="828"/>
                </a:lnTo>
                <a:lnTo>
                  <a:pt x="1338" y="840"/>
                </a:lnTo>
                <a:lnTo>
                  <a:pt x="1344" y="846"/>
                </a:lnTo>
                <a:lnTo>
                  <a:pt x="1344" y="852"/>
                </a:lnTo>
                <a:lnTo>
                  <a:pt x="1350" y="852"/>
                </a:lnTo>
                <a:lnTo>
                  <a:pt x="1356" y="858"/>
                </a:lnTo>
                <a:lnTo>
                  <a:pt x="1362" y="858"/>
                </a:lnTo>
                <a:lnTo>
                  <a:pt x="1362" y="870"/>
                </a:lnTo>
                <a:lnTo>
                  <a:pt x="1356" y="870"/>
                </a:lnTo>
                <a:lnTo>
                  <a:pt x="1356" y="876"/>
                </a:lnTo>
                <a:lnTo>
                  <a:pt x="1350" y="876"/>
                </a:lnTo>
                <a:lnTo>
                  <a:pt x="1344" y="876"/>
                </a:lnTo>
                <a:lnTo>
                  <a:pt x="1344" y="882"/>
                </a:lnTo>
                <a:lnTo>
                  <a:pt x="1338" y="882"/>
                </a:lnTo>
                <a:lnTo>
                  <a:pt x="1338" y="888"/>
                </a:lnTo>
                <a:lnTo>
                  <a:pt x="1338" y="894"/>
                </a:lnTo>
                <a:lnTo>
                  <a:pt x="1344" y="900"/>
                </a:lnTo>
                <a:lnTo>
                  <a:pt x="1344" y="906"/>
                </a:lnTo>
                <a:lnTo>
                  <a:pt x="1338" y="906"/>
                </a:lnTo>
                <a:lnTo>
                  <a:pt x="1332" y="912"/>
                </a:lnTo>
                <a:lnTo>
                  <a:pt x="1332" y="918"/>
                </a:lnTo>
                <a:lnTo>
                  <a:pt x="1326" y="918"/>
                </a:lnTo>
                <a:lnTo>
                  <a:pt x="1332" y="924"/>
                </a:lnTo>
                <a:lnTo>
                  <a:pt x="1284" y="942"/>
                </a:lnTo>
                <a:lnTo>
                  <a:pt x="1236" y="948"/>
                </a:lnTo>
                <a:lnTo>
                  <a:pt x="1194" y="966"/>
                </a:lnTo>
                <a:lnTo>
                  <a:pt x="1170" y="1002"/>
                </a:lnTo>
                <a:lnTo>
                  <a:pt x="1134" y="1020"/>
                </a:lnTo>
                <a:lnTo>
                  <a:pt x="1116" y="1032"/>
                </a:lnTo>
                <a:lnTo>
                  <a:pt x="1098" y="1050"/>
                </a:lnTo>
                <a:lnTo>
                  <a:pt x="1074" y="1074"/>
                </a:lnTo>
                <a:lnTo>
                  <a:pt x="1008" y="1134"/>
                </a:lnTo>
                <a:lnTo>
                  <a:pt x="990" y="1158"/>
                </a:lnTo>
                <a:lnTo>
                  <a:pt x="978" y="1182"/>
                </a:lnTo>
                <a:lnTo>
                  <a:pt x="960" y="1194"/>
                </a:lnTo>
                <a:lnTo>
                  <a:pt x="942" y="1212"/>
                </a:lnTo>
                <a:lnTo>
                  <a:pt x="912" y="1242"/>
                </a:lnTo>
                <a:lnTo>
                  <a:pt x="888" y="1254"/>
                </a:lnTo>
                <a:lnTo>
                  <a:pt x="864" y="1278"/>
                </a:lnTo>
                <a:lnTo>
                  <a:pt x="828" y="1296"/>
                </a:lnTo>
                <a:lnTo>
                  <a:pt x="774" y="1308"/>
                </a:lnTo>
                <a:lnTo>
                  <a:pt x="732" y="1302"/>
                </a:lnTo>
                <a:lnTo>
                  <a:pt x="702" y="1284"/>
                </a:lnTo>
                <a:lnTo>
                  <a:pt x="684" y="1278"/>
                </a:lnTo>
                <a:close/>
              </a:path>
            </a:pathLst>
          </a:custGeom>
          <a:solidFill>
            <a:srgbClr val="CD202C"/>
          </a:solidFill>
          <a:ln w="9525">
            <a:solidFill>
              <a:schemeClr val="bg1"/>
            </a:solidFill>
            <a:round/>
            <a:headEnd/>
            <a:tailEnd/>
          </a:ln>
        </p:spPr>
        <p:txBody>
          <a:bodyPr/>
          <a:lstStyle/>
          <a:p>
            <a:endParaRPr lang="en-GB"/>
          </a:p>
        </p:txBody>
      </p:sp>
      <p:sp>
        <p:nvSpPr>
          <p:cNvPr id="17431" name="Freeform 17"/>
          <p:cNvSpPr>
            <a:spLocks/>
          </p:cNvSpPr>
          <p:nvPr/>
        </p:nvSpPr>
        <p:spPr bwMode="gray">
          <a:xfrm>
            <a:off x="4697413" y="3730625"/>
            <a:ext cx="1346200" cy="1574800"/>
          </a:xfrm>
          <a:custGeom>
            <a:avLst/>
            <a:gdLst>
              <a:gd name="T0" fmla="*/ 112575 w 1722"/>
              <a:gd name="T1" fmla="*/ 105517 h 1956"/>
              <a:gd name="T2" fmla="*/ 111011 w 1722"/>
              <a:gd name="T3" fmla="*/ 111960 h 1956"/>
              <a:gd name="T4" fmla="*/ 107102 w 1722"/>
              <a:gd name="T5" fmla="*/ 115182 h 1956"/>
              <a:gd name="T6" fmla="*/ 103975 w 1722"/>
              <a:gd name="T7" fmla="*/ 118404 h 1956"/>
              <a:gd name="T8" fmla="*/ 103194 w 1722"/>
              <a:gd name="T9" fmla="*/ 122432 h 1956"/>
              <a:gd name="T10" fmla="*/ 101630 w 1722"/>
              <a:gd name="T11" fmla="*/ 128070 h 1956"/>
              <a:gd name="T12" fmla="*/ 99285 w 1722"/>
              <a:gd name="T13" fmla="*/ 132097 h 1956"/>
              <a:gd name="T14" fmla="*/ 96158 w 1722"/>
              <a:gd name="T15" fmla="*/ 135319 h 1956"/>
              <a:gd name="T16" fmla="*/ 91467 w 1722"/>
              <a:gd name="T17" fmla="*/ 136125 h 1956"/>
              <a:gd name="T18" fmla="*/ 85995 w 1722"/>
              <a:gd name="T19" fmla="*/ 135319 h 1956"/>
              <a:gd name="T20" fmla="*/ 81304 w 1722"/>
              <a:gd name="T21" fmla="*/ 133708 h 1956"/>
              <a:gd name="T22" fmla="*/ 78959 w 1722"/>
              <a:gd name="T23" fmla="*/ 128070 h 1956"/>
              <a:gd name="T24" fmla="*/ 74268 w 1722"/>
              <a:gd name="T25" fmla="*/ 125653 h 1956"/>
              <a:gd name="T26" fmla="*/ 69577 w 1722"/>
              <a:gd name="T27" fmla="*/ 121626 h 1956"/>
              <a:gd name="T28" fmla="*/ 68014 w 1722"/>
              <a:gd name="T29" fmla="*/ 115988 h 1956"/>
              <a:gd name="T30" fmla="*/ 64105 w 1722"/>
              <a:gd name="T31" fmla="*/ 113571 h 1956"/>
              <a:gd name="T32" fmla="*/ 59414 w 1722"/>
              <a:gd name="T33" fmla="*/ 107933 h 1956"/>
              <a:gd name="T34" fmla="*/ 57851 w 1722"/>
              <a:gd name="T35" fmla="*/ 115182 h 1956"/>
              <a:gd name="T36" fmla="*/ 53160 w 1722"/>
              <a:gd name="T37" fmla="*/ 118404 h 1956"/>
              <a:gd name="T38" fmla="*/ 42216 w 1722"/>
              <a:gd name="T39" fmla="*/ 115988 h 1956"/>
              <a:gd name="T40" fmla="*/ 39870 w 1722"/>
              <a:gd name="T41" fmla="*/ 114377 h 1956"/>
              <a:gd name="T42" fmla="*/ 32834 w 1722"/>
              <a:gd name="T43" fmla="*/ 121626 h 1956"/>
              <a:gd name="T44" fmla="*/ 25798 w 1722"/>
              <a:gd name="T45" fmla="*/ 124042 h 1956"/>
              <a:gd name="T46" fmla="*/ 24235 w 1722"/>
              <a:gd name="T47" fmla="*/ 128070 h 1956"/>
              <a:gd name="T48" fmla="*/ 22671 w 1722"/>
              <a:gd name="T49" fmla="*/ 133708 h 1956"/>
              <a:gd name="T50" fmla="*/ 19544 w 1722"/>
              <a:gd name="T51" fmla="*/ 136125 h 1956"/>
              <a:gd name="T52" fmla="*/ 21108 w 1722"/>
              <a:gd name="T53" fmla="*/ 124042 h 1956"/>
              <a:gd name="T54" fmla="*/ 28925 w 1722"/>
              <a:gd name="T55" fmla="*/ 107128 h 1956"/>
              <a:gd name="T56" fmla="*/ 28144 w 1722"/>
              <a:gd name="T57" fmla="*/ 87796 h 1956"/>
              <a:gd name="T58" fmla="*/ 21108 w 1722"/>
              <a:gd name="T59" fmla="*/ 81353 h 1956"/>
              <a:gd name="T60" fmla="*/ 3909 w 1722"/>
              <a:gd name="T61" fmla="*/ 78936 h 1956"/>
              <a:gd name="T62" fmla="*/ 1564 w 1722"/>
              <a:gd name="T63" fmla="*/ 74909 h 1956"/>
              <a:gd name="T64" fmla="*/ 9381 w 1722"/>
              <a:gd name="T65" fmla="*/ 66049 h 1956"/>
              <a:gd name="T66" fmla="*/ 7036 w 1722"/>
              <a:gd name="T67" fmla="*/ 59605 h 1956"/>
              <a:gd name="T68" fmla="*/ 17981 w 1722"/>
              <a:gd name="T69" fmla="*/ 57994 h 1956"/>
              <a:gd name="T70" fmla="*/ 17199 w 1722"/>
              <a:gd name="T71" fmla="*/ 53967 h 1956"/>
              <a:gd name="T72" fmla="*/ 37525 w 1722"/>
              <a:gd name="T73" fmla="*/ 45912 h 1956"/>
              <a:gd name="T74" fmla="*/ 60978 w 1722"/>
              <a:gd name="T75" fmla="*/ 27386 h 1956"/>
              <a:gd name="T76" fmla="*/ 63323 w 1722"/>
              <a:gd name="T77" fmla="*/ 24970 h 1956"/>
              <a:gd name="T78" fmla="*/ 62542 w 1722"/>
              <a:gd name="T79" fmla="*/ 20942 h 1956"/>
              <a:gd name="T80" fmla="*/ 60978 w 1722"/>
              <a:gd name="T81" fmla="*/ 16915 h 1956"/>
              <a:gd name="T82" fmla="*/ 60196 w 1722"/>
              <a:gd name="T83" fmla="*/ 14498 h 1956"/>
              <a:gd name="T84" fmla="*/ 60196 w 1722"/>
              <a:gd name="T85" fmla="*/ 9666 h 1956"/>
              <a:gd name="T86" fmla="*/ 60196 w 1722"/>
              <a:gd name="T87" fmla="*/ 5638 h 1956"/>
              <a:gd name="T88" fmla="*/ 79740 w 1722"/>
              <a:gd name="T89" fmla="*/ 1611 h 1956"/>
              <a:gd name="T90" fmla="*/ 89903 w 1722"/>
              <a:gd name="T91" fmla="*/ 2416 h 1956"/>
              <a:gd name="T92" fmla="*/ 96158 w 1722"/>
              <a:gd name="T93" fmla="*/ 2416 h 1956"/>
              <a:gd name="T94" fmla="*/ 97721 w 1722"/>
              <a:gd name="T95" fmla="*/ 7249 h 1956"/>
              <a:gd name="T96" fmla="*/ 103975 w 1722"/>
              <a:gd name="T97" fmla="*/ 10471 h 1956"/>
              <a:gd name="T98" fmla="*/ 116484 w 1722"/>
              <a:gd name="T99" fmla="*/ 29802 h 1956"/>
              <a:gd name="T100" fmla="*/ 110229 w 1722"/>
              <a:gd name="T101" fmla="*/ 45912 h 1956"/>
              <a:gd name="T102" fmla="*/ 105539 w 1722"/>
              <a:gd name="T103" fmla="*/ 50745 h 1956"/>
              <a:gd name="T104" fmla="*/ 96939 w 1722"/>
              <a:gd name="T105" fmla="*/ 62021 h 1956"/>
              <a:gd name="T106" fmla="*/ 96158 w 1722"/>
              <a:gd name="T107" fmla="*/ 77325 h 1956"/>
              <a:gd name="T108" fmla="*/ 99285 w 1722"/>
              <a:gd name="T109" fmla="*/ 78131 h 1956"/>
              <a:gd name="T110" fmla="*/ 100848 w 1722"/>
              <a:gd name="T111" fmla="*/ 74103 h 1956"/>
              <a:gd name="T112" fmla="*/ 104757 w 1722"/>
              <a:gd name="T113" fmla="*/ 75714 h 1956"/>
              <a:gd name="T114" fmla="*/ 107884 w 1722"/>
              <a:gd name="T115" fmla="*/ 79742 h 1956"/>
              <a:gd name="T116" fmla="*/ 111011 w 1722"/>
              <a:gd name="T117" fmla="*/ 83769 h 1956"/>
              <a:gd name="T118" fmla="*/ 110229 w 1722"/>
              <a:gd name="T119" fmla="*/ 92629 h 19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22"/>
              <a:gd name="T181" fmla="*/ 0 h 1956"/>
              <a:gd name="T182" fmla="*/ 1722 w 1722"/>
              <a:gd name="T183" fmla="*/ 1956 h 19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22" h="1956">
                <a:moveTo>
                  <a:pt x="1686" y="1404"/>
                </a:moveTo>
                <a:lnTo>
                  <a:pt x="1680" y="1416"/>
                </a:lnTo>
                <a:lnTo>
                  <a:pt x="1674" y="1422"/>
                </a:lnTo>
                <a:lnTo>
                  <a:pt x="1674" y="1428"/>
                </a:lnTo>
                <a:lnTo>
                  <a:pt x="1668" y="1428"/>
                </a:lnTo>
                <a:lnTo>
                  <a:pt x="1668" y="1434"/>
                </a:lnTo>
                <a:lnTo>
                  <a:pt x="1662" y="1446"/>
                </a:lnTo>
                <a:lnTo>
                  <a:pt x="1656" y="1464"/>
                </a:lnTo>
                <a:lnTo>
                  <a:pt x="1656" y="1476"/>
                </a:lnTo>
                <a:lnTo>
                  <a:pt x="1656" y="1488"/>
                </a:lnTo>
                <a:lnTo>
                  <a:pt x="1662" y="1500"/>
                </a:lnTo>
                <a:lnTo>
                  <a:pt x="1662" y="1506"/>
                </a:lnTo>
                <a:lnTo>
                  <a:pt x="1662" y="1524"/>
                </a:lnTo>
                <a:lnTo>
                  <a:pt x="1668" y="1542"/>
                </a:lnTo>
                <a:lnTo>
                  <a:pt x="1674" y="1560"/>
                </a:lnTo>
                <a:lnTo>
                  <a:pt x="1680" y="1578"/>
                </a:lnTo>
                <a:lnTo>
                  <a:pt x="1686" y="1578"/>
                </a:lnTo>
                <a:lnTo>
                  <a:pt x="1686" y="1584"/>
                </a:lnTo>
                <a:lnTo>
                  <a:pt x="1686" y="1590"/>
                </a:lnTo>
                <a:lnTo>
                  <a:pt x="1686" y="1596"/>
                </a:lnTo>
                <a:lnTo>
                  <a:pt x="1680" y="1596"/>
                </a:lnTo>
                <a:lnTo>
                  <a:pt x="1674" y="1602"/>
                </a:lnTo>
                <a:lnTo>
                  <a:pt x="1662" y="1602"/>
                </a:lnTo>
                <a:lnTo>
                  <a:pt x="1638" y="1596"/>
                </a:lnTo>
                <a:lnTo>
                  <a:pt x="1632" y="1596"/>
                </a:lnTo>
                <a:lnTo>
                  <a:pt x="1626" y="1602"/>
                </a:lnTo>
                <a:lnTo>
                  <a:pt x="1620" y="1602"/>
                </a:lnTo>
                <a:lnTo>
                  <a:pt x="1614" y="1602"/>
                </a:lnTo>
                <a:lnTo>
                  <a:pt x="1602" y="1602"/>
                </a:lnTo>
                <a:lnTo>
                  <a:pt x="1602" y="1608"/>
                </a:lnTo>
                <a:lnTo>
                  <a:pt x="1602" y="1620"/>
                </a:lnTo>
                <a:lnTo>
                  <a:pt x="1596" y="1620"/>
                </a:lnTo>
                <a:lnTo>
                  <a:pt x="1590" y="1620"/>
                </a:lnTo>
                <a:lnTo>
                  <a:pt x="1584" y="1626"/>
                </a:lnTo>
                <a:lnTo>
                  <a:pt x="1584" y="1632"/>
                </a:lnTo>
                <a:lnTo>
                  <a:pt x="1578" y="1644"/>
                </a:lnTo>
                <a:lnTo>
                  <a:pt x="1572" y="1644"/>
                </a:lnTo>
                <a:lnTo>
                  <a:pt x="1566" y="1644"/>
                </a:lnTo>
                <a:lnTo>
                  <a:pt x="1566" y="1650"/>
                </a:lnTo>
                <a:lnTo>
                  <a:pt x="1560" y="1650"/>
                </a:lnTo>
                <a:lnTo>
                  <a:pt x="1554" y="1650"/>
                </a:lnTo>
                <a:lnTo>
                  <a:pt x="1548" y="1650"/>
                </a:lnTo>
                <a:lnTo>
                  <a:pt x="1548" y="1656"/>
                </a:lnTo>
                <a:lnTo>
                  <a:pt x="1542" y="1668"/>
                </a:lnTo>
                <a:lnTo>
                  <a:pt x="1542" y="1674"/>
                </a:lnTo>
                <a:lnTo>
                  <a:pt x="1542" y="1692"/>
                </a:lnTo>
                <a:lnTo>
                  <a:pt x="1536" y="1698"/>
                </a:lnTo>
                <a:lnTo>
                  <a:pt x="1530" y="1698"/>
                </a:lnTo>
                <a:lnTo>
                  <a:pt x="1524" y="1698"/>
                </a:lnTo>
                <a:lnTo>
                  <a:pt x="1518" y="1704"/>
                </a:lnTo>
                <a:lnTo>
                  <a:pt x="1512" y="1710"/>
                </a:lnTo>
                <a:lnTo>
                  <a:pt x="1506" y="1722"/>
                </a:lnTo>
                <a:lnTo>
                  <a:pt x="1500" y="1728"/>
                </a:lnTo>
                <a:lnTo>
                  <a:pt x="1500" y="1734"/>
                </a:lnTo>
                <a:lnTo>
                  <a:pt x="1512" y="1734"/>
                </a:lnTo>
                <a:lnTo>
                  <a:pt x="1518" y="1740"/>
                </a:lnTo>
                <a:lnTo>
                  <a:pt x="1518" y="1746"/>
                </a:lnTo>
                <a:lnTo>
                  <a:pt x="1518" y="1752"/>
                </a:lnTo>
                <a:lnTo>
                  <a:pt x="1518" y="1758"/>
                </a:lnTo>
                <a:lnTo>
                  <a:pt x="1524" y="1758"/>
                </a:lnTo>
                <a:lnTo>
                  <a:pt x="1524" y="1764"/>
                </a:lnTo>
                <a:lnTo>
                  <a:pt x="1530" y="1770"/>
                </a:lnTo>
                <a:lnTo>
                  <a:pt x="1518" y="1770"/>
                </a:lnTo>
                <a:lnTo>
                  <a:pt x="1512" y="1782"/>
                </a:lnTo>
                <a:lnTo>
                  <a:pt x="1512" y="1788"/>
                </a:lnTo>
                <a:lnTo>
                  <a:pt x="1518" y="1788"/>
                </a:lnTo>
                <a:lnTo>
                  <a:pt x="1524" y="1800"/>
                </a:lnTo>
                <a:lnTo>
                  <a:pt x="1524" y="1806"/>
                </a:lnTo>
                <a:lnTo>
                  <a:pt x="1518" y="1812"/>
                </a:lnTo>
                <a:lnTo>
                  <a:pt x="1512" y="1818"/>
                </a:lnTo>
                <a:lnTo>
                  <a:pt x="1506" y="1818"/>
                </a:lnTo>
                <a:lnTo>
                  <a:pt x="1500" y="1824"/>
                </a:lnTo>
                <a:lnTo>
                  <a:pt x="1500" y="1836"/>
                </a:lnTo>
                <a:lnTo>
                  <a:pt x="1500" y="1842"/>
                </a:lnTo>
                <a:lnTo>
                  <a:pt x="1500" y="1848"/>
                </a:lnTo>
                <a:lnTo>
                  <a:pt x="1500" y="1854"/>
                </a:lnTo>
                <a:lnTo>
                  <a:pt x="1494" y="1860"/>
                </a:lnTo>
                <a:lnTo>
                  <a:pt x="1488" y="1860"/>
                </a:lnTo>
                <a:lnTo>
                  <a:pt x="1488" y="1866"/>
                </a:lnTo>
                <a:lnTo>
                  <a:pt x="1482" y="1872"/>
                </a:lnTo>
                <a:lnTo>
                  <a:pt x="1482" y="1878"/>
                </a:lnTo>
                <a:lnTo>
                  <a:pt x="1482" y="1884"/>
                </a:lnTo>
                <a:lnTo>
                  <a:pt x="1476" y="1890"/>
                </a:lnTo>
                <a:lnTo>
                  <a:pt x="1470" y="1890"/>
                </a:lnTo>
                <a:lnTo>
                  <a:pt x="1470" y="1896"/>
                </a:lnTo>
                <a:lnTo>
                  <a:pt x="1464" y="1896"/>
                </a:lnTo>
                <a:lnTo>
                  <a:pt x="1458" y="1896"/>
                </a:lnTo>
                <a:lnTo>
                  <a:pt x="1452" y="1896"/>
                </a:lnTo>
                <a:lnTo>
                  <a:pt x="1440" y="1890"/>
                </a:lnTo>
                <a:lnTo>
                  <a:pt x="1434" y="1896"/>
                </a:lnTo>
                <a:lnTo>
                  <a:pt x="1428" y="1896"/>
                </a:lnTo>
                <a:lnTo>
                  <a:pt x="1422" y="1896"/>
                </a:lnTo>
                <a:lnTo>
                  <a:pt x="1422" y="1902"/>
                </a:lnTo>
                <a:lnTo>
                  <a:pt x="1416" y="1902"/>
                </a:lnTo>
                <a:lnTo>
                  <a:pt x="1422" y="1914"/>
                </a:lnTo>
                <a:lnTo>
                  <a:pt x="1422" y="1932"/>
                </a:lnTo>
                <a:lnTo>
                  <a:pt x="1416" y="1938"/>
                </a:lnTo>
                <a:lnTo>
                  <a:pt x="1422" y="1938"/>
                </a:lnTo>
                <a:lnTo>
                  <a:pt x="1404" y="1938"/>
                </a:lnTo>
                <a:lnTo>
                  <a:pt x="1392" y="1944"/>
                </a:lnTo>
                <a:lnTo>
                  <a:pt x="1386" y="1944"/>
                </a:lnTo>
                <a:lnTo>
                  <a:pt x="1374" y="1944"/>
                </a:lnTo>
                <a:lnTo>
                  <a:pt x="1368" y="1950"/>
                </a:lnTo>
                <a:lnTo>
                  <a:pt x="1374" y="1956"/>
                </a:lnTo>
                <a:lnTo>
                  <a:pt x="1368" y="1956"/>
                </a:lnTo>
                <a:lnTo>
                  <a:pt x="1356" y="1956"/>
                </a:lnTo>
                <a:lnTo>
                  <a:pt x="1350" y="1956"/>
                </a:lnTo>
                <a:lnTo>
                  <a:pt x="1350" y="1950"/>
                </a:lnTo>
                <a:lnTo>
                  <a:pt x="1344" y="1944"/>
                </a:lnTo>
                <a:lnTo>
                  <a:pt x="1332" y="1938"/>
                </a:lnTo>
                <a:lnTo>
                  <a:pt x="1326" y="1938"/>
                </a:lnTo>
                <a:lnTo>
                  <a:pt x="1320" y="1938"/>
                </a:lnTo>
                <a:lnTo>
                  <a:pt x="1314" y="1944"/>
                </a:lnTo>
                <a:lnTo>
                  <a:pt x="1308" y="1944"/>
                </a:lnTo>
                <a:lnTo>
                  <a:pt x="1302" y="1944"/>
                </a:lnTo>
                <a:lnTo>
                  <a:pt x="1296" y="1938"/>
                </a:lnTo>
                <a:lnTo>
                  <a:pt x="1284" y="1938"/>
                </a:lnTo>
                <a:lnTo>
                  <a:pt x="1278" y="1938"/>
                </a:lnTo>
                <a:lnTo>
                  <a:pt x="1272" y="1938"/>
                </a:lnTo>
                <a:lnTo>
                  <a:pt x="1266" y="1932"/>
                </a:lnTo>
                <a:lnTo>
                  <a:pt x="1260" y="1932"/>
                </a:lnTo>
                <a:lnTo>
                  <a:pt x="1254" y="1920"/>
                </a:lnTo>
                <a:lnTo>
                  <a:pt x="1248" y="1920"/>
                </a:lnTo>
                <a:lnTo>
                  <a:pt x="1242" y="1920"/>
                </a:lnTo>
                <a:lnTo>
                  <a:pt x="1236" y="1926"/>
                </a:lnTo>
                <a:lnTo>
                  <a:pt x="1236" y="1932"/>
                </a:lnTo>
                <a:lnTo>
                  <a:pt x="1230" y="1932"/>
                </a:lnTo>
                <a:lnTo>
                  <a:pt x="1224" y="1932"/>
                </a:lnTo>
                <a:lnTo>
                  <a:pt x="1218" y="1938"/>
                </a:lnTo>
                <a:lnTo>
                  <a:pt x="1212" y="1932"/>
                </a:lnTo>
                <a:lnTo>
                  <a:pt x="1206" y="1926"/>
                </a:lnTo>
                <a:lnTo>
                  <a:pt x="1206" y="1908"/>
                </a:lnTo>
                <a:lnTo>
                  <a:pt x="1206" y="1884"/>
                </a:lnTo>
                <a:lnTo>
                  <a:pt x="1206" y="1866"/>
                </a:lnTo>
                <a:lnTo>
                  <a:pt x="1212" y="1848"/>
                </a:lnTo>
                <a:lnTo>
                  <a:pt x="1212" y="1842"/>
                </a:lnTo>
                <a:lnTo>
                  <a:pt x="1206" y="1836"/>
                </a:lnTo>
                <a:lnTo>
                  <a:pt x="1200" y="1830"/>
                </a:lnTo>
                <a:lnTo>
                  <a:pt x="1194" y="1824"/>
                </a:lnTo>
                <a:lnTo>
                  <a:pt x="1188" y="1824"/>
                </a:lnTo>
                <a:lnTo>
                  <a:pt x="1182" y="1824"/>
                </a:lnTo>
                <a:lnTo>
                  <a:pt x="1176" y="1824"/>
                </a:lnTo>
                <a:lnTo>
                  <a:pt x="1170" y="1818"/>
                </a:lnTo>
                <a:lnTo>
                  <a:pt x="1164" y="1830"/>
                </a:lnTo>
                <a:lnTo>
                  <a:pt x="1152" y="1836"/>
                </a:lnTo>
                <a:lnTo>
                  <a:pt x="1146" y="1842"/>
                </a:lnTo>
                <a:lnTo>
                  <a:pt x="1140" y="1842"/>
                </a:lnTo>
                <a:lnTo>
                  <a:pt x="1134" y="1842"/>
                </a:lnTo>
                <a:lnTo>
                  <a:pt x="1128" y="1842"/>
                </a:lnTo>
                <a:lnTo>
                  <a:pt x="1116" y="1836"/>
                </a:lnTo>
                <a:lnTo>
                  <a:pt x="1110" y="1842"/>
                </a:lnTo>
                <a:lnTo>
                  <a:pt x="1092" y="1830"/>
                </a:lnTo>
                <a:lnTo>
                  <a:pt x="1092" y="1824"/>
                </a:lnTo>
                <a:lnTo>
                  <a:pt x="1092" y="1806"/>
                </a:lnTo>
                <a:lnTo>
                  <a:pt x="1092" y="1800"/>
                </a:lnTo>
                <a:lnTo>
                  <a:pt x="1092" y="1794"/>
                </a:lnTo>
                <a:lnTo>
                  <a:pt x="1086" y="1788"/>
                </a:lnTo>
                <a:lnTo>
                  <a:pt x="1080" y="1794"/>
                </a:lnTo>
                <a:lnTo>
                  <a:pt x="1074" y="1788"/>
                </a:lnTo>
                <a:lnTo>
                  <a:pt x="1068" y="1770"/>
                </a:lnTo>
                <a:lnTo>
                  <a:pt x="1056" y="1764"/>
                </a:lnTo>
                <a:lnTo>
                  <a:pt x="1050" y="1764"/>
                </a:lnTo>
                <a:lnTo>
                  <a:pt x="1044" y="1764"/>
                </a:lnTo>
                <a:lnTo>
                  <a:pt x="1038" y="1758"/>
                </a:lnTo>
                <a:lnTo>
                  <a:pt x="1032" y="1752"/>
                </a:lnTo>
                <a:lnTo>
                  <a:pt x="1032" y="1746"/>
                </a:lnTo>
                <a:lnTo>
                  <a:pt x="1032" y="1740"/>
                </a:lnTo>
                <a:lnTo>
                  <a:pt x="1032" y="1734"/>
                </a:lnTo>
                <a:lnTo>
                  <a:pt x="1026" y="1734"/>
                </a:lnTo>
                <a:lnTo>
                  <a:pt x="1032" y="1728"/>
                </a:lnTo>
                <a:lnTo>
                  <a:pt x="1032" y="1722"/>
                </a:lnTo>
                <a:lnTo>
                  <a:pt x="1044" y="1686"/>
                </a:lnTo>
                <a:lnTo>
                  <a:pt x="1044" y="1680"/>
                </a:lnTo>
                <a:lnTo>
                  <a:pt x="1032" y="1674"/>
                </a:lnTo>
                <a:lnTo>
                  <a:pt x="1026" y="1674"/>
                </a:lnTo>
                <a:lnTo>
                  <a:pt x="1026" y="1668"/>
                </a:lnTo>
                <a:lnTo>
                  <a:pt x="1020" y="1662"/>
                </a:lnTo>
                <a:lnTo>
                  <a:pt x="1014" y="1668"/>
                </a:lnTo>
                <a:lnTo>
                  <a:pt x="1008" y="1662"/>
                </a:lnTo>
                <a:lnTo>
                  <a:pt x="1002" y="1662"/>
                </a:lnTo>
                <a:lnTo>
                  <a:pt x="1002" y="1668"/>
                </a:lnTo>
                <a:lnTo>
                  <a:pt x="996" y="1668"/>
                </a:lnTo>
                <a:lnTo>
                  <a:pt x="996" y="1662"/>
                </a:lnTo>
                <a:lnTo>
                  <a:pt x="984" y="1662"/>
                </a:lnTo>
                <a:lnTo>
                  <a:pt x="984" y="1656"/>
                </a:lnTo>
                <a:lnTo>
                  <a:pt x="978" y="1650"/>
                </a:lnTo>
                <a:lnTo>
                  <a:pt x="978" y="1644"/>
                </a:lnTo>
                <a:lnTo>
                  <a:pt x="966" y="1650"/>
                </a:lnTo>
                <a:lnTo>
                  <a:pt x="960" y="1638"/>
                </a:lnTo>
                <a:lnTo>
                  <a:pt x="954" y="1632"/>
                </a:lnTo>
                <a:lnTo>
                  <a:pt x="948" y="1632"/>
                </a:lnTo>
                <a:lnTo>
                  <a:pt x="942" y="1626"/>
                </a:lnTo>
                <a:lnTo>
                  <a:pt x="942" y="1614"/>
                </a:lnTo>
                <a:lnTo>
                  <a:pt x="930" y="1608"/>
                </a:lnTo>
                <a:lnTo>
                  <a:pt x="924" y="1614"/>
                </a:lnTo>
                <a:lnTo>
                  <a:pt x="912" y="1608"/>
                </a:lnTo>
                <a:lnTo>
                  <a:pt x="888" y="1590"/>
                </a:lnTo>
                <a:lnTo>
                  <a:pt x="894" y="1578"/>
                </a:lnTo>
                <a:lnTo>
                  <a:pt x="894" y="1572"/>
                </a:lnTo>
                <a:lnTo>
                  <a:pt x="894" y="1566"/>
                </a:lnTo>
                <a:lnTo>
                  <a:pt x="894" y="1548"/>
                </a:lnTo>
                <a:lnTo>
                  <a:pt x="888" y="1548"/>
                </a:lnTo>
                <a:lnTo>
                  <a:pt x="882" y="1542"/>
                </a:lnTo>
                <a:lnTo>
                  <a:pt x="876" y="1542"/>
                </a:lnTo>
                <a:lnTo>
                  <a:pt x="876" y="1536"/>
                </a:lnTo>
                <a:lnTo>
                  <a:pt x="870" y="1542"/>
                </a:lnTo>
                <a:lnTo>
                  <a:pt x="870" y="1554"/>
                </a:lnTo>
                <a:lnTo>
                  <a:pt x="870" y="1566"/>
                </a:lnTo>
                <a:lnTo>
                  <a:pt x="870" y="1578"/>
                </a:lnTo>
                <a:lnTo>
                  <a:pt x="870" y="1584"/>
                </a:lnTo>
                <a:lnTo>
                  <a:pt x="864" y="1584"/>
                </a:lnTo>
                <a:lnTo>
                  <a:pt x="870" y="1602"/>
                </a:lnTo>
                <a:lnTo>
                  <a:pt x="864" y="1608"/>
                </a:lnTo>
                <a:lnTo>
                  <a:pt x="870" y="1614"/>
                </a:lnTo>
                <a:lnTo>
                  <a:pt x="864" y="1644"/>
                </a:lnTo>
                <a:lnTo>
                  <a:pt x="858" y="1650"/>
                </a:lnTo>
                <a:lnTo>
                  <a:pt x="858" y="1656"/>
                </a:lnTo>
                <a:lnTo>
                  <a:pt x="852" y="1662"/>
                </a:lnTo>
                <a:lnTo>
                  <a:pt x="852" y="1680"/>
                </a:lnTo>
                <a:lnTo>
                  <a:pt x="846" y="1686"/>
                </a:lnTo>
                <a:lnTo>
                  <a:pt x="834" y="1692"/>
                </a:lnTo>
                <a:lnTo>
                  <a:pt x="828" y="1692"/>
                </a:lnTo>
                <a:lnTo>
                  <a:pt x="822" y="1698"/>
                </a:lnTo>
                <a:lnTo>
                  <a:pt x="822" y="1704"/>
                </a:lnTo>
                <a:lnTo>
                  <a:pt x="816" y="1704"/>
                </a:lnTo>
                <a:lnTo>
                  <a:pt x="804" y="1692"/>
                </a:lnTo>
                <a:lnTo>
                  <a:pt x="786" y="1698"/>
                </a:lnTo>
                <a:lnTo>
                  <a:pt x="780" y="1698"/>
                </a:lnTo>
                <a:lnTo>
                  <a:pt x="756" y="1698"/>
                </a:lnTo>
                <a:lnTo>
                  <a:pt x="744" y="1698"/>
                </a:lnTo>
                <a:lnTo>
                  <a:pt x="738" y="1698"/>
                </a:lnTo>
                <a:lnTo>
                  <a:pt x="732" y="1704"/>
                </a:lnTo>
                <a:lnTo>
                  <a:pt x="726" y="1704"/>
                </a:lnTo>
                <a:lnTo>
                  <a:pt x="678" y="1710"/>
                </a:lnTo>
                <a:lnTo>
                  <a:pt x="642" y="1710"/>
                </a:lnTo>
                <a:lnTo>
                  <a:pt x="618" y="1680"/>
                </a:lnTo>
                <a:lnTo>
                  <a:pt x="618" y="1674"/>
                </a:lnTo>
                <a:lnTo>
                  <a:pt x="618" y="1668"/>
                </a:lnTo>
                <a:lnTo>
                  <a:pt x="624" y="1662"/>
                </a:lnTo>
                <a:lnTo>
                  <a:pt x="624" y="1656"/>
                </a:lnTo>
                <a:lnTo>
                  <a:pt x="624" y="1650"/>
                </a:lnTo>
                <a:lnTo>
                  <a:pt x="618" y="1650"/>
                </a:lnTo>
                <a:lnTo>
                  <a:pt x="618" y="1644"/>
                </a:lnTo>
                <a:lnTo>
                  <a:pt x="618" y="1638"/>
                </a:lnTo>
                <a:lnTo>
                  <a:pt x="618" y="1632"/>
                </a:lnTo>
                <a:lnTo>
                  <a:pt x="618" y="1626"/>
                </a:lnTo>
                <a:lnTo>
                  <a:pt x="612" y="1626"/>
                </a:lnTo>
                <a:lnTo>
                  <a:pt x="612" y="1620"/>
                </a:lnTo>
                <a:lnTo>
                  <a:pt x="606" y="1614"/>
                </a:lnTo>
                <a:lnTo>
                  <a:pt x="594" y="1626"/>
                </a:lnTo>
                <a:lnTo>
                  <a:pt x="594" y="1632"/>
                </a:lnTo>
                <a:lnTo>
                  <a:pt x="588" y="1638"/>
                </a:lnTo>
                <a:lnTo>
                  <a:pt x="582" y="1638"/>
                </a:lnTo>
                <a:lnTo>
                  <a:pt x="564" y="1656"/>
                </a:lnTo>
                <a:lnTo>
                  <a:pt x="558" y="1662"/>
                </a:lnTo>
                <a:lnTo>
                  <a:pt x="552" y="1662"/>
                </a:lnTo>
                <a:lnTo>
                  <a:pt x="540" y="1674"/>
                </a:lnTo>
                <a:lnTo>
                  <a:pt x="534" y="1680"/>
                </a:lnTo>
                <a:lnTo>
                  <a:pt x="522" y="1692"/>
                </a:lnTo>
                <a:lnTo>
                  <a:pt x="516" y="1704"/>
                </a:lnTo>
                <a:lnTo>
                  <a:pt x="510" y="1704"/>
                </a:lnTo>
                <a:lnTo>
                  <a:pt x="504" y="1704"/>
                </a:lnTo>
                <a:lnTo>
                  <a:pt x="486" y="1722"/>
                </a:lnTo>
                <a:lnTo>
                  <a:pt x="480" y="1740"/>
                </a:lnTo>
                <a:lnTo>
                  <a:pt x="474" y="1740"/>
                </a:lnTo>
                <a:lnTo>
                  <a:pt x="468" y="1746"/>
                </a:lnTo>
                <a:lnTo>
                  <a:pt x="456" y="1758"/>
                </a:lnTo>
                <a:lnTo>
                  <a:pt x="444" y="1770"/>
                </a:lnTo>
                <a:lnTo>
                  <a:pt x="438" y="1782"/>
                </a:lnTo>
                <a:lnTo>
                  <a:pt x="426" y="1788"/>
                </a:lnTo>
                <a:lnTo>
                  <a:pt x="420" y="1788"/>
                </a:lnTo>
                <a:lnTo>
                  <a:pt x="420" y="1782"/>
                </a:lnTo>
                <a:lnTo>
                  <a:pt x="414" y="1782"/>
                </a:lnTo>
                <a:lnTo>
                  <a:pt x="390" y="1782"/>
                </a:lnTo>
                <a:lnTo>
                  <a:pt x="390" y="1776"/>
                </a:lnTo>
                <a:lnTo>
                  <a:pt x="384" y="1776"/>
                </a:lnTo>
                <a:lnTo>
                  <a:pt x="378" y="1776"/>
                </a:lnTo>
                <a:lnTo>
                  <a:pt x="372" y="1776"/>
                </a:lnTo>
                <a:lnTo>
                  <a:pt x="366" y="1770"/>
                </a:lnTo>
                <a:lnTo>
                  <a:pt x="366" y="1776"/>
                </a:lnTo>
                <a:lnTo>
                  <a:pt x="360" y="1788"/>
                </a:lnTo>
                <a:lnTo>
                  <a:pt x="360" y="1794"/>
                </a:lnTo>
                <a:lnTo>
                  <a:pt x="360" y="1800"/>
                </a:lnTo>
                <a:lnTo>
                  <a:pt x="354" y="1806"/>
                </a:lnTo>
                <a:lnTo>
                  <a:pt x="354" y="1812"/>
                </a:lnTo>
                <a:lnTo>
                  <a:pt x="354" y="1824"/>
                </a:lnTo>
                <a:lnTo>
                  <a:pt x="348" y="1830"/>
                </a:lnTo>
                <a:lnTo>
                  <a:pt x="354" y="1836"/>
                </a:lnTo>
                <a:lnTo>
                  <a:pt x="348" y="1842"/>
                </a:lnTo>
                <a:lnTo>
                  <a:pt x="354" y="1848"/>
                </a:lnTo>
                <a:lnTo>
                  <a:pt x="348" y="1854"/>
                </a:lnTo>
                <a:lnTo>
                  <a:pt x="354" y="1854"/>
                </a:lnTo>
                <a:lnTo>
                  <a:pt x="348" y="1860"/>
                </a:lnTo>
                <a:lnTo>
                  <a:pt x="348" y="1866"/>
                </a:lnTo>
                <a:lnTo>
                  <a:pt x="342" y="1866"/>
                </a:lnTo>
                <a:lnTo>
                  <a:pt x="342" y="1872"/>
                </a:lnTo>
                <a:lnTo>
                  <a:pt x="342" y="1878"/>
                </a:lnTo>
                <a:lnTo>
                  <a:pt x="342" y="1884"/>
                </a:lnTo>
                <a:lnTo>
                  <a:pt x="336" y="1896"/>
                </a:lnTo>
                <a:lnTo>
                  <a:pt x="330" y="1914"/>
                </a:lnTo>
                <a:lnTo>
                  <a:pt x="324" y="1920"/>
                </a:lnTo>
                <a:lnTo>
                  <a:pt x="324" y="1926"/>
                </a:lnTo>
                <a:lnTo>
                  <a:pt x="318" y="1944"/>
                </a:lnTo>
                <a:lnTo>
                  <a:pt x="318" y="1950"/>
                </a:lnTo>
                <a:lnTo>
                  <a:pt x="312" y="1956"/>
                </a:lnTo>
                <a:lnTo>
                  <a:pt x="312" y="1950"/>
                </a:lnTo>
                <a:lnTo>
                  <a:pt x="306" y="1950"/>
                </a:lnTo>
                <a:lnTo>
                  <a:pt x="306" y="1956"/>
                </a:lnTo>
                <a:lnTo>
                  <a:pt x="300" y="1950"/>
                </a:lnTo>
                <a:lnTo>
                  <a:pt x="294" y="1956"/>
                </a:lnTo>
                <a:lnTo>
                  <a:pt x="288" y="1950"/>
                </a:lnTo>
                <a:lnTo>
                  <a:pt x="288" y="1944"/>
                </a:lnTo>
                <a:lnTo>
                  <a:pt x="282" y="1938"/>
                </a:lnTo>
                <a:lnTo>
                  <a:pt x="282" y="1932"/>
                </a:lnTo>
                <a:lnTo>
                  <a:pt x="282" y="1890"/>
                </a:lnTo>
                <a:lnTo>
                  <a:pt x="288" y="1860"/>
                </a:lnTo>
                <a:lnTo>
                  <a:pt x="294" y="1842"/>
                </a:lnTo>
                <a:lnTo>
                  <a:pt x="294" y="1836"/>
                </a:lnTo>
                <a:lnTo>
                  <a:pt x="294" y="1824"/>
                </a:lnTo>
                <a:lnTo>
                  <a:pt x="300" y="1818"/>
                </a:lnTo>
                <a:lnTo>
                  <a:pt x="306" y="1794"/>
                </a:lnTo>
                <a:lnTo>
                  <a:pt x="306" y="1788"/>
                </a:lnTo>
                <a:lnTo>
                  <a:pt x="306" y="1782"/>
                </a:lnTo>
                <a:lnTo>
                  <a:pt x="312" y="1776"/>
                </a:lnTo>
                <a:lnTo>
                  <a:pt x="306" y="1776"/>
                </a:lnTo>
                <a:lnTo>
                  <a:pt x="312" y="1770"/>
                </a:lnTo>
                <a:lnTo>
                  <a:pt x="312" y="1740"/>
                </a:lnTo>
                <a:lnTo>
                  <a:pt x="318" y="1722"/>
                </a:lnTo>
                <a:lnTo>
                  <a:pt x="312" y="1722"/>
                </a:lnTo>
                <a:lnTo>
                  <a:pt x="300" y="1716"/>
                </a:lnTo>
                <a:lnTo>
                  <a:pt x="306" y="1716"/>
                </a:lnTo>
                <a:lnTo>
                  <a:pt x="312" y="1710"/>
                </a:lnTo>
                <a:lnTo>
                  <a:pt x="324" y="1674"/>
                </a:lnTo>
                <a:lnTo>
                  <a:pt x="366" y="1590"/>
                </a:lnTo>
                <a:lnTo>
                  <a:pt x="408" y="1548"/>
                </a:lnTo>
                <a:lnTo>
                  <a:pt x="426" y="1530"/>
                </a:lnTo>
                <a:lnTo>
                  <a:pt x="432" y="1500"/>
                </a:lnTo>
                <a:lnTo>
                  <a:pt x="426" y="1494"/>
                </a:lnTo>
                <a:lnTo>
                  <a:pt x="426" y="1482"/>
                </a:lnTo>
                <a:lnTo>
                  <a:pt x="432" y="1464"/>
                </a:lnTo>
                <a:lnTo>
                  <a:pt x="438" y="1428"/>
                </a:lnTo>
                <a:lnTo>
                  <a:pt x="462" y="1398"/>
                </a:lnTo>
                <a:lnTo>
                  <a:pt x="468" y="1362"/>
                </a:lnTo>
                <a:lnTo>
                  <a:pt x="462" y="1314"/>
                </a:lnTo>
                <a:lnTo>
                  <a:pt x="444" y="1284"/>
                </a:lnTo>
                <a:lnTo>
                  <a:pt x="432" y="1260"/>
                </a:lnTo>
                <a:lnTo>
                  <a:pt x="426" y="1260"/>
                </a:lnTo>
                <a:lnTo>
                  <a:pt x="420" y="1254"/>
                </a:lnTo>
                <a:lnTo>
                  <a:pt x="408" y="1260"/>
                </a:lnTo>
                <a:lnTo>
                  <a:pt x="402" y="1260"/>
                </a:lnTo>
                <a:lnTo>
                  <a:pt x="402" y="1254"/>
                </a:lnTo>
                <a:lnTo>
                  <a:pt x="396" y="1254"/>
                </a:lnTo>
                <a:lnTo>
                  <a:pt x="396" y="1248"/>
                </a:lnTo>
                <a:lnTo>
                  <a:pt x="384" y="1248"/>
                </a:lnTo>
                <a:lnTo>
                  <a:pt x="372" y="1230"/>
                </a:lnTo>
                <a:lnTo>
                  <a:pt x="360" y="1212"/>
                </a:lnTo>
                <a:lnTo>
                  <a:pt x="348" y="1188"/>
                </a:lnTo>
                <a:lnTo>
                  <a:pt x="324" y="1170"/>
                </a:lnTo>
                <a:lnTo>
                  <a:pt x="318" y="1170"/>
                </a:lnTo>
                <a:lnTo>
                  <a:pt x="312" y="1158"/>
                </a:lnTo>
                <a:lnTo>
                  <a:pt x="312" y="1152"/>
                </a:lnTo>
                <a:lnTo>
                  <a:pt x="306" y="1146"/>
                </a:lnTo>
                <a:lnTo>
                  <a:pt x="270" y="1122"/>
                </a:lnTo>
                <a:lnTo>
                  <a:pt x="240" y="1122"/>
                </a:lnTo>
                <a:lnTo>
                  <a:pt x="180" y="1116"/>
                </a:lnTo>
                <a:lnTo>
                  <a:pt x="174" y="1122"/>
                </a:lnTo>
                <a:lnTo>
                  <a:pt x="174" y="1128"/>
                </a:lnTo>
                <a:lnTo>
                  <a:pt x="168" y="1122"/>
                </a:lnTo>
                <a:lnTo>
                  <a:pt x="162" y="1116"/>
                </a:lnTo>
                <a:lnTo>
                  <a:pt x="144" y="1122"/>
                </a:lnTo>
                <a:lnTo>
                  <a:pt x="120" y="1122"/>
                </a:lnTo>
                <a:lnTo>
                  <a:pt x="54" y="1134"/>
                </a:lnTo>
                <a:lnTo>
                  <a:pt x="24" y="1152"/>
                </a:lnTo>
                <a:lnTo>
                  <a:pt x="6" y="1146"/>
                </a:lnTo>
                <a:lnTo>
                  <a:pt x="0" y="1134"/>
                </a:lnTo>
                <a:lnTo>
                  <a:pt x="0" y="1128"/>
                </a:lnTo>
                <a:lnTo>
                  <a:pt x="18" y="1110"/>
                </a:lnTo>
                <a:lnTo>
                  <a:pt x="24" y="1104"/>
                </a:lnTo>
                <a:lnTo>
                  <a:pt x="24" y="1098"/>
                </a:lnTo>
                <a:lnTo>
                  <a:pt x="30" y="1086"/>
                </a:lnTo>
                <a:lnTo>
                  <a:pt x="24" y="1086"/>
                </a:lnTo>
                <a:lnTo>
                  <a:pt x="24" y="1080"/>
                </a:lnTo>
                <a:lnTo>
                  <a:pt x="24" y="1074"/>
                </a:lnTo>
                <a:lnTo>
                  <a:pt x="18" y="1068"/>
                </a:lnTo>
                <a:lnTo>
                  <a:pt x="24" y="1062"/>
                </a:lnTo>
                <a:lnTo>
                  <a:pt x="42" y="1056"/>
                </a:lnTo>
                <a:lnTo>
                  <a:pt x="54" y="1050"/>
                </a:lnTo>
                <a:lnTo>
                  <a:pt x="72" y="1044"/>
                </a:lnTo>
                <a:lnTo>
                  <a:pt x="96" y="1032"/>
                </a:lnTo>
                <a:lnTo>
                  <a:pt x="102" y="1032"/>
                </a:lnTo>
                <a:lnTo>
                  <a:pt x="126" y="1008"/>
                </a:lnTo>
                <a:lnTo>
                  <a:pt x="144" y="990"/>
                </a:lnTo>
                <a:lnTo>
                  <a:pt x="156" y="978"/>
                </a:lnTo>
                <a:lnTo>
                  <a:pt x="156" y="966"/>
                </a:lnTo>
                <a:lnTo>
                  <a:pt x="150" y="960"/>
                </a:lnTo>
                <a:lnTo>
                  <a:pt x="144" y="948"/>
                </a:lnTo>
                <a:lnTo>
                  <a:pt x="144" y="936"/>
                </a:lnTo>
                <a:lnTo>
                  <a:pt x="138" y="918"/>
                </a:lnTo>
                <a:lnTo>
                  <a:pt x="150" y="912"/>
                </a:lnTo>
                <a:lnTo>
                  <a:pt x="150" y="894"/>
                </a:lnTo>
                <a:lnTo>
                  <a:pt x="132" y="876"/>
                </a:lnTo>
                <a:lnTo>
                  <a:pt x="126" y="876"/>
                </a:lnTo>
                <a:lnTo>
                  <a:pt x="120" y="870"/>
                </a:lnTo>
                <a:lnTo>
                  <a:pt x="120" y="864"/>
                </a:lnTo>
                <a:lnTo>
                  <a:pt x="114" y="864"/>
                </a:lnTo>
                <a:lnTo>
                  <a:pt x="108" y="864"/>
                </a:lnTo>
                <a:lnTo>
                  <a:pt x="108" y="858"/>
                </a:lnTo>
                <a:lnTo>
                  <a:pt x="102" y="852"/>
                </a:lnTo>
                <a:lnTo>
                  <a:pt x="96" y="852"/>
                </a:lnTo>
                <a:lnTo>
                  <a:pt x="102" y="834"/>
                </a:lnTo>
                <a:lnTo>
                  <a:pt x="108" y="816"/>
                </a:lnTo>
                <a:lnTo>
                  <a:pt x="114" y="804"/>
                </a:lnTo>
                <a:lnTo>
                  <a:pt x="132" y="798"/>
                </a:lnTo>
                <a:lnTo>
                  <a:pt x="144" y="798"/>
                </a:lnTo>
                <a:lnTo>
                  <a:pt x="180" y="810"/>
                </a:lnTo>
                <a:lnTo>
                  <a:pt x="192" y="816"/>
                </a:lnTo>
                <a:lnTo>
                  <a:pt x="234" y="822"/>
                </a:lnTo>
                <a:lnTo>
                  <a:pt x="264" y="828"/>
                </a:lnTo>
                <a:lnTo>
                  <a:pt x="270" y="840"/>
                </a:lnTo>
                <a:lnTo>
                  <a:pt x="270" y="834"/>
                </a:lnTo>
                <a:lnTo>
                  <a:pt x="270" y="828"/>
                </a:lnTo>
                <a:lnTo>
                  <a:pt x="270" y="822"/>
                </a:lnTo>
                <a:lnTo>
                  <a:pt x="270" y="816"/>
                </a:lnTo>
                <a:lnTo>
                  <a:pt x="264" y="810"/>
                </a:lnTo>
                <a:lnTo>
                  <a:pt x="264" y="804"/>
                </a:lnTo>
                <a:lnTo>
                  <a:pt x="264" y="798"/>
                </a:lnTo>
                <a:lnTo>
                  <a:pt x="258" y="792"/>
                </a:lnTo>
                <a:lnTo>
                  <a:pt x="258" y="786"/>
                </a:lnTo>
                <a:lnTo>
                  <a:pt x="264" y="786"/>
                </a:lnTo>
                <a:lnTo>
                  <a:pt x="264" y="780"/>
                </a:lnTo>
                <a:lnTo>
                  <a:pt x="258" y="774"/>
                </a:lnTo>
                <a:lnTo>
                  <a:pt x="258" y="768"/>
                </a:lnTo>
                <a:lnTo>
                  <a:pt x="264" y="762"/>
                </a:lnTo>
                <a:lnTo>
                  <a:pt x="264" y="756"/>
                </a:lnTo>
                <a:lnTo>
                  <a:pt x="282" y="762"/>
                </a:lnTo>
                <a:lnTo>
                  <a:pt x="312" y="780"/>
                </a:lnTo>
                <a:lnTo>
                  <a:pt x="354" y="786"/>
                </a:lnTo>
                <a:lnTo>
                  <a:pt x="408" y="774"/>
                </a:lnTo>
                <a:lnTo>
                  <a:pt x="444" y="756"/>
                </a:lnTo>
                <a:lnTo>
                  <a:pt x="468" y="732"/>
                </a:lnTo>
                <a:lnTo>
                  <a:pt x="492" y="720"/>
                </a:lnTo>
                <a:lnTo>
                  <a:pt x="522" y="690"/>
                </a:lnTo>
                <a:lnTo>
                  <a:pt x="540" y="672"/>
                </a:lnTo>
                <a:lnTo>
                  <a:pt x="558" y="660"/>
                </a:lnTo>
                <a:lnTo>
                  <a:pt x="570" y="636"/>
                </a:lnTo>
                <a:lnTo>
                  <a:pt x="588" y="612"/>
                </a:lnTo>
                <a:lnTo>
                  <a:pt x="654" y="552"/>
                </a:lnTo>
                <a:lnTo>
                  <a:pt x="678" y="528"/>
                </a:lnTo>
                <a:lnTo>
                  <a:pt x="696" y="510"/>
                </a:lnTo>
                <a:lnTo>
                  <a:pt x="714" y="498"/>
                </a:lnTo>
                <a:lnTo>
                  <a:pt x="750" y="480"/>
                </a:lnTo>
                <a:lnTo>
                  <a:pt x="774" y="444"/>
                </a:lnTo>
                <a:lnTo>
                  <a:pt x="816" y="426"/>
                </a:lnTo>
                <a:lnTo>
                  <a:pt x="864" y="420"/>
                </a:lnTo>
                <a:lnTo>
                  <a:pt x="912" y="402"/>
                </a:lnTo>
                <a:lnTo>
                  <a:pt x="906" y="396"/>
                </a:lnTo>
                <a:lnTo>
                  <a:pt x="912" y="396"/>
                </a:lnTo>
                <a:lnTo>
                  <a:pt x="912" y="390"/>
                </a:lnTo>
                <a:lnTo>
                  <a:pt x="918" y="384"/>
                </a:lnTo>
                <a:lnTo>
                  <a:pt x="924" y="384"/>
                </a:lnTo>
                <a:lnTo>
                  <a:pt x="924" y="378"/>
                </a:lnTo>
                <a:lnTo>
                  <a:pt x="918" y="372"/>
                </a:lnTo>
                <a:lnTo>
                  <a:pt x="918" y="366"/>
                </a:lnTo>
                <a:lnTo>
                  <a:pt x="918" y="360"/>
                </a:lnTo>
                <a:lnTo>
                  <a:pt x="924" y="360"/>
                </a:lnTo>
                <a:lnTo>
                  <a:pt x="924" y="354"/>
                </a:lnTo>
                <a:lnTo>
                  <a:pt x="930" y="354"/>
                </a:lnTo>
                <a:lnTo>
                  <a:pt x="936" y="354"/>
                </a:lnTo>
                <a:lnTo>
                  <a:pt x="936" y="348"/>
                </a:lnTo>
                <a:lnTo>
                  <a:pt x="942" y="348"/>
                </a:lnTo>
                <a:lnTo>
                  <a:pt x="942" y="336"/>
                </a:lnTo>
                <a:lnTo>
                  <a:pt x="936" y="336"/>
                </a:lnTo>
                <a:lnTo>
                  <a:pt x="930" y="330"/>
                </a:lnTo>
                <a:lnTo>
                  <a:pt x="924" y="330"/>
                </a:lnTo>
                <a:lnTo>
                  <a:pt x="924" y="324"/>
                </a:lnTo>
                <a:lnTo>
                  <a:pt x="918" y="318"/>
                </a:lnTo>
                <a:lnTo>
                  <a:pt x="912" y="306"/>
                </a:lnTo>
                <a:lnTo>
                  <a:pt x="918" y="306"/>
                </a:lnTo>
                <a:lnTo>
                  <a:pt x="924" y="300"/>
                </a:lnTo>
                <a:lnTo>
                  <a:pt x="924" y="294"/>
                </a:lnTo>
                <a:lnTo>
                  <a:pt x="924" y="288"/>
                </a:lnTo>
                <a:lnTo>
                  <a:pt x="924" y="282"/>
                </a:lnTo>
                <a:lnTo>
                  <a:pt x="924" y="276"/>
                </a:lnTo>
                <a:lnTo>
                  <a:pt x="918" y="270"/>
                </a:lnTo>
                <a:lnTo>
                  <a:pt x="918" y="264"/>
                </a:lnTo>
                <a:lnTo>
                  <a:pt x="912" y="270"/>
                </a:lnTo>
                <a:lnTo>
                  <a:pt x="912" y="264"/>
                </a:lnTo>
                <a:lnTo>
                  <a:pt x="912" y="258"/>
                </a:lnTo>
                <a:lnTo>
                  <a:pt x="912" y="252"/>
                </a:lnTo>
                <a:lnTo>
                  <a:pt x="906" y="252"/>
                </a:lnTo>
                <a:lnTo>
                  <a:pt x="900" y="246"/>
                </a:lnTo>
                <a:lnTo>
                  <a:pt x="900" y="240"/>
                </a:lnTo>
                <a:lnTo>
                  <a:pt x="900" y="246"/>
                </a:lnTo>
                <a:lnTo>
                  <a:pt x="894" y="246"/>
                </a:lnTo>
                <a:lnTo>
                  <a:pt x="894" y="240"/>
                </a:lnTo>
                <a:lnTo>
                  <a:pt x="894" y="234"/>
                </a:lnTo>
                <a:lnTo>
                  <a:pt x="900" y="234"/>
                </a:lnTo>
                <a:lnTo>
                  <a:pt x="900" y="228"/>
                </a:lnTo>
                <a:lnTo>
                  <a:pt x="906" y="228"/>
                </a:lnTo>
                <a:lnTo>
                  <a:pt x="900" y="222"/>
                </a:lnTo>
                <a:lnTo>
                  <a:pt x="894" y="216"/>
                </a:lnTo>
                <a:lnTo>
                  <a:pt x="894" y="210"/>
                </a:lnTo>
                <a:lnTo>
                  <a:pt x="888" y="210"/>
                </a:lnTo>
                <a:lnTo>
                  <a:pt x="888" y="204"/>
                </a:lnTo>
                <a:lnTo>
                  <a:pt x="888" y="198"/>
                </a:lnTo>
                <a:lnTo>
                  <a:pt x="888" y="192"/>
                </a:lnTo>
                <a:lnTo>
                  <a:pt x="882" y="186"/>
                </a:lnTo>
                <a:lnTo>
                  <a:pt x="888" y="180"/>
                </a:lnTo>
                <a:lnTo>
                  <a:pt x="882" y="180"/>
                </a:lnTo>
                <a:lnTo>
                  <a:pt x="882" y="174"/>
                </a:lnTo>
                <a:lnTo>
                  <a:pt x="888" y="168"/>
                </a:lnTo>
                <a:lnTo>
                  <a:pt x="888" y="162"/>
                </a:lnTo>
                <a:lnTo>
                  <a:pt x="888" y="156"/>
                </a:lnTo>
                <a:lnTo>
                  <a:pt x="888" y="150"/>
                </a:lnTo>
                <a:lnTo>
                  <a:pt x="888" y="144"/>
                </a:lnTo>
                <a:lnTo>
                  <a:pt x="882" y="144"/>
                </a:lnTo>
                <a:lnTo>
                  <a:pt x="882" y="138"/>
                </a:lnTo>
                <a:lnTo>
                  <a:pt x="876" y="132"/>
                </a:lnTo>
                <a:lnTo>
                  <a:pt x="882" y="126"/>
                </a:lnTo>
                <a:lnTo>
                  <a:pt x="876" y="120"/>
                </a:lnTo>
                <a:lnTo>
                  <a:pt x="882" y="114"/>
                </a:lnTo>
                <a:lnTo>
                  <a:pt x="882" y="108"/>
                </a:lnTo>
                <a:lnTo>
                  <a:pt x="888" y="102"/>
                </a:lnTo>
                <a:lnTo>
                  <a:pt x="894" y="102"/>
                </a:lnTo>
                <a:lnTo>
                  <a:pt x="894" y="96"/>
                </a:lnTo>
                <a:lnTo>
                  <a:pt x="888" y="96"/>
                </a:lnTo>
                <a:lnTo>
                  <a:pt x="894" y="90"/>
                </a:lnTo>
                <a:lnTo>
                  <a:pt x="888" y="84"/>
                </a:lnTo>
                <a:lnTo>
                  <a:pt x="888" y="78"/>
                </a:lnTo>
                <a:lnTo>
                  <a:pt x="924" y="66"/>
                </a:lnTo>
                <a:lnTo>
                  <a:pt x="966" y="66"/>
                </a:lnTo>
                <a:lnTo>
                  <a:pt x="996" y="48"/>
                </a:lnTo>
                <a:lnTo>
                  <a:pt x="1056" y="12"/>
                </a:lnTo>
                <a:lnTo>
                  <a:pt x="1128" y="0"/>
                </a:lnTo>
                <a:lnTo>
                  <a:pt x="1164" y="6"/>
                </a:lnTo>
                <a:lnTo>
                  <a:pt x="1164" y="12"/>
                </a:lnTo>
                <a:lnTo>
                  <a:pt x="1170" y="12"/>
                </a:lnTo>
                <a:lnTo>
                  <a:pt x="1170" y="18"/>
                </a:lnTo>
                <a:lnTo>
                  <a:pt x="1176" y="24"/>
                </a:lnTo>
                <a:lnTo>
                  <a:pt x="1182" y="24"/>
                </a:lnTo>
                <a:lnTo>
                  <a:pt x="1188" y="30"/>
                </a:lnTo>
                <a:lnTo>
                  <a:pt x="1194" y="30"/>
                </a:lnTo>
                <a:lnTo>
                  <a:pt x="1194" y="36"/>
                </a:lnTo>
                <a:lnTo>
                  <a:pt x="1260" y="30"/>
                </a:lnTo>
                <a:lnTo>
                  <a:pt x="1272" y="30"/>
                </a:lnTo>
                <a:lnTo>
                  <a:pt x="1296" y="24"/>
                </a:lnTo>
                <a:lnTo>
                  <a:pt x="1302" y="30"/>
                </a:lnTo>
                <a:lnTo>
                  <a:pt x="1302" y="36"/>
                </a:lnTo>
                <a:lnTo>
                  <a:pt x="1308" y="36"/>
                </a:lnTo>
                <a:lnTo>
                  <a:pt x="1314" y="36"/>
                </a:lnTo>
                <a:lnTo>
                  <a:pt x="1320" y="36"/>
                </a:lnTo>
                <a:lnTo>
                  <a:pt x="1326" y="30"/>
                </a:lnTo>
                <a:lnTo>
                  <a:pt x="1332" y="30"/>
                </a:lnTo>
                <a:lnTo>
                  <a:pt x="1338" y="30"/>
                </a:lnTo>
                <a:lnTo>
                  <a:pt x="1344" y="30"/>
                </a:lnTo>
                <a:lnTo>
                  <a:pt x="1374" y="30"/>
                </a:lnTo>
                <a:lnTo>
                  <a:pt x="1386" y="30"/>
                </a:lnTo>
                <a:lnTo>
                  <a:pt x="1392" y="24"/>
                </a:lnTo>
                <a:lnTo>
                  <a:pt x="1398" y="12"/>
                </a:lnTo>
                <a:lnTo>
                  <a:pt x="1404" y="6"/>
                </a:lnTo>
                <a:lnTo>
                  <a:pt x="1410" y="6"/>
                </a:lnTo>
                <a:lnTo>
                  <a:pt x="1410" y="12"/>
                </a:lnTo>
                <a:lnTo>
                  <a:pt x="1416" y="18"/>
                </a:lnTo>
                <a:lnTo>
                  <a:pt x="1416" y="36"/>
                </a:lnTo>
                <a:lnTo>
                  <a:pt x="1434" y="54"/>
                </a:lnTo>
                <a:lnTo>
                  <a:pt x="1434" y="60"/>
                </a:lnTo>
                <a:lnTo>
                  <a:pt x="1434" y="66"/>
                </a:lnTo>
                <a:lnTo>
                  <a:pt x="1434" y="72"/>
                </a:lnTo>
                <a:lnTo>
                  <a:pt x="1428" y="72"/>
                </a:lnTo>
                <a:lnTo>
                  <a:pt x="1428" y="78"/>
                </a:lnTo>
                <a:lnTo>
                  <a:pt x="1434" y="78"/>
                </a:lnTo>
                <a:lnTo>
                  <a:pt x="1440" y="84"/>
                </a:lnTo>
                <a:lnTo>
                  <a:pt x="1440" y="90"/>
                </a:lnTo>
                <a:lnTo>
                  <a:pt x="1440" y="96"/>
                </a:lnTo>
                <a:lnTo>
                  <a:pt x="1446" y="96"/>
                </a:lnTo>
                <a:lnTo>
                  <a:pt x="1446" y="108"/>
                </a:lnTo>
                <a:lnTo>
                  <a:pt x="1452" y="108"/>
                </a:lnTo>
                <a:lnTo>
                  <a:pt x="1452" y="114"/>
                </a:lnTo>
                <a:lnTo>
                  <a:pt x="1458" y="114"/>
                </a:lnTo>
                <a:lnTo>
                  <a:pt x="1470" y="120"/>
                </a:lnTo>
                <a:lnTo>
                  <a:pt x="1476" y="120"/>
                </a:lnTo>
                <a:lnTo>
                  <a:pt x="1476" y="114"/>
                </a:lnTo>
                <a:lnTo>
                  <a:pt x="1488" y="120"/>
                </a:lnTo>
                <a:lnTo>
                  <a:pt x="1506" y="120"/>
                </a:lnTo>
                <a:lnTo>
                  <a:pt x="1512" y="120"/>
                </a:lnTo>
                <a:lnTo>
                  <a:pt x="1518" y="120"/>
                </a:lnTo>
                <a:lnTo>
                  <a:pt x="1524" y="126"/>
                </a:lnTo>
                <a:lnTo>
                  <a:pt x="1536" y="150"/>
                </a:lnTo>
                <a:lnTo>
                  <a:pt x="1548" y="162"/>
                </a:lnTo>
                <a:lnTo>
                  <a:pt x="1554" y="168"/>
                </a:lnTo>
                <a:lnTo>
                  <a:pt x="1584" y="228"/>
                </a:lnTo>
                <a:lnTo>
                  <a:pt x="1584" y="234"/>
                </a:lnTo>
                <a:lnTo>
                  <a:pt x="1578" y="312"/>
                </a:lnTo>
                <a:lnTo>
                  <a:pt x="1590" y="318"/>
                </a:lnTo>
                <a:lnTo>
                  <a:pt x="1608" y="330"/>
                </a:lnTo>
                <a:lnTo>
                  <a:pt x="1620" y="342"/>
                </a:lnTo>
                <a:lnTo>
                  <a:pt x="1626" y="342"/>
                </a:lnTo>
                <a:lnTo>
                  <a:pt x="1692" y="360"/>
                </a:lnTo>
                <a:lnTo>
                  <a:pt x="1710" y="408"/>
                </a:lnTo>
                <a:lnTo>
                  <a:pt x="1722" y="426"/>
                </a:lnTo>
                <a:lnTo>
                  <a:pt x="1716" y="468"/>
                </a:lnTo>
                <a:lnTo>
                  <a:pt x="1686" y="486"/>
                </a:lnTo>
                <a:lnTo>
                  <a:pt x="1686" y="492"/>
                </a:lnTo>
                <a:lnTo>
                  <a:pt x="1680" y="498"/>
                </a:lnTo>
                <a:lnTo>
                  <a:pt x="1650" y="558"/>
                </a:lnTo>
                <a:lnTo>
                  <a:pt x="1650" y="570"/>
                </a:lnTo>
                <a:lnTo>
                  <a:pt x="1644" y="570"/>
                </a:lnTo>
                <a:lnTo>
                  <a:pt x="1638" y="582"/>
                </a:lnTo>
                <a:lnTo>
                  <a:pt x="1638" y="624"/>
                </a:lnTo>
                <a:lnTo>
                  <a:pt x="1638" y="636"/>
                </a:lnTo>
                <a:lnTo>
                  <a:pt x="1638" y="642"/>
                </a:lnTo>
                <a:lnTo>
                  <a:pt x="1632" y="660"/>
                </a:lnTo>
                <a:lnTo>
                  <a:pt x="1608" y="678"/>
                </a:lnTo>
                <a:lnTo>
                  <a:pt x="1584" y="690"/>
                </a:lnTo>
                <a:lnTo>
                  <a:pt x="1584" y="696"/>
                </a:lnTo>
                <a:lnTo>
                  <a:pt x="1578" y="702"/>
                </a:lnTo>
                <a:lnTo>
                  <a:pt x="1584" y="702"/>
                </a:lnTo>
                <a:lnTo>
                  <a:pt x="1578" y="714"/>
                </a:lnTo>
                <a:lnTo>
                  <a:pt x="1572" y="714"/>
                </a:lnTo>
                <a:lnTo>
                  <a:pt x="1572" y="720"/>
                </a:lnTo>
                <a:lnTo>
                  <a:pt x="1566" y="720"/>
                </a:lnTo>
                <a:lnTo>
                  <a:pt x="1560" y="726"/>
                </a:lnTo>
                <a:lnTo>
                  <a:pt x="1560" y="732"/>
                </a:lnTo>
                <a:lnTo>
                  <a:pt x="1554" y="732"/>
                </a:lnTo>
                <a:lnTo>
                  <a:pt x="1554" y="738"/>
                </a:lnTo>
                <a:lnTo>
                  <a:pt x="1554" y="744"/>
                </a:lnTo>
                <a:lnTo>
                  <a:pt x="1548" y="744"/>
                </a:lnTo>
                <a:lnTo>
                  <a:pt x="1548" y="738"/>
                </a:lnTo>
                <a:lnTo>
                  <a:pt x="1542" y="738"/>
                </a:lnTo>
                <a:lnTo>
                  <a:pt x="1542" y="744"/>
                </a:lnTo>
                <a:lnTo>
                  <a:pt x="1542" y="750"/>
                </a:lnTo>
                <a:lnTo>
                  <a:pt x="1494" y="804"/>
                </a:lnTo>
                <a:lnTo>
                  <a:pt x="1446" y="876"/>
                </a:lnTo>
                <a:lnTo>
                  <a:pt x="1440" y="876"/>
                </a:lnTo>
                <a:lnTo>
                  <a:pt x="1434" y="876"/>
                </a:lnTo>
                <a:lnTo>
                  <a:pt x="1428" y="882"/>
                </a:lnTo>
                <a:lnTo>
                  <a:pt x="1422" y="882"/>
                </a:lnTo>
                <a:lnTo>
                  <a:pt x="1386" y="924"/>
                </a:lnTo>
                <a:lnTo>
                  <a:pt x="1362" y="954"/>
                </a:lnTo>
                <a:lnTo>
                  <a:pt x="1356" y="984"/>
                </a:lnTo>
                <a:lnTo>
                  <a:pt x="1362" y="1002"/>
                </a:lnTo>
                <a:lnTo>
                  <a:pt x="1368" y="1020"/>
                </a:lnTo>
                <a:lnTo>
                  <a:pt x="1386" y="1056"/>
                </a:lnTo>
                <a:lnTo>
                  <a:pt x="1404" y="1074"/>
                </a:lnTo>
                <a:lnTo>
                  <a:pt x="1416" y="1080"/>
                </a:lnTo>
                <a:lnTo>
                  <a:pt x="1416" y="1086"/>
                </a:lnTo>
                <a:lnTo>
                  <a:pt x="1422" y="1098"/>
                </a:lnTo>
                <a:lnTo>
                  <a:pt x="1422" y="1110"/>
                </a:lnTo>
                <a:lnTo>
                  <a:pt x="1428" y="1116"/>
                </a:lnTo>
                <a:lnTo>
                  <a:pt x="1434" y="1116"/>
                </a:lnTo>
                <a:lnTo>
                  <a:pt x="1434" y="1122"/>
                </a:lnTo>
                <a:lnTo>
                  <a:pt x="1434" y="1128"/>
                </a:lnTo>
                <a:lnTo>
                  <a:pt x="1440" y="1134"/>
                </a:lnTo>
                <a:lnTo>
                  <a:pt x="1446" y="1134"/>
                </a:lnTo>
                <a:lnTo>
                  <a:pt x="1458" y="1134"/>
                </a:lnTo>
                <a:lnTo>
                  <a:pt x="1458" y="1140"/>
                </a:lnTo>
                <a:lnTo>
                  <a:pt x="1464" y="1134"/>
                </a:lnTo>
                <a:lnTo>
                  <a:pt x="1470" y="1134"/>
                </a:lnTo>
                <a:lnTo>
                  <a:pt x="1464" y="1128"/>
                </a:lnTo>
                <a:lnTo>
                  <a:pt x="1464" y="1122"/>
                </a:lnTo>
                <a:lnTo>
                  <a:pt x="1470" y="1116"/>
                </a:lnTo>
                <a:lnTo>
                  <a:pt x="1470" y="1122"/>
                </a:lnTo>
                <a:lnTo>
                  <a:pt x="1476" y="1122"/>
                </a:lnTo>
                <a:lnTo>
                  <a:pt x="1476" y="1116"/>
                </a:lnTo>
                <a:lnTo>
                  <a:pt x="1482" y="1110"/>
                </a:lnTo>
                <a:lnTo>
                  <a:pt x="1476" y="1110"/>
                </a:lnTo>
                <a:lnTo>
                  <a:pt x="1476" y="1104"/>
                </a:lnTo>
                <a:lnTo>
                  <a:pt x="1476" y="1098"/>
                </a:lnTo>
                <a:lnTo>
                  <a:pt x="1482" y="1086"/>
                </a:lnTo>
                <a:lnTo>
                  <a:pt x="1482" y="1074"/>
                </a:lnTo>
                <a:lnTo>
                  <a:pt x="1488" y="1068"/>
                </a:lnTo>
                <a:lnTo>
                  <a:pt x="1488" y="1062"/>
                </a:lnTo>
                <a:lnTo>
                  <a:pt x="1494" y="1062"/>
                </a:lnTo>
                <a:lnTo>
                  <a:pt x="1500" y="1062"/>
                </a:lnTo>
                <a:lnTo>
                  <a:pt x="1506" y="1062"/>
                </a:lnTo>
                <a:lnTo>
                  <a:pt x="1506" y="1056"/>
                </a:lnTo>
                <a:lnTo>
                  <a:pt x="1506" y="1062"/>
                </a:lnTo>
                <a:lnTo>
                  <a:pt x="1518" y="1062"/>
                </a:lnTo>
                <a:lnTo>
                  <a:pt x="1524" y="1062"/>
                </a:lnTo>
                <a:lnTo>
                  <a:pt x="1530" y="1062"/>
                </a:lnTo>
                <a:lnTo>
                  <a:pt x="1536" y="1068"/>
                </a:lnTo>
                <a:lnTo>
                  <a:pt x="1536" y="1074"/>
                </a:lnTo>
                <a:lnTo>
                  <a:pt x="1542" y="1086"/>
                </a:lnTo>
                <a:lnTo>
                  <a:pt x="1548" y="1086"/>
                </a:lnTo>
                <a:lnTo>
                  <a:pt x="1554" y="1086"/>
                </a:lnTo>
                <a:lnTo>
                  <a:pt x="1566" y="1098"/>
                </a:lnTo>
                <a:lnTo>
                  <a:pt x="1572" y="1104"/>
                </a:lnTo>
                <a:lnTo>
                  <a:pt x="1566" y="1110"/>
                </a:lnTo>
                <a:lnTo>
                  <a:pt x="1572" y="1116"/>
                </a:lnTo>
                <a:lnTo>
                  <a:pt x="1578" y="1116"/>
                </a:lnTo>
                <a:lnTo>
                  <a:pt x="1578" y="1122"/>
                </a:lnTo>
                <a:lnTo>
                  <a:pt x="1584" y="1122"/>
                </a:lnTo>
                <a:lnTo>
                  <a:pt x="1584" y="1128"/>
                </a:lnTo>
                <a:lnTo>
                  <a:pt x="1584" y="1134"/>
                </a:lnTo>
                <a:lnTo>
                  <a:pt x="1590" y="1134"/>
                </a:lnTo>
                <a:lnTo>
                  <a:pt x="1596" y="1140"/>
                </a:lnTo>
                <a:lnTo>
                  <a:pt x="1602" y="1146"/>
                </a:lnTo>
                <a:lnTo>
                  <a:pt x="1608" y="1146"/>
                </a:lnTo>
                <a:lnTo>
                  <a:pt x="1614" y="1146"/>
                </a:lnTo>
                <a:lnTo>
                  <a:pt x="1614" y="1152"/>
                </a:lnTo>
                <a:lnTo>
                  <a:pt x="1620" y="1152"/>
                </a:lnTo>
                <a:lnTo>
                  <a:pt x="1626" y="1164"/>
                </a:lnTo>
                <a:lnTo>
                  <a:pt x="1632" y="1170"/>
                </a:lnTo>
                <a:lnTo>
                  <a:pt x="1638" y="1176"/>
                </a:lnTo>
                <a:lnTo>
                  <a:pt x="1638" y="1182"/>
                </a:lnTo>
                <a:lnTo>
                  <a:pt x="1644" y="1194"/>
                </a:lnTo>
                <a:lnTo>
                  <a:pt x="1644" y="1200"/>
                </a:lnTo>
                <a:lnTo>
                  <a:pt x="1638" y="1200"/>
                </a:lnTo>
                <a:lnTo>
                  <a:pt x="1638" y="1206"/>
                </a:lnTo>
                <a:lnTo>
                  <a:pt x="1638" y="1212"/>
                </a:lnTo>
                <a:lnTo>
                  <a:pt x="1638" y="1218"/>
                </a:lnTo>
                <a:lnTo>
                  <a:pt x="1632" y="1242"/>
                </a:lnTo>
                <a:lnTo>
                  <a:pt x="1632" y="1266"/>
                </a:lnTo>
                <a:lnTo>
                  <a:pt x="1638" y="1284"/>
                </a:lnTo>
                <a:lnTo>
                  <a:pt x="1638" y="1296"/>
                </a:lnTo>
                <a:lnTo>
                  <a:pt x="1632" y="1296"/>
                </a:lnTo>
                <a:lnTo>
                  <a:pt x="1632" y="1302"/>
                </a:lnTo>
                <a:lnTo>
                  <a:pt x="1638" y="1314"/>
                </a:lnTo>
                <a:lnTo>
                  <a:pt x="1638" y="1320"/>
                </a:lnTo>
                <a:lnTo>
                  <a:pt x="1632" y="1320"/>
                </a:lnTo>
                <a:lnTo>
                  <a:pt x="1632" y="1326"/>
                </a:lnTo>
                <a:lnTo>
                  <a:pt x="1644" y="1332"/>
                </a:lnTo>
                <a:lnTo>
                  <a:pt x="1644" y="1338"/>
                </a:lnTo>
                <a:lnTo>
                  <a:pt x="1650" y="1344"/>
                </a:lnTo>
                <a:lnTo>
                  <a:pt x="1668" y="1362"/>
                </a:lnTo>
                <a:lnTo>
                  <a:pt x="1668" y="1368"/>
                </a:lnTo>
                <a:lnTo>
                  <a:pt x="1674" y="1392"/>
                </a:lnTo>
                <a:lnTo>
                  <a:pt x="1686" y="140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32" name="Freeform 18"/>
          <p:cNvSpPr>
            <a:spLocks/>
          </p:cNvSpPr>
          <p:nvPr/>
        </p:nvSpPr>
        <p:spPr bwMode="gray">
          <a:xfrm>
            <a:off x="3860800" y="4470400"/>
            <a:ext cx="1201738" cy="869950"/>
          </a:xfrm>
          <a:custGeom>
            <a:avLst/>
            <a:gdLst>
              <a:gd name="T0" fmla="*/ 89944 w 1536"/>
              <a:gd name="T1" fmla="*/ 71663 h 1080"/>
              <a:gd name="T2" fmla="*/ 88380 w 1536"/>
              <a:gd name="T3" fmla="*/ 74078 h 1080"/>
              <a:gd name="T4" fmla="*/ 83687 w 1536"/>
              <a:gd name="T5" fmla="*/ 74884 h 1080"/>
              <a:gd name="T6" fmla="*/ 84469 w 1536"/>
              <a:gd name="T7" fmla="*/ 72468 h 1080"/>
              <a:gd name="T8" fmla="*/ 82123 w 1536"/>
              <a:gd name="T9" fmla="*/ 70052 h 1080"/>
              <a:gd name="T10" fmla="*/ 79776 w 1536"/>
              <a:gd name="T11" fmla="*/ 68442 h 1080"/>
              <a:gd name="T12" fmla="*/ 69609 w 1536"/>
              <a:gd name="T13" fmla="*/ 64416 h 1080"/>
              <a:gd name="T14" fmla="*/ 66480 w 1536"/>
              <a:gd name="T15" fmla="*/ 66026 h 1080"/>
              <a:gd name="T16" fmla="*/ 64134 w 1536"/>
              <a:gd name="T17" fmla="*/ 64416 h 1080"/>
              <a:gd name="T18" fmla="*/ 62570 w 1536"/>
              <a:gd name="T19" fmla="*/ 60390 h 1080"/>
              <a:gd name="T20" fmla="*/ 58659 w 1536"/>
              <a:gd name="T21" fmla="*/ 57974 h 1080"/>
              <a:gd name="T22" fmla="*/ 47709 w 1536"/>
              <a:gd name="T23" fmla="*/ 56364 h 1080"/>
              <a:gd name="T24" fmla="*/ 48492 w 1536"/>
              <a:gd name="T25" fmla="*/ 57974 h 1080"/>
              <a:gd name="T26" fmla="*/ 45363 w 1536"/>
              <a:gd name="T27" fmla="*/ 60390 h 1080"/>
              <a:gd name="T28" fmla="*/ 38324 w 1536"/>
              <a:gd name="T29" fmla="*/ 61195 h 1080"/>
              <a:gd name="T30" fmla="*/ 32067 w 1536"/>
              <a:gd name="T31" fmla="*/ 63611 h 1080"/>
              <a:gd name="T32" fmla="*/ 32067 w 1536"/>
              <a:gd name="T33" fmla="*/ 62000 h 1080"/>
              <a:gd name="T34" fmla="*/ 30503 w 1536"/>
              <a:gd name="T35" fmla="*/ 59585 h 1080"/>
              <a:gd name="T36" fmla="*/ 21899 w 1536"/>
              <a:gd name="T37" fmla="*/ 62806 h 1080"/>
              <a:gd name="T38" fmla="*/ 14078 w 1536"/>
              <a:gd name="T39" fmla="*/ 68442 h 1080"/>
              <a:gd name="T40" fmla="*/ 14078 w 1536"/>
              <a:gd name="T41" fmla="*/ 62000 h 1080"/>
              <a:gd name="T42" fmla="*/ 14860 w 1536"/>
              <a:gd name="T43" fmla="*/ 55559 h 1080"/>
              <a:gd name="T44" fmla="*/ 12514 w 1536"/>
              <a:gd name="T45" fmla="*/ 55559 h 1080"/>
              <a:gd name="T46" fmla="*/ 8603 w 1536"/>
              <a:gd name="T47" fmla="*/ 55559 h 1080"/>
              <a:gd name="T48" fmla="*/ 3911 w 1536"/>
              <a:gd name="T49" fmla="*/ 54754 h 1080"/>
              <a:gd name="T50" fmla="*/ 782 w 1536"/>
              <a:gd name="T51" fmla="*/ 50728 h 1080"/>
              <a:gd name="T52" fmla="*/ 2346 w 1536"/>
              <a:gd name="T53" fmla="*/ 47507 h 1080"/>
              <a:gd name="T54" fmla="*/ 7039 w 1536"/>
              <a:gd name="T55" fmla="*/ 43481 h 1080"/>
              <a:gd name="T56" fmla="*/ 11732 w 1536"/>
              <a:gd name="T57" fmla="*/ 37844 h 1080"/>
              <a:gd name="T58" fmla="*/ 13296 w 1536"/>
              <a:gd name="T59" fmla="*/ 32208 h 1080"/>
              <a:gd name="T60" fmla="*/ 9385 w 1536"/>
              <a:gd name="T61" fmla="*/ 26572 h 1080"/>
              <a:gd name="T62" fmla="*/ 7821 w 1536"/>
              <a:gd name="T63" fmla="*/ 16909 h 1080"/>
              <a:gd name="T64" fmla="*/ 4693 w 1536"/>
              <a:gd name="T65" fmla="*/ 11273 h 1080"/>
              <a:gd name="T66" fmla="*/ 5475 w 1536"/>
              <a:gd name="T67" fmla="*/ 7247 h 1080"/>
              <a:gd name="T68" fmla="*/ 9385 w 1536"/>
              <a:gd name="T69" fmla="*/ 5636 h 1080"/>
              <a:gd name="T70" fmla="*/ 12514 w 1536"/>
              <a:gd name="T71" fmla="*/ 6442 h 1080"/>
              <a:gd name="T72" fmla="*/ 14860 w 1536"/>
              <a:gd name="T73" fmla="*/ 6442 h 1080"/>
              <a:gd name="T74" fmla="*/ 17207 w 1536"/>
              <a:gd name="T75" fmla="*/ 7247 h 1080"/>
              <a:gd name="T76" fmla="*/ 22682 w 1536"/>
              <a:gd name="T77" fmla="*/ 9662 h 1080"/>
              <a:gd name="T78" fmla="*/ 25810 w 1536"/>
              <a:gd name="T79" fmla="*/ 10468 h 1080"/>
              <a:gd name="T80" fmla="*/ 29721 w 1536"/>
              <a:gd name="T81" fmla="*/ 12078 h 1080"/>
              <a:gd name="T82" fmla="*/ 32849 w 1536"/>
              <a:gd name="T83" fmla="*/ 13688 h 1080"/>
              <a:gd name="T84" fmla="*/ 36760 w 1536"/>
              <a:gd name="T85" fmla="*/ 15299 h 1080"/>
              <a:gd name="T86" fmla="*/ 39888 w 1536"/>
              <a:gd name="T87" fmla="*/ 16909 h 1080"/>
              <a:gd name="T88" fmla="*/ 39106 w 1536"/>
              <a:gd name="T89" fmla="*/ 12078 h 1080"/>
              <a:gd name="T90" fmla="*/ 43799 w 1536"/>
              <a:gd name="T91" fmla="*/ 0 h 1080"/>
              <a:gd name="T92" fmla="*/ 57877 w 1536"/>
              <a:gd name="T93" fmla="*/ 4026 h 1080"/>
              <a:gd name="T94" fmla="*/ 68045 w 1536"/>
              <a:gd name="T95" fmla="*/ 4831 h 1080"/>
              <a:gd name="T96" fmla="*/ 71955 w 1536"/>
              <a:gd name="T97" fmla="*/ 8857 h 1080"/>
              <a:gd name="T98" fmla="*/ 74302 w 1536"/>
              <a:gd name="T99" fmla="*/ 12078 h 1080"/>
              <a:gd name="T100" fmla="*/ 72737 w 1536"/>
              <a:gd name="T101" fmla="*/ 16104 h 1080"/>
              <a:gd name="T102" fmla="*/ 84469 w 1536"/>
              <a:gd name="T103" fmla="*/ 14494 h 1080"/>
              <a:gd name="T104" fmla="*/ 93855 w 1536"/>
              <a:gd name="T105" fmla="*/ 16909 h 1080"/>
              <a:gd name="T106" fmla="*/ 99329 w 1536"/>
              <a:gd name="T107" fmla="*/ 23351 h 1080"/>
              <a:gd name="T108" fmla="*/ 101676 w 1536"/>
              <a:gd name="T109" fmla="*/ 24156 h 1080"/>
              <a:gd name="T110" fmla="*/ 101676 w 1536"/>
              <a:gd name="T111" fmla="*/ 39455 h 1080"/>
              <a:gd name="T112" fmla="*/ 93855 w 1536"/>
              <a:gd name="T113" fmla="*/ 55559 h 1080"/>
              <a:gd name="T114" fmla="*/ 93072 w 1536"/>
              <a:gd name="T115" fmla="*/ 59585 h 1080"/>
              <a:gd name="T116" fmla="*/ 92290 w 1536"/>
              <a:gd name="T117" fmla="*/ 64416 h 10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36"/>
              <a:gd name="T178" fmla="*/ 0 h 1080"/>
              <a:gd name="T179" fmla="*/ 1536 w 1536"/>
              <a:gd name="T180" fmla="*/ 1080 h 10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36" h="1080">
                <a:moveTo>
                  <a:pt x="1350" y="1020"/>
                </a:moveTo>
                <a:lnTo>
                  <a:pt x="1350" y="1026"/>
                </a:lnTo>
                <a:lnTo>
                  <a:pt x="1344" y="1026"/>
                </a:lnTo>
                <a:lnTo>
                  <a:pt x="1338" y="1032"/>
                </a:lnTo>
                <a:lnTo>
                  <a:pt x="1332" y="1026"/>
                </a:lnTo>
                <a:lnTo>
                  <a:pt x="1326" y="1026"/>
                </a:lnTo>
                <a:lnTo>
                  <a:pt x="1320" y="1020"/>
                </a:lnTo>
                <a:lnTo>
                  <a:pt x="1314" y="1026"/>
                </a:lnTo>
                <a:lnTo>
                  <a:pt x="1314" y="1032"/>
                </a:lnTo>
                <a:lnTo>
                  <a:pt x="1308" y="1038"/>
                </a:lnTo>
                <a:lnTo>
                  <a:pt x="1308" y="1044"/>
                </a:lnTo>
                <a:lnTo>
                  <a:pt x="1308" y="1050"/>
                </a:lnTo>
                <a:lnTo>
                  <a:pt x="1308" y="1056"/>
                </a:lnTo>
                <a:lnTo>
                  <a:pt x="1308" y="1062"/>
                </a:lnTo>
                <a:lnTo>
                  <a:pt x="1296" y="1068"/>
                </a:lnTo>
                <a:lnTo>
                  <a:pt x="1284" y="1074"/>
                </a:lnTo>
                <a:lnTo>
                  <a:pt x="1272" y="1080"/>
                </a:lnTo>
                <a:lnTo>
                  <a:pt x="1260" y="1080"/>
                </a:lnTo>
                <a:lnTo>
                  <a:pt x="1254" y="1074"/>
                </a:lnTo>
                <a:lnTo>
                  <a:pt x="1236" y="1074"/>
                </a:lnTo>
                <a:lnTo>
                  <a:pt x="1230" y="1074"/>
                </a:lnTo>
                <a:lnTo>
                  <a:pt x="1236" y="1074"/>
                </a:lnTo>
                <a:lnTo>
                  <a:pt x="1236" y="1068"/>
                </a:lnTo>
                <a:lnTo>
                  <a:pt x="1236" y="1062"/>
                </a:lnTo>
                <a:lnTo>
                  <a:pt x="1236" y="1056"/>
                </a:lnTo>
                <a:lnTo>
                  <a:pt x="1242" y="1050"/>
                </a:lnTo>
                <a:lnTo>
                  <a:pt x="1242" y="1044"/>
                </a:lnTo>
                <a:lnTo>
                  <a:pt x="1242" y="1038"/>
                </a:lnTo>
                <a:lnTo>
                  <a:pt x="1248" y="1032"/>
                </a:lnTo>
                <a:lnTo>
                  <a:pt x="1236" y="1026"/>
                </a:lnTo>
                <a:lnTo>
                  <a:pt x="1218" y="1020"/>
                </a:lnTo>
                <a:lnTo>
                  <a:pt x="1224" y="1014"/>
                </a:lnTo>
                <a:lnTo>
                  <a:pt x="1218" y="1008"/>
                </a:lnTo>
                <a:lnTo>
                  <a:pt x="1218" y="1002"/>
                </a:lnTo>
                <a:lnTo>
                  <a:pt x="1212" y="1008"/>
                </a:lnTo>
                <a:lnTo>
                  <a:pt x="1206" y="1002"/>
                </a:lnTo>
                <a:lnTo>
                  <a:pt x="1212" y="1002"/>
                </a:lnTo>
                <a:lnTo>
                  <a:pt x="1212" y="996"/>
                </a:lnTo>
                <a:lnTo>
                  <a:pt x="1200" y="990"/>
                </a:lnTo>
                <a:lnTo>
                  <a:pt x="1200" y="984"/>
                </a:lnTo>
                <a:lnTo>
                  <a:pt x="1188" y="984"/>
                </a:lnTo>
                <a:lnTo>
                  <a:pt x="1176" y="978"/>
                </a:lnTo>
                <a:lnTo>
                  <a:pt x="1164" y="960"/>
                </a:lnTo>
                <a:lnTo>
                  <a:pt x="1152" y="936"/>
                </a:lnTo>
                <a:lnTo>
                  <a:pt x="1146" y="936"/>
                </a:lnTo>
                <a:lnTo>
                  <a:pt x="1128" y="900"/>
                </a:lnTo>
                <a:lnTo>
                  <a:pt x="1038" y="912"/>
                </a:lnTo>
                <a:lnTo>
                  <a:pt x="1038" y="918"/>
                </a:lnTo>
                <a:lnTo>
                  <a:pt x="1032" y="924"/>
                </a:lnTo>
                <a:lnTo>
                  <a:pt x="1026" y="918"/>
                </a:lnTo>
                <a:lnTo>
                  <a:pt x="1020" y="924"/>
                </a:lnTo>
                <a:lnTo>
                  <a:pt x="1008" y="936"/>
                </a:lnTo>
                <a:lnTo>
                  <a:pt x="990" y="936"/>
                </a:lnTo>
                <a:lnTo>
                  <a:pt x="990" y="942"/>
                </a:lnTo>
                <a:lnTo>
                  <a:pt x="996" y="942"/>
                </a:lnTo>
                <a:lnTo>
                  <a:pt x="984" y="948"/>
                </a:lnTo>
                <a:lnTo>
                  <a:pt x="972" y="948"/>
                </a:lnTo>
                <a:lnTo>
                  <a:pt x="960" y="948"/>
                </a:lnTo>
                <a:lnTo>
                  <a:pt x="948" y="942"/>
                </a:lnTo>
                <a:lnTo>
                  <a:pt x="948" y="936"/>
                </a:lnTo>
                <a:lnTo>
                  <a:pt x="942" y="936"/>
                </a:lnTo>
                <a:lnTo>
                  <a:pt x="942" y="930"/>
                </a:lnTo>
                <a:lnTo>
                  <a:pt x="942" y="924"/>
                </a:lnTo>
                <a:lnTo>
                  <a:pt x="930" y="924"/>
                </a:lnTo>
                <a:lnTo>
                  <a:pt x="936" y="918"/>
                </a:lnTo>
                <a:lnTo>
                  <a:pt x="918" y="918"/>
                </a:lnTo>
                <a:lnTo>
                  <a:pt x="918" y="900"/>
                </a:lnTo>
                <a:lnTo>
                  <a:pt x="924" y="900"/>
                </a:lnTo>
                <a:lnTo>
                  <a:pt x="924" y="894"/>
                </a:lnTo>
                <a:lnTo>
                  <a:pt x="924" y="870"/>
                </a:lnTo>
                <a:lnTo>
                  <a:pt x="924" y="864"/>
                </a:lnTo>
                <a:lnTo>
                  <a:pt x="918" y="858"/>
                </a:lnTo>
                <a:lnTo>
                  <a:pt x="918" y="852"/>
                </a:lnTo>
                <a:lnTo>
                  <a:pt x="906" y="840"/>
                </a:lnTo>
                <a:lnTo>
                  <a:pt x="894" y="834"/>
                </a:lnTo>
                <a:lnTo>
                  <a:pt x="876" y="822"/>
                </a:lnTo>
                <a:lnTo>
                  <a:pt x="870" y="828"/>
                </a:lnTo>
                <a:lnTo>
                  <a:pt x="858" y="816"/>
                </a:lnTo>
                <a:lnTo>
                  <a:pt x="810" y="798"/>
                </a:lnTo>
                <a:lnTo>
                  <a:pt x="774" y="792"/>
                </a:lnTo>
                <a:lnTo>
                  <a:pt x="732" y="798"/>
                </a:lnTo>
                <a:lnTo>
                  <a:pt x="726" y="804"/>
                </a:lnTo>
                <a:lnTo>
                  <a:pt x="714" y="810"/>
                </a:lnTo>
                <a:lnTo>
                  <a:pt x="702" y="810"/>
                </a:lnTo>
                <a:lnTo>
                  <a:pt x="690" y="810"/>
                </a:lnTo>
                <a:lnTo>
                  <a:pt x="696" y="816"/>
                </a:lnTo>
                <a:lnTo>
                  <a:pt x="696" y="822"/>
                </a:lnTo>
                <a:lnTo>
                  <a:pt x="702" y="822"/>
                </a:lnTo>
                <a:lnTo>
                  <a:pt x="708" y="822"/>
                </a:lnTo>
                <a:lnTo>
                  <a:pt x="708" y="828"/>
                </a:lnTo>
                <a:lnTo>
                  <a:pt x="708" y="834"/>
                </a:lnTo>
                <a:lnTo>
                  <a:pt x="714" y="834"/>
                </a:lnTo>
                <a:lnTo>
                  <a:pt x="708" y="846"/>
                </a:lnTo>
                <a:lnTo>
                  <a:pt x="708" y="852"/>
                </a:lnTo>
                <a:lnTo>
                  <a:pt x="702" y="852"/>
                </a:lnTo>
                <a:lnTo>
                  <a:pt x="696" y="858"/>
                </a:lnTo>
                <a:lnTo>
                  <a:pt x="690" y="864"/>
                </a:lnTo>
                <a:lnTo>
                  <a:pt x="666" y="870"/>
                </a:lnTo>
                <a:lnTo>
                  <a:pt x="660" y="876"/>
                </a:lnTo>
                <a:lnTo>
                  <a:pt x="642" y="876"/>
                </a:lnTo>
                <a:lnTo>
                  <a:pt x="606" y="882"/>
                </a:lnTo>
                <a:lnTo>
                  <a:pt x="588" y="882"/>
                </a:lnTo>
                <a:lnTo>
                  <a:pt x="582" y="876"/>
                </a:lnTo>
                <a:lnTo>
                  <a:pt x="576" y="876"/>
                </a:lnTo>
                <a:lnTo>
                  <a:pt x="564" y="876"/>
                </a:lnTo>
                <a:lnTo>
                  <a:pt x="552" y="882"/>
                </a:lnTo>
                <a:lnTo>
                  <a:pt x="540" y="894"/>
                </a:lnTo>
                <a:lnTo>
                  <a:pt x="534" y="906"/>
                </a:lnTo>
                <a:lnTo>
                  <a:pt x="528" y="912"/>
                </a:lnTo>
                <a:lnTo>
                  <a:pt x="516" y="924"/>
                </a:lnTo>
                <a:lnTo>
                  <a:pt x="486" y="930"/>
                </a:lnTo>
                <a:lnTo>
                  <a:pt x="474" y="912"/>
                </a:lnTo>
                <a:lnTo>
                  <a:pt x="474" y="906"/>
                </a:lnTo>
                <a:lnTo>
                  <a:pt x="468" y="906"/>
                </a:lnTo>
                <a:lnTo>
                  <a:pt x="468" y="900"/>
                </a:lnTo>
                <a:lnTo>
                  <a:pt x="462" y="894"/>
                </a:lnTo>
                <a:lnTo>
                  <a:pt x="456" y="894"/>
                </a:lnTo>
                <a:lnTo>
                  <a:pt x="462" y="888"/>
                </a:lnTo>
                <a:lnTo>
                  <a:pt x="468" y="888"/>
                </a:lnTo>
                <a:lnTo>
                  <a:pt x="462" y="882"/>
                </a:lnTo>
                <a:lnTo>
                  <a:pt x="462" y="876"/>
                </a:lnTo>
                <a:lnTo>
                  <a:pt x="456" y="870"/>
                </a:lnTo>
                <a:lnTo>
                  <a:pt x="456" y="864"/>
                </a:lnTo>
                <a:lnTo>
                  <a:pt x="450" y="858"/>
                </a:lnTo>
                <a:lnTo>
                  <a:pt x="444" y="858"/>
                </a:lnTo>
                <a:lnTo>
                  <a:pt x="444" y="852"/>
                </a:lnTo>
                <a:lnTo>
                  <a:pt x="438" y="852"/>
                </a:lnTo>
                <a:lnTo>
                  <a:pt x="438" y="858"/>
                </a:lnTo>
                <a:lnTo>
                  <a:pt x="402" y="870"/>
                </a:lnTo>
                <a:lnTo>
                  <a:pt x="390" y="882"/>
                </a:lnTo>
                <a:lnTo>
                  <a:pt x="384" y="900"/>
                </a:lnTo>
                <a:lnTo>
                  <a:pt x="342" y="900"/>
                </a:lnTo>
                <a:lnTo>
                  <a:pt x="324" y="900"/>
                </a:lnTo>
                <a:lnTo>
                  <a:pt x="294" y="906"/>
                </a:lnTo>
                <a:lnTo>
                  <a:pt x="282" y="948"/>
                </a:lnTo>
                <a:lnTo>
                  <a:pt x="282" y="978"/>
                </a:lnTo>
                <a:lnTo>
                  <a:pt x="270" y="1008"/>
                </a:lnTo>
                <a:lnTo>
                  <a:pt x="240" y="1014"/>
                </a:lnTo>
                <a:lnTo>
                  <a:pt x="216" y="996"/>
                </a:lnTo>
                <a:lnTo>
                  <a:pt x="204" y="984"/>
                </a:lnTo>
                <a:lnTo>
                  <a:pt x="192" y="966"/>
                </a:lnTo>
                <a:lnTo>
                  <a:pt x="186" y="948"/>
                </a:lnTo>
                <a:lnTo>
                  <a:pt x="174" y="948"/>
                </a:lnTo>
                <a:lnTo>
                  <a:pt x="174" y="936"/>
                </a:lnTo>
                <a:lnTo>
                  <a:pt x="186" y="924"/>
                </a:lnTo>
                <a:lnTo>
                  <a:pt x="198" y="906"/>
                </a:lnTo>
                <a:lnTo>
                  <a:pt x="204" y="888"/>
                </a:lnTo>
                <a:lnTo>
                  <a:pt x="222" y="870"/>
                </a:lnTo>
                <a:lnTo>
                  <a:pt x="234" y="858"/>
                </a:lnTo>
                <a:lnTo>
                  <a:pt x="234" y="852"/>
                </a:lnTo>
                <a:lnTo>
                  <a:pt x="222" y="852"/>
                </a:lnTo>
                <a:lnTo>
                  <a:pt x="228" y="810"/>
                </a:lnTo>
                <a:lnTo>
                  <a:pt x="222" y="798"/>
                </a:lnTo>
                <a:lnTo>
                  <a:pt x="216" y="798"/>
                </a:lnTo>
                <a:lnTo>
                  <a:pt x="216" y="792"/>
                </a:lnTo>
                <a:lnTo>
                  <a:pt x="210" y="792"/>
                </a:lnTo>
                <a:lnTo>
                  <a:pt x="204" y="798"/>
                </a:lnTo>
                <a:lnTo>
                  <a:pt x="204" y="792"/>
                </a:lnTo>
                <a:lnTo>
                  <a:pt x="198" y="792"/>
                </a:lnTo>
                <a:lnTo>
                  <a:pt x="192" y="792"/>
                </a:lnTo>
                <a:lnTo>
                  <a:pt x="186" y="792"/>
                </a:lnTo>
                <a:lnTo>
                  <a:pt x="180" y="786"/>
                </a:lnTo>
                <a:lnTo>
                  <a:pt x="174" y="792"/>
                </a:lnTo>
                <a:lnTo>
                  <a:pt x="162" y="792"/>
                </a:lnTo>
                <a:lnTo>
                  <a:pt x="156" y="792"/>
                </a:lnTo>
                <a:lnTo>
                  <a:pt x="156" y="798"/>
                </a:lnTo>
                <a:lnTo>
                  <a:pt x="138" y="792"/>
                </a:lnTo>
                <a:lnTo>
                  <a:pt x="126" y="792"/>
                </a:lnTo>
                <a:lnTo>
                  <a:pt x="126" y="798"/>
                </a:lnTo>
                <a:lnTo>
                  <a:pt x="126" y="804"/>
                </a:lnTo>
                <a:lnTo>
                  <a:pt x="102" y="810"/>
                </a:lnTo>
                <a:lnTo>
                  <a:pt x="90" y="810"/>
                </a:lnTo>
                <a:lnTo>
                  <a:pt x="72" y="798"/>
                </a:lnTo>
                <a:lnTo>
                  <a:pt x="66" y="780"/>
                </a:lnTo>
                <a:lnTo>
                  <a:pt x="60" y="780"/>
                </a:lnTo>
                <a:lnTo>
                  <a:pt x="60" y="768"/>
                </a:lnTo>
                <a:lnTo>
                  <a:pt x="54" y="768"/>
                </a:lnTo>
                <a:lnTo>
                  <a:pt x="24" y="756"/>
                </a:lnTo>
                <a:lnTo>
                  <a:pt x="18" y="744"/>
                </a:lnTo>
                <a:lnTo>
                  <a:pt x="12" y="738"/>
                </a:lnTo>
                <a:lnTo>
                  <a:pt x="18" y="732"/>
                </a:lnTo>
                <a:lnTo>
                  <a:pt x="12" y="726"/>
                </a:lnTo>
                <a:lnTo>
                  <a:pt x="6" y="714"/>
                </a:lnTo>
                <a:lnTo>
                  <a:pt x="0" y="702"/>
                </a:lnTo>
                <a:lnTo>
                  <a:pt x="0" y="696"/>
                </a:lnTo>
                <a:lnTo>
                  <a:pt x="18" y="696"/>
                </a:lnTo>
                <a:lnTo>
                  <a:pt x="24" y="708"/>
                </a:lnTo>
                <a:lnTo>
                  <a:pt x="36" y="702"/>
                </a:lnTo>
                <a:lnTo>
                  <a:pt x="36" y="678"/>
                </a:lnTo>
                <a:lnTo>
                  <a:pt x="36" y="660"/>
                </a:lnTo>
                <a:lnTo>
                  <a:pt x="42" y="654"/>
                </a:lnTo>
                <a:lnTo>
                  <a:pt x="48" y="642"/>
                </a:lnTo>
                <a:lnTo>
                  <a:pt x="54" y="642"/>
                </a:lnTo>
                <a:lnTo>
                  <a:pt x="72" y="624"/>
                </a:lnTo>
                <a:lnTo>
                  <a:pt x="90" y="618"/>
                </a:lnTo>
                <a:lnTo>
                  <a:pt x="102" y="618"/>
                </a:lnTo>
                <a:lnTo>
                  <a:pt x="114" y="612"/>
                </a:lnTo>
                <a:lnTo>
                  <a:pt x="138" y="606"/>
                </a:lnTo>
                <a:lnTo>
                  <a:pt x="144" y="606"/>
                </a:lnTo>
                <a:lnTo>
                  <a:pt x="150" y="594"/>
                </a:lnTo>
                <a:lnTo>
                  <a:pt x="156" y="576"/>
                </a:lnTo>
                <a:lnTo>
                  <a:pt x="168" y="552"/>
                </a:lnTo>
                <a:lnTo>
                  <a:pt x="168" y="540"/>
                </a:lnTo>
                <a:lnTo>
                  <a:pt x="180" y="522"/>
                </a:lnTo>
                <a:lnTo>
                  <a:pt x="186" y="498"/>
                </a:lnTo>
                <a:lnTo>
                  <a:pt x="198" y="480"/>
                </a:lnTo>
                <a:lnTo>
                  <a:pt x="204" y="486"/>
                </a:lnTo>
                <a:lnTo>
                  <a:pt x="210" y="480"/>
                </a:lnTo>
                <a:lnTo>
                  <a:pt x="204" y="474"/>
                </a:lnTo>
                <a:lnTo>
                  <a:pt x="198" y="462"/>
                </a:lnTo>
                <a:lnTo>
                  <a:pt x="192" y="456"/>
                </a:lnTo>
                <a:lnTo>
                  <a:pt x="150" y="462"/>
                </a:lnTo>
                <a:lnTo>
                  <a:pt x="144" y="462"/>
                </a:lnTo>
                <a:lnTo>
                  <a:pt x="138" y="450"/>
                </a:lnTo>
                <a:lnTo>
                  <a:pt x="132" y="426"/>
                </a:lnTo>
                <a:lnTo>
                  <a:pt x="132" y="396"/>
                </a:lnTo>
                <a:lnTo>
                  <a:pt x="132" y="378"/>
                </a:lnTo>
                <a:lnTo>
                  <a:pt x="126" y="348"/>
                </a:lnTo>
                <a:lnTo>
                  <a:pt x="132" y="312"/>
                </a:lnTo>
                <a:lnTo>
                  <a:pt x="126" y="288"/>
                </a:lnTo>
                <a:lnTo>
                  <a:pt x="138" y="282"/>
                </a:lnTo>
                <a:lnTo>
                  <a:pt x="126" y="264"/>
                </a:lnTo>
                <a:lnTo>
                  <a:pt x="126" y="258"/>
                </a:lnTo>
                <a:lnTo>
                  <a:pt x="120" y="246"/>
                </a:lnTo>
                <a:lnTo>
                  <a:pt x="126" y="234"/>
                </a:lnTo>
                <a:lnTo>
                  <a:pt x="114" y="228"/>
                </a:lnTo>
                <a:lnTo>
                  <a:pt x="114" y="222"/>
                </a:lnTo>
                <a:lnTo>
                  <a:pt x="96" y="204"/>
                </a:lnTo>
                <a:lnTo>
                  <a:pt x="84" y="180"/>
                </a:lnTo>
                <a:lnTo>
                  <a:pt x="78" y="168"/>
                </a:lnTo>
                <a:lnTo>
                  <a:pt x="72" y="162"/>
                </a:lnTo>
                <a:lnTo>
                  <a:pt x="66" y="144"/>
                </a:lnTo>
                <a:lnTo>
                  <a:pt x="60" y="138"/>
                </a:lnTo>
                <a:lnTo>
                  <a:pt x="66" y="126"/>
                </a:lnTo>
                <a:lnTo>
                  <a:pt x="66" y="114"/>
                </a:lnTo>
                <a:lnTo>
                  <a:pt x="72" y="114"/>
                </a:lnTo>
                <a:lnTo>
                  <a:pt x="72" y="108"/>
                </a:lnTo>
                <a:lnTo>
                  <a:pt x="78" y="102"/>
                </a:lnTo>
                <a:lnTo>
                  <a:pt x="78" y="90"/>
                </a:lnTo>
                <a:lnTo>
                  <a:pt x="78" y="84"/>
                </a:lnTo>
                <a:lnTo>
                  <a:pt x="84" y="72"/>
                </a:lnTo>
                <a:lnTo>
                  <a:pt x="102" y="72"/>
                </a:lnTo>
                <a:lnTo>
                  <a:pt x="108" y="72"/>
                </a:lnTo>
                <a:lnTo>
                  <a:pt x="120" y="78"/>
                </a:lnTo>
                <a:lnTo>
                  <a:pt x="144" y="84"/>
                </a:lnTo>
                <a:lnTo>
                  <a:pt x="150" y="84"/>
                </a:lnTo>
                <a:lnTo>
                  <a:pt x="156" y="84"/>
                </a:lnTo>
                <a:lnTo>
                  <a:pt x="156" y="90"/>
                </a:lnTo>
                <a:lnTo>
                  <a:pt x="162" y="90"/>
                </a:lnTo>
                <a:lnTo>
                  <a:pt x="174" y="96"/>
                </a:lnTo>
                <a:lnTo>
                  <a:pt x="180" y="96"/>
                </a:lnTo>
                <a:lnTo>
                  <a:pt x="186" y="96"/>
                </a:lnTo>
                <a:lnTo>
                  <a:pt x="192" y="102"/>
                </a:lnTo>
                <a:lnTo>
                  <a:pt x="198" y="96"/>
                </a:lnTo>
                <a:lnTo>
                  <a:pt x="204" y="96"/>
                </a:lnTo>
                <a:lnTo>
                  <a:pt x="204" y="102"/>
                </a:lnTo>
                <a:lnTo>
                  <a:pt x="210" y="102"/>
                </a:lnTo>
                <a:lnTo>
                  <a:pt x="216" y="102"/>
                </a:lnTo>
                <a:lnTo>
                  <a:pt x="216" y="96"/>
                </a:lnTo>
                <a:lnTo>
                  <a:pt x="222" y="96"/>
                </a:lnTo>
                <a:lnTo>
                  <a:pt x="228" y="96"/>
                </a:lnTo>
                <a:lnTo>
                  <a:pt x="228" y="102"/>
                </a:lnTo>
                <a:lnTo>
                  <a:pt x="234" y="102"/>
                </a:lnTo>
                <a:lnTo>
                  <a:pt x="240" y="102"/>
                </a:lnTo>
                <a:lnTo>
                  <a:pt x="252" y="102"/>
                </a:lnTo>
                <a:lnTo>
                  <a:pt x="252" y="108"/>
                </a:lnTo>
                <a:lnTo>
                  <a:pt x="264" y="108"/>
                </a:lnTo>
                <a:lnTo>
                  <a:pt x="270" y="108"/>
                </a:lnTo>
                <a:lnTo>
                  <a:pt x="276" y="108"/>
                </a:lnTo>
                <a:lnTo>
                  <a:pt x="294" y="114"/>
                </a:lnTo>
                <a:lnTo>
                  <a:pt x="312" y="120"/>
                </a:lnTo>
                <a:lnTo>
                  <a:pt x="318" y="126"/>
                </a:lnTo>
                <a:lnTo>
                  <a:pt x="330" y="132"/>
                </a:lnTo>
                <a:lnTo>
                  <a:pt x="342" y="132"/>
                </a:lnTo>
                <a:lnTo>
                  <a:pt x="348" y="132"/>
                </a:lnTo>
                <a:lnTo>
                  <a:pt x="354" y="138"/>
                </a:lnTo>
                <a:lnTo>
                  <a:pt x="366" y="138"/>
                </a:lnTo>
                <a:lnTo>
                  <a:pt x="372" y="144"/>
                </a:lnTo>
                <a:lnTo>
                  <a:pt x="378" y="150"/>
                </a:lnTo>
                <a:lnTo>
                  <a:pt x="384" y="150"/>
                </a:lnTo>
                <a:lnTo>
                  <a:pt x="390" y="150"/>
                </a:lnTo>
                <a:lnTo>
                  <a:pt x="396" y="150"/>
                </a:lnTo>
                <a:lnTo>
                  <a:pt x="402" y="150"/>
                </a:lnTo>
                <a:lnTo>
                  <a:pt x="414" y="156"/>
                </a:lnTo>
                <a:lnTo>
                  <a:pt x="420" y="156"/>
                </a:lnTo>
                <a:lnTo>
                  <a:pt x="426" y="162"/>
                </a:lnTo>
                <a:lnTo>
                  <a:pt x="438" y="168"/>
                </a:lnTo>
                <a:lnTo>
                  <a:pt x="444" y="174"/>
                </a:lnTo>
                <a:lnTo>
                  <a:pt x="450" y="174"/>
                </a:lnTo>
                <a:lnTo>
                  <a:pt x="462" y="174"/>
                </a:lnTo>
                <a:lnTo>
                  <a:pt x="468" y="174"/>
                </a:lnTo>
                <a:lnTo>
                  <a:pt x="474" y="174"/>
                </a:lnTo>
                <a:lnTo>
                  <a:pt x="474" y="180"/>
                </a:lnTo>
                <a:lnTo>
                  <a:pt x="480" y="192"/>
                </a:lnTo>
                <a:lnTo>
                  <a:pt x="498" y="198"/>
                </a:lnTo>
                <a:lnTo>
                  <a:pt x="510" y="210"/>
                </a:lnTo>
                <a:lnTo>
                  <a:pt x="516" y="210"/>
                </a:lnTo>
                <a:lnTo>
                  <a:pt x="522" y="210"/>
                </a:lnTo>
                <a:lnTo>
                  <a:pt x="534" y="216"/>
                </a:lnTo>
                <a:lnTo>
                  <a:pt x="540" y="216"/>
                </a:lnTo>
                <a:lnTo>
                  <a:pt x="546" y="222"/>
                </a:lnTo>
                <a:lnTo>
                  <a:pt x="552" y="222"/>
                </a:lnTo>
                <a:lnTo>
                  <a:pt x="558" y="228"/>
                </a:lnTo>
                <a:lnTo>
                  <a:pt x="564" y="228"/>
                </a:lnTo>
                <a:lnTo>
                  <a:pt x="570" y="234"/>
                </a:lnTo>
                <a:lnTo>
                  <a:pt x="576" y="240"/>
                </a:lnTo>
                <a:lnTo>
                  <a:pt x="582" y="240"/>
                </a:lnTo>
                <a:lnTo>
                  <a:pt x="588" y="240"/>
                </a:lnTo>
                <a:lnTo>
                  <a:pt x="594" y="240"/>
                </a:lnTo>
                <a:lnTo>
                  <a:pt x="600" y="228"/>
                </a:lnTo>
                <a:lnTo>
                  <a:pt x="588" y="216"/>
                </a:lnTo>
                <a:lnTo>
                  <a:pt x="588" y="198"/>
                </a:lnTo>
                <a:lnTo>
                  <a:pt x="582" y="198"/>
                </a:lnTo>
                <a:lnTo>
                  <a:pt x="588" y="192"/>
                </a:lnTo>
                <a:lnTo>
                  <a:pt x="582" y="168"/>
                </a:lnTo>
                <a:lnTo>
                  <a:pt x="558" y="114"/>
                </a:lnTo>
                <a:lnTo>
                  <a:pt x="552" y="90"/>
                </a:lnTo>
                <a:lnTo>
                  <a:pt x="558" y="60"/>
                </a:lnTo>
                <a:lnTo>
                  <a:pt x="564" y="48"/>
                </a:lnTo>
                <a:lnTo>
                  <a:pt x="582" y="42"/>
                </a:lnTo>
                <a:lnTo>
                  <a:pt x="624" y="6"/>
                </a:lnTo>
                <a:lnTo>
                  <a:pt x="648" y="0"/>
                </a:lnTo>
                <a:lnTo>
                  <a:pt x="678" y="0"/>
                </a:lnTo>
                <a:lnTo>
                  <a:pt x="720" y="12"/>
                </a:lnTo>
                <a:lnTo>
                  <a:pt x="744" y="24"/>
                </a:lnTo>
                <a:lnTo>
                  <a:pt x="768" y="42"/>
                </a:lnTo>
                <a:lnTo>
                  <a:pt x="816" y="48"/>
                </a:lnTo>
                <a:lnTo>
                  <a:pt x="834" y="48"/>
                </a:lnTo>
                <a:lnTo>
                  <a:pt x="852" y="54"/>
                </a:lnTo>
                <a:lnTo>
                  <a:pt x="906" y="60"/>
                </a:lnTo>
                <a:lnTo>
                  <a:pt x="948" y="54"/>
                </a:lnTo>
                <a:lnTo>
                  <a:pt x="978" y="42"/>
                </a:lnTo>
                <a:lnTo>
                  <a:pt x="984" y="48"/>
                </a:lnTo>
                <a:lnTo>
                  <a:pt x="990" y="60"/>
                </a:lnTo>
                <a:lnTo>
                  <a:pt x="996" y="66"/>
                </a:lnTo>
                <a:lnTo>
                  <a:pt x="1002" y="72"/>
                </a:lnTo>
                <a:lnTo>
                  <a:pt x="1014" y="78"/>
                </a:lnTo>
                <a:lnTo>
                  <a:pt x="1014" y="84"/>
                </a:lnTo>
                <a:lnTo>
                  <a:pt x="1032" y="84"/>
                </a:lnTo>
                <a:lnTo>
                  <a:pt x="1032" y="90"/>
                </a:lnTo>
                <a:lnTo>
                  <a:pt x="1032" y="96"/>
                </a:lnTo>
                <a:lnTo>
                  <a:pt x="1032" y="108"/>
                </a:lnTo>
                <a:lnTo>
                  <a:pt x="1056" y="126"/>
                </a:lnTo>
                <a:lnTo>
                  <a:pt x="1068" y="138"/>
                </a:lnTo>
                <a:lnTo>
                  <a:pt x="1068" y="156"/>
                </a:lnTo>
                <a:lnTo>
                  <a:pt x="1080" y="150"/>
                </a:lnTo>
                <a:lnTo>
                  <a:pt x="1086" y="150"/>
                </a:lnTo>
                <a:lnTo>
                  <a:pt x="1092" y="156"/>
                </a:lnTo>
                <a:lnTo>
                  <a:pt x="1092" y="162"/>
                </a:lnTo>
                <a:lnTo>
                  <a:pt x="1092" y="168"/>
                </a:lnTo>
                <a:lnTo>
                  <a:pt x="1098" y="168"/>
                </a:lnTo>
                <a:lnTo>
                  <a:pt x="1092" y="180"/>
                </a:lnTo>
                <a:lnTo>
                  <a:pt x="1092" y="186"/>
                </a:lnTo>
                <a:lnTo>
                  <a:pt x="1086" y="192"/>
                </a:lnTo>
                <a:lnTo>
                  <a:pt x="1068" y="210"/>
                </a:lnTo>
                <a:lnTo>
                  <a:pt x="1068" y="216"/>
                </a:lnTo>
                <a:lnTo>
                  <a:pt x="1074" y="228"/>
                </a:lnTo>
                <a:lnTo>
                  <a:pt x="1092" y="234"/>
                </a:lnTo>
                <a:lnTo>
                  <a:pt x="1122" y="216"/>
                </a:lnTo>
                <a:lnTo>
                  <a:pt x="1188" y="204"/>
                </a:lnTo>
                <a:lnTo>
                  <a:pt x="1212" y="204"/>
                </a:lnTo>
                <a:lnTo>
                  <a:pt x="1230" y="198"/>
                </a:lnTo>
                <a:lnTo>
                  <a:pt x="1236" y="204"/>
                </a:lnTo>
                <a:lnTo>
                  <a:pt x="1242" y="210"/>
                </a:lnTo>
                <a:lnTo>
                  <a:pt x="1242" y="204"/>
                </a:lnTo>
                <a:lnTo>
                  <a:pt x="1248" y="198"/>
                </a:lnTo>
                <a:lnTo>
                  <a:pt x="1308" y="204"/>
                </a:lnTo>
                <a:lnTo>
                  <a:pt x="1338" y="204"/>
                </a:lnTo>
                <a:lnTo>
                  <a:pt x="1374" y="228"/>
                </a:lnTo>
                <a:lnTo>
                  <a:pt x="1380" y="234"/>
                </a:lnTo>
                <a:lnTo>
                  <a:pt x="1380" y="240"/>
                </a:lnTo>
                <a:lnTo>
                  <a:pt x="1386" y="252"/>
                </a:lnTo>
                <a:lnTo>
                  <a:pt x="1392" y="252"/>
                </a:lnTo>
                <a:lnTo>
                  <a:pt x="1416" y="270"/>
                </a:lnTo>
                <a:lnTo>
                  <a:pt x="1428" y="294"/>
                </a:lnTo>
                <a:lnTo>
                  <a:pt x="1440" y="312"/>
                </a:lnTo>
                <a:lnTo>
                  <a:pt x="1452" y="330"/>
                </a:lnTo>
                <a:lnTo>
                  <a:pt x="1464" y="330"/>
                </a:lnTo>
                <a:lnTo>
                  <a:pt x="1464" y="336"/>
                </a:lnTo>
                <a:lnTo>
                  <a:pt x="1470" y="336"/>
                </a:lnTo>
                <a:lnTo>
                  <a:pt x="1470" y="342"/>
                </a:lnTo>
                <a:lnTo>
                  <a:pt x="1476" y="342"/>
                </a:lnTo>
                <a:lnTo>
                  <a:pt x="1488" y="336"/>
                </a:lnTo>
                <a:lnTo>
                  <a:pt x="1494" y="342"/>
                </a:lnTo>
                <a:lnTo>
                  <a:pt x="1500" y="342"/>
                </a:lnTo>
                <a:lnTo>
                  <a:pt x="1512" y="366"/>
                </a:lnTo>
                <a:lnTo>
                  <a:pt x="1530" y="396"/>
                </a:lnTo>
                <a:lnTo>
                  <a:pt x="1536" y="444"/>
                </a:lnTo>
                <a:lnTo>
                  <a:pt x="1530" y="480"/>
                </a:lnTo>
                <a:lnTo>
                  <a:pt x="1506" y="510"/>
                </a:lnTo>
                <a:lnTo>
                  <a:pt x="1500" y="546"/>
                </a:lnTo>
                <a:lnTo>
                  <a:pt x="1494" y="564"/>
                </a:lnTo>
                <a:lnTo>
                  <a:pt x="1494" y="576"/>
                </a:lnTo>
                <a:lnTo>
                  <a:pt x="1500" y="582"/>
                </a:lnTo>
                <a:lnTo>
                  <a:pt x="1494" y="612"/>
                </a:lnTo>
                <a:lnTo>
                  <a:pt x="1476" y="630"/>
                </a:lnTo>
                <a:lnTo>
                  <a:pt x="1434" y="672"/>
                </a:lnTo>
                <a:lnTo>
                  <a:pt x="1392" y="756"/>
                </a:lnTo>
                <a:lnTo>
                  <a:pt x="1380" y="792"/>
                </a:lnTo>
                <a:lnTo>
                  <a:pt x="1374" y="798"/>
                </a:lnTo>
                <a:lnTo>
                  <a:pt x="1368" y="798"/>
                </a:lnTo>
                <a:lnTo>
                  <a:pt x="1380" y="804"/>
                </a:lnTo>
                <a:lnTo>
                  <a:pt x="1386" y="804"/>
                </a:lnTo>
                <a:lnTo>
                  <a:pt x="1380" y="822"/>
                </a:lnTo>
                <a:lnTo>
                  <a:pt x="1380" y="852"/>
                </a:lnTo>
                <a:lnTo>
                  <a:pt x="1374" y="858"/>
                </a:lnTo>
                <a:lnTo>
                  <a:pt x="1380" y="858"/>
                </a:lnTo>
                <a:lnTo>
                  <a:pt x="1374" y="864"/>
                </a:lnTo>
                <a:lnTo>
                  <a:pt x="1374" y="870"/>
                </a:lnTo>
                <a:lnTo>
                  <a:pt x="1374" y="876"/>
                </a:lnTo>
                <a:lnTo>
                  <a:pt x="1368" y="900"/>
                </a:lnTo>
                <a:lnTo>
                  <a:pt x="1362" y="906"/>
                </a:lnTo>
                <a:lnTo>
                  <a:pt x="1362" y="918"/>
                </a:lnTo>
                <a:lnTo>
                  <a:pt x="1362" y="924"/>
                </a:lnTo>
                <a:lnTo>
                  <a:pt x="1356" y="942"/>
                </a:lnTo>
                <a:lnTo>
                  <a:pt x="1350" y="972"/>
                </a:lnTo>
                <a:lnTo>
                  <a:pt x="1350" y="1014"/>
                </a:lnTo>
                <a:lnTo>
                  <a:pt x="1350" y="102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33" name="Freeform 19"/>
          <p:cNvSpPr>
            <a:spLocks noEditPoints="1"/>
          </p:cNvSpPr>
          <p:nvPr/>
        </p:nvSpPr>
        <p:spPr bwMode="gray">
          <a:xfrm>
            <a:off x="4017963" y="5108575"/>
            <a:ext cx="820737" cy="1241425"/>
          </a:xfrm>
          <a:custGeom>
            <a:avLst/>
            <a:gdLst>
              <a:gd name="T0" fmla="*/ 9422 w 1044"/>
              <a:gd name="T1" fmla="*/ 76553 h 1542"/>
              <a:gd name="T2" fmla="*/ 5496 w 1044"/>
              <a:gd name="T3" fmla="*/ 74941 h 1542"/>
              <a:gd name="T4" fmla="*/ 0 w 1044"/>
              <a:gd name="T5" fmla="*/ 70912 h 1542"/>
              <a:gd name="T6" fmla="*/ 2356 w 1044"/>
              <a:gd name="T7" fmla="*/ 59630 h 1542"/>
              <a:gd name="T8" fmla="*/ 3141 w 1044"/>
              <a:gd name="T9" fmla="*/ 47543 h 1542"/>
              <a:gd name="T10" fmla="*/ 5496 w 1044"/>
              <a:gd name="T11" fmla="*/ 41902 h 1542"/>
              <a:gd name="T12" fmla="*/ 15704 w 1044"/>
              <a:gd name="T13" fmla="*/ 40291 h 1542"/>
              <a:gd name="T14" fmla="*/ 18845 w 1044"/>
              <a:gd name="T15" fmla="*/ 37068 h 1542"/>
              <a:gd name="T16" fmla="*/ 22770 w 1044"/>
              <a:gd name="T17" fmla="*/ 26592 h 1542"/>
              <a:gd name="T18" fmla="*/ 25126 w 1044"/>
              <a:gd name="T19" fmla="*/ 20951 h 1542"/>
              <a:gd name="T20" fmla="*/ 23556 w 1044"/>
              <a:gd name="T21" fmla="*/ 16116 h 1542"/>
              <a:gd name="T22" fmla="*/ 20415 w 1044"/>
              <a:gd name="T23" fmla="*/ 13699 h 1542"/>
              <a:gd name="T24" fmla="*/ 21985 w 1044"/>
              <a:gd name="T25" fmla="*/ 9670 h 1542"/>
              <a:gd name="T26" fmla="*/ 34548 w 1044"/>
              <a:gd name="T27" fmla="*/ 4029 h 1542"/>
              <a:gd name="T28" fmla="*/ 44756 w 1044"/>
              <a:gd name="T29" fmla="*/ 1612 h 1542"/>
              <a:gd name="T30" fmla="*/ 51037 w 1044"/>
              <a:gd name="T31" fmla="*/ 9670 h 1542"/>
              <a:gd name="T32" fmla="*/ 63600 w 1044"/>
              <a:gd name="T33" fmla="*/ 7252 h 1542"/>
              <a:gd name="T34" fmla="*/ 71452 w 1044"/>
              <a:gd name="T35" fmla="*/ 16116 h 1542"/>
              <a:gd name="T36" fmla="*/ 69882 w 1044"/>
              <a:gd name="T37" fmla="*/ 22563 h 1542"/>
              <a:gd name="T38" fmla="*/ 65171 w 1044"/>
              <a:gd name="T39" fmla="*/ 26592 h 1542"/>
              <a:gd name="T40" fmla="*/ 58104 w 1044"/>
              <a:gd name="T41" fmla="*/ 33844 h 1542"/>
              <a:gd name="T42" fmla="*/ 45541 w 1044"/>
              <a:gd name="T43" fmla="*/ 45932 h 1542"/>
              <a:gd name="T44" fmla="*/ 42400 w 1044"/>
              <a:gd name="T45" fmla="*/ 52378 h 1542"/>
              <a:gd name="T46" fmla="*/ 46326 w 1044"/>
              <a:gd name="T47" fmla="*/ 59630 h 1542"/>
              <a:gd name="T48" fmla="*/ 43185 w 1044"/>
              <a:gd name="T49" fmla="*/ 67689 h 1542"/>
              <a:gd name="T50" fmla="*/ 40830 w 1044"/>
              <a:gd name="T51" fmla="*/ 78970 h 1542"/>
              <a:gd name="T52" fmla="*/ 36904 w 1044"/>
              <a:gd name="T53" fmla="*/ 84611 h 1542"/>
              <a:gd name="T54" fmla="*/ 32978 w 1044"/>
              <a:gd name="T55" fmla="*/ 89446 h 1542"/>
              <a:gd name="T56" fmla="*/ 33763 w 1044"/>
              <a:gd name="T57" fmla="*/ 96698 h 1542"/>
              <a:gd name="T58" fmla="*/ 35333 w 1044"/>
              <a:gd name="T59" fmla="*/ 100727 h 1542"/>
              <a:gd name="T60" fmla="*/ 34548 w 1044"/>
              <a:gd name="T61" fmla="*/ 104756 h 1542"/>
              <a:gd name="T62" fmla="*/ 35333 w 1044"/>
              <a:gd name="T63" fmla="*/ 105562 h 1542"/>
              <a:gd name="T64" fmla="*/ 37689 w 1044"/>
              <a:gd name="T65" fmla="*/ 107174 h 1542"/>
              <a:gd name="T66" fmla="*/ 30622 w 1044"/>
              <a:gd name="T67" fmla="*/ 107174 h 1542"/>
              <a:gd name="T68" fmla="*/ 32978 w 1044"/>
              <a:gd name="T69" fmla="*/ 106368 h 1542"/>
              <a:gd name="T70" fmla="*/ 29837 w 1044"/>
              <a:gd name="T71" fmla="*/ 107174 h 1542"/>
              <a:gd name="T72" fmla="*/ 29052 w 1044"/>
              <a:gd name="T73" fmla="*/ 103950 h 1542"/>
              <a:gd name="T74" fmla="*/ 31408 w 1044"/>
              <a:gd name="T75" fmla="*/ 100727 h 1542"/>
              <a:gd name="T76" fmla="*/ 31408 w 1044"/>
              <a:gd name="T77" fmla="*/ 96698 h 1542"/>
              <a:gd name="T78" fmla="*/ 31408 w 1044"/>
              <a:gd name="T79" fmla="*/ 94281 h 1542"/>
              <a:gd name="T80" fmla="*/ 29052 w 1044"/>
              <a:gd name="T81" fmla="*/ 96698 h 1542"/>
              <a:gd name="T82" fmla="*/ 26696 w 1044"/>
              <a:gd name="T83" fmla="*/ 98310 h 1542"/>
              <a:gd name="T84" fmla="*/ 28267 w 1044"/>
              <a:gd name="T85" fmla="*/ 96698 h 1542"/>
              <a:gd name="T86" fmla="*/ 23556 w 1044"/>
              <a:gd name="T87" fmla="*/ 96698 h 1542"/>
              <a:gd name="T88" fmla="*/ 24341 w 1044"/>
              <a:gd name="T89" fmla="*/ 91057 h 1542"/>
              <a:gd name="T90" fmla="*/ 22770 w 1044"/>
              <a:gd name="T91" fmla="*/ 90252 h 1542"/>
              <a:gd name="T92" fmla="*/ 24341 w 1044"/>
              <a:gd name="T93" fmla="*/ 94281 h 1542"/>
              <a:gd name="T94" fmla="*/ 21200 w 1044"/>
              <a:gd name="T95" fmla="*/ 93475 h 1542"/>
              <a:gd name="T96" fmla="*/ 19630 w 1044"/>
              <a:gd name="T97" fmla="*/ 90252 h 1542"/>
              <a:gd name="T98" fmla="*/ 16489 w 1044"/>
              <a:gd name="T99" fmla="*/ 87834 h 1542"/>
              <a:gd name="T100" fmla="*/ 16489 w 1044"/>
              <a:gd name="T101" fmla="*/ 91057 h 1542"/>
              <a:gd name="T102" fmla="*/ 31408 w 1044"/>
              <a:gd name="T103" fmla="*/ 96698 h 1542"/>
              <a:gd name="T104" fmla="*/ 31408 w 1044"/>
              <a:gd name="T105" fmla="*/ 97504 h 1542"/>
              <a:gd name="T106" fmla="*/ 31408 w 1044"/>
              <a:gd name="T107" fmla="*/ 93475 h 1542"/>
              <a:gd name="T108" fmla="*/ 29837 w 1044"/>
              <a:gd name="T109" fmla="*/ 96698 h 1542"/>
              <a:gd name="T110" fmla="*/ 18059 w 1044"/>
              <a:gd name="T111" fmla="*/ 88640 h 1542"/>
              <a:gd name="T112" fmla="*/ 29052 w 1044"/>
              <a:gd name="T113" fmla="*/ 99921 h 1542"/>
              <a:gd name="T114" fmla="*/ 31408 w 1044"/>
              <a:gd name="T115" fmla="*/ 100727 h 1542"/>
              <a:gd name="T116" fmla="*/ 29837 w 1044"/>
              <a:gd name="T117" fmla="*/ 103145 h 1542"/>
              <a:gd name="T118" fmla="*/ 19630 w 1044"/>
              <a:gd name="T119" fmla="*/ 94281 h 1542"/>
              <a:gd name="T120" fmla="*/ 21200 w 1044"/>
              <a:gd name="T121" fmla="*/ 102339 h 1542"/>
              <a:gd name="T122" fmla="*/ 18845 w 1044"/>
              <a:gd name="T123" fmla="*/ 91057 h 15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44"/>
              <a:gd name="T187" fmla="*/ 0 h 1542"/>
              <a:gd name="T188" fmla="*/ 1044 w 1044"/>
              <a:gd name="T189" fmla="*/ 1542 h 15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44" h="1542">
                <a:moveTo>
                  <a:pt x="234" y="1278"/>
                </a:moveTo>
                <a:lnTo>
                  <a:pt x="228" y="1272"/>
                </a:lnTo>
                <a:lnTo>
                  <a:pt x="222" y="1266"/>
                </a:lnTo>
                <a:lnTo>
                  <a:pt x="222" y="1260"/>
                </a:lnTo>
                <a:lnTo>
                  <a:pt x="204" y="1248"/>
                </a:lnTo>
                <a:lnTo>
                  <a:pt x="192" y="1248"/>
                </a:lnTo>
                <a:lnTo>
                  <a:pt x="186" y="1236"/>
                </a:lnTo>
                <a:lnTo>
                  <a:pt x="174" y="1218"/>
                </a:lnTo>
                <a:lnTo>
                  <a:pt x="162" y="1194"/>
                </a:lnTo>
                <a:lnTo>
                  <a:pt x="156" y="1182"/>
                </a:lnTo>
                <a:lnTo>
                  <a:pt x="162" y="1146"/>
                </a:lnTo>
                <a:lnTo>
                  <a:pt x="156" y="1134"/>
                </a:lnTo>
                <a:lnTo>
                  <a:pt x="138" y="1122"/>
                </a:lnTo>
                <a:lnTo>
                  <a:pt x="132" y="1116"/>
                </a:lnTo>
                <a:lnTo>
                  <a:pt x="138" y="1098"/>
                </a:lnTo>
                <a:lnTo>
                  <a:pt x="138" y="1092"/>
                </a:lnTo>
                <a:lnTo>
                  <a:pt x="138" y="1086"/>
                </a:lnTo>
                <a:lnTo>
                  <a:pt x="132" y="1074"/>
                </a:lnTo>
                <a:lnTo>
                  <a:pt x="126" y="1074"/>
                </a:lnTo>
                <a:lnTo>
                  <a:pt x="126" y="1068"/>
                </a:lnTo>
                <a:lnTo>
                  <a:pt x="120" y="1062"/>
                </a:lnTo>
                <a:lnTo>
                  <a:pt x="120" y="1056"/>
                </a:lnTo>
                <a:lnTo>
                  <a:pt x="114" y="1050"/>
                </a:lnTo>
                <a:lnTo>
                  <a:pt x="108" y="1050"/>
                </a:lnTo>
                <a:lnTo>
                  <a:pt x="102" y="1056"/>
                </a:lnTo>
                <a:lnTo>
                  <a:pt x="102" y="1062"/>
                </a:lnTo>
                <a:lnTo>
                  <a:pt x="96" y="1062"/>
                </a:lnTo>
                <a:lnTo>
                  <a:pt x="96" y="1068"/>
                </a:lnTo>
                <a:lnTo>
                  <a:pt x="96" y="1074"/>
                </a:lnTo>
                <a:lnTo>
                  <a:pt x="90" y="1074"/>
                </a:lnTo>
                <a:lnTo>
                  <a:pt x="84" y="1080"/>
                </a:lnTo>
                <a:lnTo>
                  <a:pt x="78" y="1074"/>
                </a:lnTo>
                <a:lnTo>
                  <a:pt x="72" y="1074"/>
                </a:lnTo>
                <a:lnTo>
                  <a:pt x="72" y="1068"/>
                </a:lnTo>
                <a:lnTo>
                  <a:pt x="72" y="1062"/>
                </a:lnTo>
                <a:lnTo>
                  <a:pt x="60" y="1056"/>
                </a:lnTo>
                <a:lnTo>
                  <a:pt x="60" y="1044"/>
                </a:lnTo>
                <a:lnTo>
                  <a:pt x="60" y="1032"/>
                </a:lnTo>
                <a:lnTo>
                  <a:pt x="60" y="1026"/>
                </a:lnTo>
                <a:lnTo>
                  <a:pt x="54" y="1026"/>
                </a:lnTo>
                <a:lnTo>
                  <a:pt x="48" y="1014"/>
                </a:lnTo>
                <a:lnTo>
                  <a:pt x="42" y="1008"/>
                </a:lnTo>
                <a:lnTo>
                  <a:pt x="30" y="1008"/>
                </a:lnTo>
                <a:lnTo>
                  <a:pt x="30" y="1002"/>
                </a:lnTo>
                <a:lnTo>
                  <a:pt x="24" y="1008"/>
                </a:lnTo>
                <a:lnTo>
                  <a:pt x="12" y="1008"/>
                </a:lnTo>
                <a:lnTo>
                  <a:pt x="6" y="1008"/>
                </a:lnTo>
                <a:lnTo>
                  <a:pt x="0" y="1008"/>
                </a:lnTo>
                <a:lnTo>
                  <a:pt x="0" y="1002"/>
                </a:lnTo>
                <a:lnTo>
                  <a:pt x="6" y="990"/>
                </a:lnTo>
                <a:lnTo>
                  <a:pt x="6" y="984"/>
                </a:lnTo>
                <a:lnTo>
                  <a:pt x="0" y="978"/>
                </a:lnTo>
                <a:lnTo>
                  <a:pt x="6" y="972"/>
                </a:lnTo>
                <a:lnTo>
                  <a:pt x="12" y="972"/>
                </a:lnTo>
                <a:lnTo>
                  <a:pt x="72" y="978"/>
                </a:lnTo>
                <a:lnTo>
                  <a:pt x="78" y="972"/>
                </a:lnTo>
                <a:lnTo>
                  <a:pt x="72" y="960"/>
                </a:lnTo>
                <a:lnTo>
                  <a:pt x="66" y="960"/>
                </a:lnTo>
                <a:lnTo>
                  <a:pt x="60" y="930"/>
                </a:lnTo>
                <a:lnTo>
                  <a:pt x="54" y="912"/>
                </a:lnTo>
                <a:lnTo>
                  <a:pt x="42" y="906"/>
                </a:lnTo>
                <a:lnTo>
                  <a:pt x="36" y="894"/>
                </a:lnTo>
                <a:lnTo>
                  <a:pt x="30" y="876"/>
                </a:lnTo>
                <a:lnTo>
                  <a:pt x="30" y="858"/>
                </a:lnTo>
                <a:lnTo>
                  <a:pt x="30" y="840"/>
                </a:lnTo>
                <a:lnTo>
                  <a:pt x="36" y="816"/>
                </a:lnTo>
                <a:lnTo>
                  <a:pt x="36" y="792"/>
                </a:lnTo>
                <a:lnTo>
                  <a:pt x="36" y="780"/>
                </a:lnTo>
                <a:lnTo>
                  <a:pt x="12" y="774"/>
                </a:lnTo>
                <a:lnTo>
                  <a:pt x="24" y="756"/>
                </a:lnTo>
                <a:lnTo>
                  <a:pt x="24" y="744"/>
                </a:lnTo>
                <a:lnTo>
                  <a:pt x="30" y="738"/>
                </a:lnTo>
                <a:lnTo>
                  <a:pt x="30" y="732"/>
                </a:lnTo>
                <a:lnTo>
                  <a:pt x="36" y="720"/>
                </a:lnTo>
                <a:lnTo>
                  <a:pt x="42" y="714"/>
                </a:lnTo>
                <a:lnTo>
                  <a:pt x="54" y="708"/>
                </a:lnTo>
                <a:lnTo>
                  <a:pt x="60" y="702"/>
                </a:lnTo>
                <a:lnTo>
                  <a:pt x="48" y="690"/>
                </a:lnTo>
                <a:lnTo>
                  <a:pt x="48" y="684"/>
                </a:lnTo>
                <a:lnTo>
                  <a:pt x="48" y="678"/>
                </a:lnTo>
                <a:lnTo>
                  <a:pt x="48" y="672"/>
                </a:lnTo>
                <a:lnTo>
                  <a:pt x="54" y="672"/>
                </a:lnTo>
                <a:lnTo>
                  <a:pt x="60" y="672"/>
                </a:lnTo>
                <a:lnTo>
                  <a:pt x="66" y="666"/>
                </a:lnTo>
                <a:lnTo>
                  <a:pt x="72" y="654"/>
                </a:lnTo>
                <a:lnTo>
                  <a:pt x="72" y="648"/>
                </a:lnTo>
                <a:lnTo>
                  <a:pt x="84" y="642"/>
                </a:lnTo>
                <a:lnTo>
                  <a:pt x="84" y="636"/>
                </a:lnTo>
                <a:lnTo>
                  <a:pt x="84" y="630"/>
                </a:lnTo>
                <a:lnTo>
                  <a:pt x="90" y="630"/>
                </a:lnTo>
                <a:lnTo>
                  <a:pt x="96" y="630"/>
                </a:lnTo>
                <a:lnTo>
                  <a:pt x="96" y="624"/>
                </a:lnTo>
                <a:lnTo>
                  <a:pt x="90" y="624"/>
                </a:lnTo>
                <a:lnTo>
                  <a:pt x="84" y="612"/>
                </a:lnTo>
                <a:lnTo>
                  <a:pt x="78" y="606"/>
                </a:lnTo>
                <a:lnTo>
                  <a:pt x="78" y="600"/>
                </a:lnTo>
                <a:lnTo>
                  <a:pt x="84" y="600"/>
                </a:lnTo>
                <a:lnTo>
                  <a:pt x="90" y="600"/>
                </a:lnTo>
                <a:lnTo>
                  <a:pt x="84" y="600"/>
                </a:lnTo>
                <a:lnTo>
                  <a:pt x="78" y="594"/>
                </a:lnTo>
                <a:lnTo>
                  <a:pt x="78" y="582"/>
                </a:lnTo>
                <a:lnTo>
                  <a:pt x="78" y="576"/>
                </a:lnTo>
                <a:lnTo>
                  <a:pt x="126" y="564"/>
                </a:lnTo>
                <a:lnTo>
                  <a:pt x="144" y="564"/>
                </a:lnTo>
                <a:lnTo>
                  <a:pt x="156" y="582"/>
                </a:lnTo>
                <a:lnTo>
                  <a:pt x="162" y="600"/>
                </a:lnTo>
                <a:lnTo>
                  <a:pt x="180" y="588"/>
                </a:lnTo>
                <a:lnTo>
                  <a:pt x="192" y="588"/>
                </a:lnTo>
                <a:lnTo>
                  <a:pt x="198" y="588"/>
                </a:lnTo>
                <a:lnTo>
                  <a:pt x="210" y="582"/>
                </a:lnTo>
                <a:lnTo>
                  <a:pt x="216" y="576"/>
                </a:lnTo>
                <a:lnTo>
                  <a:pt x="222" y="570"/>
                </a:lnTo>
                <a:lnTo>
                  <a:pt x="222" y="564"/>
                </a:lnTo>
                <a:lnTo>
                  <a:pt x="228" y="558"/>
                </a:lnTo>
                <a:lnTo>
                  <a:pt x="234" y="558"/>
                </a:lnTo>
                <a:lnTo>
                  <a:pt x="240" y="558"/>
                </a:lnTo>
                <a:lnTo>
                  <a:pt x="246" y="558"/>
                </a:lnTo>
                <a:lnTo>
                  <a:pt x="252" y="558"/>
                </a:lnTo>
                <a:lnTo>
                  <a:pt x="252" y="564"/>
                </a:lnTo>
                <a:lnTo>
                  <a:pt x="258" y="570"/>
                </a:lnTo>
                <a:lnTo>
                  <a:pt x="264" y="570"/>
                </a:lnTo>
                <a:lnTo>
                  <a:pt x="270" y="564"/>
                </a:lnTo>
                <a:lnTo>
                  <a:pt x="276" y="558"/>
                </a:lnTo>
                <a:lnTo>
                  <a:pt x="276" y="552"/>
                </a:lnTo>
                <a:lnTo>
                  <a:pt x="276" y="546"/>
                </a:lnTo>
                <a:lnTo>
                  <a:pt x="276" y="540"/>
                </a:lnTo>
                <a:lnTo>
                  <a:pt x="276" y="534"/>
                </a:lnTo>
                <a:lnTo>
                  <a:pt x="276" y="528"/>
                </a:lnTo>
                <a:lnTo>
                  <a:pt x="282" y="528"/>
                </a:lnTo>
                <a:lnTo>
                  <a:pt x="282" y="522"/>
                </a:lnTo>
                <a:lnTo>
                  <a:pt x="282" y="516"/>
                </a:lnTo>
                <a:lnTo>
                  <a:pt x="282" y="510"/>
                </a:lnTo>
                <a:lnTo>
                  <a:pt x="282" y="504"/>
                </a:lnTo>
                <a:lnTo>
                  <a:pt x="282" y="492"/>
                </a:lnTo>
                <a:lnTo>
                  <a:pt x="288" y="486"/>
                </a:lnTo>
                <a:lnTo>
                  <a:pt x="300" y="480"/>
                </a:lnTo>
                <a:lnTo>
                  <a:pt x="306" y="462"/>
                </a:lnTo>
                <a:lnTo>
                  <a:pt x="318" y="444"/>
                </a:lnTo>
                <a:lnTo>
                  <a:pt x="330" y="444"/>
                </a:lnTo>
                <a:lnTo>
                  <a:pt x="330" y="432"/>
                </a:lnTo>
                <a:lnTo>
                  <a:pt x="342" y="432"/>
                </a:lnTo>
                <a:lnTo>
                  <a:pt x="354" y="402"/>
                </a:lnTo>
                <a:lnTo>
                  <a:pt x="348" y="390"/>
                </a:lnTo>
                <a:lnTo>
                  <a:pt x="336" y="384"/>
                </a:lnTo>
                <a:lnTo>
                  <a:pt x="336" y="360"/>
                </a:lnTo>
                <a:lnTo>
                  <a:pt x="336" y="354"/>
                </a:lnTo>
                <a:lnTo>
                  <a:pt x="336" y="342"/>
                </a:lnTo>
                <a:lnTo>
                  <a:pt x="342" y="336"/>
                </a:lnTo>
                <a:lnTo>
                  <a:pt x="342" y="324"/>
                </a:lnTo>
                <a:lnTo>
                  <a:pt x="372" y="324"/>
                </a:lnTo>
                <a:lnTo>
                  <a:pt x="378" y="324"/>
                </a:lnTo>
                <a:lnTo>
                  <a:pt x="378" y="318"/>
                </a:lnTo>
                <a:lnTo>
                  <a:pt x="372" y="312"/>
                </a:lnTo>
                <a:lnTo>
                  <a:pt x="378" y="312"/>
                </a:lnTo>
                <a:lnTo>
                  <a:pt x="384" y="312"/>
                </a:lnTo>
                <a:lnTo>
                  <a:pt x="384" y="306"/>
                </a:lnTo>
                <a:lnTo>
                  <a:pt x="384" y="300"/>
                </a:lnTo>
                <a:lnTo>
                  <a:pt x="384" y="294"/>
                </a:lnTo>
                <a:lnTo>
                  <a:pt x="378" y="294"/>
                </a:lnTo>
                <a:lnTo>
                  <a:pt x="372" y="294"/>
                </a:lnTo>
                <a:lnTo>
                  <a:pt x="366" y="294"/>
                </a:lnTo>
                <a:lnTo>
                  <a:pt x="366" y="288"/>
                </a:lnTo>
                <a:lnTo>
                  <a:pt x="372" y="288"/>
                </a:lnTo>
                <a:lnTo>
                  <a:pt x="372" y="282"/>
                </a:lnTo>
                <a:lnTo>
                  <a:pt x="366" y="276"/>
                </a:lnTo>
                <a:lnTo>
                  <a:pt x="360" y="270"/>
                </a:lnTo>
                <a:lnTo>
                  <a:pt x="360" y="264"/>
                </a:lnTo>
                <a:lnTo>
                  <a:pt x="354" y="264"/>
                </a:lnTo>
                <a:lnTo>
                  <a:pt x="348" y="258"/>
                </a:lnTo>
                <a:lnTo>
                  <a:pt x="354" y="258"/>
                </a:lnTo>
                <a:lnTo>
                  <a:pt x="354" y="252"/>
                </a:lnTo>
                <a:lnTo>
                  <a:pt x="360" y="246"/>
                </a:lnTo>
                <a:lnTo>
                  <a:pt x="360" y="240"/>
                </a:lnTo>
                <a:lnTo>
                  <a:pt x="354" y="240"/>
                </a:lnTo>
                <a:lnTo>
                  <a:pt x="342" y="234"/>
                </a:lnTo>
                <a:lnTo>
                  <a:pt x="342" y="228"/>
                </a:lnTo>
                <a:lnTo>
                  <a:pt x="348" y="228"/>
                </a:lnTo>
                <a:lnTo>
                  <a:pt x="342" y="228"/>
                </a:lnTo>
                <a:lnTo>
                  <a:pt x="342" y="222"/>
                </a:lnTo>
                <a:lnTo>
                  <a:pt x="342" y="216"/>
                </a:lnTo>
                <a:lnTo>
                  <a:pt x="336" y="216"/>
                </a:lnTo>
                <a:lnTo>
                  <a:pt x="330" y="222"/>
                </a:lnTo>
                <a:lnTo>
                  <a:pt x="330" y="216"/>
                </a:lnTo>
                <a:lnTo>
                  <a:pt x="330" y="210"/>
                </a:lnTo>
                <a:lnTo>
                  <a:pt x="324" y="210"/>
                </a:lnTo>
                <a:lnTo>
                  <a:pt x="318" y="210"/>
                </a:lnTo>
                <a:lnTo>
                  <a:pt x="318" y="204"/>
                </a:lnTo>
                <a:lnTo>
                  <a:pt x="312" y="204"/>
                </a:lnTo>
                <a:lnTo>
                  <a:pt x="306" y="198"/>
                </a:lnTo>
                <a:lnTo>
                  <a:pt x="306" y="192"/>
                </a:lnTo>
                <a:lnTo>
                  <a:pt x="300" y="192"/>
                </a:lnTo>
                <a:lnTo>
                  <a:pt x="300" y="198"/>
                </a:lnTo>
                <a:lnTo>
                  <a:pt x="294" y="192"/>
                </a:lnTo>
                <a:lnTo>
                  <a:pt x="300" y="186"/>
                </a:lnTo>
                <a:lnTo>
                  <a:pt x="294" y="186"/>
                </a:lnTo>
                <a:lnTo>
                  <a:pt x="294" y="180"/>
                </a:lnTo>
                <a:lnTo>
                  <a:pt x="294" y="174"/>
                </a:lnTo>
                <a:lnTo>
                  <a:pt x="300" y="174"/>
                </a:lnTo>
                <a:lnTo>
                  <a:pt x="300" y="168"/>
                </a:lnTo>
                <a:lnTo>
                  <a:pt x="300" y="162"/>
                </a:lnTo>
                <a:lnTo>
                  <a:pt x="294" y="162"/>
                </a:lnTo>
                <a:lnTo>
                  <a:pt x="288" y="162"/>
                </a:lnTo>
                <a:lnTo>
                  <a:pt x="288" y="156"/>
                </a:lnTo>
                <a:lnTo>
                  <a:pt x="288" y="150"/>
                </a:lnTo>
                <a:lnTo>
                  <a:pt x="288" y="144"/>
                </a:lnTo>
                <a:lnTo>
                  <a:pt x="282" y="144"/>
                </a:lnTo>
                <a:lnTo>
                  <a:pt x="282" y="138"/>
                </a:lnTo>
                <a:lnTo>
                  <a:pt x="312" y="132"/>
                </a:lnTo>
                <a:lnTo>
                  <a:pt x="324" y="120"/>
                </a:lnTo>
                <a:lnTo>
                  <a:pt x="330" y="114"/>
                </a:lnTo>
                <a:lnTo>
                  <a:pt x="336" y="102"/>
                </a:lnTo>
                <a:lnTo>
                  <a:pt x="348" y="90"/>
                </a:lnTo>
                <a:lnTo>
                  <a:pt x="360" y="84"/>
                </a:lnTo>
                <a:lnTo>
                  <a:pt x="372" y="84"/>
                </a:lnTo>
                <a:lnTo>
                  <a:pt x="378" y="84"/>
                </a:lnTo>
                <a:lnTo>
                  <a:pt x="384" y="90"/>
                </a:lnTo>
                <a:lnTo>
                  <a:pt x="402" y="90"/>
                </a:lnTo>
                <a:lnTo>
                  <a:pt x="438" y="84"/>
                </a:lnTo>
                <a:lnTo>
                  <a:pt x="456" y="84"/>
                </a:lnTo>
                <a:lnTo>
                  <a:pt x="462" y="78"/>
                </a:lnTo>
                <a:lnTo>
                  <a:pt x="486" y="72"/>
                </a:lnTo>
                <a:lnTo>
                  <a:pt x="492" y="66"/>
                </a:lnTo>
                <a:lnTo>
                  <a:pt x="498" y="60"/>
                </a:lnTo>
                <a:lnTo>
                  <a:pt x="504" y="60"/>
                </a:lnTo>
                <a:lnTo>
                  <a:pt x="504" y="54"/>
                </a:lnTo>
                <a:lnTo>
                  <a:pt x="510" y="42"/>
                </a:lnTo>
                <a:lnTo>
                  <a:pt x="504" y="42"/>
                </a:lnTo>
                <a:lnTo>
                  <a:pt x="504" y="36"/>
                </a:lnTo>
                <a:lnTo>
                  <a:pt x="504" y="30"/>
                </a:lnTo>
                <a:lnTo>
                  <a:pt x="498" y="30"/>
                </a:lnTo>
                <a:lnTo>
                  <a:pt x="492" y="30"/>
                </a:lnTo>
                <a:lnTo>
                  <a:pt x="492" y="24"/>
                </a:lnTo>
                <a:lnTo>
                  <a:pt x="486" y="18"/>
                </a:lnTo>
                <a:lnTo>
                  <a:pt x="498" y="18"/>
                </a:lnTo>
                <a:lnTo>
                  <a:pt x="510" y="18"/>
                </a:lnTo>
                <a:lnTo>
                  <a:pt x="522" y="12"/>
                </a:lnTo>
                <a:lnTo>
                  <a:pt x="528" y="6"/>
                </a:lnTo>
                <a:lnTo>
                  <a:pt x="570" y="0"/>
                </a:lnTo>
                <a:lnTo>
                  <a:pt x="606" y="6"/>
                </a:lnTo>
                <a:lnTo>
                  <a:pt x="654" y="24"/>
                </a:lnTo>
                <a:lnTo>
                  <a:pt x="666" y="36"/>
                </a:lnTo>
                <a:lnTo>
                  <a:pt x="672" y="30"/>
                </a:lnTo>
                <a:lnTo>
                  <a:pt x="690" y="42"/>
                </a:lnTo>
                <a:lnTo>
                  <a:pt x="702" y="48"/>
                </a:lnTo>
                <a:lnTo>
                  <a:pt x="714" y="60"/>
                </a:lnTo>
                <a:lnTo>
                  <a:pt x="714" y="66"/>
                </a:lnTo>
                <a:lnTo>
                  <a:pt x="720" y="72"/>
                </a:lnTo>
                <a:lnTo>
                  <a:pt x="720" y="78"/>
                </a:lnTo>
                <a:lnTo>
                  <a:pt x="720" y="102"/>
                </a:lnTo>
                <a:lnTo>
                  <a:pt x="720" y="108"/>
                </a:lnTo>
                <a:lnTo>
                  <a:pt x="714" y="108"/>
                </a:lnTo>
                <a:lnTo>
                  <a:pt x="714" y="126"/>
                </a:lnTo>
                <a:lnTo>
                  <a:pt x="732" y="126"/>
                </a:lnTo>
                <a:lnTo>
                  <a:pt x="726" y="132"/>
                </a:lnTo>
                <a:lnTo>
                  <a:pt x="738" y="132"/>
                </a:lnTo>
                <a:lnTo>
                  <a:pt x="738" y="138"/>
                </a:lnTo>
                <a:lnTo>
                  <a:pt x="738" y="144"/>
                </a:lnTo>
                <a:lnTo>
                  <a:pt x="744" y="144"/>
                </a:lnTo>
                <a:lnTo>
                  <a:pt x="744" y="150"/>
                </a:lnTo>
                <a:lnTo>
                  <a:pt x="756" y="156"/>
                </a:lnTo>
                <a:lnTo>
                  <a:pt x="768" y="156"/>
                </a:lnTo>
                <a:lnTo>
                  <a:pt x="780" y="156"/>
                </a:lnTo>
                <a:lnTo>
                  <a:pt x="792" y="150"/>
                </a:lnTo>
                <a:lnTo>
                  <a:pt x="786" y="150"/>
                </a:lnTo>
                <a:lnTo>
                  <a:pt x="786" y="144"/>
                </a:lnTo>
                <a:lnTo>
                  <a:pt x="804" y="144"/>
                </a:lnTo>
                <a:lnTo>
                  <a:pt x="816" y="132"/>
                </a:lnTo>
                <a:lnTo>
                  <a:pt x="822" y="126"/>
                </a:lnTo>
                <a:lnTo>
                  <a:pt x="828" y="132"/>
                </a:lnTo>
                <a:lnTo>
                  <a:pt x="834" y="126"/>
                </a:lnTo>
                <a:lnTo>
                  <a:pt x="834" y="120"/>
                </a:lnTo>
                <a:lnTo>
                  <a:pt x="924" y="108"/>
                </a:lnTo>
                <a:lnTo>
                  <a:pt x="942" y="144"/>
                </a:lnTo>
                <a:lnTo>
                  <a:pt x="948" y="144"/>
                </a:lnTo>
                <a:lnTo>
                  <a:pt x="960" y="168"/>
                </a:lnTo>
                <a:lnTo>
                  <a:pt x="972" y="186"/>
                </a:lnTo>
                <a:lnTo>
                  <a:pt x="984" y="192"/>
                </a:lnTo>
                <a:lnTo>
                  <a:pt x="996" y="192"/>
                </a:lnTo>
                <a:lnTo>
                  <a:pt x="996" y="198"/>
                </a:lnTo>
                <a:lnTo>
                  <a:pt x="1008" y="204"/>
                </a:lnTo>
                <a:lnTo>
                  <a:pt x="1008" y="210"/>
                </a:lnTo>
                <a:lnTo>
                  <a:pt x="1002" y="210"/>
                </a:lnTo>
                <a:lnTo>
                  <a:pt x="1008" y="216"/>
                </a:lnTo>
                <a:lnTo>
                  <a:pt x="1014" y="210"/>
                </a:lnTo>
                <a:lnTo>
                  <a:pt x="1014" y="216"/>
                </a:lnTo>
                <a:lnTo>
                  <a:pt x="1020" y="222"/>
                </a:lnTo>
                <a:lnTo>
                  <a:pt x="1014" y="228"/>
                </a:lnTo>
                <a:lnTo>
                  <a:pt x="1032" y="234"/>
                </a:lnTo>
                <a:lnTo>
                  <a:pt x="1044" y="240"/>
                </a:lnTo>
                <a:lnTo>
                  <a:pt x="1038" y="246"/>
                </a:lnTo>
                <a:lnTo>
                  <a:pt x="1038" y="252"/>
                </a:lnTo>
                <a:lnTo>
                  <a:pt x="1038" y="258"/>
                </a:lnTo>
                <a:lnTo>
                  <a:pt x="1032" y="264"/>
                </a:lnTo>
                <a:lnTo>
                  <a:pt x="1032" y="270"/>
                </a:lnTo>
                <a:lnTo>
                  <a:pt x="1032" y="276"/>
                </a:lnTo>
                <a:lnTo>
                  <a:pt x="1032" y="282"/>
                </a:lnTo>
                <a:lnTo>
                  <a:pt x="1026" y="282"/>
                </a:lnTo>
                <a:lnTo>
                  <a:pt x="1026" y="288"/>
                </a:lnTo>
                <a:lnTo>
                  <a:pt x="1026" y="294"/>
                </a:lnTo>
                <a:lnTo>
                  <a:pt x="1026" y="300"/>
                </a:lnTo>
                <a:lnTo>
                  <a:pt x="1026" y="306"/>
                </a:lnTo>
                <a:lnTo>
                  <a:pt x="1020" y="318"/>
                </a:lnTo>
                <a:lnTo>
                  <a:pt x="1020" y="324"/>
                </a:lnTo>
                <a:lnTo>
                  <a:pt x="1014" y="324"/>
                </a:lnTo>
                <a:lnTo>
                  <a:pt x="1014" y="330"/>
                </a:lnTo>
                <a:lnTo>
                  <a:pt x="1014" y="336"/>
                </a:lnTo>
                <a:lnTo>
                  <a:pt x="1008" y="366"/>
                </a:lnTo>
                <a:lnTo>
                  <a:pt x="1002" y="366"/>
                </a:lnTo>
                <a:lnTo>
                  <a:pt x="984" y="354"/>
                </a:lnTo>
                <a:lnTo>
                  <a:pt x="978" y="354"/>
                </a:lnTo>
                <a:lnTo>
                  <a:pt x="972" y="354"/>
                </a:lnTo>
                <a:lnTo>
                  <a:pt x="966" y="348"/>
                </a:lnTo>
                <a:lnTo>
                  <a:pt x="954" y="348"/>
                </a:lnTo>
                <a:lnTo>
                  <a:pt x="948" y="348"/>
                </a:lnTo>
                <a:lnTo>
                  <a:pt x="948" y="360"/>
                </a:lnTo>
                <a:lnTo>
                  <a:pt x="948" y="366"/>
                </a:lnTo>
                <a:lnTo>
                  <a:pt x="948" y="372"/>
                </a:lnTo>
                <a:lnTo>
                  <a:pt x="948" y="378"/>
                </a:lnTo>
                <a:lnTo>
                  <a:pt x="948" y="384"/>
                </a:lnTo>
                <a:lnTo>
                  <a:pt x="942" y="384"/>
                </a:lnTo>
                <a:lnTo>
                  <a:pt x="942" y="390"/>
                </a:lnTo>
                <a:lnTo>
                  <a:pt x="936" y="390"/>
                </a:lnTo>
                <a:lnTo>
                  <a:pt x="942" y="390"/>
                </a:lnTo>
                <a:lnTo>
                  <a:pt x="936" y="396"/>
                </a:lnTo>
                <a:lnTo>
                  <a:pt x="930" y="402"/>
                </a:lnTo>
                <a:lnTo>
                  <a:pt x="918" y="420"/>
                </a:lnTo>
                <a:lnTo>
                  <a:pt x="918" y="426"/>
                </a:lnTo>
                <a:lnTo>
                  <a:pt x="912" y="432"/>
                </a:lnTo>
                <a:lnTo>
                  <a:pt x="900" y="450"/>
                </a:lnTo>
                <a:lnTo>
                  <a:pt x="894" y="456"/>
                </a:lnTo>
                <a:lnTo>
                  <a:pt x="888" y="456"/>
                </a:lnTo>
                <a:lnTo>
                  <a:pt x="882" y="456"/>
                </a:lnTo>
                <a:lnTo>
                  <a:pt x="876" y="456"/>
                </a:lnTo>
                <a:lnTo>
                  <a:pt x="864" y="462"/>
                </a:lnTo>
                <a:lnTo>
                  <a:pt x="852" y="474"/>
                </a:lnTo>
                <a:lnTo>
                  <a:pt x="846" y="480"/>
                </a:lnTo>
                <a:lnTo>
                  <a:pt x="840" y="486"/>
                </a:lnTo>
                <a:lnTo>
                  <a:pt x="834" y="498"/>
                </a:lnTo>
                <a:lnTo>
                  <a:pt x="828" y="510"/>
                </a:lnTo>
                <a:lnTo>
                  <a:pt x="816" y="522"/>
                </a:lnTo>
                <a:lnTo>
                  <a:pt x="798" y="540"/>
                </a:lnTo>
                <a:lnTo>
                  <a:pt x="780" y="558"/>
                </a:lnTo>
                <a:lnTo>
                  <a:pt x="774" y="558"/>
                </a:lnTo>
                <a:lnTo>
                  <a:pt x="756" y="576"/>
                </a:lnTo>
                <a:lnTo>
                  <a:pt x="732" y="600"/>
                </a:lnTo>
                <a:lnTo>
                  <a:pt x="726" y="600"/>
                </a:lnTo>
                <a:lnTo>
                  <a:pt x="720" y="606"/>
                </a:lnTo>
                <a:lnTo>
                  <a:pt x="714" y="612"/>
                </a:lnTo>
                <a:lnTo>
                  <a:pt x="690" y="630"/>
                </a:lnTo>
                <a:lnTo>
                  <a:pt x="678" y="636"/>
                </a:lnTo>
                <a:lnTo>
                  <a:pt x="672" y="642"/>
                </a:lnTo>
                <a:lnTo>
                  <a:pt x="660" y="660"/>
                </a:lnTo>
                <a:lnTo>
                  <a:pt x="642" y="666"/>
                </a:lnTo>
                <a:lnTo>
                  <a:pt x="636" y="678"/>
                </a:lnTo>
                <a:lnTo>
                  <a:pt x="630" y="678"/>
                </a:lnTo>
                <a:lnTo>
                  <a:pt x="630" y="684"/>
                </a:lnTo>
                <a:lnTo>
                  <a:pt x="630" y="690"/>
                </a:lnTo>
                <a:lnTo>
                  <a:pt x="636" y="696"/>
                </a:lnTo>
                <a:lnTo>
                  <a:pt x="642" y="696"/>
                </a:lnTo>
                <a:lnTo>
                  <a:pt x="648" y="702"/>
                </a:lnTo>
                <a:lnTo>
                  <a:pt x="648" y="708"/>
                </a:lnTo>
                <a:lnTo>
                  <a:pt x="642" y="708"/>
                </a:lnTo>
                <a:lnTo>
                  <a:pt x="636" y="714"/>
                </a:lnTo>
                <a:lnTo>
                  <a:pt x="636" y="720"/>
                </a:lnTo>
                <a:lnTo>
                  <a:pt x="642" y="726"/>
                </a:lnTo>
                <a:lnTo>
                  <a:pt x="636" y="738"/>
                </a:lnTo>
                <a:lnTo>
                  <a:pt x="618" y="756"/>
                </a:lnTo>
                <a:lnTo>
                  <a:pt x="612" y="750"/>
                </a:lnTo>
                <a:lnTo>
                  <a:pt x="612" y="756"/>
                </a:lnTo>
                <a:lnTo>
                  <a:pt x="618" y="762"/>
                </a:lnTo>
                <a:lnTo>
                  <a:pt x="618" y="768"/>
                </a:lnTo>
                <a:lnTo>
                  <a:pt x="624" y="774"/>
                </a:lnTo>
                <a:lnTo>
                  <a:pt x="624" y="780"/>
                </a:lnTo>
                <a:lnTo>
                  <a:pt x="636" y="786"/>
                </a:lnTo>
                <a:lnTo>
                  <a:pt x="642" y="792"/>
                </a:lnTo>
                <a:lnTo>
                  <a:pt x="642" y="798"/>
                </a:lnTo>
                <a:lnTo>
                  <a:pt x="648" y="804"/>
                </a:lnTo>
                <a:lnTo>
                  <a:pt x="654" y="810"/>
                </a:lnTo>
                <a:lnTo>
                  <a:pt x="660" y="816"/>
                </a:lnTo>
                <a:lnTo>
                  <a:pt x="666" y="816"/>
                </a:lnTo>
                <a:lnTo>
                  <a:pt x="666" y="822"/>
                </a:lnTo>
                <a:lnTo>
                  <a:pt x="672" y="828"/>
                </a:lnTo>
                <a:lnTo>
                  <a:pt x="672" y="840"/>
                </a:lnTo>
                <a:lnTo>
                  <a:pt x="672" y="846"/>
                </a:lnTo>
                <a:lnTo>
                  <a:pt x="666" y="852"/>
                </a:lnTo>
                <a:lnTo>
                  <a:pt x="660" y="864"/>
                </a:lnTo>
                <a:lnTo>
                  <a:pt x="654" y="876"/>
                </a:lnTo>
                <a:lnTo>
                  <a:pt x="648" y="882"/>
                </a:lnTo>
                <a:lnTo>
                  <a:pt x="642" y="888"/>
                </a:lnTo>
                <a:lnTo>
                  <a:pt x="642" y="894"/>
                </a:lnTo>
                <a:lnTo>
                  <a:pt x="642" y="906"/>
                </a:lnTo>
                <a:lnTo>
                  <a:pt x="630" y="918"/>
                </a:lnTo>
                <a:lnTo>
                  <a:pt x="630" y="924"/>
                </a:lnTo>
                <a:lnTo>
                  <a:pt x="624" y="930"/>
                </a:lnTo>
                <a:lnTo>
                  <a:pt x="630" y="936"/>
                </a:lnTo>
                <a:lnTo>
                  <a:pt x="630" y="942"/>
                </a:lnTo>
                <a:lnTo>
                  <a:pt x="630" y="948"/>
                </a:lnTo>
                <a:lnTo>
                  <a:pt x="630" y="954"/>
                </a:lnTo>
                <a:lnTo>
                  <a:pt x="630" y="960"/>
                </a:lnTo>
                <a:lnTo>
                  <a:pt x="624" y="966"/>
                </a:lnTo>
                <a:lnTo>
                  <a:pt x="618" y="990"/>
                </a:lnTo>
                <a:lnTo>
                  <a:pt x="618" y="1008"/>
                </a:lnTo>
                <a:lnTo>
                  <a:pt x="612" y="1026"/>
                </a:lnTo>
                <a:lnTo>
                  <a:pt x="612" y="1038"/>
                </a:lnTo>
                <a:lnTo>
                  <a:pt x="612" y="1050"/>
                </a:lnTo>
                <a:lnTo>
                  <a:pt x="612" y="1056"/>
                </a:lnTo>
                <a:lnTo>
                  <a:pt x="612" y="1062"/>
                </a:lnTo>
                <a:lnTo>
                  <a:pt x="612" y="1068"/>
                </a:lnTo>
                <a:lnTo>
                  <a:pt x="612" y="1086"/>
                </a:lnTo>
                <a:lnTo>
                  <a:pt x="612" y="1092"/>
                </a:lnTo>
                <a:lnTo>
                  <a:pt x="606" y="1098"/>
                </a:lnTo>
                <a:lnTo>
                  <a:pt x="600" y="1110"/>
                </a:lnTo>
                <a:lnTo>
                  <a:pt x="600" y="1116"/>
                </a:lnTo>
                <a:lnTo>
                  <a:pt x="594" y="1122"/>
                </a:lnTo>
                <a:lnTo>
                  <a:pt x="594" y="1128"/>
                </a:lnTo>
                <a:lnTo>
                  <a:pt x="588" y="1134"/>
                </a:lnTo>
                <a:lnTo>
                  <a:pt x="582" y="1140"/>
                </a:lnTo>
                <a:lnTo>
                  <a:pt x="570" y="1140"/>
                </a:lnTo>
                <a:lnTo>
                  <a:pt x="564" y="1146"/>
                </a:lnTo>
                <a:lnTo>
                  <a:pt x="570" y="1146"/>
                </a:lnTo>
                <a:lnTo>
                  <a:pt x="564" y="1152"/>
                </a:lnTo>
                <a:lnTo>
                  <a:pt x="558" y="1158"/>
                </a:lnTo>
                <a:lnTo>
                  <a:pt x="552" y="1164"/>
                </a:lnTo>
                <a:lnTo>
                  <a:pt x="552" y="1170"/>
                </a:lnTo>
                <a:lnTo>
                  <a:pt x="546" y="1176"/>
                </a:lnTo>
                <a:lnTo>
                  <a:pt x="546" y="1182"/>
                </a:lnTo>
                <a:lnTo>
                  <a:pt x="546" y="1188"/>
                </a:lnTo>
                <a:lnTo>
                  <a:pt x="540" y="1188"/>
                </a:lnTo>
                <a:lnTo>
                  <a:pt x="540" y="1194"/>
                </a:lnTo>
                <a:lnTo>
                  <a:pt x="528" y="1206"/>
                </a:lnTo>
                <a:lnTo>
                  <a:pt x="528" y="1212"/>
                </a:lnTo>
                <a:lnTo>
                  <a:pt x="534" y="1212"/>
                </a:lnTo>
                <a:lnTo>
                  <a:pt x="540" y="1218"/>
                </a:lnTo>
                <a:lnTo>
                  <a:pt x="534" y="1218"/>
                </a:lnTo>
                <a:lnTo>
                  <a:pt x="528" y="1218"/>
                </a:lnTo>
                <a:lnTo>
                  <a:pt x="528" y="1224"/>
                </a:lnTo>
                <a:lnTo>
                  <a:pt x="522" y="1230"/>
                </a:lnTo>
                <a:lnTo>
                  <a:pt x="516" y="1236"/>
                </a:lnTo>
                <a:lnTo>
                  <a:pt x="522" y="1236"/>
                </a:lnTo>
                <a:lnTo>
                  <a:pt x="516" y="1242"/>
                </a:lnTo>
                <a:lnTo>
                  <a:pt x="510" y="1242"/>
                </a:lnTo>
                <a:lnTo>
                  <a:pt x="504" y="1248"/>
                </a:lnTo>
                <a:lnTo>
                  <a:pt x="510" y="1260"/>
                </a:lnTo>
                <a:lnTo>
                  <a:pt x="504" y="1266"/>
                </a:lnTo>
                <a:lnTo>
                  <a:pt x="492" y="1266"/>
                </a:lnTo>
                <a:lnTo>
                  <a:pt x="486" y="1272"/>
                </a:lnTo>
                <a:lnTo>
                  <a:pt x="486" y="1278"/>
                </a:lnTo>
                <a:lnTo>
                  <a:pt x="480" y="1278"/>
                </a:lnTo>
                <a:lnTo>
                  <a:pt x="480" y="1284"/>
                </a:lnTo>
                <a:lnTo>
                  <a:pt x="480" y="1290"/>
                </a:lnTo>
                <a:lnTo>
                  <a:pt x="480" y="1296"/>
                </a:lnTo>
                <a:lnTo>
                  <a:pt x="492" y="1302"/>
                </a:lnTo>
                <a:lnTo>
                  <a:pt x="492" y="1308"/>
                </a:lnTo>
                <a:lnTo>
                  <a:pt x="492" y="1320"/>
                </a:lnTo>
                <a:lnTo>
                  <a:pt x="492" y="1332"/>
                </a:lnTo>
                <a:lnTo>
                  <a:pt x="498" y="1344"/>
                </a:lnTo>
                <a:lnTo>
                  <a:pt x="498" y="1350"/>
                </a:lnTo>
                <a:lnTo>
                  <a:pt x="498" y="1356"/>
                </a:lnTo>
                <a:lnTo>
                  <a:pt x="504" y="1362"/>
                </a:lnTo>
                <a:lnTo>
                  <a:pt x="498" y="1362"/>
                </a:lnTo>
                <a:lnTo>
                  <a:pt x="498" y="1368"/>
                </a:lnTo>
                <a:lnTo>
                  <a:pt x="492" y="1368"/>
                </a:lnTo>
                <a:lnTo>
                  <a:pt x="492" y="1374"/>
                </a:lnTo>
                <a:lnTo>
                  <a:pt x="492" y="1380"/>
                </a:lnTo>
                <a:lnTo>
                  <a:pt x="498" y="1380"/>
                </a:lnTo>
                <a:lnTo>
                  <a:pt x="504" y="1380"/>
                </a:lnTo>
                <a:lnTo>
                  <a:pt x="498" y="1386"/>
                </a:lnTo>
                <a:lnTo>
                  <a:pt x="498" y="1392"/>
                </a:lnTo>
                <a:lnTo>
                  <a:pt x="498" y="1398"/>
                </a:lnTo>
                <a:lnTo>
                  <a:pt x="498" y="1404"/>
                </a:lnTo>
                <a:lnTo>
                  <a:pt x="498" y="1410"/>
                </a:lnTo>
                <a:lnTo>
                  <a:pt x="498" y="1416"/>
                </a:lnTo>
                <a:lnTo>
                  <a:pt x="492" y="1416"/>
                </a:lnTo>
                <a:lnTo>
                  <a:pt x="498" y="1416"/>
                </a:lnTo>
                <a:lnTo>
                  <a:pt x="504" y="1416"/>
                </a:lnTo>
                <a:lnTo>
                  <a:pt x="504" y="1422"/>
                </a:lnTo>
                <a:lnTo>
                  <a:pt x="510" y="1428"/>
                </a:lnTo>
                <a:lnTo>
                  <a:pt x="510" y="1434"/>
                </a:lnTo>
                <a:lnTo>
                  <a:pt x="510" y="1440"/>
                </a:lnTo>
                <a:lnTo>
                  <a:pt x="516" y="1446"/>
                </a:lnTo>
                <a:lnTo>
                  <a:pt x="516" y="1452"/>
                </a:lnTo>
                <a:lnTo>
                  <a:pt x="516" y="1458"/>
                </a:lnTo>
                <a:lnTo>
                  <a:pt x="516" y="1464"/>
                </a:lnTo>
                <a:lnTo>
                  <a:pt x="516" y="1482"/>
                </a:lnTo>
                <a:lnTo>
                  <a:pt x="516" y="1488"/>
                </a:lnTo>
                <a:lnTo>
                  <a:pt x="522" y="1488"/>
                </a:lnTo>
                <a:lnTo>
                  <a:pt x="522" y="1494"/>
                </a:lnTo>
                <a:lnTo>
                  <a:pt x="522" y="1500"/>
                </a:lnTo>
                <a:lnTo>
                  <a:pt x="516" y="1506"/>
                </a:lnTo>
                <a:lnTo>
                  <a:pt x="510" y="1500"/>
                </a:lnTo>
                <a:lnTo>
                  <a:pt x="504" y="1500"/>
                </a:lnTo>
                <a:lnTo>
                  <a:pt x="504" y="1494"/>
                </a:lnTo>
                <a:lnTo>
                  <a:pt x="504" y="1488"/>
                </a:lnTo>
                <a:lnTo>
                  <a:pt x="504" y="1482"/>
                </a:lnTo>
                <a:lnTo>
                  <a:pt x="504" y="1488"/>
                </a:lnTo>
                <a:lnTo>
                  <a:pt x="504" y="1494"/>
                </a:lnTo>
                <a:lnTo>
                  <a:pt x="504" y="1500"/>
                </a:lnTo>
                <a:lnTo>
                  <a:pt x="498" y="1500"/>
                </a:lnTo>
                <a:lnTo>
                  <a:pt x="492" y="1500"/>
                </a:lnTo>
                <a:lnTo>
                  <a:pt x="492" y="1494"/>
                </a:lnTo>
                <a:lnTo>
                  <a:pt x="492" y="1488"/>
                </a:lnTo>
                <a:lnTo>
                  <a:pt x="492" y="1494"/>
                </a:lnTo>
                <a:lnTo>
                  <a:pt x="492" y="1500"/>
                </a:lnTo>
                <a:lnTo>
                  <a:pt x="498" y="1500"/>
                </a:lnTo>
                <a:lnTo>
                  <a:pt x="498" y="1506"/>
                </a:lnTo>
                <a:lnTo>
                  <a:pt x="504" y="1500"/>
                </a:lnTo>
                <a:lnTo>
                  <a:pt x="510" y="1500"/>
                </a:lnTo>
                <a:lnTo>
                  <a:pt x="510" y="1506"/>
                </a:lnTo>
                <a:lnTo>
                  <a:pt x="516" y="1506"/>
                </a:lnTo>
                <a:lnTo>
                  <a:pt x="510" y="1506"/>
                </a:lnTo>
                <a:lnTo>
                  <a:pt x="510" y="1512"/>
                </a:lnTo>
                <a:lnTo>
                  <a:pt x="516" y="1506"/>
                </a:lnTo>
                <a:lnTo>
                  <a:pt x="522" y="1506"/>
                </a:lnTo>
                <a:lnTo>
                  <a:pt x="528" y="1506"/>
                </a:lnTo>
                <a:lnTo>
                  <a:pt x="528" y="1500"/>
                </a:lnTo>
                <a:lnTo>
                  <a:pt x="534" y="1500"/>
                </a:lnTo>
                <a:lnTo>
                  <a:pt x="534" y="1506"/>
                </a:lnTo>
                <a:lnTo>
                  <a:pt x="540" y="1512"/>
                </a:lnTo>
                <a:lnTo>
                  <a:pt x="540" y="1518"/>
                </a:lnTo>
                <a:lnTo>
                  <a:pt x="546" y="1518"/>
                </a:lnTo>
                <a:lnTo>
                  <a:pt x="540" y="1518"/>
                </a:lnTo>
                <a:lnTo>
                  <a:pt x="540" y="1524"/>
                </a:lnTo>
                <a:lnTo>
                  <a:pt x="534" y="1524"/>
                </a:lnTo>
                <a:lnTo>
                  <a:pt x="540" y="1524"/>
                </a:lnTo>
                <a:lnTo>
                  <a:pt x="546" y="1524"/>
                </a:lnTo>
                <a:lnTo>
                  <a:pt x="546" y="1530"/>
                </a:lnTo>
                <a:lnTo>
                  <a:pt x="540" y="1530"/>
                </a:lnTo>
                <a:lnTo>
                  <a:pt x="540" y="1536"/>
                </a:lnTo>
                <a:lnTo>
                  <a:pt x="534" y="1542"/>
                </a:lnTo>
                <a:lnTo>
                  <a:pt x="528" y="1542"/>
                </a:lnTo>
                <a:lnTo>
                  <a:pt x="522" y="1542"/>
                </a:lnTo>
                <a:lnTo>
                  <a:pt x="516" y="1542"/>
                </a:lnTo>
                <a:lnTo>
                  <a:pt x="510" y="1542"/>
                </a:lnTo>
                <a:lnTo>
                  <a:pt x="504" y="1542"/>
                </a:lnTo>
                <a:lnTo>
                  <a:pt x="492" y="1542"/>
                </a:lnTo>
                <a:lnTo>
                  <a:pt x="486" y="1536"/>
                </a:lnTo>
                <a:lnTo>
                  <a:pt x="480" y="1536"/>
                </a:lnTo>
                <a:lnTo>
                  <a:pt x="468" y="1536"/>
                </a:lnTo>
                <a:lnTo>
                  <a:pt x="468" y="1542"/>
                </a:lnTo>
                <a:lnTo>
                  <a:pt x="462" y="1542"/>
                </a:lnTo>
                <a:lnTo>
                  <a:pt x="456" y="1542"/>
                </a:lnTo>
                <a:lnTo>
                  <a:pt x="450" y="1542"/>
                </a:lnTo>
                <a:lnTo>
                  <a:pt x="444" y="1542"/>
                </a:lnTo>
                <a:lnTo>
                  <a:pt x="444" y="1536"/>
                </a:lnTo>
                <a:lnTo>
                  <a:pt x="450" y="1536"/>
                </a:lnTo>
                <a:lnTo>
                  <a:pt x="456" y="1536"/>
                </a:lnTo>
                <a:lnTo>
                  <a:pt x="450" y="1536"/>
                </a:lnTo>
                <a:lnTo>
                  <a:pt x="444" y="1536"/>
                </a:lnTo>
                <a:lnTo>
                  <a:pt x="444" y="1530"/>
                </a:lnTo>
                <a:lnTo>
                  <a:pt x="450" y="1530"/>
                </a:lnTo>
                <a:lnTo>
                  <a:pt x="456" y="1524"/>
                </a:lnTo>
                <a:lnTo>
                  <a:pt x="456" y="1518"/>
                </a:lnTo>
                <a:lnTo>
                  <a:pt x="462" y="1518"/>
                </a:lnTo>
                <a:lnTo>
                  <a:pt x="462" y="1524"/>
                </a:lnTo>
                <a:lnTo>
                  <a:pt x="468" y="1524"/>
                </a:lnTo>
                <a:lnTo>
                  <a:pt x="474" y="1524"/>
                </a:lnTo>
                <a:lnTo>
                  <a:pt x="474" y="1518"/>
                </a:lnTo>
                <a:lnTo>
                  <a:pt x="480" y="1518"/>
                </a:lnTo>
                <a:lnTo>
                  <a:pt x="474" y="1518"/>
                </a:lnTo>
                <a:lnTo>
                  <a:pt x="474" y="1524"/>
                </a:lnTo>
                <a:lnTo>
                  <a:pt x="468" y="1524"/>
                </a:lnTo>
                <a:lnTo>
                  <a:pt x="462" y="1518"/>
                </a:lnTo>
                <a:lnTo>
                  <a:pt x="456" y="1518"/>
                </a:lnTo>
                <a:lnTo>
                  <a:pt x="456" y="1512"/>
                </a:lnTo>
                <a:lnTo>
                  <a:pt x="462" y="1512"/>
                </a:lnTo>
                <a:lnTo>
                  <a:pt x="462" y="1506"/>
                </a:lnTo>
                <a:lnTo>
                  <a:pt x="456" y="1506"/>
                </a:lnTo>
                <a:lnTo>
                  <a:pt x="456" y="1512"/>
                </a:lnTo>
                <a:lnTo>
                  <a:pt x="456" y="1518"/>
                </a:lnTo>
                <a:lnTo>
                  <a:pt x="456" y="1512"/>
                </a:lnTo>
                <a:lnTo>
                  <a:pt x="450" y="1518"/>
                </a:lnTo>
                <a:lnTo>
                  <a:pt x="444" y="1518"/>
                </a:lnTo>
                <a:lnTo>
                  <a:pt x="444" y="1524"/>
                </a:lnTo>
                <a:lnTo>
                  <a:pt x="438" y="1524"/>
                </a:lnTo>
                <a:lnTo>
                  <a:pt x="438" y="1530"/>
                </a:lnTo>
                <a:lnTo>
                  <a:pt x="432" y="1530"/>
                </a:lnTo>
                <a:lnTo>
                  <a:pt x="432" y="1536"/>
                </a:lnTo>
                <a:lnTo>
                  <a:pt x="426" y="1530"/>
                </a:lnTo>
                <a:lnTo>
                  <a:pt x="420" y="1530"/>
                </a:lnTo>
                <a:lnTo>
                  <a:pt x="414" y="1530"/>
                </a:lnTo>
                <a:lnTo>
                  <a:pt x="414" y="1524"/>
                </a:lnTo>
                <a:lnTo>
                  <a:pt x="408" y="1518"/>
                </a:lnTo>
                <a:lnTo>
                  <a:pt x="414" y="1512"/>
                </a:lnTo>
                <a:lnTo>
                  <a:pt x="408" y="1512"/>
                </a:lnTo>
                <a:lnTo>
                  <a:pt x="408" y="1506"/>
                </a:lnTo>
                <a:lnTo>
                  <a:pt x="408" y="1500"/>
                </a:lnTo>
                <a:lnTo>
                  <a:pt x="408" y="1494"/>
                </a:lnTo>
                <a:lnTo>
                  <a:pt x="408" y="1488"/>
                </a:lnTo>
                <a:lnTo>
                  <a:pt x="408" y="1494"/>
                </a:lnTo>
                <a:lnTo>
                  <a:pt x="414" y="1494"/>
                </a:lnTo>
                <a:lnTo>
                  <a:pt x="420" y="1494"/>
                </a:lnTo>
                <a:lnTo>
                  <a:pt x="420" y="1488"/>
                </a:lnTo>
                <a:lnTo>
                  <a:pt x="426" y="1494"/>
                </a:lnTo>
                <a:lnTo>
                  <a:pt x="426" y="1488"/>
                </a:lnTo>
                <a:lnTo>
                  <a:pt x="426" y="1494"/>
                </a:lnTo>
                <a:lnTo>
                  <a:pt x="426" y="1488"/>
                </a:lnTo>
                <a:lnTo>
                  <a:pt x="426" y="1482"/>
                </a:lnTo>
                <a:lnTo>
                  <a:pt x="426" y="1476"/>
                </a:lnTo>
                <a:lnTo>
                  <a:pt x="432" y="1476"/>
                </a:lnTo>
                <a:lnTo>
                  <a:pt x="432" y="1470"/>
                </a:lnTo>
                <a:lnTo>
                  <a:pt x="438" y="1470"/>
                </a:lnTo>
                <a:lnTo>
                  <a:pt x="444" y="1464"/>
                </a:lnTo>
                <a:lnTo>
                  <a:pt x="450" y="1458"/>
                </a:lnTo>
                <a:lnTo>
                  <a:pt x="456" y="1458"/>
                </a:lnTo>
                <a:lnTo>
                  <a:pt x="462" y="1452"/>
                </a:lnTo>
                <a:lnTo>
                  <a:pt x="468" y="1452"/>
                </a:lnTo>
                <a:lnTo>
                  <a:pt x="468" y="1446"/>
                </a:lnTo>
                <a:lnTo>
                  <a:pt x="462" y="1440"/>
                </a:lnTo>
                <a:lnTo>
                  <a:pt x="456" y="1434"/>
                </a:lnTo>
                <a:lnTo>
                  <a:pt x="456" y="1428"/>
                </a:lnTo>
                <a:lnTo>
                  <a:pt x="456" y="1422"/>
                </a:lnTo>
                <a:lnTo>
                  <a:pt x="456" y="1416"/>
                </a:lnTo>
                <a:lnTo>
                  <a:pt x="450" y="1410"/>
                </a:lnTo>
                <a:lnTo>
                  <a:pt x="444" y="1410"/>
                </a:lnTo>
                <a:lnTo>
                  <a:pt x="450" y="1410"/>
                </a:lnTo>
                <a:lnTo>
                  <a:pt x="450" y="1404"/>
                </a:lnTo>
                <a:lnTo>
                  <a:pt x="456" y="1404"/>
                </a:lnTo>
                <a:lnTo>
                  <a:pt x="462" y="1404"/>
                </a:lnTo>
                <a:lnTo>
                  <a:pt x="468" y="1398"/>
                </a:lnTo>
                <a:lnTo>
                  <a:pt x="462" y="1398"/>
                </a:lnTo>
                <a:lnTo>
                  <a:pt x="462" y="1392"/>
                </a:lnTo>
                <a:lnTo>
                  <a:pt x="456" y="1392"/>
                </a:lnTo>
                <a:lnTo>
                  <a:pt x="456" y="1386"/>
                </a:lnTo>
                <a:lnTo>
                  <a:pt x="462" y="1386"/>
                </a:lnTo>
                <a:lnTo>
                  <a:pt x="468" y="1386"/>
                </a:lnTo>
                <a:lnTo>
                  <a:pt x="474" y="1386"/>
                </a:lnTo>
                <a:lnTo>
                  <a:pt x="468" y="1386"/>
                </a:lnTo>
                <a:lnTo>
                  <a:pt x="462" y="1386"/>
                </a:lnTo>
                <a:lnTo>
                  <a:pt x="456" y="1380"/>
                </a:lnTo>
                <a:lnTo>
                  <a:pt x="456" y="1374"/>
                </a:lnTo>
                <a:lnTo>
                  <a:pt x="462" y="1374"/>
                </a:lnTo>
                <a:lnTo>
                  <a:pt x="462" y="1368"/>
                </a:lnTo>
                <a:lnTo>
                  <a:pt x="456" y="1374"/>
                </a:lnTo>
                <a:lnTo>
                  <a:pt x="456" y="1368"/>
                </a:lnTo>
                <a:lnTo>
                  <a:pt x="456" y="1362"/>
                </a:lnTo>
                <a:lnTo>
                  <a:pt x="450" y="1362"/>
                </a:lnTo>
                <a:lnTo>
                  <a:pt x="450" y="1356"/>
                </a:lnTo>
                <a:lnTo>
                  <a:pt x="450" y="1350"/>
                </a:lnTo>
                <a:lnTo>
                  <a:pt x="450" y="1344"/>
                </a:lnTo>
                <a:lnTo>
                  <a:pt x="456" y="1344"/>
                </a:lnTo>
                <a:lnTo>
                  <a:pt x="456" y="1338"/>
                </a:lnTo>
                <a:lnTo>
                  <a:pt x="462" y="1338"/>
                </a:lnTo>
                <a:lnTo>
                  <a:pt x="462" y="1332"/>
                </a:lnTo>
                <a:lnTo>
                  <a:pt x="456" y="1332"/>
                </a:lnTo>
                <a:lnTo>
                  <a:pt x="456" y="1326"/>
                </a:lnTo>
                <a:lnTo>
                  <a:pt x="450" y="1326"/>
                </a:lnTo>
                <a:lnTo>
                  <a:pt x="444" y="1326"/>
                </a:lnTo>
                <a:lnTo>
                  <a:pt x="444" y="1332"/>
                </a:lnTo>
                <a:lnTo>
                  <a:pt x="438" y="1332"/>
                </a:lnTo>
                <a:lnTo>
                  <a:pt x="438" y="1338"/>
                </a:lnTo>
                <a:lnTo>
                  <a:pt x="432" y="1338"/>
                </a:lnTo>
                <a:lnTo>
                  <a:pt x="432" y="1344"/>
                </a:lnTo>
                <a:lnTo>
                  <a:pt x="432" y="1350"/>
                </a:lnTo>
                <a:lnTo>
                  <a:pt x="426" y="1356"/>
                </a:lnTo>
                <a:lnTo>
                  <a:pt x="426" y="1368"/>
                </a:lnTo>
                <a:lnTo>
                  <a:pt x="426" y="1374"/>
                </a:lnTo>
                <a:lnTo>
                  <a:pt x="426" y="1380"/>
                </a:lnTo>
                <a:lnTo>
                  <a:pt x="432" y="1386"/>
                </a:lnTo>
                <a:lnTo>
                  <a:pt x="432" y="1392"/>
                </a:lnTo>
                <a:lnTo>
                  <a:pt x="432" y="1398"/>
                </a:lnTo>
                <a:lnTo>
                  <a:pt x="426" y="1398"/>
                </a:lnTo>
                <a:lnTo>
                  <a:pt x="420" y="1398"/>
                </a:lnTo>
                <a:lnTo>
                  <a:pt x="414" y="1398"/>
                </a:lnTo>
                <a:lnTo>
                  <a:pt x="420" y="1398"/>
                </a:lnTo>
                <a:lnTo>
                  <a:pt x="414" y="1404"/>
                </a:lnTo>
                <a:lnTo>
                  <a:pt x="420" y="1404"/>
                </a:lnTo>
                <a:lnTo>
                  <a:pt x="414" y="1404"/>
                </a:lnTo>
                <a:lnTo>
                  <a:pt x="408" y="1404"/>
                </a:lnTo>
                <a:lnTo>
                  <a:pt x="402" y="1410"/>
                </a:lnTo>
                <a:lnTo>
                  <a:pt x="402" y="1404"/>
                </a:lnTo>
                <a:lnTo>
                  <a:pt x="396" y="1404"/>
                </a:lnTo>
                <a:lnTo>
                  <a:pt x="390" y="1404"/>
                </a:lnTo>
                <a:lnTo>
                  <a:pt x="384" y="1404"/>
                </a:lnTo>
                <a:lnTo>
                  <a:pt x="384" y="1398"/>
                </a:lnTo>
                <a:lnTo>
                  <a:pt x="384" y="1392"/>
                </a:lnTo>
                <a:lnTo>
                  <a:pt x="390" y="1392"/>
                </a:lnTo>
                <a:lnTo>
                  <a:pt x="390" y="1386"/>
                </a:lnTo>
                <a:lnTo>
                  <a:pt x="390" y="1380"/>
                </a:lnTo>
                <a:lnTo>
                  <a:pt x="396" y="1380"/>
                </a:lnTo>
                <a:lnTo>
                  <a:pt x="402" y="1380"/>
                </a:lnTo>
                <a:lnTo>
                  <a:pt x="408" y="1380"/>
                </a:lnTo>
                <a:lnTo>
                  <a:pt x="408" y="1374"/>
                </a:lnTo>
                <a:lnTo>
                  <a:pt x="414" y="1374"/>
                </a:lnTo>
                <a:lnTo>
                  <a:pt x="414" y="1368"/>
                </a:lnTo>
                <a:lnTo>
                  <a:pt x="414" y="1362"/>
                </a:lnTo>
                <a:lnTo>
                  <a:pt x="414" y="1368"/>
                </a:lnTo>
                <a:lnTo>
                  <a:pt x="414" y="1374"/>
                </a:lnTo>
                <a:lnTo>
                  <a:pt x="408" y="1374"/>
                </a:lnTo>
                <a:lnTo>
                  <a:pt x="402" y="1380"/>
                </a:lnTo>
                <a:lnTo>
                  <a:pt x="396" y="1380"/>
                </a:lnTo>
                <a:lnTo>
                  <a:pt x="396" y="1374"/>
                </a:lnTo>
                <a:lnTo>
                  <a:pt x="390" y="1374"/>
                </a:lnTo>
                <a:lnTo>
                  <a:pt x="390" y="1368"/>
                </a:lnTo>
                <a:lnTo>
                  <a:pt x="384" y="1368"/>
                </a:lnTo>
                <a:lnTo>
                  <a:pt x="384" y="1374"/>
                </a:lnTo>
                <a:lnTo>
                  <a:pt x="378" y="1374"/>
                </a:lnTo>
                <a:lnTo>
                  <a:pt x="378" y="1380"/>
                </a:lnTo>
                <a:lnTo>
                  <a:pt x="372" y="1380"/>
                </a:lnTo>
                <a:lnTo>
                  <a:pt x="366" y="1386"/>
                </a:lnTo>
                <a:lnTo>
                  <a:pt x="360" y="1386"/>
                </a:lnTo>
                <a:lnTo>
                  <a:pt x="354" y="1386"/>
                </a:lnTo>
                <a:lnTo>
                  <a:pt x="354" y="1380"/>
                </a:lnTo>
                <a:lnTo>
                  <a:pt x="348" y="1380"/>
                </a:lnTo>
                <a:lnTo>
                  <a:pt x="342" y="1380"/>
                </a:lnTo>
                <a:lnTo>
                  <a:pt x="342" y="1374"/>
                </a:lnTo>
                <a:lnTo>
                  <a:pt x="336" y="1368"/>
                </a:lnTo>
                <a:lnTo>
                  <a:pt x="342" y="1368"/>
                </a:lnTo>
                <a:lnTo>
                  <a:pt x="342" y="1362"/>
                </a:lnTo>
                <a:lnTo>
                  <a:pt x="348" y="1362"/>
                </a:lnTo>
                <a:lnTo>
                  <a:pt x="354" y="1362"/>
                </a:lnTo>
                <a:lnTo>
                  <a:pt x="354" y="1356"/>
                </a:lnTo>
                <a:lnTo>
                  <a:pt x="348" y="1356"/>
                </a:lnTo>
                <a:lnTo>
                  <a:pt x="348" y="1350"/>
                </a:lnTo>
                <a:lnTo>
                  <a:pt x="348" y="1344"/>
                </a:lnTo>
                <a:lnTo>
                  <a:pt x="354" y="1338"/>
                </a:lnTo>
                <a:lnTo>
                  <a:pt x="354" y="1332"/>
                </a:lnTo>
                <a:lnTo>
                  <a:pt x="354" y="1326"/>
                </a:lnTo>
                <a:lnTo>
                  <a:pt x="354" y="1320"/>
                </a:lnTo>
                <a:lnTo>
                  <a:pt x="354" y="1314"/>
                </a:lnTo>
                <a:lnTo>
                  <a:pt x="354" y="1308"/>
                </a:lnTo>
                <a:lnTo>
                  <a:pt x="348" y="1308"/>
                </a:lnTo>
                <a:lnTo>
                  <a:pt x="348" y="1302"/>
                </a:lnTo>
                <a:lnTo>
                  <a:pt x="342" y="1296"/>
                </a:lnTo>
                <a:lnTo>
                  <a:pt x="336" y="1296"/>
                </a:lnTo>
                <a:lnTo>
                  <a:pt x="336" y="1290"/>
                </a:lnTo>
                <a:lnTo>
                  <a:pt x="330" y="1290"/>
                </a:lnTo>
                <a:lnTo>
                  <a:pt x="324" y="1290"/>
                </a:lnTo>
                <a:lnTo>
                  <a:pt x="324" y="1284"/>
                </a:lnTo>
                <a:lnTo>
                  <a:pt x="318" y="1284"/>
                </a:lnTo>
                <a:lnTo>
                  <a:pt x="318" y="1278"/>
                </a:lnTo>
                <a:lnTo>
                  <a:pt x="312" y="1278"/>
                </a:lnTo>
                <a:lnTo>
                  <a:pt x="312" y="1272"/>
                </a:lnTo>
                <a:lnTo>
                  <a:pt x="312" y="1278"/>
                </a:lnTo>
                <a:lnTo>
                  <a:pt x="318" y="1284"/>
                </a:lnTo>
                <a:lnTo>
                  <a:pt x="324" y="1290"/>
                </a:lnTo>
                <a:lnTo>
                  <a:pt x="330" y="1290"/>
                </a:lnTo>
                <a:lnTo>
                  <a:pt x="330" y="1296"/>
                </a:lnTo>
                <a:lnTo>
                  <a:pt x="336" y="1296"/>
                </a:lnTo>
                <a:lnTo>
                  <a:pt x="336" y="1302"/>
                </a:lnTo>
                <a:lnTo>
                  <a:pt x="342" y="1302"/>
                </a:lnTo>
                <a:lnTo>
                  <a:pt x="348" y="1302"/>
                </a:lnTo>
                <a:lnTo>
                  <a:pt x="348" y="1308"/>
                </a:lnTo>
                <a:lnTo>
                  <a:pt x="348" y="1314"/>
                </a:lnTo>
                <a:lnTo>
                  <a:pt x="354" y="1314"/>
                </a:lnTo>
                <a:lnTo>
                  <a:pt x="354" y="1320"/>
                </a:lnTo>
                <a:lnTo>
                  <a:pt x="354" y="1326"/>
                </a:lnTo>
                <a:lnTo>
                  <a:pt x="348" y="1326"/>
                </a:lnTo>
                <a:lnTo>
                  <a:pt x="348" y="1332"/>
                </a:lnTo>
                <a:lnTo>
                  <a:pt x="348" y="1338"/>
                </a:lnTo>
                <a:lnTo>
                  <a:pt x="348" y="1344"/>
                </a:lnTo>
                <a:lnTo>
                  <a:pt x="342" y="1344"/>
                </a:lnTo>
                <a:lnTo>
                  <a:pt x="348" y="1344"/>
                </a:lnTo>
                <a:lnTo>
                  <a:pt x="342" y="1344"/>
                </a:lnTo>
                <a:lnTo>
                  <a:pt x="342" y="1350"/>
                </a:lnTo>
                <a:lnTo>
                  <a:pt x="336" y="1350"/>
                </a:lnTo>
                <a:lnTo>
                  <a:pt x="330" y="1350"/>
                </a:lnTo>
                <a:lnTo>
                  <a:pt x="330" y="1356"/>
                </a:lnTo>
                <a:lnTo>
                  <a:pt x="330" y="1350"/>
                </a:lnTo>
                <a:lnTo>
                  <a:pt x="324" y="1350"/>
                </a:lnTo>
                <a:lnTo>
                  <a:pt x="318" y="1344"/>
                </a:lnTo>
                <a:lnTo>
                  <a:pt x="318" y="1350"/>
                </a:lnTo>
                <a:lnTo>
                  <a:pt x="312" y="1344"/>
                </a:lnTo>
                <a:lnTo>
                  <a:pt x="312" y="1338"/>
                </a:lnTo>
                <a:lnTo>
                  <a:pt x="306" y="1338"/>
                </a:lnTo>
                <a:lnTo>
                  <a:pt x="300" y="1332"/>
                </a:lnTo>
                <a:lnTo>
                  <a:pt x="306" y="1332"/>
                </a:lnTo>
                <a:lnTo>
                  <a:pt x="300" y="1332"/>
                </a:lnTo>
                <a:lnTo>
                  <a:pt x="306" y="1332"/>
                </a:lnTo>
                <a:lnTo>
                  <a:pt x="306" y="1326"/>
                </a:lnTo>
                <a:lnTo>
                  <a:pt x="306" y="1320"/>
                </a:lnTo>
                <a:lnTo>
                  <a:pt x="306" y="1326"/>
                </a:lnTo>
                <a:lnTo>
                  <a:pt x="312" y="1326"/>
                </a:lnTo>
                <a:lnTo>
                  <a:pt x="312" y="1320"/>
                </a:lnTo>
                <a:lnTo>
                  <a:pt x="306" y="1320"/>
                </a:lnTo>
                <a:lnTo>
                  <a:pt x="300" y="1320"/>
                </a:lnTo>
                <a:lnTo>
                  <a:pt x="294" y="1320"/>
                </a:lnTo>
                <a:lnTo>
                  <a:pt x="294" y="1314"/>
                </a:lnTo>
                <a:lnTo>
                  <a:pt x="288" y="1314"/>
                </a:lnTo>
                <a:lnTo>
                  <a:pt x="288" y="1308"/>
                </a:lnTo>
                <a:lnTo>
                  <a:pt x="288" y="1302"/>
                </a:lnTo>
                <a:lnTo>
                  <a:pt x="294" y="1302"/>
                </a:lnTo>
                <a:lnTo>
                  <a:pt x="294" y="1296"/>
                </a:lnTo>
                <a:lnTo>
                  <a:pt x="288" y="1296"/>
                </a:lnTo>
                <a:lnTo>
                  <a:pt x="288" y="1290"/>
                </a:lnTo>
                <a:lnTo>
                  <a:pt x="288" y="1296"/>
                </a:lnTo>
                <a:lnTo>
                  <a:pt x="294" y="1302"/>
                </a:lnTo>
                <a:lnTo>
                  <a:pt x="288" y="1302"/>
                </a:lnTo>
                <a:lnTo>
                  <a:pt x="282" y="1296"/>
                </a:lnTo>
                <a:lnTo>
                  <a:pt x="276" y="1296"/>
                </a:lnTo>
                <a:lnTo>
                  <a:pt x="276" y="1290"/>
                </a:lnTo>
                <a:lnTo>
                  <a:pt x="270" y="1290"/>
                </a:lnTo>
                <a:lnTo>
                  <a:pt x="264" y="1284"/>
                </a:lnTo>
                <a:lnTo>
                  <a:pt x="264" y="1278"/>
                </a:lnTo>
                <a:lnTo>
                  <a:pt x="264" y="1272"/>
                </a:lnTo>
                <a:lnTo>
                  <a:pt x="264" y="1266"/>
                </a:lnTo>
                <a:lnTo>
                  <a:pt x="258" y="1266"/>
                </a:lnTo>
                <a:lnTo>
                  <a:pt x="252" y="1266"/>
                </a:lnTo>
                <a:lnTo>
                  <a:pt x="246" y="1260"/>
                </a:lnTo>
                <a:lnTo>
                  <a:pt x="240" y="1254"/>
                </a:lnTo>
                <a:lnTo>
                  <a:pt x="240" y="1260"/>
                </a:lnTo>
                <a:lnTo>
                  <a:pt x="240" y="1266"/>
                </a:lnTo>
                <a:lnTo>
                  <a:pt x="240" y="1272"/>
                </a:lnTo>
                <a:lnTo>
                  <a:pt x="246" y="1272"/>
                </a:lnTo>
                <a:lnTo>
                  <a:pt x="246" y="1278"/>
                </a:lnTo>
                <a:lnTo>
                  <a:pt x="246" y="1284"/>
                </a:lnTo>
                <a:lnTo>
                  <a:pt x="252" y="1284"/>
                </a:lnTo>
                <a:lnTo>
                  <a:pt x="252" y="1290"/>
                </a:lnTo>
                <a:lnTo>
                  <a:pt x="258" y="1296"/>
                </a:lnTo>
                <a:lnTo>
                  <a:pt x="264" y="1302"/>
                </a:lnTo>
                <a:lnTo>
                  <a:pt x="264" y="1308"/>
                </a:lnTo>
                <a:lnTo>
                  <a:pt x="264" y="1314"/>
                </a:lnTo>
                <a:lnTo>
                  <a:pt x="258" y="1314"/>
                </a:lnTo>
                <a:lnTo>
                  <a:pt x="258" y="1308"/>
                </a:lnTo>
                <a:lnTo>
                  <a:pt x="252" y="1308"/>
                </a:lnTo>
                <a:lnTo>
                  <a:pt x="252" y="1302"/>
                </a:lnTo>
                <a:lnTo>
                  <a:pt x="246" y="1302"/>
                </a:lnTo>
                <a:lnTo>
                  <a:pt x="246" y="1296"/>
                </a:lnTo>
                <a:lnTo>
                  <a:pt x="240" y="1296"/>
                </a:lnTo>
                <a:lnTo>
                  <a:pt x="240" y="1290"/>
                </a:lnTo>
                <a:lnTo>
                  <a:pt x="234" y="1284"/>
                </a:lnTo>
                <a:lnTo>
                  <a:pt x="234" y="1278"/>
                </a:lnTo>
                <a:close/>
                <a:moveTo>
                  <a:pt x="444" y="1332"/>
                </a:moveTo>
                <a:lnTo>
                  <a:pt x="450" y="1326"/>
                </a:lnTo>
                <a:lnTo>
                  <a:pt x="456" y="1326"/>
                </a:lnTo>
                <a:lnTo>
                  <a:pt x="456" y="1332"/>
                </a:lnTo>
                <a:lnTo>
                  <a:pt x="456" y="1338"/>
                </a:lnTo>
                <a:lnTo>
                  <a:pt x="450" y="1338"/>
                </a:lnTo>
                <a:lnTo>
                  <a:pt x="444" y="1338"/>
                </a:lnTo>
                <a:lnTo>
                  <a:pt x="444" y="1332"/>
                </a:lnTo>
                <a:close/>
                <a:moveTo>
                  <a:pt x="444" y="1368"/>
                </a:moveTo>
                <a:lnTo>
                  <a:pt x="456" y="1368"/>
                </a:lnTo>
                <a:lnTo>
                  <a:pt x="456" y="1374"/>
                </a:lnTo>
                <a:lnTo>
                  <a:pt x="444" y="1374"/>
                </a:lnTo>
                <a:lnTo>
                  <a:pt x="444" y="1368"/>
                </a:lnTo>
                <a:close/>
                <a:moveTo>
                  <a:pt x="444" y="1386"/>
                </a:moveTo>
                <a:lnTo>
                  <a:pt x="444" y="1380"/>
                </a:lnTo>
                <a:lnTo>
                  <a:pt x="444" y="1374"/>
                </a:lnTo>
                <a:lnTo>
                  <a:pt x="444" y="1380"/>
                </a:lnTo>
                <a:lnTo>
                  <a:pt x="450" y="1380"/>
                </a:lnTo>
                <a:lnTo>
                  <a:pt x="456" y="1380"/>
                </a:lnTo>
                <a:lnTo>
                  <a:pt x="456" y="1386"/>
                </a:lnTo>
                <a:lnTo>
                  <a:pt x="456" y="1392"/>
                </a:lnTo>
                <a:lnTo>
                  <a:pt x="462" y="1392"/>
                </a:lnTo>
                <a:lnTo>
                  <a:pt x="462" y="1398"/>
                </a:lnTo>
                <a:lnTo>
                  <a:pt x="462" y="1404"/>
                </a:lnTo>
                <a:lnTo>
                  <a:pt x="456" y="1404"/>
                </a:lnTo>
                <a:lnTo>
                  <a:pt x="450" y="1404"/>
                </a:lnTo>
                <a:lnTo>
                  <a:pt x="450" y="1398"/>
                </a:lnTo>
                <a:lnTo>
                  <a:pt x="444" y="1398"/>
                </a:lnTo>
                <a:lnTo>
                  <a:pt x="444" y="1392"/>
                </a:lnTo>
                <a:lnTo>
                  <a:pt x="444" y="1386"/>
                </a:lnTo>
                <a:close/>
                <a:moveTo>
                  <a:pt x="438" y="1362"/>
                </a:moveTo>
                <a:lnTo>
                  <a:pt x="444" y="1356"/>
                </a:lnTo>
                <a:lnTo>
                  <a:pt x="450" y="1356"/>
                </a:lnTo>
                <a:lnTo>
                  <a:pt x="450" y="1362"/>
                </a:lnTo>
                <a:lnTo>
                  <a:pt x="450" y="1368"/>
                </a:lnTo>
                <a:lnTo>
                  <a:pt x="444" y="1368"/>
                </a:lnTo>
                <a:lnTo>
                  <a:pt x="444" y="1362"/>
                </a:lnTo>
                <a:lnTo>
                  <a:pt x="438" y="1362"/>
                </a:lnTo>
                <a:close/>
                <a:moveTo>
                  <a:pt x="438" y="1350"/>
                </a:moveTo>
                <a:lnTo>
                  <a:pt x="438" y="1344"/>
                </a:lnTo>
                <a:lnTo>
                  <a:pt x="438" y="1338"/>
                </a:lnTo>
                <a:lnTo>
                  <a:pt x="444" y="1338"/>
                </a:lnTo>
                <a:lnTo>
                  <a:pt x="450" y="1338"/>
                </a:lnTo>
                <a:lnTo>
                  <a:pt x="456" y="1338"/>
                </a:lnTo>
                <a:lnTo>
                  <a:pt x="450" y="1344"/>
                </a:lnTo>
                <a:lnTo>
                  <a:pt x="444" y="1350"/>
                </a:lnTo>
                <a:lnTo>
                  <a:pt x="438" y="1350"/>
                </a:lnTo>
                <a:close/>
                <a:moveTo>
                  <a:pt x="432" y="1380"/>
                </a:moveTo>
                <a:lnTo>
                  <a:pt x="432" y="1368"/>
                </a:lnTo>
                <a:lnTo>
                  <a:pt x="432" y="1362"/>
                </a:lnTo>
                <a:lnTo>
                  <a:pt x="432" y="1356"/>
                </a:lnTo>
                <a:lnTo>
                  <a:pt x="438" y="1356"/>
                </a:lnTo>
                <a:lnTo>
                  <a:pt x="438" y="1362"/>
                </a:lnTo>
                <a:lnTo>
                  <a:pt x="438" y="1368"/>
                </a:lnTo>
                <a:lnTo>
                  <a:pt x="438" y="1374"/>
                </a:lnTo>
                <a:lnTo>
                  <a:pt x="438" y="1380"/>
                </a:lnTo>
                <a:lnTo>
                  <a:pt x="438" y="1386"/>
                </a:lnTo>
                <a:lnTo>
                  <a:pt x="438" y="1380"/>
                </a:lnTo>
                <a:lnTo>
                  <a:pt x="432" y="1380"/>
                </a:lnTo>
                <a:close/>
                <a:moveTo>
                  <a:pt x="246" y="1272"/>
                </a:moveTo>
                <a:lnTo>
                  <a:pt x="252" y="1272"/>
                </a:lnTo>
                <a:lnTo>
                  <a:pt x="252" y="1278"/>
                </a:lnTo>
                <a:lnTo>
                  <a:pt x="246" y="1278"/>
                </a:lnTo>
                <a:lnTo>
                  <a:pt x="246" y="1272"/>
                </a:lnTo>
                <a:close/>
                <a:moveTo>
                  <a:pt x="426" y="1416"/>
                </a:moveTo>
                <a:lnTo>
                  <a:pt x="432" y="1410"/>
                </a:lnTo>
                <a:lnTo>
                  <a:pt x="438" y="1410"/>
                </a:lnTo>
                <a:lnTo>
                  <a:pt x="438" y="1416"/>
                </a:lnTo>
                <a:lnTo>
                  <a:pt x="438" y="1422"/>
                </a:lnTo>
                <a:lnTo>
                  <a:pt x="432" y="1422"/>
                </a:lnTo>
                <a:lnTo>
                  <a:pt x="426" y="1422"/>
                </a:lnTo>
                <a:lnTo>
                  <a:pt x="426" y="1416"/>
                </a:lnTo>
                <a:close/>
                <a:moveTo>
                  <a:pt x="246" y="1266"/>
                </a:moveTo>
                <a:lnTo>
                  <a:pt x="252" y="1266"/>
                </a:lnTo>
                <a:lnTo>
                  <a:pt x="258" y="1272"/>
                </a:lnTo>
                <a:lnTo>
                  <a:pt x="258" y="1278"/>
                </a:lnTo>
                <a:lnTo>
                  <a:pt x="258" y="1284"/>
                </a:lnTo>
                <a:lnTo>
                  <a:pt x="252" y="1284"/>
                </a:lnTo>
                <a:lnTo>
                  <a:pt x="252" y="1278"/>
                </a:lnTo>
                <a:lnTo>
                  <a:pt x="252" y="1272"/>
                </a:lnTo>
                <a:lnTo>
                  <a:pt x="252" y="1266"/>
                </a:lnTo>
                <a:lnTo>
                  <a:pt x="246" y="1266"/>
                </a:lnTo>
                <a:close/>
                <a:moveTo>
                  <a:pt x="408" y="1458"/>
                </a:moveTo>
                <a:lnTo>
                  <a:pt x="408" y="1452"/>
                </a:lnTo>
                <a:lnTo>
                  <a:pt x="414" y="1452"/>
                </a:lnTo>
                <a:lnTo>
                  <a:pt x="414" y="1446"/>
                </a:lnTo>
                <a:lnTo>
                  <a:pt x="414" y="1440"/>
                </a:lnTo>
                <a:lnTo>
                  <a:pt x="420" y="1440"/>
                </a:lnTo>
                <a:lnTo>
                  <a:pt x="420" y="1434"/>
                </a:lnTo>
                <a:lnTo>
                  <a:pt x="420" y="1428"/>
                </a:lnTo>
                <a:lnTo>
                  <a:pt x="420" y="1422"/>
                </a:lnTo>
                <a:lnTo>
                  <a:pt x="426" y="1422"/>
                </a:lnTo>
                <a:lnTo>
                  <a:pt x="432" y="1428"/>
                </a:lnTo>
                <a:lnTo>
                  <a:pt x="438" y="1428"/>
                </a:lnTo>
                <a:lnTo>
                  <a:pt x="438" y="1434"/>
                </a:lnTo>
                <a:lnTo>
                  <a:pt x="438" y="1428"/>
                </a:lnTo>
                <a:lnTo>
                  <a:pt x="438" y="1422"/>
                </a:lnTo>
                <a:lnTo>
                  <a:pt x="444" y="1416"/>
                </a:lnTo>
                <a:lnTo>
                  <a:pt x="444" y="1410"/>
                </a:lnTo>
                <a:lnTo>
                  <a:pt x="450" y="1416"/>
                </a:lnTo>
                <a:lnTo>
                  <a:pt x="456" y="1416"/>
                </a:lnTo>
                <a:lnTo>
                  <a:pt x="456" y="1422"/>
                </a:lnTo>
                <a:lnTo>
                  <a:pt x="456" y="1428"/>
                </a:lnTo>
                <a:lnTo>
                  <a:pt x="456" y="1434"/>
                </a:lnTo>
                <a:lnTo>
                  <a:pt x="456" y="1440"/>
                </a:lnTo>
                <a:lnTo>
                  <a:pt x="462" y="1440"/>
                </a:lnTo>
                <a:lnTo>
                  <a:pt x="462" y="1446"/>
                </a:lnTo>
                <a:lnTo>
                  <a:pt x="462" y="1452"/>
                </a:lnTo>
                <a:lnTo>
                  <a:pt x="456" y="1452"/>
                </a:lnTo>
                <a:lnTo>
                  <a:pt x="450" y="1452"/>
                </a:lnTo>
                <a:lnTo>
                  <a:pt x="444" y="1446"/>
                </a:lnTo>
                <a:lnTo>
                  <a:pt x="444" y="1452"/>
                </a:lnTo>
                <a:lnTo>
                  <a:pt x="450" y="1452"/>
                </a:lnTo>
                <a:lnTo>
                  <a:pt x="450" y="1458"/>
                </a:lnTo>
                <a:lnTo>
                  <a:pt x="444" y="1458"/>
                </a:lnTo>
                <a:lnTo>
                  <a:pt x="438" y="1464"/>
                </a:lnTo>
                <a:lnTo>
                  <a:pt x="438" y="1458"/>
                </a:lnTo>
                <a:lnTo>
                  <a:pt x="432" y="1458"/>
                </a:lnTo>
                <a:lnTo>
                  <a:pt x="426" y="1458"/>
                </a:lnTo>
                <a:lnTo>
                  <a:pt x="432" y="1458"/>
                </a:lnTo>
                <a:lnTo>
                  <a:pt x="438" y="1464"/>
                </a:lnTo>
                <a:lnTo>
                  <a:pt x="432" y="1464"/>
                </a:lnTo>
                <a:lnTo>
                  <a:pt x="432" y="1470"/>
                </a:lnTo>
                <a:lnTo>
                  <a:pt x="426" y="1470"/>
                </a:lnTo>
                <a:lnTo>
                  <a:pt x="420" y="1476"/>
                </a:lnTo>
                <a:lnTo>
                  <a:pt x="420" y="1470"/>
                </a:lnTo>
                <a:lnTo>
                  <a:pt x="414" y="1470"/>
                </a:lnTo>
                <a:lnTo>
                  <a:pt x="414" y="1464"/>
                </a:lnTo>
                <a:lnTo>
                  <a:pt x="414" y="1458"/>
                </a:lnTo>
                <a:lnTo>
                  <a:pt x="408" y="1458"/>
                </a:lnTo>
                <a:close/>
                <a:moveTo>
                  <a:pt x="270" y="1326"/>
                </a:moveTo>
                <a:lnTo>
                  <a:pt x="270" y="1320"/>
                </a:lnTo>
                <a:lnTo>
                  <a:pt x="276" y="1320"/>
                </a:lnTo>
                <a:lnTo>
                  <a:pt x="282" y="1326"/>
                </a:lnTo>
                <a:lnTo>
                  <a:pt x="288" y="1326"/>
                </a:lnTo>
                <a:lnTo>
                  <a:pt x="288" y="1332"/>
                </a:lnTo>
                <a:lnTo>
                  <a:pt x="288" y="1338"/>
                </a:lnTo>
                <a:lnTo>
                  <a:pt x="288" y="1344"/>
                </a:lnTo>
                <a:lnTo>
                  <a:pt x="282" y="1344"/>
                </a:lnTo>
                <a:lnTo>
                  <a:pt x="282" y="1338"/>
                </a:lnTo>
                <a:lnTo>
                  <a:pt x="276" y="1338"/>
                </a:lnTo>
                <a:lnTo>
                  <a:pt x="276" y="1332"/>
                </a:lnTo>
                <a:lnTo>
                  <a:pt x="270" y="1332"/>
                </a:lnTo>
                <a:lnTo>
                  <a:pt x="270" y="1326"/>
                </a:lnTo>
                <a:close/>
                <a:moveTo>
                  <a:pt x="288" y="1458"/>
                </a:moveTo>
                <a:lnTo>
                  <a:pt x="294" y="1458"/>
                </a:lnTo>
                <a:lnTo>
                  <a:pt x="294" y="1452"/>
                </a:lnTo>
                <a:lnTo>
                  <a:pt x="294" y="1446"/>
                </a:lnTo>
                <a:lnTo>
                  <a:pt x="300" y="1446"/>
                </a:lnTo>
                <a:lnTo>
                  <a:pt x="300" y="1440"/>
                </a:lnTo>
                <a:lnTo>
                  <a:pt x="306" y="1440"/>
                </a:lnTo>
                <a:lnTo>
                  <a:pt x="306" y="1446"/>
                </a:lnTo>
                <a:lnTo>
                  <a:pt x="312" y="1452"/>
                </a:lnTo>
                <a:lnTo>
                  <a:pt x="306" y="1452"/>
                </a:lnTo>
                <a:lnTo>
                  <a:pt x="306" y="1458"/>
                </a:lnTo>
                <a:lnTo>
                  <a:pt x="312" y="1464"/>
                </a:lnTo>
                <a:lnTo>
                  <a:pt x="306" y="1464"/>
                </a:lnTo>
                <a:lnTo>
                  <a:pt x="306" y="1470"/>
                </a:lnTo>
                <a:lnTo>
                  <a:pt x="300" y="1476"/>
                </a:lnTo>
                <a:lnTo>
                  <a:pt x="294" y="1476"/>
                </a:lnTo>
                <a:lnTo>
                  <a:pt x="294" y="1470"/>
                </a:lnTo>
                <a:lnTo>
                  <a:pt x="288" y="1470"/>
                </a:lnTo>
                <a:lnTo>
                  <a:pt x="288" y="1464"/>
                </a:lnTo>
                <a:lnTo>
                  <a:pt x="288" y="1458"/>
                </a:lnTo>
                <a:close/>
                <a:moveTo>
                  <a:pt x="270" y="1296"/>
                </a:moveTo>
                <a:lnTo>
                  <a:pt x="276" y="1296"/>
                </a:lnTo>
                <a:lnTo>
                  <a:pt x="282" y="1296"/>
                </a:lnTo>
                <a:lnTo>
                  <a:pt x="288" y="1296"/>
                </a:lnTo>
                <a:lnTo>
                  <a:pt x="288" y="1302"/>
                </a:lnTo>
                <a:lnTo>
                  <a:pt x="282" y="1308"/>
                </a:lnTo>
                <a:lnTo>
                  <a:pt x="276" y="1308"/>
                </a:lnTo>
                <a:lnTo>
                  <a:pt x="276" y="1302"/>
                </a:lnTo>
                <a:lnTo>
                  <a:pt x="270" y="1296"/>
                </a:lnTo>
                <a:close/>
              </a:path>
            </a:pathLst>
          </a:custGeom>
          <a:solidFill>
            <a:srgbClr val="FF9900"/>
          </a:solidFill>
          <a:ln w="9525">
            <a:solidFill>
              <a:schemeClr val="bg1"/>
            </a:solidFill>
            <a:round/>
            <a:headEnd/>
            <a:tailEnd/>
          </a:ln>
        </p:spPr>
        <p:txBody>
          <a:bodyPr/>
          <a:lstStyle/>
          <a:p>
            <a:endParaRPr lang="en-GB"/>
          </a:p>
        </p:txBody>
      </p:sp>
      <p:sp>
        <p:nvSpPr>
          <p:cNvPr id="17434" name="Freeform 20"/>
          <p:cNvSpPr>
            <a:spLocks/>
          </p:cNvSpPr>
          <p:nvPr/>
        </p:nvSpPr>
        <p:spPr bwMode="gray">
          <a:xfrm>
            <a:off x="3556000" y="4999038"/>
            <a:ext cx="487363" cy="603250"/>
          </a:xfrm>
          <a:custGeom>
            <a:avLst/>
            <a:gdLst>
              <a:gd name="T0" fmla="*/ 23442 w 624"/>
              <a:gd name="T1" fmla="*/ 49125 h 750"/>
              <a:gd name="T2" fmla="*/ 21098 w 624"/>
              <a:gd name="T3" fmla="*/ 49931 h 750"/>
              <a:gd name="T4" fmla="*/ 17973 w 624"/>
              <a:gd name="T5" fmla="*/ 47515 h 750"/>
              <a:gd name="T6" fmla="*/ 15628 w 624"/>
              <a:gd name="T7" fmla="*/ 46709 h 750"/>
              <a:gd name="T8" fmla="*/ 14847 w 624"/>
              <a:gd name="T9" fmla="*/ 45099 h 750"/>
              <a:gd name="T10" fmla="*/ 13284 w 624"/>
              <a:gd name="T11" fmla="*/ 44293 h 750"/>
              <a:gd name="T12" fmla="*/ 12503 w 624"/>
              <a:gd name="T13" fmla="*/ 41072 h 750"/>
              <a:gd name="T14" fmla="*/ 10940 w 624"/>
              <a:gd name="T15" fmla="*/ 38656 h 750"/>
              <a:gd name="T16" fmla="*/ 9377 w 624"/>
              <a:gd name="T17" fmla="*/ 37045 h 750"/>
              <a:gd name="T18" fmla="*/ 9377 w 624"/>
              <a:gd name="T19" fmla="*/ 35435 h 750"/>
              <a:gd name="T20" fmla="*/ 8596 w 624"/>
              <a:gd name="T21" fmla="*/ 33019 h 750"/>
              <a:gd name="T22" fmla="*/ 6251 w 624"/>
              <a:gd name="T23" fmla="*/ 30603 h 750"/>
              <a:gd name="T24" fmla="*/ 4688 w 624"/>
              <a:gd name="T25" fmla="*/ 30603 h 750"/>
              <a:gd name="T26" fmla="*/ 4688 w 624"/>
              <a:gd name="T27" fmla="*/ 28187 h 750"/>
              <a:gd name="T28" fmla="*/ 5470 w 624"/>
              <a:gd name="T29" fmla="*/ 24965 h 750"/>
              <a:gd name="T30" fmla="*/ 7814 w 624"/>
              <a:gd name="T31" fmla="*/ 21744 h 750"/>
              <a:gd name="T32" fmla="*/ 6251 w 624"/>
              <a:gd name="T33" fmla="*/ 18523 h 750"/>
              <a:gd name="T34" fmla="*/ 4688 w 624"/>
              <a:gd name="T35" fmla="*/ 18523 h 750"/>
              <a:gd name="T36" fmla="*/ 2344 w 624"/>
              <a:gd name="T37" fmla="*/ 17717 h 750"/>
              <a:gd name="T38" fmla="*/ 0 w 624"/>
              <a:gd name="T39" fmla="*/ 17717 h 750"/>
              <a:gd name="T40" fmla="*/ 0 w 624"/>
              <a:gd name="T41" fmla="*/ 15301 h 750"/>
              <a:gd name="T42" fmla="*/ 781 w 624"/>
              <a:gd name="T43" fmla="*/ 14496 h 750"/>
              <a:gd name="T44" fmla="*/ 1563 w 624"/>
              <a:gd name="T45" fmla="*/ 11275 h 750"/>
              <a:gd name="T46" fmla="*/ 3126 w 624"/>
              <a:gd name="T47" fmla="*/ 13691 h 750"/>
              <a:gd name="T48" fmla="*/ 4688 w 624"/>
              <a:gd name="T49" fmla="*/ 13691 h 750"/>
              <a:gd name="T50" fmla="*/ 5470 w 624"/>
              <a:gd name="T51" fmla="*/ 13691 h 750"/>
              <a:gd name="T52" fmla="*/ 7033 w 624"/>
              <a:gd name="T53" fmla="*/ 12080 h 750"/>
              <a:gd name="T54" fmla="*/ 7814 w 624"/>
              <a:gd name="T55" fmla="*/ 11275 h 750"/>
              <a:gd name="T56" fmla="*/ 8596 w 624"/>
              <a:gd name="T57" fmla="*/ 9664 h 750"/>
              <a:gd name="T58" fmla="*/ 10158 w 624"/>
              <a:gd name="T59" fmla="*/ 9664 h 750"/>
              <a:gd name="T60" fmla="*/ 14065 w 624"/>
              <a:gd name="T61" fmla="*/ 8053 h 750"/>
              <a:gd name="T62" fmla="*/ 17191 w 624"/>
              <a:gd name="T63" fmla="*/ 3221 h 750"/>
              <a:gd name="T64" fmla="*/ 18754 w 624"/>
              <a:gd name="T65" fmla="*/ 3221 h 750"/>
              <a:gd name="T66" fmla="*/ 20317 w 624"/>
              <a:gd name="T67" fmla="*/ 1611 h 750"/>
              <a:gd name="T68" fmla="*/ 22661 w 624"/>
              <a:gd name="T69" fmla="*/ 0 h 750"/>
              <a:gd name="T70" fmla="*/ 25005 w 624"/>
              <a:gd name="T71" fmla="*/ 1611 h 750"/>
              <a:gd name="T72" fmla="*/ 26568 w 624"/>
              <a:gd name="T73" fmla="*/ 4027 h 750"/>
              <a:gd name="T74" fmla="*/ 27349 w 624"/>
              <a:gd name="T75" fmla="*/ 6443 h 750"/>
              <a:gd name="T76" fmla="*/ 30475 w 624"/>
              <a:gd name="T77" fmla="*/ 8859 h 750"/>
              <a:gd name="T78" fmla="*/ 32819 w 624"/>
              <a:gd name="T79" fmla="*/ 11275 h 750"/>
              <a:gd name="T80" fmla="*/ 35945 w 624"/>
              <a:gd name="T81" fmla="*/ 9664 h 750"/>
              <a:gd name="T82" fmla="*/ 38289 w 624"/>
              <a:gd name="T83" fmla="*/ 9664 h 750"/>
              <a:gd name="T84" fmla="*/ 39852 w 624"/>
              <a:gd name="T85" fmla="*/ 9664 h 750"/>
              <a:gd name="T86" fmla="*/ 41415 w 624"/>
              <a:gd name="T87" fmla="*/ 9664 h 750"/>
              <a:gd name="T88" fmla="*/ 41415 w 624"/>
              <a:gd name="T89" fmla="*/ 13691 h 750"/>
              <a:gd name="T90" fmla="*/ 39852 w 624"/>
              <a:gd name="T91" fmla="*/ 16107 h 750"/>
              <a:gd name="T92" fmla="*/ 38289 w 624"/>
              <a:gd name="T93" fmla="*/ 20939 h 750"/>
              <a:gd name="T94" fmla="*/ 36726 w 624"/>
              <a:gd name="T95" fmla="*/ 20939 h 750"/>
              <a:gd name="T96" fmla="*/ 34382 w 624"/>
              <a:gd name="T97" fmla="*/ 20939 h 750"/>
              <a:gd name="T98" fmla="*/ 33601 w 624"/>
              <a:gd name="T99" fmla="*/ 21744 h 750"/>
              <a:gd name="T100" fmla="*/ 35164 w 624"/>
              <a:gd name="T101" fmla="*/ 25771 h 750"/>
              <a:gd name="T102" fmla="*/ 34382 w 624"/>
              <a:gd name="T103" fmla="*/ 34629 h 750"/>
              <a:gd name="T104" fmla="*/ 34382 w 624"/>
              <a:gd name="T105" fmla="*/ 37851 h 750"/>
              <a:gd name="T106" fmla="*/ 34382 w 624"/>
              <a:gd name="T107" fmla="*/ 43488 h 750"/>
              <a:gd name="T108" fmla="*/ 32038 w 624"/>
              <a:gd name="T109" fmla="*/ 48320 h 750"/>
              <a:gd name="T110" fmla="*/ 32819 w 624"/>
              <a:gd name="T111" fmla="*/ 49931 h 750"/>
              <a:gd name="T112" fmla="*/ 33601 w 624"/>
              <a:gd name="T113" fmla="*/ 52347 h 750"/>
              <a:gd name="T114" fmla="*/ 30475 w 624"/>
              <a:gd name="T115" fmla="*/ 50736 h 750"/>
              <a:gd name="T116" fmla="*/ 27349 w 624"/>
              <a:gd name="T117" fmla="*/ 49931 h 7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24"/>
              <a:gd name="T178" fmla="*/ 0 h 750"/>
              <a:gd name="T179" fmla="*/ 624 w 624"/>
              <a:gd name="T180" fmla="*/ 750 h 75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24" h="750">
                <a:moveTo>
                  <a:pt x="390" y="702"/>
                </a:moveTo>
                <a:lnTo>
                  <a:pt x="372" y="696"/>
                </a:lnTo>
                <a:lnTo>
                  <a:pt x="360" y="702"/>
                </a:lnTo>
                <a:lnTo>
                  <a:pt x="348" y="702"/>
                </a:lnTo>
                <a:lnTo>
                  <a:pt x="336" y="702"/>
                </a:lnTo>
                <a:lnTo>
                  <a:pt x="330" y="702"/>
                </a:lnTo>
                <a:lnTo>
                  <a:pt x="318" y="708"/>
                </a:lnTo>
                <a:lnTo>
                  <a:pt x="306" y="708"/>
                </a:lnTo>
                <a:lnTo>
                  <a:pt x="294" y="690"/>
                </a:lnTo>
                <a:lnTo>
                  <a:pt x="294" y="684"/>
                </a:lnTo>
                <a:lnTo>
                  <a:pt x="276" y="684"/>
                </a:lnTo>
                <a:lnTo>
                  <a:pt x="270" y="678"/>
                </a:lnTo>
                <a:lnTo>
                  <a:pt x="240" y="672"/>
                </a:lnTo>
                <a:lnTo>
                  <a:pt x="234" y="672"/>
                </a:lnTo>
                <a:lnTo>
                  <a:pt x="228" y="672"/>
                </a:lnTo>
                <a:lnTo>
                  <a:pt x="228" y="666"/>
                </a:lnTo>
                <a:lnTo>
                  <a:pt x="222" y="666"/>
                </a:lnTo>
                <a:lnTo>
                  <a:pt x="216" y="660"/>
                </a:lnTo>
                <a:lnTo>
                  <a:pt x="216" y="654"/>
                </a:lnTo>
                <a:lnTo>
                  <a:pt x="216" y="642"/>
                </a:lnTo>
                <a:lnTo>
                  <a:pt x="210" y="642"/>
                </a:lnTo>
                <a:lnTo>
                  <a:pt x="204" y="636"/>
                </a:lnTo>
                <a:lnTo>
                  <a:pt x="198" y="636"/>
                </a:lnTo>
                <a:lnTo>
                  <a:pt x="192" y="636"/>
                </a:lnTo>
                <a:lnTo>
                  <a:pt x="192" y="624"/>
                </a:lnTo>
                <a:lnTo>
                  <a:pt x="186" y="612"/>
                </a:lnTo>
                <a:lnTo>
                  <a:pt x="186" y="600"/>
                </a:lnTo>
                <a:lnTo>
                  <a:pt x="186" y="588"/>
                </a:lnTo>
                <a:lnTo>
                  <a:pt x="180" y="582"/>
                </a:lnTo>
                <a:lnTo>
                  <a:pt x="180" y="570"/>
                </a:lnTo>
                <a:lnTo>
                  <a:pt x="174" y="558"/>
                </a:lnTo>
                <a:lnTo>
                  <a:pt x="162" y="558"/>
                </a:lnTo>
                <a:lnTo>
                  <a:pt x="144" y="564"/>
                </a:lnTo>
                <a:lnTo>
                  <a:pt x="138" y="552"/>
                </a:lnTo>
                <a:lnTo>
                  <a:pt x="144" y="540"/>
                </a:lnTo>
                <a:lnTo>
                  <a:pt x="138" y="534"/>
                </a:lnTo>
                <a:lnTo>
                  <a:pt x="138" y="528"/>
                </a:lnTo>
                <a:lnTo>
                  <a:pt x="132" y="522"/>
                </a:lnTo>
                <a:lnTo>
                  <a:pt x="144" y="522"/>
                </a:lnTo>
                <a:lnTo>
                  <a:pt x="144" y="510"/>
                </a:lnTo>
                <a:lnTo>
                  <a:pt x="144" y="504"/>
                </a:lnTo>
                <a:lnTo>
                  <a:pt x="138" y="492"/>
                </a:lnTo>
                <a:lnTo>
                  <a:pt x="138" y="474"/>
                </a:lnTo>
                <a:lnTo>
                  <a:pt x="126" y="468"/>
                </a:lnTo>
                <a:lnTo>
                  <a:pt x="120" y="456"/>
                </a:lnTo>
                <a:lnTo>
                  <a:pt x="114" y="450"/>
                </a:lnTo>
                <a:lnTo>
                  <a:pt x="108" y="438"/>
                </a:lnTo>
                <a:lnTo>
                  <a:pt x="96" y="432"/>
                </a:lnTo>
                <a:lnTo>
                  <a:pt x="84" y="432"/>
                </a:lnTo>
                <a:lnTo>
                  <a:pt x="78" y="432"/>
                </a:lnTo>
                <a:lnTo>
                  <a:pt x="72" y="432"/>
                </a:lnTo>
                <a:lnTo>
                  <a:pt x="66" y="432"/>
                </a:lnTo>
                <a:lnTo>
                  <a:pt x="60" y="426"/>
                </a:lnTo>
                <a:lnTo>
                  <a:pt x="66" y="420"/>
                </a:lnTo>
                <a:lnTo>
                  <a:pt x="66" y="408"/>
                </a:lnTo>
                <a:lnTo>
                  <a:pt x="72" y="408"/>
                </a:lnTo>
                <a:lnTo>
                  <a:pt x="72" y="384"/>
                </a:lnTo>
                <a:lnTo>
                  <a:pt x="72" y="366"/>
                </a:lnTo>
                <a:lnTo>
                  <a:pt x="78" y="354"/>
                </a:lnTo>
                <a:lnTo>
                  <a:pt x="84" y="354"/>
                </a:lnTo>
                <a:lnTo>
                  <a:pt x="90" y="348"/>
                </a:lnTo>
                <a:lnTo>
                  <a:pt x="102" y="336"/>
                </a:lnTo>
                <a:lnTo>
                  <a:pt x="114" y="324"/>
                </a:lnTo>
                <a:lnTo>
                  <a:pt x="120" y="312"/>
                </a:lnTo>
                <a:lnTo>
                  <a:pt x="126" y="294"/>
                </a:lnTo>
                <a:lnTo>
                  <a:pt x="126" y="288"/>
                </a:lnTo>
                <a:lnTo>
                  <a:pt x="120" y="276"/>
                </a:lnTo>
                <a:lnTo>
                  <a:pt x="96" y="270"/>
                </a:lnTo>
                <a:lnTo>
                  <a:pt x="84" y="270"/>
                </a:lnTo>
                <a:lnTo>
                  <a:pt x="78" y="270"/>
                </a:lnTo>
                <a:lnTo>
                  <a:pt x="72" y="270"/>
                </a:lnTo>
                <a:lnTo>
                  <a:pt x="72" y="264"/>
                </a:lnTo>
                <a:lnTo>
                  <a:pt x="60" y="252"/>
                </a:lnTo>
                <a:lnTo>
                  <a:pt x="42" y="252"/>
                </a:lnTo>
                <a:lnTo>
                  <a:pt x="42" y="258"/>
                </a:lnTo>
                <a:lnTo>
                  <a:pt x="36" y="258"/>
                </a:lnTo>
                <a:lnTo>
                  <a:pt x="36" y="252"/>
                </a:lnTo>
                <a:lnTo>
                  <a:pt x="18" y="252"/>
                </a:lnTo>
                <a:lnTo>
                  <a:pt x="6" y="258"/>
                </a:lnTo>
                <a:lnTo>
                  <a:pt x="0" y="258"/>
                </a:lnTo>
                <a:lnTo>
                  <a:pt x="0" y="252"/>
                </a:lnTo>
                <a:lnTo>
                  <a:pt x="6" y="240"/>
                </a:lnTo>
                <a:lnTo>
                  <a:pt x="6" y="234"/>
                </a:lnTo>
                <a:lnTo>
                  <a:pt x="6" y="222"/>
                </a:lnTo>
                <a:lnTo>
                  <a:pt x="6" y="216"/>
                </a:lnTo>
                <a:lnTo>
                  <a:pt x="6" y="210"/>
                </a:lnTo>
                <a:lnTo>
                  <a:pt x="6" y="204"/>
                </a:lnTo>
                <a:lnTo>
                  <a:pt x="12" y="204"/>
                </a:lnTo>
                <a:lnTo>
                  <a:pt x="12" y="198"/>
                </a:lnTo>
                <a:lnTo>
                  <a:pt x="12" y="186"/>
                </a:lnTo>
                <a:lnTo>
                  <a:pt x="12" y="180"/>
                </a:lnTo>
                <a:lnTo>
                  <a:pt x="24" y="162"/>
                </a:lnTo>
                <a:lnTo>
                  <a:pt x="30" y="162"/>
                </a:lnTo>
                <a:lnTo>
                  <a:pt x="30" y="156"/>
                </a:lnTo>
                <a:lnTo>
                  <a:pt x="42" y="156"/>
                </a:lnTo>
                <a:lnTo>
                  <a:pt x="48" y="198"/>
                </a:lnTo>
                <a:lnTo>
                  <a:pt x="48" y="204"/>
                </a:lnTo>
                <a:lnTo>
                  <a:pt x="54" y="198"/>
                </a:lnTo>
                <a:lnTo>
                  <a:pt x="60" y="204"/>
                </a:lnTo>
                <a:lnTo>
                  <a:pt x="66" y="198"/>
                </a:lnTo>
                <a:lnTo>
                  <a:pt x="66" y="204"/>
                </a:lnTo>
                <a:lnTo>
                  <a:pt x="72" y="204"/>
                </a:lnTo>
                <a:lnTo>
                  <a:pt x="78" y="204"/>
                </a:lnTo>
                <a:lnTo>
                  <a:pt x="78" y="192"/>
                </a:lnTo>
                <a:lnTo>
                  <a:pt x="84" y="192"/>
                </a:lnTo>
                <a:lnTo>
                  <a:pt x="90" y="192"/>
                </a:lnTo>
                <a:lnTo>
                  <a:pt x="96" y="186"/>
                </a:lnTo>
                <a:lnTo>
                  <a:pt x="102" y="180"/>
                </a:lnTo>
                <a:lnTo>
                  <a:pt x="102" y="174"/>
                </a:lnTo>
                <a:lnTo>
                  <a:pt x="108" y="168"/>
                </a:lnTo>
                <a:lnTo>
                  <a:pt x="108" y="162"/>
                </a:lnTo>
                <a:lnTo>
                  <a:pt x="114" y="156"/>
                </a:lnTo>
                <a:lnTo>
                  <a:pt x="120" y="156"/>
                </a:lnTo>
                <a:lnTo>
                  <a:pt x="126" y="156"/>
                </a:lnTo>
                <a:lnTo>
                  <a:pt x="132" y="150"/>
                </a:lnTo>
                <a:lnTo>
                  <a:pt x="132" y="144"/>
                </a:lnTo>
                <a:lnTo>
                  <a:pt x="138" y="138"/>
                </a:lnTo>
                <a:lnTo>
                  <a:pt x="144" y="138"/>
                </a:lnTo>
                <a:lnTo>
                  <a:pt x="150" y="138"/>
                </a:lnTo>
                <a:lnTo>
                  <a:pt x="150" y="132"/>
                </a:lnTo>
                <a:lnTo>
                  <a:pt x="150" y="126"/>
                </a:lnTo>
                <a:lnTo>
                  <a:pt x="156" y="126"/>
                </a:lnTo>
                <a:lnTo>
                  <a:pt x="174" y="126"/>
                </a:lnTo>
                <a:lnTo>
                  <a:pt x="204" y="120"/>
                </a:lnTo>
                <a:lnTo>
                  <a:pt x="210" y="78"/>
                </a:lnTo>
                <a:lnTo>
                  <a:pt x="246" y="60"/>
                </a:lnTo>
                <a:lnTo>
                  <a:pt x="258" y="60"/>
                </a:lnTo>
                <a:lnTo>
                  <a:pt x="258" y="48"/>
                </a:lnTo>
                <a:lnTo>
                  <a:pt x="264" y="48"/>
                </a:lnTo>
                <a:lnTo>
                  <a:pt x="270" y="54"/>
                </a:lnTo>
                <a:lnTo>
                  <a:pt x="276" y="54"/>
                </a:lnTo>
                <a:lnTo>
                  <a:pt x="276" y="48"/>
                </a:lnTo>
                <a:lnTo>
                  <a:pt x="282" y="48"/>
                </a:lnTo>
                <a:lnTo>
                  <a:pt x="288" y="42"/>
                </a:lnTo>
                <a:lnTo>
                  <a:pt x="294" y="42"/>
                </a:lnTo>
                <a:lnTo>
                  <a:pt x="294" y="18"/>
                </a:lnTo>
                <a:lnTo>
                  <a:pt x="312" y="6"/>
                </a:lnTo>
                <a:lnTo>
                  <a:pt x="318" y="6"/>
                </a:lnTo>
                <a:lnTo>
                  <a:pt x="324" y="6"/>
                </a:lnTo>
                <a:lnTo>
                  <a:pt x="330" y="0"/>
                </a:lnTo>
                <a:lnTo>
                  <a:pt x="336" y="0"/>
                </a:lnTo>
                <a:lnTo>
                  <a:pt x="342" y="0"/>
                </a:lnTo>
                <a:lnTo>
                  <a:pt x="354" y="6"/>
                </a:lnTo>
                <a:lnTo>
                  <a:pt x="366" y="18"/>
                </a:lnTo>
                <a:lnTo>
                  <a:pt x="378" y="36"/>
                </a:lnTo>
                <a:lnTo>
                  <a:pt x="390" y="42"/>
                </a:lnTo>
                <a:lnTo>
                  <a:pt x="390" y="48"/>
                </a:lnTo>
                <a:lnTo>
                  <a:pt x="396" y="60"/>
                </a:lnTo>
                <a:lnTo>
                  <a:pt x="402" y="72"/>
                </a:lnTo>
                <a:lnTo>
                  <a:pt x="408" y="78"/>
                </a:lnTo>
                <a:lnTo>
                  <a:pt x="402" y="84"/>
                </a:lnTo>
                <a:lnTo>
                  <a:pt x="408" y="90"/>
                </a:lnTo>
                <a:lnTo>
                  <a:pt x="414" y="102"/>
                </a:lnTo>
                <a:lnTo>
                  <a:pt x="444" y="114"/>
                </a:lnTo>
                <a:lnTo>
                  <a:pt x="450" y="114"/>
                </a:lnTo>
                <a:lnTo>
                  <a:pt x="450" y="126"/>
                </a:lnTo>
                <a:lnTo>
                  <a:pt x="456" y="126"/>
                </a:lnTo>
                <a:lnTo>
                  <a:pt x="462" y="144"/>
                </a:lnTo>
                <a:lnTo>
                  <a:pt x="480" y="156"/>
                </a:lnTo>
                <a:lnTo>
                  <a:pt x="492" y="156"/>
                </a:lnTo>
                <a:lnTo>
                  <a:pt x="516" y="150"/>
                </a:lnTo>
                <a:lnTo>
                  <a:pt x="516" y="144"/>
                </a:lnTo>
                <a:lnTo>
                  <a:pt x="516" y="138"/>
                </a:lnTo>
                <a:lnTo>
                  <a:pt x="528" y="138"/>
                </a:lnTo>
                <a:lnTo>
                  <a:pt x="546" y="144"/>
                </a:lnTo>
                <a:lnTo>
                  <a:pt x="546" y="138"/>
                </a:lnTo>
                <a:lnTo>
                  <a:pt x="552" y="138"/>
                </a:lnTo>
                <a:lnTo>
                  <a:pt x="564" y="138"/>
                </a:lnTo>
                <a:lnTo>
                  <a:pt x="570" y="132"/>
                </a:lnTo>
                <a:lnTo>
                  <a:pt x="576" y="138"/>
                </a:lnTo>
                <a:lnTo>
                  <a:pt x="582" y="138"/>
                </a:lnTo>
                <a:lnTo>
                  <a:pt x="588" y="138"/>
                </a:lnTo>
                <a:lnTo>
                  <a:pt x="594" y="138"/>
                </a:lnTo>
                <a:lnTo>
                  <a:pt x="594" y="144"/>
                </a:lnTo>
                <a:lnTo>
                  <a:pt x="600" y="138"/>
                </a:lnTo>
                <a:lnTo>
                  <a:pt x="606" y="138"/>
                </a:lnTo>
                <a:lnTo>
                  <a:pt x="606" y="144"/>
                </a:lnTo>
                <a:lnTo>
                  <a:pt x="612" y="144"/>
                </a:lnTo>
                <a:lnTo>
                  <a:pt x="618" y="156"/>
                </a:lnTo>
                <a:lnTo>
                  <a:pt x="612" y="198"/>
                </a:lnTo>
                <a:lnTo>
                  <a:pt x="624" y="198"/>
                </a:lnTo>
                <a:lnTo>
                  <a:pt x="624" y="204"/>
                </a:lnTo>
                <a:lnTo>
                  <a:pt x="612" y="216"/>
                </a:lnTo>
                <a:lnTo>
                  <a:pt x="594" y="234"/>
                </a:lnTo>
                <a:lnTo>
                  <a:pt x="588" y="252"/>
                </a:lnTo>
                <a:lnTo>
                  <a:pt x="576" y="270"/>
                </a:lnTo>
                <a:lnTo>
                  <a:pt x="564" y="282"/>
                </a:lnTo>
                <a:lnTo>
                  <a:pt x="564" y="294"/>
                </a:lnTo>
                <a:lnTo>
                  <a:pt x="558" y="282"/>
                </a:lnTo>
                <a:lnTo>
                  <a:pt x="552" y="282"/>
                </a:lnTo>
                <a:lnTo>
                  <a:pt x="546" y="288"/>
                </a:lnTo>
                <a:lnTo>
                  <a:pt x="546" y="294"/>
                </a:lnTo>
                <a:lnTo>
                  <a:pt x="540" y="294"/>
                </a:lnTo>
                <a:lnTo>
                  <a:pt x="534" y="294"/>
                </a:lnTo>
                <a:lnTo>
                  <a:pt x="522" y="300"/>
                </a:lnTo>
                <a:lnTo>
                  <a:pt x="510" y="294"/>
                </a:lnTo>
                <a:lnTo>
                  <a:pt x="492" y="300"/>
                </a:lnTo>
                <a:lnTo>
                  <a:pt x="492" y="306"/>
                </a:lnTo>
                <a:lnTo>
                  <a:pt x="498" y="312"/>
                </a:lnTo>
                <a:lnTo>
                  <a:pt x="498" y="318"/>
                </a:lnTo>
                <a:lnTo>
                  <a:pt x="498" y="324"/>
                </a:lnTo>
                <a:lnTo>
                  <a:pt x="504" y="336"/>
                </a:lnTo>
                <a:lnTo>
                  <a:pt x="510" y="348"/>
                </a:lnTo>
                <a:lnTo>
                  <a:pt x="516" y="366"/>
                </a:lnTo>
                <a:lnTo>
                  <a:pt x="522" y="432"/>
                </a:lnTo>
                <a:lnTo>
                  <a:pt x="522" y="456"/>
                </a:lnTo>
                <a:lnTo>
                  <a:pt x="504" y="492"/>
                </a:lnTo>
                <a:lnTo>
                  <a:pt x="504" y="498"/>
                </a:lnTo>
                <a:lnTo>
                  <a:pt x="498" y="504"/>
                </a:lnTo>
                <a:lnTo>
                  <a:pt x="498" y="522"/>
                </a:lnTo>
                <a:lnTo>
                  <a:pt x="504" y="534"/>
                </a:lnTo>
                <a:lnTo>
                  <a:pt x="510" y="546"/>
                </a:lnTo>
                <a:lnTo>
                  <a:pt x="516" y="558"/>
                </a:lnTo>
                <a:lnTo>
                  <a:pt x="516" y="588"/>
                </a:lnTo>
                <a:lnTo>
                  <a:pt x="516" y="600"/>
                </a:lnTo>
                <a:lnTo>
                  <a:pt x="510" y="618"/>
                </a:lnTo>
                <a:lnTo>
                  <a:pt x="504" y="636"/>
                </a:lnTo>
                <a:lnTo>
                  <a:pt x="504" y="642"/>
                </a:lnTo>
                <a:lnTo>
                  <a:pt x="474" y="654"/>
                </a:lnTo>
                <a:lnTo>
                  <a:pt x="474" y="690"/>
                </a:lnTo>
                <a:lnTo>
                  <a:pt x="474" y="696"/>
                </a:lnTo>
                <a:lnTo>
                  <a:pt x="480" y="702"/>
                </a:lnTo>
                <a:lnTo>
                  <a:pt x="486" y="708"/>
                </a:lnTo>
                <a:lnTo>
                  <a:pt x="492" y="708"/>
                </a:lnTo>
                <a:lnTo>
                  <a:pt x="498" y="726"/>
                </a:lnTo>
                <a:lnTo>
                  <a:pt x="504" y="726"/>
                </a:lnTo>
                <a:lnTo>
                  <a:pt x="504" y="738"/>
                </a:lnTo>
                <a:lnTo>
                  <a:pt x="498" y="744"/>
                </a:lnTo>
                <a:lnTo>
                  <a:pt x="486" y="750"/>
                </a:lnTo>
                <a:lnTo>
                  <a:pt x="474" y="744"/>
                </a:lnTo>
                <a:lnTo>
                  <a:pt x="462" y="744"/>
                </a:lnTo>
                <a:lnTo>
                  <a:pt x="456" y="732"/>
                </a:lnTo>
                <a:lnTo>
                  <a:pt x="444" y="732"/>
                </a:lnTo>
                <a:lnTo>
                  <a:pt x="432" y="726"/>
                </a:lnTo>
                <a:lnTo>
                  <a:pt x="420" y="720"/>
                </a:lnTo>
                <a:lnTo>
                  <a:pt x="408" y="708"/>
                </a:lnTo>
                <a:lnTo>
                  <a:pt x="402" y="708"/>
                </a:lnTo>
                <a:lnTo>
                  <a:pt x="390" y="702"/>
                </a:lnTo>
                <a:close/>
              </a:path>
            </a:pathLst>
          </a:custGeom>
          <a:solidFill>
            <a:srgbClr val="FF9900"/>
          </a:solidFill>
          <a:ln w="9525">
            <a:solidFill>
              <a:schemeClr val="bg1"/>
            </a:solidFill>
            <a:round/>
            <a:headEnd/>
            <a:tailEnd/>
          </a:ln>
        </p:spPr>
        <p:txBody>
          <a:bodyPr/>
          <a:lstStyle/>
          <a:p>
            <a:endParaRPr lang="en-GB"/>
          </a:p>
        </p:txBody>
      </p:sp>
      <p:sp>
        <p:nvSpPr>
          <p:cNvPr id="17435" name="Freeform 21"/>
          <p:cNvSpPr>
            <a:spLocks/>
          </p:cNvSpPr>
          <p:nvPr/>
        </p:nvSpPr>
        <p:spPr bwMode="gray">
          <a:xfrm>
            <a:off x="3860800" y="5157788"/>
            <a:ext cx="460375" cy="574675"/>
          </a:xfrm>
          <a:custGeom>
            <a:avLst/>
            <a:gdLst>
              <a:gd name="T0" fmla="*/ 11718 w 588"/>
              <a:gd name="T1" fmla="*/ 47505 h 714"/>
              <a:gd name="T2" fmla="*/ 10937 w 588"/>
              <a:gd name="T3" fmla="*/ 46700 h 714"/>
              <a:gd name="T4" fmla="*/ 7031 w 588"/>
              <a:gd name="T5" fmla="*/ 43479 h 714"/>
              <a:gd name="T6" fmla="*/ 3125 w 588"/>
              <a:gd name="T7" fmla="*/ 43479 h 714"/>
              <a:gd name="T8" fmla="*/ 0 w 588"/>
              <a:gd name="T9" fmla="*/ 40259 h 714"/>
              <a:gd name="T10" fmla="*/ 0 w 588"/>
              <a:gd name="T11" fmla="*/ 35428 h 714"/>
              <a:gd name="T12" fmla="*/ 3125 w 588"/>
              <a:gd name="T13" fmla="*/ 37038 h 714"/>
              <a:gd name="T14" fmla="*/ 5468 w 588"/>
              <a:gd name="T15" fmla="*/ 37843 h 714"/>
              <a:gd name="T16" fmla="*/ 7812 w 588"/>
              <a:gd name="T17" fmla="*/ 37038 h 714"/>
              <a:gd name="T18" fmla="*/ 6249 w 588"/>
              <a:gd name="T19" fmla="*/ 35428 h 714"/>
              <a:gd name="T20" fmla="*/ 7812 w 588"/>
              <a:gd name="T21" fmla="*/ 31402 h 714"/>
              <a:gd name="T22" fmla="*/ 8593 w 588"/>
              <a:gd name="T23" fmla="*/ 27376 h 714"/>
              <a:gd name="T24" fmla="*/ 7031 w 588"/>
              <a:gd name="T25" fmla="*/ 22545 h 714"/>
              <a:gd name="T26" fmla="*/ 8593 w 588"/>
              <a:gd name="T27" fmla="*/ 17714 h 714"/>
              <a:gd name="T28" fmla="*/ 7812 w 588"/>
              <a:gd name="T29" fmla="*/ 9662 h 714"/>
              <a:gd name="T30" fmla="*/ 7031 w 588"/>
              <a:gd name="T31" fmla="*/ 7247 h 714"/>
              <a:gd name="T32" fmla="*/ 9374 w 588"/>
              <a:gd name="T33" fmla="*/ 6441 h 714"/>
              <a:gd name="T34" fmla="*/ 10937 w 588"/>
              <a:gd name="T35" fmla="*/ 5636 h 714"/>
              <a:gd name="T36" fmla="*/ 13280 w 588"/>
              <a:gd name="T37" fmla="*/ 8052 h 714"/>
              <a:gd name="T38" fmla="*/ 17967 w 588"/>
              <a:gd name="T39" fmla="*/ 11272 h 714"/>
              <a:gd name="T40" fmla="*/ 21873 w 588"/>
              <a:gd name="T41" fmla="*/ 3221 h 714"/>
              <a:gd name="T42" fmla="*/ 27341 w 588"/>
              <a:gd name="T43" fmla="*/ 1610 h 714"/>
              <a:gd name="T44" fmla="*/ 29685 w 588"/>
              <a:gd name="T45" fmla="*/ 0 h 714"/>
              <a:gd name="T46" fmla="*/ 31247 w 588"/>
              <a:gd name="T47" fmla="*/ 1610 h 714"/>
              <a:gd name="T48" fmla="*/ 30466 w 588"/>
              <a:gd name="T49" fmla="*/ 3221 h 714"/>
              <a:gd name="T50" fmla="*/ 32029 w 588"/>
              <a:gd name="T51" fmla="*/ 4026 h 714"/>
              <a:gd name="T52" fmla="*/ 32810 w 588"/>
              <a:gd name="T53" fmla="*/ 5636 h 714"/>
              <a:gd name="T54" fmla="*/ 33591 w 588"/>
              <a:gd name="T55" fmla="*/ 7247 h 714"/>
              <a:gd name="T56" fmla="*/ 33591 w 588"/>
              <a:gd name="T57" fmla="*/ 8052 h 714"/>
              <a:gd name="T58" fmla="*/ 33591 w 588"/>
              <a:gd name="T59" fmla="*/ 9662 h 714"/>
              <a:gd name="T60" fmla="*/ 34372 w 588"/>
              <a:gd name="T61" fmla="*/ 9662 h 714"/>
              <a:gd name="T62" fmla="*/ 35934 w 588"/>
              <a:gd name="T63" fmla="*/ 10467 h 714"/>
              <a:gd name="T64" fmla="*/ 36716 w 588"/>
              <a:gd name="T65" fmla="*/ 11272 h 714"/>
              <a:gd name="T66" fmla="*/ 37497 w 588"/>
              <a:gd name="T67" fmla="*/ 12078 h 714"/>
              <a:gd name="T68" fmla="*/ 38278 w 588"/>
              <a:gd name="T69" fmla="*/ 12078 h 714"/>
              <a:gd name="T70" fmla="*/ 37497 w 588"/>
              <a:gd name="T71" fmla="*/ 13688 h 714"/>
              <a:gd name="T72" fmla="*/ 38278 w 588"/>
              <a:gd name="T73" fmla="*/ 15298 h 714"/>
              <a:gd name="T74" fmla="*/ 38278 w 588"/>
              <a:gd name="T75" fmla="*/ 16103 h 714"/>
              <a:gd name="T76" fmla="*/ 39840 w 588"/>
              <a:gd name="T77" fmla="*/ 16909 h 714"/>
              <a:gd name="T78" fmla="*/ 39059 w 588"/>
              <a:gd name="T79" fmla="*/ 17714 h 714"/>
              <a:gd name="T80" fmla="*/ 36716 w 588"/>
              <a:gd name="T81" fmla="*/ 18519 h 714"/>
              <a:gd name="T82" fmla="*/ 36716 w 588"/>
              <a:gd name="T83" fmla="*/ 20935 h 714"/>
              <a:gd name="T84" fmla="*/ 36716 w 588"/>
              <a:gd name="T85" fmla="*/ 25766 h 714"/>
              <a:gd name="T86" fmla="*/ 34372 w 588"/>
              <a:gd name="T87" fmla="*/ 28181 h 714"/>
              <a:gd name="T88" fmla="*/ 32810 w 588"/>
              <a:gd name="T89" fmla="*/ 31402 h 714"/>
              <a:gd name="T90" fmla="*/ 32810 w 588"/>
              <a:gd name="T91" fmla="*/ 33012 h 714"/>
              <a:gd name="T92" fmla="*/ 32810 w 588"/>
              <a:gd name="T93" fmla="*/ 33817 h 714"/>
              <a:gd name="T94" fmla="*/ 32029 w 588"/>
              <a:gd name="T95" fmla="*/ 35428 h 714"/>
              <a:gd name="T96" fmla="*/ 30466 w 588"/>
              <a:gd name="T97" fmla="*/ 34622 h 714"/>
              <a:gd name="T98" fmla="*/ 28904 w 588"/>
              <a:gd name="T99" fmla="*/ 35428 h 714"/>
              <a:gd name="T100" fmla="*/ 27341 w 588"/>
              <a:gd name="T101" fmla="*/ 37038 h 714"/>
              <a:gd name="T102" fmla="*/ 24217 w 588"/>
              <a:gd name="T103" fmla="*/ 36233 h 714"/>
              <a:gd name="T104" fmla="*/ 18748 w 588"/>
              <a:gd name="T105" fmla="*/ 36233 h 714"/>
              <a:gd name="T106" fmla="*/ 19530 w 588"/>
              <a:gd name="T107" fmla="*/ 37843 h 714"/>
              <a:gd name="T108" fmla="*/ 19530 w 588"/>
              <a:gd name="T109" fmla="*/ 39454 h 714"/>
              <a:gd name="T110" fmla="*/ 19530 w 588"/>
              <a:gd name="T111" fmla="*/ 40259 h 714"/>
              <a:gd name="T112" fmla="*/ 18748 w 588"/>
              <a:gd name="T113" fmla="*/ 41064 h 714"/>
              <a:gd name="T114" fmla="*/ 17186 w 588"/>
              <a:gd name="T115" fmla="*/ 42674 h 714"/>
              <a:gd name="T116" fmla="*/ 17967 w 588"/>
              <a:gd name="T117" fmla="*/ 45090 h 714"/>
              <a:gd name="T118" fmla="*/ 15624 w 588"/>
              <a:gd name="T119" fmla="*/ 46700 h 714"/>
              <a:gd name="T120" fmla="*/ 14842 w 588"/>
              <a:gd name="T121" fmla="*/ 49921 h 7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88"/>
              <a:gd name="T184" fmla="*/ 0 h 714"/>
              <a:gd name="T185" fmla="*/ 588 w 588"/>
              <a:gd name="T186" fmla="*/ 714 h 7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88" h="714">
                <a:moveTo>
                  <a:pt x="216" y="714"/>
                </a:moveTo>
                <a:lnTo>
                  <a:pt x="198" y="702"/>
                </a:lnTo>
                <a:lnTo>
                  <a:pt x="186" y="696"/>
                </a:lnTo>
                <a:lnTo>
                  <a:pt x="180" y="684"/>
                </a:lnTo>
                <a:lnTo>
                  <a:pt x="174" y="684"/>
                </a:lnTo>
                <a:lnTo>
                  <a:pt x="174" y="678"/>
                </a:lnTo>
                <a:lnTo>
                  <a:pt x="168" y="672"/>
                </a:lnTo>
                <a:lnTo>
                  <a:pt x="162" y="666"/>
                </a:lnTo>
                <a:lnTo>
                  <a:pt x="156" y="636"/>
                </a:lnTo>
                <a:lnTo>
                  <a:pt x="144" y="630"/>
                </a:lnTo>
                <a:lnTo>
                  <a:pt x="108" y="630"/>
                </a:lnTo>
                <a:lnTo>
                  <a:pt x="102" y="624"/>
                </a:lnTo>
                <a:lnTo>
                  <a:pt x="96" y="624"/>
                </a:lnTo>
                <a:lnTo>
                  <a:pt x="72" y="624"/>
                </a:lnTo>
                <a:lnTo>
                  <a:pt x="54" y="624"/>
                </a:lnTo>
                <a:lnTo>
                  <a:pt x="42" y="618"/>
                </a:lnTo>
                <a:lnTo>
                  <a:pt x="30" y="612"/>
                </a:lnTo>
                <a:lnTo>
                  <a:pt x="6" y="606"/>
                </a:lnTo>
                <a:lnTo>
                  <a:pt x="0" y="606"/>
                </a:lnTo>
                <a:lnTo>
                  <a:pt x="0" y="570"/>
                </a:lnTo>
                <a:lnTo>
                  <a:pt x="6" y="552"/>
                </a:lnTo>
                <a:lnTo>
                  <a:pt x="6" y="522"/>
                </a:lnTo>
                <a:lnTo>
                  <a:pt x="0" y="510"/>
                </a:lnTo>
                <a:lnTo>
                  <a:pt x="0" y="504"/>
                </a:lnTo>
                <a:lnTo>
                  <a:pt x="12" y="510"/>
                </a:lnTo>
                <a:lnTo>
                  <a:pt x="18" y="510"/>
                </a:lnTo>
                <a:lnTo>
                  <a:pt x="30" y="522"/>
                </a:lnTo>
                <a:lnTo>
                  <a:pt x="42" y="528"/>
                </a:lnTo>
                <a:lnTo>
                  <a:pt x="54" y="534"/>
                </a:lnTo>
                <a:lnTo>
                  <a:pt x="66" y="534"/>
                </a:lnTo>
                <a:lnTo>
                  <a:pt x="72" y="546"/>
                </a:lnTo>
                <a:lnTo>
                  <a:pt x="84" y="546"/>
                </a:lnTo>
                <a:lnTo>
                  <a:pt x="96" y="552"/>
                </a:lnTo>
                <a:lnTo>
                  <a:pt x="108" y="546"/>
                </a:lnTo>
                <a:lnTo>
                  <a:pt x="114" y="540"/>
                </a:lnTo>
                <a:lnTo>
                  <a:pt x="114" y="528"/>
                </a:lnTo>
                <a:lnTo>
                  <a:pt x="108" y="528"/>
                </a:lnTo>
                <a:lnTo>
                  <a:pt x="102" y="510"/>
                </a:lnTo>
                <a:lnTo>
                  <a:pt x="96" y="510"/>
                </a:lnTo>
                <a:lnTo>
                  <a:pt x="90" y="504"/>
                </a:lnTo>
                <a:lnTo>
                  <a:pt x="84" y="498"/>
                </a:lnTo>
                <a:lnTo>
                  <a:pt x="84" y="492"/>
                </a:lnTo>
                <a:lnTo>
                  <a:pt x="84" y="456"/>
                </a:lnTo>
                <a:lnTo>
                  <a:pt x="114" y="444"/>
                </a:lnTo>
                <a:lnTo>
                  <a:pt x="114" y="438"/>
                </a:lnTo>
                <a:lnTo>
                  <a:pt x="120" y="420"/>
                </a:lnTo>
                <a:lnTo>
                  <a:pt x="126" y="402"/>
                </a:lnTo>
                <a:lnTo>
                  <a:pt x="126" y="390"/>
                </a:lnTo>
                <a:lnTo>
                  <a:pt x="126" y="360"/>
                </a:lnTo>
                <a:lnTo>
                  <a:pt x="120" y="348"/>
                </a:lnTo>
                <a:lnTo>
                  <a:pt x="114" y="336"/>
                </a:lnTo>
                <a:lnTo>
                  <a:pt x="108" y="324"/>
                </a:lnTo>
                <a:lnTo>
                  <a:pt x="108" y="306"/>
                </a:lnTo>
                <a:lnTo>
                  <a:pt x="114" y="300"/>
                </a:lnTo>
                <a:lnTo>
                  <a:pt x="114" y="294"/>
                </a:lnTo>
                <a:lnTo>
                  <a:pt x="132" y="258"/>
                </a:lnTo>
                <a:lnTo>
                  <a:pt x="132" y="234"/>
                </a:lnTo>
                <a:lnTo>
                  <a:pt x="126" y="168"/>
                </a:lnTo>
                <a:lnTo>
                  <a:pt x="120" y="150"/>
                </a:lnTo>
                <a:lnTo>
                  <a:pt x="114" y="138"/>
                </a:lnTo>
                <a:lnTo>
                  <a:pt x="108" y="126"/>
                </a:lnTo>
                <a:lnTo>
                  <a:pt x="108" y="120"/>
                </a:lnTo>
                <a:lnTo>
                  <a:pt x="108" y="114"/>
                </a:lnTo>
                <a:lnTo>
                  <a:pt x="102" y="108"/>
                </a:lnTo>
                <a:lnTo>
                  <a:pt x="102" y="102"/>
                </a:lnTo>
                <a:lnTo>
                  <a:pt x="120" y="96"/>
                </a:lnTo>
                <a:lnTo>
                  <a:pt x="132" y="102"/>
                </a:lnTo>
                <a:lnTo>
                  <a:pt x="144" y="96"/>
                </a:lnTo>
                <a:lnTo>
                  <a:pt x="150" y="96"/>
                </a:lnTo>
                <a:lnTo>
                  <a:pt x="156" y="96"/>
                </a:lnTo>
                <a:lnTo>
                  <a:pt x="156" y="90"/>
                </a:lnTo>
                <a:lnTo>
                  <a:pt x="162" y="84"/>
                </a:lnTo>
                <a:lnTo>
                  <a:pt x="168" y="84"/>
                </a:lnTo>
                <a:lnTo>
                  <a:pt x="174" y="96"/>
                </a:lnTo>
                <a:lnTo>
                  <a:pt x="186" y="96"/>
                </a:lnTo>
                <a:lnTo>
                  <a:pt x="192" y="114"/>
                </a:lnTo>
                <a:lnTo>
                  <a:pt x="204" y="132"/>
                </a:lnTo>
                <a:lnTo>
                  <a:pt x="216" y="144"/>
                </a:lnTo>
                <a:lnTo>
                  <a:pt x="240" y="162"/>
                </a:lnTo>
                <a:lnTo>
                  <a:pt x="270" y="156"/>
                </a:lnTo>
                <a:lnTo>
                  <a:pt x="282" y="126"/>
                </a:lnTo>
                <a:lnTo>
                  <a:pt x="282" y="96"/>
                </a:lnTo>
                <a:lnTo>
                  <a:pt x="294" y="54"/>
                </a:lnTo>
                <a:lnTo>
                  <a:pt x="324" y="48"/>
                </a:lnTo>
                <a:lnTo>
                  <a:pt x="342" y="48"/>
                </a:lnTo>
                <a:lnTo>
                  <a:pt x="384" y="48"/>
                </a:lnTo>
                <a:lnTo>
                  <a:pt x="390" y="30"/>
                </a:lnTo>
                <a:lnTo>
                  <a:pt x="402" y="18"/>
                </a:lnTo>
                <a:lnTo>
                  <a:pt x="438" y="6"/>
                </a:lnTo>
                <a:lnTo>
                  <a:pt x="438" y="0"/>
                </a:lnTo>
                <a:lnTo>
                  <a:pt x="444" y="0"/>
                </a:lnTo>
                <a:lnTo>
                  <a:pt x="444" y="6"/>
                </a:lnTo>
                <a:lnTo>
                  <a:pt x="450" y="6"/>
                </a:lnTo>
                <a:lnTo>
                  <a:pt x="456" y="12"/>
                </a:lnTo>
                <a:lnTo>
                  <a:pt x="456" y="18"/>
                </a:lnTo>
                <a:lnTo>
                  <a:pt x="462" y="24"/>
                </a:lnTo>
                <a:lnTo>
                  <a:pt x="462" y="30"/>
                </a:lnTo>
                <a:lnTo>
                  <a:pt x="468" y="36"/>
                </a:lnTo>
                <a:lnTo>
                  <a:pt x="462" y="36"/>
                </a:lnTo>
                <a:lnTo>
                  <a:pt x="456" y="42"/>
                </a:lnTo>
                <a:lnTo>
                  <a:pt x="462" y="42"/>
                </a:lnTo>
                <a:lnTo>
                  <a:pt x="468" y="48"/>
                </a:lnTo>
                <a:lnTo>
                  <a:pt x="468" y="54"/>
                </a:lnTo>
                <a:lnTo>
                  <a:pt x="474" y="54"/>
                </a:lnTo>
                <a:lnTo>
                  <a:pt x="474" y="60"/>
                </a:lnTo>
                <a:lnTo>
                  <a:pt x="486" y="78"/>
                </a:lnTo>
                <a:lnTo>
                  <a:pt x="486" y="84"/>
                </a:lnTo>
                <a:lnTo>
                  <a:pt x="492" y="84"/>
                </a:lnTo>
                <a:lnTo>
                  <a:pt x="492" y="90"/>
                </a:lnTo>
                <a:lnTo>
                  <a:pt x="492" y="96"/>
                </a:lnTo>
                <a:lnTo>
                  <a:pt x="492" y="102"/>
                </a:lnTo>
                <a:lnTo>
                  <a:pt x="498" y="102"/>
                </a:lnTo>
                <a:lnTo>
                  <a:pt x="504" y="102"/>
                </a:lnTo>
                <a:lnTo>
                  <a:pt x="504" y="108"/>
                </a:lnTo>
                <a:lnTo>
                  <a:pt x="504" y="114"/>
                </a:lnTo>
                <a:lnTo>
                  <a:pt x="498" y="114"/>
                </a:lnTo>
                <a:lnTo>
                  <a:pt x="498" y="120"/>
                </a:lnTo>
                <a:lnTo>
                  <a:pt x="498" y="126"/>
                </a:lnTo>
                <a:lnTo>
                  <a:pt x="504" y="126"/>
                </a:lnTo>
                <a:lnTo>
                  <a:pt x="498" y="132"/>
                </a:lnTo>
                <a:lnTo>
                  <a:pt x="504" y="138"/>
                </a:lnTo>
                <a:lnTo>
                  <a:pt x="504" y="132"/>
                </a:lnTo>
                <a:lnTo>
                  <a:pt x="510" y="132"/>
                </a:lnTo>
                <a:lnTo>
                  <a:pt x="510" y="138"/>
                </a:lnTo>
                <a:lnTo>
                  <a:pt x="516" y="144"/>
                </a:lnTo>
                <a:lnTo>
                  <a:pt x="522" y="144"/>
                </a:lnTo>
                <a:lnTo>
                  <a:pt x="522" y="150"/>
                </a:lnTo>
                <a:lnTo>
                  <a:pt x="528" y="150"/>
                </a:lnTo>
                <a:lnTo>
                  <a:pt x="534" y="150"/>
                </a:lnTo>
                <a:lnTo>
                  <a:pt x="534" y="156"/>
                </a:lnTo>
                <a:lnTo>
                  <a:pt x="534" y="162"/>
                </a:lnTo>
                <a:lnTo>
                  <a:pt x="540" y="156"/>
                </a:lnTo>
                <a:lnTo>
                  <a:pt x="546" y="156"/>
                </a:lnTo>
                <a:lnTo>
                  <a:pt x="546" y="162"/>
                </a:lnTo>
                <a:lnTo>
                  <a:pt x="546" y="168"/>
                </a:lnTo>
                <a:lnTo>
                  <a:pt x="552" y="168"/>
                </a:lnTo>
                <a:lnTo>
                  <a:pt x="546" y="168"/>
                </a:lnTo>
                <a:lnTo>
                  <a:pt x="546" y="174"/>
                </a:lnTo>
                <a:lnTo>
                  <a:pt x="558" y="180"/>
                </a:lnTo>
                <a:lnTo>
                  <a:pt x="564" y="180"/>
                </a:lnTo>
                <a:lnTo>
                  <a:pt x="564" y="186"/>
                </a:lnTo>
                <a:lnTo>
                  <a:pt x="558" y="192"/>
                </a:lnTo>
                <a:lnTo>
                  <a:pt x="558" y="198"/>
                </a:lnTo>
                <a:lnTo>
                  <a:pt x="552" y="198"/>
                </a:lnTo>
                <a:lnTo>
                  <a:pt x="558" y="204"/>
                </a:lnTo>
                <a:lnTo>
                  <a:pt x="564" y="204"/>
                </a:lnTo>
                <a:lnTo>
                  <a:pt x="564" y="210"/>
                </a:lnTo>
                <a:lnTo>
                  <a:pt x="570" y="216"/>
                </a:lnTo>
                <a:lnTo>
                  <a:pt x="576" y="222"/>
                </a:lnTo>
                <a:lnTo>
                  <a:pt x="576" y="228"/>
                </a:lnTo>
                <a:lnTo>
                  <a:pt x="570" y="228"/>
                </a:lnTo>
                <a:lnTo>
                  <a:pt x="570" y="234"/>
                </a:lnTo>
                <a:lnTo>
                  <a:pt x="576" y="234"/>
                </a:lnTo>
                <a:lnTo>
                  <a:pt x="582" y="234"/>
                </a:lnTo>
                <a:lnTo>
                  <a:pt x="588" y="234"/>
                </a:lnTo>
                <a:lnTo>
                  <a:pt x="588" y="240"/>
                </a:lnTo>
                <a:lnTo>
                  <a:pt x="588" y="246"/>
                </a:lnTo>
                <a:lnTo>
                  <a:pt x="588" y="252"/>
                </a:lnTo>
                <a:lnTo>
                  <a:pt x="582" y="252"/>
                </a:lnTo>
                <a:lnTo>
                  <a:pt x="576" y="252"/>
                </a:lnTo>
                <a:lnTo>
                  <a:pt x="582" y="258"/>
                </a:lnTo>
                <a:lnTo>
                  <a:pt x="582" y="264"/>
                </a:lnTo>
                <a:lnTo>
                  <a:pt x="576" y="264"/>
                </a:lnTo>
                <a:lnTo>
                  <a:pt x="546" y="264"/>
                </a:lnTo>
                <a:lnTo>
                  <a:pt x="546" y="276"/>
                </a:lnTo>
                <a:lnTo>
                  <a:pt x="540" y="282"/>
                </a:lnTo>
                <a:lnTo>
                  <a:pt x="540" y="294"/>
                </a:lnTo>
                <a:lnTo>
                  <a:pt x="540" y="300"/>
                </a:lnTo>
                <a:lnTo>
                  <a:pt x="540" y="324"/>
                </a:lnTo>
                <a:lnTo>
                  <a:pt x="552" y="330"/>
                </a:lnTo>
                <a:lnTo>
                  <a:pt x="558" y="342"/>
                </a:lnTo>
                <a:lnTo>
                  <a:pt x="546" y="372"/>
                </a:lnTo>
                <a:lnTo>
                  <a:pt x="534" y="372"/>
                </a:lnTo>
                <a:lnTo>
                  <a:pt x="534" y="384"/>
                </a:lnTo>
                <a:lnTo>
                  <a:pt x="522" y="384"/>
                </a:lnTo>
                <a:lnTo>
                  <a:pt x="510" y="402"/>
                </a:lnTo>
                <a:lnTo>
                  <a:pt x="504" y="420"/>
                </a:lnTo>
                <a:lnTo>
                  <a:pt x="492" y="426"/>
                </a:lnTo>
                <a:lnTo>
                  <a:pt x="486" y="432"/>
                </a:lnTo>
                <a:lnTo>
                  <a:pt x="486" y="444"/>
                </a:lnTo>
                <a:lnTo>
                  <a:pt x="486" y="450"/>
                </a:lnTo>
                <a:lnTo>
                  <a:pt x="486" y="456"/>
                </a:lnTo>
                <a:lnTo>
                  <a:pt x="486" y="462"/>
                </a:lnTo>
                <a:lnTo>
                  <a:pt x="486" y="468"/>
                </a:lnTo>
                <a:lnTo>
                  <a:pt x="480" y="468"/>
                </a:lnTo>
                <a:lnTo>
                  <a:pt x="480" y="474"/>
                </a:lnTo>
                <a:lnTo>
                  <a:pt x="480" y="480"/>
                </a:lnTo>
                <a:lnTo>
                  <a:pt x="480" y="486"/>
                </a:lnTo>
                <a:lnTo>
                  <a:pt x="480" y="492"/>
                </a:lnTo>
                <a:lnTo>
                  <a:pt x="480" y="498"/>
                </a:lnTo>
                <a:lnTo>
                  <a:pt x="474" y="504"/>
                </a:lnTo>
                <a:lnTo>
                  <a:pt x="468" y="510"/>
                </a:lnTo>
                <a:lnTo>
                  <a:pt x="462" y="510"/>
                </a:lnTo>
                <a:lnTo>
                  <a:pt x="456" y="504"/>
                </a:lnTo>
                <a:lnTo>
                  <a:pt x="456" y="498"/>
                </a:lnTo>
                <a:lnTo>
                  <a:pt x="450" y="498"/>
                </a:lnTo>
                <a:lnTo>
                  <a:pt x="444" y="498"/>
                </a:lnTo>
                <a:lnTo>
                  <a:pt x="438" y="498"/>
                </a:lnTo>
                <a:lnTo>
                  <a:pt x="432" y="498"/>
                </a:lnTo>
                <a:lnTo>
                  <a:pt x="426" y="504"/>
                </a:lnTo>
                <a:lnTo>
                  <a:pt x="426" y="510"/>
                </a:lnTo>
                <a:lnTo>
                  <a:pt x="420" y="516"/>
                </a:lnTo>
                <a:lnTo>
                  <a:pt x="414" y="522"/>
                </a:lnTo>
                <a:lnTo>
                  <a:pt x="402" y="528"/>
                </a:lnTo>
                <a:lnTo>
                  <a:pt x="396" y="528"/>
                </a:lnTo>
                <a:lnTo>
                  <a:pt x="384" y="528"/>
                </a:lnTo>
                <a:lnTo>
                  <a:pt x="366" y="540"/>
                </a:lnTo>
                <a:lnTo>
                  <a:pt x="360" y="522"/>
                </a:lnTo>
                <a:lnTo>
                  <a:pt x="348" y="504"/>
                </a:lnTo>
                <a:lnTo>
                  <a:pt x="330" y="504"/>
                </a:lnTo>
                <a:lnTo>
                  <a:pt x="282" y="516"/>
                </a:lnTo>
                <a:lnTo>
                  <a:pt x="282" y="522"/>
                </a:lnTo>
                <a:lnTo>
                  <a:pt x="282" y="534"/>
                </a:lnTo>
                <a:lnTo>
                  <a:pt x="288" y="540"/>
                </a:lnTo>
                <a:lnTo>
                  <a:pt x="294" y="540"/>
                </a:lnTo>
                <a:lnTo>
                  <a:pt x="288" y="540"/>
                </a:lnTo>
                <a:lnTo>
                  <a:pt x="282" y="540"/>
                </a:lnTo>
                <a:lnTo>
                  <a:pt x="282" y="546"/>
                </a:lnTo>
                <a:lnTo>
                  <a:pt x="288" y="552"/>
                </a:lnTo>
                <a:lnTo>
                  <a:pt x="294" y="564"/>
                </a:lnTo>
                <a:lnTo>
                  <a:pt x="300" y="564"/>
                </a:lnTo>
                <a:lnTo>
                  <a:pt x="300" y="570"/>
                </a:lnTo>
                <a:lnTo>
                  <a:pt x="294" y="570"/>
                </a:lnTo>
                <a:lnTo>
                  <a:pt x="288" y="570"/>
                </a:lnTo>
                <a:lnTo>
                  <a:pt x="288" y="576"/>
                </a:lnTo>
                <a:lnTo>
                  <a:pt x="288" y="582"/>
                </a:lnTo>
                <a:lnTo>
                  <a:pt x="276" y="588"/>
                </a:lnTo>
                <a:lnTo>
                  <a:pt x="276" y="594"/>
                </a:lnTo>
                <a:lnTo>
                  <a:pt x="270" y="606"/>
                </a:lnTo>
                <a:lnTo>
                  <a:pt x="264" y="612"/>
                </a:lnTo>
                <a:lnTo>
                  <a:pt x="258" y="612"/>
                </a:lnTo>
                <a:lnTo>
                  <a:pt x="252" y="612"/>
                </a:lnTo>
                <a:lnTo>
                  <a:pt x="252" y="618"/>
                </a:lnTo>
                <a:lnTo>
                  <a:pt x="252" y="624"/>
                </a:lnTo>
                <a:lnTo>
                  <a:pt x="252" y="630"/>
                </a:lnTo>
                <a:lnTo>
                  <a:pt x="264" y="642"/>
                </a:lnTo>
                <a:lnTo>
                  <a:pt x="258" y="648"/>
                </a:lnTo>
                <a:lnTo>
                  <a:pt x="246" y="654"/>
                </a:lnTo>
                <a:lnTo>
                  <a:pt x="240" y="660"/>
                </a:lnTo>
                <a:lnTo>
                  <a:pt x="234" y="672"/>
                </a:lnTo>
                <a:lnTo>
                  <a:pt x="234" y="678"/>
                </a:lnTo>
                <a:lnTo>
                  <a:pt x="228" y="684"/>
                </a:lnTo>
                <a:lnTo>
                  <a:pt x="228" y="696"/>
                </a:lnTo>
                <a:lnTo>
                  <a:pt x="216" y="714"/>
                </a:lnTo>
                <a:close/>
              </a:path>
            </a:pathLst>
          </a:custGeom>
          <a:solidFill>
            <a:srgbClr val="FF9900"/>
          </a:solidFill>
          <a:ln w="9525">
            <a:solidFill>
              <a:schemeClr val="bg1"/>
            </a:solidFill>
            <a:round/>
            <a:headEnd/>
            <a:tailEnd/>
          </a:ln>
        </p:spPr>
        <p:txBody>
          <a:bodyPr/>
          <a:lstStyle/>
          <a:p>
            <a:endParaRPr lang="en-GB"/>
          </a:p>
        </p:txBody>
      </p:sp>
      <p:sp>
        <p:nvSpPr>
          <p:cNvPr id="17436" name="Freeform 22"/>
          <p:cNvSpPr>
            <a:spLocks/>
          </p:cNvSpPr>
          <p:nvPr/>
        </p:nvSpPr>
        <p:spPr bwMode="gray">
          <a:xfrm>
            <a:off x="3403600" y="5151438"/>
            <a:ext cx="368300" cy="561975"/>
          </a:xfrm>
          <a:custGeom>
            <a:avLst/>
            <a:gdLst>
              <a:gd name="T0" fmla="*/ 0 w 468"/>
              <a:gd name="T1" fmla="*/ 49270 h 696"/>
              <a:gd name="T2" fmla="*/ 785 w 468"/>
              <a:gd name="T3" fmla="*/ 46846 h 696"/>
              <a:gd name="T4" fmla="*/ 1570 w 468"/>
              <a:gd name="T5" fmla="*/ 43616 h 696"/>
              <a:gd name="T6" fmla="*/ 2356 w 468"/>
              <a:gd name="T7" fmla="*/ 41193 h 696"/>
              <a:gd name="T8" fmla="*/ 3141 w 468"/>
              <a:gd name="T9" fmla="*/ 38770 h 696"/>
              <a:gd name="T10" fmla="*/ 4711 w 468"/>
              <a:gd name="T11" fmla="*/ 35539 h 696"/>
              <a:gd name="T12" fmla="*/ 3926 w 468"/>
              <a:gd name="T13" fmla="*/ 33116 h 696"/>
              <a:gd name="T14" fmla="*/ 5496 w 468"/>
              <a:gd name="T15" fmla="*/ 30693 h 696"/>
              <a:gd name="T16" fmla="*/ 6282 w 468"/>
              <a:gd name="T17" fmla="*/ 29077 h 696"/>
              <a:gd name="T18" fmla="*/ 5496 w 468"/>
              <a:gd name="T19" fmla="*/ 26654 h 696"/>
              <a:gd name="T20" fmla="*/ 4711 w 468"/>
              <a:gd name="T21" fmla="*/ 23423 h 696"/>
              <a:gd name="T22" fmla="*/ 3141 w 468"/>
              <a:gd name="T23" fmla="*/ 17769 h 696"/>
              <a:gd name="T24" fmla="*/ 1570 w 468"/>
              <a:gd name="T25" fmla="*/ 11308 h 696"/>
              <a:gd name="T26" fmla="*/ 9422 w 468"/>
              <a:gd name="T27" fmla="*/ 8885 h 696"/>
              <a:gd name="T28" fmla="*/ 10993 w 468"/>
              <a:gd name="T29" fmla="*/ 1615 h 696"/>
              <a:gd name="T30" fmla="*/ 12563 w 468"/>
              <a:gd name="T31" fmla="*/ 0 h 696"/>
              <a:gd name="T32" fmla="*/ 13348 w 468"/>
              <a:gd name="T33" fmla="*/ 0 h 696"/>
              <a:gd name="T34" fmla="*/ 14133 w 468"/>
              <a:gd name="T35" fmla="*/ 808 h 696"/>
              <a:gd name="T36" fmla="*/ 13348 w 468"/>
              <a:gd name="T37" fmla="*/ 1615 h 696"/>
              <a:gd name="T38" fmla="*/ 13348 w 468"/>
              <a:gd name="T39" fmla="*/ 3231 h 696"/>
              <a:gd name="T40" fmla="*/ 13348 w 468"/>
              <a:gd name="T41" fmla="*/ 4846 h 696"/>
              <a:gd name="T42" fmla="*/ 15704 w 468"/>
              <a:gd name="T43" fmla="*/ 4846 h 696"/>
              <a:gd name="T44" fmla="*/ 17274 w 468"/>
              <a:gd name="T45" fmla="*/ 4038 h 696"/>
              <a:gd name="T46" fmla="*/ 18845 w 468"/>
              <a:gd name="T47" fmla="*/ 5654 h 696"/>
              <a:gd name="T48" fmla="*/ 21985 w 468"/>
              <a:gd name="T49" fmla="*/ 5654 h 696"/>
              <a:gd name="T50" fmla="*/ 21985 w 468"/>
              <a:gd name="T51" fmla="*/ 8885 h 696"/>
              <a:gd name="T52" fmla="*/ 19630 w 468"/>
              <a:gd name="T53" fmla="*/ 11308 h 696"/>
              <a:gd name="T54" fmla="*/ 18059 w 468"/>
              <a:gd name="T55" fmla="*/ 12115 h 696"/>
              <a:gd name="T56" fmla="*/ 18059 w 468"/>
              <a:gd name="T57" fmla="*/ 15346 h 696"/>
              <a:gd name="T58" fmla="*/ 18059 w 468"/>
              <a:gd name="T59" fmla="*/ 16962 h 696"/>
              <a:gd name="T60" fmla="*/ 18845 w 468"/>
              <a:gd name="T61" fmla="*/ 16962 h 696"/>
              <a:gd name="T62" fmla="*/ 21200 w 468"/>
              <a:gd name="T63" fmla="*/ 18577 h 696"/>
              <a:gd name="T64" fmla="*/ 22771 w 468"/>
              <a:gd name="T65" fmla="*/ 19385 h 696"/>
              <a:gd name="T66" fmla="*/ 22771 w 468"/>
              <a:gd name="T67" fmla="*/ 22616 h 696"/>
              <a:gd name="T68" fmla="*/ 22771 w 468"/>
              <a:gd name="T69" fmla="*/ 23423 h 696"/>
              <a:gd name="T70" fmla="*/ 22771 w 468"/>
              <a:gd name="T71" fmla="*/ 25846 h 696"/>
              <a:gd name="T72" fmla="*/ 25126 w 468"/>
              <a:gd name="T73" fmla="*/ 25846 h 696"/>
              <a:gd name="T74" fmla="*/ 25911 w 468"/>
              <a:gd name="T75" fmla="*/ 28269 h 696"/>
              <a:gd name="T76" fmla="*/ 26696 w 468"/>
              <a:gd name="T77" fmla="*/ 30693 h 696"/>
              <a:gd name="T78" fmla="*/ 27482 w 468"/>
              <a:gd name="T79" fmla="*/ 31500 h 696"/>
              <a:gd name="T80" fmla="*/ 28267 w 468"/>
              <a:gd name="T81" fmla="*/ 32308 h 696"/>
              <a:gd name="T82" fmla="*/ 29052 w 468"/>
              <a:gd name="T83" fmla="*/ 33116 h 696"/>
              <a:gd name="T84" fmla="*/ 29837 w 468"/>
              <a:gd name="T85" fmla="*/ 33923 h 696"/>
              <a:gd name="T86" fmla="*/ 32193 w 468"/>
              <a:gd name="T87" fmla="*/ 35539 h 696"/>
              <a:gd name="T88" fmla="*/ 31408 w 468"/>
              <a:gd name="T89" fmla="*/ 35539 h 696"/>
              <a:gd name="T90" fmla="*/ 29052 w 468"/>
              <a:gd name="T91" fmla="*/ 36346 h 696"/>
              <a:gd name="T92" fmla="*/ 28267 w 468"/>
              <a:gd name="T93" fmla="*/ 38770 h 696"/>
              <a:gd name="T94" fmla="*/ 26696 w 468"/>
              <a:gd name="T95" fmla="*/ 39577 h 696"/>
              <a:gd name="T96" fmla="*/ 25126 w 468"/>
              <a:gd name="T97" fmla="*/ 41193 h 696"/>
              <a:gd name="T98" fmla="*/ 24341 w 468"/>
              <a:gd name="T99" fmla="*/ 41193 h 696"/>
              <a:gd name="T100" fmla="*/ 20415 w 468"/>
              <a:gd name="T101" fmla="*/ 39577 h 696"/>
              <a:gd name="T102" fmla="*/ 18059 w 468"/>
              <a:gd name="T103" fmla="*/ 41193 h 696"/>
              <a:gd name="T104" fmla="*/ 16489 w 468"/>
              <a:gd name="T105" fmla="*/ 41193 h 696"/>
              <a:gd name="T106" fmla="*/ 15704 w 468"/>
              <a:gd name="T107" fmla="*/ 42000 h 696"/>
              <a:gd name="T108" fmla="*/ 13348 w 468"/>
              <a:gd name="T109" fmla="*/ 44423 h 696"/>
              <a:gd name="T110" fmla="*/ 11778 w 468"/>
              <a:gd name="T111" fmla="*/ 45231 h 696"/>
              <a:gd name="T112" fmla="*/ 11778 w 468"/>
              <a:gd name="T113" fmla="*/ 47654 h 696"/>
              <a:gd name="T114" fmla="*/ 10993 w 468"/>
              <a:gd name="T115" fmla="*/ 47654 h 696"/>
              <a:gd name="T116" fmla="*/ 9422 w 468"/>
              <a:gd name="T117" fmla="*/ 47654 h 696"/>
              <a:gd name="T118" fmla="*/ 8637 w 468"/>
              <a:gd name="T119" fmla="*/ 46039 h 696"/>
              <a:gd name="T120" fmla="*/ 7067 w 468"/>
              <a:gd name="T121" fmla="*/ 46039 h 696"/>
              <a:gd name="T122" fmla="*/ 4711 w 468"/>
              <a:gd name="T123" fmla="*/ 46846 h 696"/>
              <a:gd name="T124" fmla="*/ 3141 w 468"/>
              <a:gd name="T125" fmla="*/ 48462 h 6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8"/>
              <a:gd name="T190" fmla="*/ 0 h 696"/>
              <a:gd name="T191" fmla="*/ 468 w 468"/>
              <a:gd name="T192" fmla="*/ 696 h 6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8" h="696">
                <a:moveTo>
                  <a:pt x="30" y="696"/>
                </a:moveTo>
                <a:lnTo>
                  <a:pt x="18" y="696"/>
                </a:lnTo>
                <a:lnTo>
                  <a:pt x="6" y="696"/>
                </a:lnTo>
                <a:lnTo>
                  <a:pt x="0" y="690"/>
                </a:lnTo>
                <a:lnTo>
                  <a:pt x="6" y="678"/>
                </a:lnTo>
                <a:lnTo>
                  <a:pt x="12" y="666"/>
                </a:lnTo>
                <a:lnTo>
                  <a:pt x="18" y="654"/>
                </a:lnTo>
                <a:lnTo>
                  <a:pt x="18" y="642"/>
                </a:lnTo>
                <a:lnTo>
                  <a:pt x="18" y="618"/>
                </a:lnTo>
                <a:lnTo>
                  <a:pt x="24" y="606"/>
                </a:lnTo>
                <a:lnTo>
                  <a:pt x="30" y="594"/>
                </a:lnTo>
                <a:lnTo>
                  <a:pt x="30" y="582"/>
                </a:lnTo>
                <a:lnTo>
                  <a:pt x="36" y="576"/>
                </a:lnTo>
                <a:lnTo>
                  <a:pt x="42" y="564"/>
                </a:lnTo>
                <a:lnTo>
                  <a:pt x="48" y="546"/>
                </a:lnTo>
                <a:lnTo>
                  <a:pt x="48" y="528"/>
                </a:lnTo>
                <a:lnTo>
                  <a:pt x="60" y="516"/>
                </a:lnTo>
                <a:lnTo>
                  <a:pt x="66" y="504"/>
                </a:lnTo>
                <a:lnTo>
                  <a:pt x="66" y="492"/>
                </a:lnTo>
                <a:lnTo>
                  <a:pt x="60" y="480"/>
                </a:lnTo>
                <a:lnTo>
                  <a:pt x="54" y="468"/>
                </a:lnTo>
                <a:lnTo>
                  <a:pt x="60" y="456"/>
                </a:lnTo>
                <a:lnTo>
                  <a:pt x="72" y="450"/>
                </a:lnTo>
                <a:lnTo>
                  <a:pt x="84" y="438"/>
                </a:lnTo>
                <a:lnTo>
                  <a:pt x="90" y="426"/>
                </a:lnTo>
                <a:lnTo>
                  <a:pt x="90" y="420"/>
                </a:lnTo>
                <a:lnTo>
                  <a:pt x="90" y="408"/>
                </a:lnTo>
                <a:lnTo>
                  <a:pt x="90" y="402"/>
                </a:lnTo>
                <a:lnTo>
                  <a:pt x="84" y="396"/>
                </a:lnTo>
                <a:lnTo>
                  <a:pt x="78" y="378"/>
                </a:lnTo>
                <a:lnTo>
                  <a:pt x="72" y="360"/>
                </a:lnTo>
                <a:lnTo>
                  <a:pt x="66" y="348"/>
                </a:lnTo>
                <a:lnTo>
                  <a:pt x="72" y="336"/>
                </a:lnTo>
                <a:lnTo>
                  <a:pt x="66" y="306"/>
                </a:lnTo>
                <a:lnTo>
                  <a:pt x="54" y="276"/>
                </a:lnTo>
                <a:lnTo>
                  <a:pt x="42" y="252"/>
                </a:lnTo>
                <a:lnTo>
                  <a:pt x="36" y="222"/>
                </a:lnTo>
                <a:lnTo>
                  <a:pt x="30" y="192"/>
                </a:lnTo>
                <a:lnTo>
                  <a:pt x="24" y="162"/>
                </a:lnTo>
                <a:lnTo>
                  <a:pt x="42" y="174"/>
                </a:lnTo>
                <a:lnTo>
                  <a:pt x="120" y="138"/>
                </a:lnTo>
                <a:lnTo>
                  <a:pt x="132" y="126"/>
                </a:lnTo>
                <a:lnTo>
                  <a:pt x="120" y="54"/>
                </a:lnTo>
                <a:lnTo>
                  <a:pt x="156" y="30"/>
                </a:lnTo>
                <a:lnTo>
                  <a:pt x="162" y="24"/>
                </a:lnTo>
                <a:lnTo>
                  <a:pt x="168" y="18"/>
                </a:lnTo>
                <a:lnTo>
                  <a:pt x="174" y="6"/>
                </a:lnTo>
                <a:lnTo>
                  <a:pt x="180" y="0"/>
                </a:lnTo>
                <a:lnTo>
                  <a:pt x="180" y="6"/>
                </a:lnTo>
                <a:lnTo>
                  <a:pt x="186" y="6"/>
                </a:lnTo>
                <a:lnTo>
                  <a:pt x="192" y="0"/>
                </a:lnTo>
                <a:lnTo>
                  <a:pt x="192" y="6"/>
                </a:lnTo>
                <a:lnTo>
                  <a:pt x="198" y="12"/>
                </a:lnTo>
                <a:lnTo>
                  <a:pt x="204" y="12"/>
                </a:lnTo>
                <a:lnTo>
                  <a:pt x="198" y="12"/>
                </a:lnTo>
                <a:lnTo>
                  <a:pt x="198" y="18"/>
                </a:lnTo>
                <a:lnTo>
                  <a:pt x="198" y="24"/>
                </a:lnTo>
                <a:lnTo>
                  <a:pt x="198" y="30"/>
                </a:lnTo>
                <a:lnTo>
                  <a:pt x="198" y="42"/>
                </a:lnTo>
                <a:lnTo>
                  <a:pt x="198" y="48"/>
                </a:lnTo>
                <a:lnTo>
                  <a:pt x="192" y="60"/>
                </a:lnTo>
                <a:lnTo>
                  <a:pt x="192" y="66"/>
                </a:lnTo>
                <a:lnTo>
                  <a:pt x="198" y="66"/>
                </a:lnTo>
                <a:lnTo>
                  <a:pt x="210" y="60"/>
                </a:lnTo>
                <a:lnTo>
                  <a:pt x="228" y="60"/>
                </a:lnTo>
                <a:lnTo>
                  <a:pt x="228" y="66"/>
                </a:lnTo>
                <a:lnTo>
                  <a:pt x="234" y="66"/>
                </a:lnTo>
                <a:lnTo>
                  <a:pt x="234" y="60"/>
                </a:lnTo>
                <a:lnTo>
                  <a:pt x="252" y="60"/>
                </a:lnTo>
                <a:lnTo>
                  <a:pt x="264" y="72"/>
                </a:lnTo>
                <a:lnTo>
                  <a:pt x="264" y="78"/>
                </a:lnTo>
                <a:lnTo>
                  <a:pt x="270" y="78"/>
                </a:lnTo>
                <a:lnTo>
                  <a:pt x="276" y="78"/>
                </a:lnTo>
                <a:lnTo>
                  <a:pt x="288" y="78"/>
                </a:lnTo>
                <a:lnTo>
                  <a:pt x="312" y="84"/>
                </a:lnTo>
                <a:lnTo>
                  <a:pt x="318" y="96"/>
                </a:lnTo>
                <a:lnTo>
                  <a:pt x="318" y="102"/>
                </a:lnTo>
                <a:lnTo>
                  <a:pt x="312" y="120"/>
                </a:lnTo>
                <a:lnTo>
                  <a:pt x="306" y="132"/>
                </a:lnTo>
                <a:lnTo>
                  <a:pt x="294" y="144"/>
                </a:lnTo>
                <a:lnTo>
                  <a:pt x="282" y="156"/>
                </a:lnTo>
                <a:lnTo>
                  <a:pt x="276" y="162"/>
                </a:lnTo>
                <a:lnTo>
                  <a:pt x="270" y="162"/>
                </a:lnTo>
                <a:lnTo>
                  <a:pt x="264" y="174"/>
                </a:lnTo>
                <a:lnTo>
                  <a:pt x="264" y="192"/>
                </a:lnTo>
                <a:lnTo>
                  <a:pt x="264" y="216"/>
                </a:lnTo>
                <a:lnTo>
                  <a:pt x="258" y="216"/>
                </a:lnTo>
                <a:lnTo>
                  <a:pt x="258" y="228"/>
                </a:lnTo>
                <a:lnTo>
                  <a:pt x="252" y="234"/>
                </a:lnTo>
                <a:lnTo>
                  <a:pt x="258" y="240"/>
                </a:lnTo>
                <a:lnTo>
                  <a:pt x="264" y="240"/>
                </a:lnTo>
                <a:lnTo>
                  <a:pt x="270" y="240"/>
                </a:lnTo>
                <a:lnTo>
                  <a:pt x="276" y="240"/>
                </a:lnTo>
                <a:lnTo>
                  <a:pt x="288" y="240"/>
                </a:lnTo>
                <a:lnTo>
                  <a:pt x="300" y="246"/>
                </a:lnTo>
                <a:lnTo>
                  <a:pt x="306" y="258"/>
                </a:lnTo>
                <a:lnTo>
                  <a:pt x="312" y="264"/>
                </a:lnTo>
                <a:lnTo>
                  <a:pt x="318" y="276"/>
                </a:lnTo>
                <a:lnTo>
                  <a:pt x="330" y="282"/>
                </a:lnTo>
                <a:lnTo>
                  <a:pt x="330" y="300"/>
                </a:lnTo>
                <a:lnTo>
                  <a:pt x="336" y="312"/>
                </a:lnTo>
                <a:lnTo>
                  <a:pt x="336" y="318"/>
                </a:lnTo>
                <a:lnTo>
                  <a:pt x="336" y="330"/>
                </a:lnTo>
                <a:lnTo>
                  <a:pt x="324" y="330"/>
                </a:lnTo>
                <a:lnTo>
                  <a:pt x="330" y="336"/>
                </a:lnTo>
                <a:lnTo>
                  <a:pt x="330" y="342"/>
                </a:lnTo>
                <a:lnTo>
                  <a:pt x="336" y="348"/>
                </a:lnTo>
                <a:lnTo>
                  <a:pt x="330" y="360"/>
                </a:lnTo>
                <a:lnTo>
                  <a:pt x="336" y="372"/>
                </a:lnTo>
                <a:lnTo>
                  <a:pt x="354" y="366"/>
                </a:lnTo>
                <a:lnTo>
                  <a:pt x="366" y="366"/>
                </a:lnTo>
                <a:lnTo>
                  <a:pt x="372" y="378"/>
                </a:lnTo>
                <a:lnTo>
                  <a:pt x="372" y="390"/>
                </a:lnTo>
                <a:lnTo>
                  <a:pt x="378" y="396"/>
                </a:lnTo>
                <a:lnTo>
                  <a:pt x="378" y="408"/>
                </a:lnTo>
                <a:lnTo>
                  <a:pt x="378" y="420"/>
                </a:lnTo>
                <a:lnTo>
                  <a:pt x="384" y="432"/>
                </a:lnTo>
                <a:lnTo>
                  <a:pt x="384" y="444"/>
                </a:lnTo>
                <a:lnTo>
                  <a:pt x="390" y="444"/>
                </a:lnTo>
                <a:lnTo>
                  <a:pt x="396" y="444"/>
                </a:lnTo>
                <a:lnTo>
                  <a:pt x="402" y="450"/>
                </a:lnTo>
                <a:lnTo>
                  <a:pt x="408" y="450"/>
                </a:lnTo>
                <a:lnTo>
                  <a:pt x="408" y="462"/>
                </a:lnTo>
                <a:lnTo>
                  <a:pt x="408" y="468"/>
                </a:lnTo>
                <a:lnTo>
                  <a:pt x="414" y="474"/>
                </a:lnTo>
                <a:lnTo>
                  <a:pt x="420" y="474"/>
                </a:lnTo>
                <a:lnTo>
                  <a:pt x="420" y="480"/>
                </a:lnTo>
                <a:lnTo>
                  <a:pt x="426" y="480"/>
                </a:lnTo>
                <a:lnTo>
                  <a:pt x="432" y="480"/>
                </a:lnTo>
                <a:lnTo>
                  <a:pt x="462" y="486"/>
                </a:lnTo>
                <a:lnTo>
                  <a:pt x="468" y="492"/>
                </a:lnTo>
                <a:lnTo>
                  <a:pt x="468" y="498"/>
                </a:lnTo>
                <a:lnTo>
                  <a:pt x="462" y="498"/>
                </a:lnTo>
                <a:lnTo>
                  <a:pt x="456" y="498"/>
                </a:lnTo>
                <a:lnTo>
                  <a:pt x="456" y="504"/>
                </a:lnTo>
                <a:lnTo>
                  <a:pt x="456" y="510"/>
                </a:lnTo>
                <a:lnTo>
                  <a:pt x="450" y="516"/>
                </a:lnTo>
                <a:lnTo>
                  <a:pt x="426" y="516"/>
                </a:lnTo>
                <a:lnTo>
                  <a:pt x="408" y="528"/>
                </a:lnTo>
                <a:lnTo>
                  <a:pt x="408" y="546"/>
                </a:lnTo>
                <a:lnTo>
                  <a:pt x="414" y="552"/>
                </a:lnTo>
                <a:lnTo>
                  <a:pt x="408" y="558"/>
                </a:lnTo>
                <a:lnTo>
                  <a:pt x="402" y="564"/>
                </a:lnTo>
                <a:lnTo>
                  <a:pt x="384" y="564"/>
                </a:lnTo>
                <a:lnTo>
                  <a:pt x="372" y="564"/>
                </a:lnTo>
                <a:lnTo>
                  <a:pt x="372" y="576"/>
                </a:lnTo>
                <a:lnTo>
                  <a:pt x="366" y="576"/>
                </a:lnTo>
                <a:lnTo>
                  <a:pt x="366" y="582"/>
                </a:lnTo>
                <a:lnTo>
                  <a:pt x="360" y="582"/>
                </a:lnTo>
                <a:lnTo>
                  <a:pt x="348" y="576"/>
                </a:lnTo>
                <a:lnTo>
                  <a:pt x="336" y="570"/>
                </a:lnTo>
                <a:lnTo>
                  <a:pt x="324" y="570"/>
                </a:lnTo>
                <a:lnTo>
                  <a:pt x="300" y="564"/>
                </a:lnTo>
                <a:lnTo>
                  <a:pt x="282" y="564"/>
                </a:lnTo>
                <a:lnTo>
                  <a:pt x="270" y="570"/>
                </a:lnTo>
                <a:lnTo>
                  <a:pt x="264" y="576"/>
                </a:lnTo>
                <a:lnTo>
                  <a:pt x="258" y="576"/>
                </a:lnTo>
                <a:lnTo>
                  <a:pt x="240" y="582"/>
                </a:lnTo>
                <a:lnTo>
                  <a:pt x="240" y="588"/>
                </a:lnTo>
                <a:lnTo>
                  <a:pt x="240" y="594"/>
                </a:lnTo>
                <a:lnTo>
                  <a:pt x="234" y="594"/>
                </a:lnTo>
                <a:lnTo>
                  <a:pt x="228" y="600"/>
                </a:lnTo>
                <a:lnTo>
                  <a:pt x="210" y="618"/>
                </a:lnTo>
                <a:lnTo>
                  <a:pt x="210" y="624"/>
                </a:lnTo>
                <a:lnTo>
                  <a:pt x="192" y="630"/>
                </a:lnTo>
                <a:lnTo>
                  <a:pt x="186" y="630"/>
                </a:lnTo>
                <a:lnTo>
                  <a:pt x="180" y="636"/>
                </a:lnTo>
                <a:lnTo>
                  <a:pt x="174" y="642"/>
                </a:lnTo>
                <a:lnTo>
                  <a:pt x="168" y="642"/>
                </a:lnTo>
                <a:lnTo>
                  <a:pt x="168" y="654"/>
                </a:lnTo>
                <a:lnTo>
                  <a:pt x="168" y="678"/>
                </a:lnTo>
                <a:lnTo>
                  <a:pt x="162" y="684"/>
                </a:lnTo>
                <a:lnTo>
                  <a:pt x="156" y="684"/>
                </a:lnTo>
                <a:lnTo>
                  <a:pt x="156" y="678"/>
                </a:lnTo>
                <a:lnTo>
                  <a:pt x="150" y="678"/>
                </a:lnTo>
                <a:lnTo>
                  <a:pt x="144" y="672"/>
                </a:lnTo>
                <a:lnTo>
                  <a:pt x="138" y="672"/>
                </a:lnTo>
                <a:lnTo>
                  <a:pt x="138" y="666"/>
                </a:lnTo>
                <a:lnTo>
                  <a:pt x="132" y="660"/>
                </a:lnTo>
                <a:lnTo>
                  <a:pt x="120" y="654"/>
                </a:lnTo>
                <a:lnTo>
                  <a:pt x="114" y="654"/>
                </a:lnTo>
                <a:lnTo>
                  <a:pt x="108" y="648"/>
                </a:lnTo>
                <a:lnTo>
                  <a:pt x="102" y="654"/>
                </a:lnTo>
                <a:lnTo>
                  <a:pt x="90" y="654"/>
                </a:lnTo>
                <a:lnTo>
                  <a:pt x="84" y="654"/>
                </a:lnTo>
                <a:lnTo>
                  <a:pt x="72" y="660"/>
                </a:lnTo>
                <a:lnTo>
                  <a:pt x="60" y="672"/>
                </a:lnTo>
                <a:lnTo>
                  <a:pt x="54" y="678"/>
                </a:lnTo>
                <a:lnTo>
                  <a:pt x="42" y="684"/>
                </a:lnTo>
                <a:lnTo>
                  <a:pt x="36" y="684"/>
                </a:lnTo>
                <a:lnTo>
                  <a:pt x="30" y="696"/>
                </a:lnTo>
                <a:close/>
              </a:path>
            </a:pathLst>
          </a:custGeom>
          <a:solidFill>
            <a:srgbClr val="FF9900"/>
          </a:solidFill>
          <a:ln w="9525">
            <a:solidFill>
              <a:schemeClr val="bg1"/>
            </a:solidFill>
            <a:round/>
            <a:headEnd/>
            <a:tailEnd/>
          </a:ln>
        </p:spPr>
        <p:txBody>
          <a:bodyPr/>
          <a:lstStyle/>
          <a:p>
            <a:endParaRPr lang="en-GB"/>
          </a:p>
        </p:txBody>
      </p:sp>
      <p:sp>
        <p:nvSpPr>
          <p:cNvPr id="17437" name="Freeform 23"/>
          <p:cNvSpPr>
            <a:spLocks noEditPoints="1"/>
          </p:cNvSpPr>
          <p:nvPr/>
        </p:nvSpPr>
        <p:spPr bwMode="gray">
          <a:xfrm>
            <a:off x="2576513" y="5305425"/>
            <a:ext cx="900112" cy="768350"/>
          </a:xfrm>
          <a:custGeom>
            <a:avLst/>
            <a:gdLst>
              <a:gd name="T0" fmla="*/ 68267 w 1146"/>
              <a:gd name="T1" fmla="*/ 45066 h 954"/>
              <a:gd name="T2" fmla="*/ 65128 w 1146"/>
              <a:gd name="T3" fmla="*/ 53114 h 954"/>
              <a:gd name="T4" fmla="*/ 58066 w 1146"/>
              <a:gd name="T5" fmla="*/ 55528 h 954"/>
              <a:gd name="T6" fmla="*/ 52573 w 1146"/>
              <a:gd name="T7" fmla="*/ 60357 h 954"/>
              <a:gd name="T8" fmla="*/ 46296 w 1146"/>
              <a:gd name="T9" fmla="*/ 62771 h 954"/>
              <a:gd name="T10" fmla="*/ 40803 w 1146"/>
              <a:gd name="T11" fmla="*/ 61966 h 954"/>
              <a:gd name="T12" fmla="*/ 37664 w 1146"/>
              <a:gd name="T13" fmla="*/ 63576 h 954"/>
              <a:gd name="T14" fmla="*/ 32172 w 1146"/>
              <a:gd name="T15" fmla="*/ 65990 h 954"/>
              <a:gd name="T16" fmla="*/ 22756 w 1146"/>
              <a:gd name="T17" fmla="*/ 62771 h 954"/>
              <a:gd name="T18" fmla="*/ 21971 w 1146"/>
              <a:gd name="T19" fmla="*/ 61162 h 954"/>
              <a:gd name="T20" fmla="*/ 21971 w 1146"/>
              <a:gd name="T21" fmla="*/ 57943 h 954"/>
              <a:gd name="T22" fmla="*/ 21971 w 1146"/>
              <a:gd name="T23" fmla="*/ 59552 h 954"/>
              <a:gd name="T24" fmla="*/ 16478 w 1146"/>
              <a:gd name="T25" fmla="*/ 59552 h 954"/>
              <a:gd name="T26" fmla="*/ 15693 w 1146"/>
              <a:gd name="T27" fmla="*/ 53919 h 954"/>
              <a:gd name="T28" fmla="*/ 18048 w 1146"/>
              <a:gd name="T29" fmla="*/ 51504 h 954"/>
              <a:gd name="T30" fmla="*/ 21971 w 1146"/>
              <a:gd name="T31" fmla="*/ 52309 h 954"/>
              <a:gd name="T32" fmla="*/ 25110 w 1146"/>
              <a:gd name="T33" fmla="*/ 49895 h 954"/>
              <a:gd name="T34" fmla="*/ 24325 w 1146"/>
              <a:gd name="T35" fmla="*/ 45066 h 954"/>
              <a:gd name="T36" fmla="*/ 28248 w 1146"/>
              <a:gd name="T37" fmla="*/ 43457 h 954"/>
              <a:gd name="T38" fmla="*/ 29818 w 1146"/>
              <a:gd name="T39" fmla="*/ 43457 h 954"/>
              <a:gd name="T40" fmla="*/ 25110 w 1146"/>
              <a:gd name="T41" fmla="*/ 43457 h 954"/>
              <a:gd name="T42" fmla="*/ 22756 w 1146"/>
              <a:gd name="T43" fmla="*/ 47481 h 954"/>
              <a:gd name="T44" fmla="*/ 20402 w 1146"/>
              <a:gd name="T45" fmla="*/ 47481 h 954"/>
              <a:gd name="T46" fmla="*/ 19617 w 1146"/>
              <a:gd name="T47" fmla="*/ 49090 h 954"/>
              <a:gd name="T48" fmla="*/ 15693 w 1146"/>
              <a:gd name="T49" fmla="*/ 49090 h 954"/>
              <a:gd name="T50" fmla="*/ 8631 w 1146"/>
              <a:gd name="T51" fmla="*/ 43457 h 954"/>
              <a:gd name="T52" fmla="*/ 10985 w 1146"/>
              <a:gd name="T53" fmla="*/ 40238 h 954"/>
              <a:gd name="T54" fmla="*/ 16478 w 1146"/>
              <a:gd name="T55" fmla="*/ 41043 h 954"/>
              <a:gd name="T56" fmla="*/ 18832 w 1146"/>
              <a:gd name="T57" fmla="*/ 40238 h 954"/>
              <a:gd name="T58" fmla="*/ 21971 w 1146"/>
              <a:gd name="T59" fmla="*/ 38628 h 954"/>
              <a:gd name="T60" fmla="*/ 23540 w 1146"/>
              <a:gd name="T61" fmla="*/ 39433 h 954"/>
              <a:gd name="T62" fmla="*/ 20402 w 1146"/>
              <a:gd name="T63" fmla="*/ 37824 h 954"/>
              <a:gd name="T64" fmla="*/ 15693 w 1146"/>
              <a:gd name="T65" fmla="*/ 40238 h 954"/>
              <a:gd name="T66" fmla="*/ 15693 w 1146"/>
              <a:gd name="T67" fmla="*/ 35409 h 954"/>
              <a:gd name="T68" fmla="*/ 14909 w 1146"/>
              <a:gd name="T69" fmla="*/ 37019 h 954"/>
              <a:gd name="T70" fmla="*/ 11770 w 1146"/>
              <a:gd name="T71" fmla="*/ 39433 h 954"/>
              <a:gd name="T72" fmla="*/ 6277 w 1146"/>
              <a:gd name="T73" fmla="*/ 38628 h 954"/>
              <a:gd name="T74" fmla="*/ 4708 w 1146"/>
              <a:gd name="T75" fmla="*/ 32995 h 954"/>
              <a:gd name="T76" fmla="*/ 7847 w 1146"/>
              <a:gd name="T77" fmla="*/ 32995 h 954"/>
              <a:gd name="T78" fmla="*/ 7062 w 1146"/>
              <a:gd name="T79" fmla="*/ 31386 h 954"/>
              <a:gd name="T80" fmla="*/ 10985 w 1146"/>
              <a:gd name="T81" fmla="*/ 28166 h 954"/>
              <a:gd name="T82" fmla="*/ 14909 w 1146"/>
              <a:gd name="T83" fmla="*/ 25752 h 954"/>
              <a:gd name="T84" fmla="*/ 15693 w 1146"/>
              <a:gd name="T85" fmla="*/ 23338 h 954"/>
              <a:gd name="T86" fmla="*/ 21186 w 1146"/>
              <a:gd name="T87" fmla="*/ 21728 h 954"/>
              <a:gd name="T88" fmla="*/ 25894 w 1146"/>
              <a:gd name="T89" fmla="*/ 22533 h 954"/>
              <a:gd name="T90" fmla="*/ 34526 w 1146"/>
              <a:gd name="T91" fmla="*/ 21728 h 954"/>
              <a:gd name="T92" fmla="*/ 40803 w 1146"/>
              <a:gd name="T93" fmla="*/ 32995 h 954"/>
              <a:gd name="T94" fmla="*/ 47865 w 1146"/>
              <a:gd name="T95" fmla="*/ 32190 h 954"/>
              <a:gd name="T96" fmla="*/ 54143 w 1146"/>
              <a:gd name="T97" fmla="*/ 27362 h 954"/>
              <a:gd name="T98" fmla="*/ 48650 w 1146"/>
              <a:gd name="T99" fmla="*/ 9657 h 954"/>
              <a:gd name="T100" fmla="*/ 58066 w 1146"/>
              <a:gd name="T101" fmla="*/ 6438 h 954"/>
              <a:gd name="T102" fmla="*/ 68267 w 1146"/>
              <a:gd name="T103" fmla="*/ 805 h 954"/>
              <a:gd name="T104" fmla="*/ 77683 w 1146"/>
              <a:gd name="T105" fmla="*/ 9657 h 954"/>
              <a:gd name="T106" fmla="*/ 76898 w 1146"/>
              <a:gd name="T107" fmla="*/ 21728 h 954"/>
              <a:gd name="T108" fmla="*/ 12555 w 1146"/>
              <a:gd name="T109" fmla="*/ 26557 h 954"/>
              <a:gd name="T110" fmla="*/ 8631 w 1146"/>
              <a:gd name="T111" fmla="*/ 28971 h 954"/>
              <a:gd name="T112" fmla="*/ 3923 w 1146"/>
              <a:gd name="T113" fmla="*/ 32995 h 954"/>
              <a:gd name="T114" fmla="*/ 1569 w 1146"/>
              <a:gd name="T115" fmla="*/ 28971 h 954"/>
              <a:gd name="T116" fmla="*/ 3923 w 1146"/>
              <a:gd name="T117" fmla="*/ 20924 h 954"/>
              <a:gd name="T118" fmla="*/ 7847 w 1146"/>
              <a:gd name="T119" fmla="*/ 16095 h 954"/>
              <a:gd name="T120" fmla="*/ 10201 w 1146"/>
              <a:gd name="T121" fmla="*/ 16095 h 954"/>
              <a:gd name="T122" fmla="*/ 11770 w 1146"/>
              <a:gd name="T123" fmla="*/ 21728 h 9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46"/>
              <a:gd name="T187" fmla="*/ 0 h 954"/>
              <a:gd name="T188" fmla="*/ 1146 w 1146"/>
              <a:gd name="T189" fmla="*/ 954 h 9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46" h="954">
                <a:moveTo>
                  <a:pt x="1056" y="498"/>
                </a:moveTo>
                <a:lnTo>
                  <a:pt x="1044" y="510"/>
                </a:lnTo>
                <a:lnTo>
                  <a:pt x="1032" y="516"/>
                </a:lnTo>
                <a:lnTo>
                  <a:pt x="1038" y="528"/>
                </a:lnTo>
                <a:lnTo>
                  <a:pt x="1050" y="540"/>
                </a:lnTo>
                <a:lnTo>
                  <a:pt x="1050" y="546"/>
                </a:lnTo>
                <a:lnTo>
                  <a:pt x="1050" y="564"/>
                </a:lnTo>
                <a:lnTo>
                  <a:pt x="1038" y="576"/>
                </a:lnTo>
                <a:lnTo>
                  <a:pt x="1032" y="588"/>
                </a:lnTo>
                <a:lnTo>
                  <a:pt x="1020" y="594"/>
                </a:lnTo>
                <a:lnTo>
                  <a:pt x="1008" y="594"/>
                </a:lnTo>
                <a:lnTo>
                  <a:pt x="1002" y="600"/>
                </a:lnTo>
                <a:lnTo>
                  <a:pt x="996" y="612"/>
                </a:lnTo>
                <a:lnTo>
                  <a:pt x="996" y="624"/>
                </a:lnTo>
                <a:lnTo>
                  <a:pt x="996" y="648"/>
                </a:lnTo>
                <a:lnTo>
                  <a:pt x="996" y="660"/>
                </a:lnTo>
                <a:lnTo>
                  <a:pt x="1002" y="672"/>
                </a:lnTo>
                <a:lnTo>
                  <a:pt x="1002" y="684"/>
                </a:lnTo>
                <a:lnTo>
                  <a:pt x="996" y="684"/>
                </a:lnTo>
                <a:lnTo>
                  <a:pt x="984" y="690"/>
                </a:lnTo>
                <a:lnTo>
                  <a:pt x="972" y="690"/>
                </a:lnTo>
                <a:lnTo>
                  <a:pt x="966" y="696"/>
                </a:lnTo>
                <a:lnTo>
                  <a:pt x="966" y="702"/>
                </a:lnTo>
                <a:lnTo>
                  <a:pt x="966" y="714"/>
                </a:lnTo>
                <a:lnTo>
                  <a:pt x="972" y="726"/>
                </a:lnTo>
                <a:lnTo>
                  <a:pt x="978" y="744"/>
                </a:lnTo>
                <a:lnTo>
                  <a:pt x="978" y="750"/>
                </a:lnTo>
                <a:lnTo>
                  <a:pt x="972" y="756"/>
                </a:lnTo>
                <a:lnTo>
                  <a:pt x="966" y="756"/>
                </a:lnTo>
                <a:lnTo>
                  <a:pt x="942" y="762"/>
                </a:lnTo>
                <a:lnTo>
                  <a:pt x="930" y="768"/>
                </a:lnTo>
                <a:lnTo>
                  <a:pt x="924" y="774"/>
                </a:lnTo>
                <a:lnTo>
                  <a:pt x="918" y="768"/>
                </a:lnTo>
                <a:lnTo>
                  <a:pt x="906" y="768"/>
                </a:lnTo>
                <a:lnTo>
                  <a:pt x="894" y="762"/>
                </a:lnTo>
                <a:lnTo>
                  <a:pt x="882" y="756"/>
                </a:lnTo>
                <a:lnTo>
                  <a:pt x="876" y="756"/>
                </a:lnTo>
                <a:lnTo>
                  <a:pt x="876" y="762"/>
                </a:lnTo>
                <a:lnTo>
                  <a:pt x="864" y="768"/>
                </a:lnTo>
                <a:lnTo>
                  <a:pt x="858" y="774"/>
                </a:lnTo>
                <a:lnTo>
                  <a:pt x="852" y="774"/>
                </a:lnTo>
                <a:lnTo>
                  <a:pt x="840" y="780"/>
                </a:lnTo>
                <a:lnTo>
                  <a:pt x="840" y="786"/>
                </a:lnTo>
                <a:lnTo>
                  <a:pt x="840" y="792"/>
                </a:lnTo>
                <a:lnTo>
                  <a:pt x="840" y="804"/>
                </a:lnTo>
                <a:lnTo>
                  <a:pt x="840" y="810"/>
                </a:lnTo>
                <a:lnTo>
                  <a:pt x="828" y="816"/>
                </a:lnTo>
                <a:lnTo>
                  <a:pt x="810" y="810"/>
                </a:lnTo>
                <a:lnTo>
                  <a:pt x="792" y="810"/>
                </a:lnTo>
                <a:lnTo>
                  <a:pt x="786" y="816"/>
                </a:lnTo>
                <a:lnTo>
                  <a:pt x="780" y="816"/>
                </a:lnTo>
                <a:lnTo>
                  <a:pt x="780" y="822"/>
                </a:lnTo>
                <a:lnTo>
                  <a:pt x="780" y="828"/>
                </a:lnTo>
                <a:lnTo>
                  <a:pt x="780" y="834"/>
                </a:lnTo>
                <a:lnTo>
                  <a:pt x="786" y="840"/>
                </a:lnTo>
                <a:lnTo>
                  <a:pt x="786" y="846"/>
                </a:lnTo>
                <a:lnTo>
                  <a:pt x="786" y="852"/>
                </a:lnTo>
                <a:lnTo>
                  <a:pt x="780" y="858"/>
                </a:lnTo>
                <a:lnTo>
                  <a:pt x="768" y="858"/>
                </a:lnTo>
                <a:lnTo>
                  <a:pt x="762" y="864"/>
                </a:lnTo>
                <a:lnTo>
                  <a:pt x="756" y="864"/>
                </a:lnTo>
                <a:lnTo>
                  <a:pt x="750" y="870"/>
                </a:lnTo>
                <a:lnTo>
                  <a:pt x="744" y="876"/>
                </a:lnTo>
                <a:lnTo>
                  <a:pt x="732" y="876"/>
                </a:lnTo>
                <a:lnTo>
                  <a:pt x="726" y="876"/>
                </a:lnTo>
                <a:lnTo>
                  <a:pt x="720" y="870"/>
                </a:lnTo>
                <a:lnTo>
                  <a:pt x="714" y="864"/>
                </a:lnTo>
                <a:lnTo>
                  <a:pt x="708" y="870"/>
                </a:lnTo>
                <a:lnTo>
                  <a:pt x="702" y="870"/>
                </a:lnTo>
                <a:lnTo>
                  <a:pt x="696" y="876"/>
                </a:lnTo>
                <a:lnTo>
                  <a:pt x="696" y="882"/>
                </a:lnTo>
                <a:lnTo>
                  <a:pt x="696" y="894"/>
                </a:lnTo>
                <a:lnTo>
                  <a:pt x="690" y="900"/>
                </a:lnTo>
                <a:lnTo>
                  <a:pt x="684" y="900"/>
                </a:lnTo>
                <a:lnTo>
                  <a:pt x="672" y="900"/>
                </a:lnTo>
                <a:lnTo>
                  <a:pt x="666" y="900"/>
                </a:lnTo>
                <a:lnTo>
                  <a:pt x="654" y="888"/>
                </a:lnTo>
                <a:lnTo>
                  <a:pt x="654" y="882"/>
                </a:lnTo>
                <a:lnTo>
                  <a:pt x="642" y="876"/>
                </a:lnTo>
                <a:lnTo>
                  <a:pt x="636" y="876"/>
                </a:lnTo>
                <a:lnTo>
                  <a:pt x="630" y="876"/>
                </a:lnTo>
                <a:lnTo>
                  <a:pt x="630" y="870"/>
                </a:lnTo>
                <a:lnTo>
                  <a:pt x="618" y="858"/>
                </a:lnTo>
                <a:lnTo>
                  <a:pt x="612" y="858"/>
                </a:lnTo>
                <a:lnTo>
                  <a:pt x="612" y="864"/>
                </a:lnTo>
                <a:lnTo>
                  <a:pt x="612" y="870"/>
                </a:lnTo>
                <a:lnTo>
                  <a:pt x="606" y="876"/>
                </a:lnTo>
                <a:lnTo>
                  <a:pt x="606" y="882"/>
                </a:lnTo>
                <a:lnTo>
                  <a:pt x="606" y="888"/>
                </a:lnTo>
                <a:lnTo>
                  <a:pt x="600" y="894"/>
                </a:lnTo>
                <a:lnTo>
                  <a:pt x="594" y="894"/>
                </a:lnTo>
                <a:lnTo>
                  <a:pt x="588" y="900"/>
                </a:lnTo>
                <a:lnTo>
                  <a:pt x="582" y="894"/>
                </a:lnTo>
                <a:lnTo>
                  <a:pt x="576" y="894"/>
                </a:lnTo>
                <a:lnTo>
                  <a:pt x="582" y="900"/>
                </a:lnTo>
                <a:lnTo>
                  <a:pt x="576" y="906"/>
                </a:lnTo>
                <a:lnTo>
                  <a:pt x="576" y="918"/>
                </a:lnTo>
                <a:lnTo>
                  <a:pt x="570" y="918"/>
                </a:lnTo>
                <a:lnTo>
                  <a:pt x="570" y="912"/>
                </a:lnTo>
                <a:lnTo>
                  <a:pt x="564" y="912"/>
                </a:lnTo>
                <a:lnTo>
                  <a:pt x="564" y="918"/>
                </a:lnTo>
                <a:lnTo>
                  <a:pt x="558" y="918"/>
                </a:lnTo>
                <a:lnTo>
                  <a:pt x="558" y="912"/>
                </a:lnTo>
                <a:lnTo>
                  <a:pt x="552" y="906"/>
                </a:lnTo>
                <a:lnTo>
                  <a:pt x="552" y="912"/>
                </a:lnTo>
                <a:lnTo>
                  <a:pt x="546" y="912"/>
                </a:lnTo>
                <a:lnTo>
                  <a:pt x="540" y="906"/>
                </a:lnTo>
                <a:lnTo>
                  <a:pt x="534" y="906"/>
                </a:lnTo>
                <a:lnTo>
                  <a:pt x="528" y="906"/>
                </a:lnTo>
                <a:lnTo>
                  <a:pt x="522" y="906"/>
                </a:lnTo>
                <a:lnTo>
                  <a:pt x="522" y="918"/>
                </a:lnTo>
                <a:lnTo>
                  <a:pt x="516" y="918"/>
                </a:lnTo>
                <a:lnTo>
                  <a:pt x="516" y="924"/>
                </a:lnTo>
                <a:lnTo>
                  <a:pt x="510" y="924"/>
                </a:lnTo>
                <a:lnTo>
                  <a:pt x="504" y="924"/>
                </a:lnTo>
                <a:lnTo>
                  <a:pt x="498" y="930"/>
                </a:lnTo>
                <a:lnTo>
                  <a:pt x="492" y="924"/>
                </a:lnTo>
                <a:lnTo>
                  <a:pt x="486" y="930"/>
                </a:lnTo>
                <a:lnTo>
                  <a:pt x="480" y="942"/>
                </a:lnTo>
                <a:lnTo>
                  <a:pt x="468" y="948"/>
                </a:lnTo>
                <a:lnTo>
                  <a:pt x="444" y="942"/>
                </a:lnTo>
                <a:lnTo>
                  <a:pt x="438" y="954"/>
                </a:lnTo>
                <a:lnTo>
                  <a:pt x="426" y="954"/>
                </a:lnTo>
                <a:lnTo>
                  <a:pt x="420" y="948"/>
                </a:lnTo>
                <a:lnTo>
                  <a:pt x="408" y="936"/>
                </a:lnTo>
                <a:lnTo>
                  <a:pt x="396" y="936"/>
                </a:lnTo>
                <a:lnTo>
                  <a:pt x="390" y="930"/>
                </a:lnTo>
                <a:lnTo>
                  <a:pt x="390" y="924"/>
                </a:lnTo>
                <a:lnTo>
                  <a:pt x="384" y="924"/>
                </a:lnTo>
                <a:lnTo>
                  <a:pt x="378" y="924"/>
                </a:lnTo>
                <a:lnTo>
                  <a:pt x="366" y="924"/>
                </a:lnTo>
                <a:lnTo>
                  <a:pt x="360" y="924"/>
                </a:lnTo>
                <a:lnTo>
                  <a:pt x="348" y="918"/>
                </a:lnTo>
                <a:lnTo>
                  <a:pt x="342" y="906"/>
                </a:lnTo>
                <a:lnTo>
                  <a:pt x="336" y="906"/>
                </a:lnTo>
                <a:lnTo>
                  <a:pt x="330" y="906"/>
                </a:lnTo>
                <a:lnTo>
                  <a:pt x="312" y="906"/>
                </a:lnTo>
                <a:lnTo>
                  <a:pt x="312" y="900"/>
                </a:lnTo>
                <a:lnTo>
                  <a:pt x="318" y="900"/>
                </a:lnTo>
                <a:lnTo>
                  <a:pt x="318" y="894"/>
                </a:lnTo>
                <a:lnTo>
                  <a:pt x="318" y="900"/>
                </a:lnTo>
                <a:lnTo>
                  <a:pt x="318" y="894"/>
                </a:lnTo>
                <a:lnTo>
                  <a:pt x="318" y="888"/>
                </a:lnTo>
                <a:lnTo>
                  <a:pt x="312" y="882"/>
                </a:lnTo>
                <a:lnTo>
                  <a:pt x="306" y="876"/>
                </a:lnTo>
                <a:lnTo>
                  <a:pt x="312" y="876"/>
                </a:lnTo>
                <a:lnTo>
                  <a:pt x="312" y="870"/>
                </a:lnTo>
                <a:lnTo>
                  <a:pt x="318" y="876"/>
                </a:lnTo>
                <a:lnTo>
                  <a:pt x="318" y="870"/>
                </a:lnTo>
                <a:lnTo>
                  <a:pt x="324" y="876"/>
                </a:lnTo>
                <a:lnTo>
                  <a:pt x="330" y="876"/>
                </a:lnTo>
                <a:lnTo>
                  <a:pt x="336" y="876"/>
                </a:lnTo>
                <a:lnTo>
                  <a:pt x="342" y="876"/>
                </a:lnTo>
                <a:lnTo>
                  <a:pt x="336" y="876"/>
                </a:lnTo>
                <a:lnTo>
                  <a:pt x="330" y="870"/>
                </a:lnTo>
                <a:lnTo>
                  <a:pt x="324" y="870"/>
                </a:lnTo>
                <a:lnTo>
                  <a:pt x="318" y="870"/>
                </a:lnTo>
                <a:lnTo>
                  <a:pt x="312" y="870"/>
                </a:lnTo>
                <a:lnTo>
                  <a:pt x="318" y="864"/>
                </a:lnTo>
                <a:lnTo>
                  <a:pt x="318" y="858"/>
                </a:lnTo>
                <a:lnTo>
                  <a:pt x="318" y="852"/>
                </a:lnTo>
                <a:lnTo>
                  <a:pt x="312" y="852"/>
                </a:lnTo>
                <a:lnTo>
                  <a:pt x="306" y="852"/>
                </a:lnTo>
                <a:lnTo>
                  <a:pt x="306" y="846"/>
                </a:lnTo>
                <a:lnTo>
                  <a:pt x="312" y="828"/>
                </a:lnTo>
                <a:lnTo>
                  <a:pt x="312" y="822"/>
                </a:lnTo>
                <a:lnTo>
                  <a:pt x="318" y="822"/>
                </a:lnTo>
                <a:lnTo>
                  <a:pt x="312" y="816"/>
                </a:lnTo>
                <a:lnTo>
                  <a:pt x="306" y="816"/>
                </a:lnTo>
                <a:lnTo>
                  <a:pt x="306" y="810"/>
                </a:lnTo>
                <a:lnTo>
                  <a:pt x="306" y="816"/>
                </a:lnTo>
                <a:lnTo>
                  <a:pt x="312" y="822"/>
                </a:lnTo>
                <a:lnTo>
                  <a:pt x="306" y="822"/>
                </a:lnTo>
                <a:lnTo>
                  <a:pt x="306" y="828"/>
                </a:lnTo>
                <a:lnTo>
                  <a:pt x="306" y="834"/>
                </a:lnTo>
                <a:lnTo>
                  <a:pt x="300" y="840"/>
                </a:lnTo>
                <a:lnTo>
                  <a:pt x="300" y="846"/>
                </a:lnTo>
                <a:lnTo>
                  <a:pt x="306" y="852"/>
                </a:lnTo>
                <a:lnTo>
                  <a:pt x="306" y="858"/>
                </a:lnTo>
                <a:lnTo>
                  <a:pt x="312" y="858"/>
                </a:lnTo>
                <a:lnTo>
                  <a:pt x="312" y="864"/>
                </a:lnTo>
                <a:lnTo>
                  <a:pt x="306" y="864"/>
                </a:lnTo>
                <a:lnTo>
                  <a:pt x="300" y="864"/>
                </a:lnTo>
                <a:lnTo>
                  <a:pt x="294" y="864"/>
                </a:lnTo>
                <a:lnTo>
                  <a:pt x="288" y="864"/>
                </a:lnTo>
                <a:lnTo>
                  <a:pt x="282" y="870"/>
                </a:lnTo>
                <a:lnTo>
                  <a:pt x="276" y="870"/>
                </a:lnTo>
                <a:lnTo>
                  <a:pt x="270" y="876"/>
                </a:lnTo>
                <a:lnTo>
                  <a:pt x="264" y="876"/>
                </a:lnTo>
                <a:lnTo>
                  <a:pt x="258" y="876"/>
                </a:lnTo>
                <a:lnTo>
                  <a:pt x="258" y="870"/>
                </a:lnTo>
                <a:lnTo>
                  <a:pt x="252" y="870"/>
                </a:lnTo>
                <a:lnTo>
                  <a:pt x="252" y="864"/>
                </a:lnTo>
                <a:lnTo>
                  <a:pt x="246" y="858"/>
                </a:lnTo>
                <a:lnTo>
                  <a:pt x="246" y="852"/>
                </a:lnTo>
                <a:lnTo>
                  <a:pt x="246" y="846"/>
                </a:lnTo>
                <a:lnTo>
                  <a:pt x="246" y="840"/>
                </a:lnTo>
                <a:lnTo>
                  <a:pt x="246" y="834"/>
                </a:lnTo>
                <a:lnTo>
                  <a:pt x="246" y="828"/>
                </a:lnTo>
                <a:lnTo>
                  <a:pt x="246" y="822"/>
                </a:lnTo>
                <a:lnTo>
                  <a:pt x="240" y="816"/>
                </a:lnTo>
                <a:lnTo>
                  <a:pt x="240" y="810"/>
                </a:lnTo>
                <a:lnTo>
                  <a:pt x="240" y="804"/>
                </a:lnTo>
                <a:lnTo>
                  <a:pt x="240" y="798"/>
                </a:lnTo>
                <a:lnTo>
                  <a:pt x="234" y="798"/>
                </a:lnTo>
                <a:lnTo>
                  <a:pt x="234" y="792"/>
                </a:lnTo>
                <a:lnTo>
                  <a:pt x="234" y="786"/>
                </a:lnTo>
                <a:lnTo>
                  <a:pt x="234" y="780"/>
                </a:lnTo>
                <a:lnTo>
                  <a:pt x="228" y="780"/>
                </a:lnTo>
                <a:lnTo>
                  <a:pt x="228" y="774"/>
                </a:lnTo>
                <a:lnTo>
                  <a:pt x="228" y="768"/>
                </a:lnTo>
                <a:lnTo>
                  <a:pt x="222" y="762"/>
                </a:lnTo>
                <a:lnTo>
                  <a:pt x="222" y="756"/>
                </a:lnTo>
                <a:lnTo>
                  <a:pt x="222" y="750"/>
                </a:lnTo>
                <a:lnTo>
                  <a:pt x="222" y="744"/>
                </a:lnTo>
                <a:lnTo>
                  <a:pt x="222" y="738"/>
                </a:lnTo>
                <a:lnTo>
                  <a:pt x="216" y="732"/>
                </a:lnTo>
                <a:lnTo>
                  <a:pt x="222" y="732"/>
                </a:lnTo>
                <a:lnTo>
                  <a:pt x="228" y="732"/>
                </a:lnTo>
                <a:lnTo>
                  <a:pt x="234" y="732"/>
                </a:lnTo>
                <a:lnTo>
                  <a:pt x="240" y="732"/>
                </a:lnTo>
                <a:lnTo>
                  <a:pt x="246" y="732"/>
                </a:lnTo>
                <a:lnTo>
                  <a:pt x="246" y="738"/>
                </a:lnTo>
                <a:lnTo>
                  <a:pt x="252" y="738"/>
                </a:lnTo>
                <a:lnTo>
                  <a:pt x="258" y="738"/>
                </a:lnTo>
                <a:lnTo>
                  <a:pt x="258" y="732"/>
                </a:lnTo>
                <a:lnTo>
                  <a:pt x="264" y="732"/>
                </a:lnTo>
                <a:lnTo>
                  <a:pt x="270" y="732"/>
                </a:lnTo>
                <a:lnTo>
                  <a:pt x="276" y="732"/>
                </a:lnTo>
                <a:lnTo>
                  <a:pt x="282" y="732"/>
                </a:lnTo>
                <a:lnTo>
                  <a:pt x="288" y="732"/>
                </a:lnTo>
                <a:lnTo>
                  <a:pt x="294" y="732"/>
                </a:lnTo>
                <a:lnTo>
                  <a:pt x="300" y="732"/>
                </a:lnTo>
                <a:lnTo>
                  <a:pt x="300" y="738"/>
                </a:lnTo>
                <a:lnTo>
                  <a:pt x="306" y="738"/>
                </a:lnTo>
                <a:lnTo>
                  <a:pt x="306" y="744"/>
                </a:lnTo>
                <a:lnTo>
                  <a:pt x="306" y="750"/>
                </a:lnTo>
                <a:lnTo>
                  <a:pt x="312" y="750"/>
                </a:lnTo>
                <a:lnTo>
                  <a:pt x="312" y="756"/>
                </a:lnTo>
                <a:lnTo>
                  <a:pt x="318" y="756"/>
                </a:lnTo>
                <a:lnTo>
                  <a:pt x="318" y="750"/>
                </a:lnTo>
                <a:lnTo>
                  <a:pt x="312" y="750"/>
                </a:lnTo>
                <a:lnTo>
                  <a:pt x="312" y="744"/>
                </a:lnTo>
                <a:lnTo>
                  <a:pt x="318" y="738"/>
                </a:lnTo>
                <a:lnTo>
                  <a:pt x="324" y="738"/>
                </a:lnTo>
                <a:lnTo>
                  <a:pt x="330" y="738"/>
                </a:lnTo>
                <a:lnTo>
                  <a:pt x="336" y="738"/>
                </a:lnTo>
                <a:lnTo>
                  <a:pt x="342" y="738"/>
                </a:lnTo>
                <a:lnTo>
                  <a:pt x="348" y="732"/>
                </a:lnTo>
                <a:lnTo>
                  <a:pt x="354" y="732"/>
                </a:lnTo>
                <a:lnTo>
                  <a:pt x="360" y="732"/>
                </a:lnTo>
                <a:lnTo>
                  <a:pt x="360" y="726"/>
                </a:lnTo>
                <a:lnTo>
                  <a:pt x="366" y="726"/>
                </a:lnTo>
                <a:lnTo>
                  <a:pt x="366" y="720"/>
                </a:lnTo>
                <a:lnTo>
                  <a:pt x="366" y="714"/>
                </a:lnTo>
                <a:lnTo>
                  <a:pt x="360" y="708"/>
                </a:lnTo>
                <a:lnTo>
                  <a:pt x="354" y="708"/>
                </a:lnTo>
                <a:lnTo>
                  <a:pt x="348" y="702"/>
                </a:lnTo>
                <a:lnTo>
                  <a:pt x="354" y="702"/>
                </a:lnTo>
                <a:lnTo>
                  <a:pt x="354" y="696"/>
                </a:lnTo>
                <a:lnTo>
                  <a:pt x="348" y="696"/>
                </a:lnTo>
                <a:lnTo>
                  <a:pt x="348" y="690"/>
                </a:lnTo>
                <a:lnTo>
                  <a:pt x="342" y="690"/>
                </a:lnTo>
                <a:lnTo>
                  <a:pt x="342" y="684"/>
                </a:lnTo>
                <a:lnTo>
                  <a:pt x="342" y="678"/>
                </a:lnTo>
                <a:lnTo>
                  <a:pt x="342" y="666"/>
                </a:lnTo>
                <a:lnTo>
                  <a:pt x="342" y="660"/>
                </a:lnTo>
                <a:lnTo>
                  <a:pt x="348" y="654"/>
                </a:lnTo>
                <a:lnTo>
                  <a:pt x="348" y="642"/>
                </a:lnTo>
                <a:lnTo>
                  <a:pt x="354" y="642"/>
                </a:lnTo>
                <a:lnTo>
                  <a:pt x="360" y="642"/>
                </a:lnTo>
                <a:lnTo>
                  <a:pt x="366" y="642"/>
                </a:lnTo>
                <a:lnTo>
                  <a:pt x="372" y="648"/>
                </a:lnTo>
                <a:lnTo>
                  <a:pt x="366" y="642"/>
                </a:lnTo>
                <a:lnTo>
                  <a:pt x="372" y="642"/>
                </a:lnTo>
                <a:lnTo>
                  <a:pt x="378" y="642"/>
                </a:lnTo>
                <a:lnTo>
                  <a:pt x="384" y="642"/>
                </a:lnTo>
                <a:lnTo>
                  <a:pt x="390" y="642"/>
                </a:lnTo>
                <a:lnTo>
                  <a:pt x="396" y="642"/>
                </a:lnTo>
                <a:lnTo>
                  <a:pt x="396" y="636"/>
                </a:lnTo>
                <a:lnTo>
                  <a:pt x="402" y="636"/>
                </a:lnTo>
                <a:lnTo>
                  <a:pt x="408" y="636"/>
                </a:lnTo>
                <a:lnTo>
                  <a:pt x="402" y="636"/>
                </a:lnTo>
                <a:lnTo>
                  <a:pt x="402" y="630"/>
                </a:lnTo>
                <a:lnTo>
                  <a:pt x="408" y="630"/>
                </a:lnTo>
                <a:lnTo>
                  <a:pt x="408" y="624"/>
                </a:lnTo>
                <a:lnTo>
                  <a:pt x="408" y="618"/>
                </a:lnTo>
                <a:lnTo>
                  <a:pt x="414" y="618"/>
                </a:lnTo>
                <a:lnTo>
                  <a:pt x="420" y="618"/>
                </a:lnTo>
                <a:lnTo>
                  <a:pt x="426" y="624"/>
                </a:lnTo>
                <a:lnTo>
                  <a:pt x="432" y="624"/>
                </a:lnTo>
                <a:lnTo>
                  <a:pt x="438" y="624"/>
                </a:lnTo>
                <a:lnTo>
                  <a:pt x="438" y="618"/>
                </a:lnTo>
                <a:lnTo>
                  <a:pt x="444" y="618"/>
                </a:lnTo>
                <a:lnTo>
                  <a:pt x="450" y="618"/>
                </a:lnTo>
                <a:lnTo>
                  <a:pt x="444" y="618"/>
                </a:lnTo>
                <a:lnTo>
                  <a:pt x="438" y="618"/>
                </a:lnTo>
                <a:lnTo>
                  <a:pt x="438" y="612"/>
                </a:lnTo>
                <a:lnTo>
                  <a:pt x="438" y="618"/>
                </a:lnTo>
                <a:lnTo>
                  <a:pt x="432" y="624"/>
                </a:lnTo>
                <a:lnTo>
                  <a:pt x="426" y="618"/>
                </a:lnTo>
                <a:lnTo>
                  <a:pt x="420" y="612"/>
                </a:lnTo>
                <a:lnTo>
                  <a:pt x="414" y="612"/>
                </a:lnTo>
                <a:lnTo>
                  <a:pt x="408" y="612"/>
                </a:lnTo>
                <a:lnTo>
                  <a:pt x="402" y="612"/>
                </a:lnTo>
                <a:lnTo>
                  <a:pt x="402" y="618"/>
                </a:lnTo>
                <a:lnTo>
                  <a:pt x="402" y="624"/>
                </a:lnTo>
                <a:lnTo>
                  <a:pt x="396" y="630"/>
                </a:lnTo>
                <a:lnTo>
                  <a:pt x="390" y="630"/>
                </a:lnTo>
                <a:lnTo>
                  <a:pt x="384" y="630"/>
                </a:lnTo>
                <a:lnTo>
                  <a:pt x="390" y="630"/>
                </a:lnTo>
                <a:lnTo>
                  <a:pt x="384" y="630"/>
                </a:lnTo>
                <a:lnTo>
                  <a:pt x="378" y="630"/>
                </a:lnTo>
                <a:lnTo>
                  <a:pt x="378" y="636"/>
                </a:lnTo>
                <a:lnTo>
                  <a:pt x="372" y="630"/>
                </a:lnTo>
                <a:lnTo>
                  <a:pt x="366" y="630"/>
                </a:lnTo>
                <a:lnTo>
                  <a:pt x="360" y="630"/>
                </a:lnTo>
                <a:lnTo>
                  <a:pt x="354" y="630"/>
                </a:lnTo>
                <a:lnTo>
                  <a:pt x="354" y="636"/>
                </a:lnTo>
                <a:lnTo>
                  <a:pt x="348" y="636"/>
                </a:lnTo>
                <a:lnTo>
                  <a:pt x="348" y="642"/>
                </a:lnTo>
                <a:lnTo>
                  <a:pt x="342" y="642"/>
                </a:lnTo>
                <a:lnTo>
                  <a:pt x="342" y="648"/>
                </a:lnTo>
                <a:lnTo>
                  <a:pt x="342" y="654"/>
                </a:lnTo>
                <a:lnTo>
                  <a:pt x="336" y="654"/>
                </a:lnTo>
                <a:lnTo>
                  <a:pt x="336" y="660"/>
                </a:lnTo>
                <a:lnTo>
                  <a:pt x="336" y="666"/>
                </a:lnTo>
                <a:lnTo>
                  <a:pt x="330" y="672"/>
                </a:lnTo>
                <a:lnTo>
                  <a:pt x="330" y="678"/>
                </a:lnTo>
                <a:lnTo>
                  <a:pt x="330" y="684"/>
                </a:lnTo>
                <a:lnTo>
                  <a:pt x="330" y="690"/>
                </a:lnTo>
                <a:lnTo>
                  <a:pt x="324" y="696"/>
                </a:lnTo>
                <a:lnTo>
                  <a:pt x="324" y="702"/>
                </a:lnTo>
                <a:lnTo>
                  <a:pt x="318" y="702"/>
                </a:lnTo>
                <a:lnTo>
                  <a:pt x="318" y="708"/>
                </a:lnTo>
                <a:lnTo>
                  <a:pt x="312" y="708"/>
                </a:lnTo>
                <a:lnTo>
                  <a:pt x="312" y="702"/>
                </a:lnTo>
                <a:lnTo>
                  <a:pt x="306" y="702"/>
                </a:lnTo>
                <a:lnTo>
                  <a:pt x="300" y="702"/>
                </a:lnTo>
                <a:lnTo>
                  <a:pt x="294" y="696"/>
                </a:lnTo>
                <a:lnTo>
                  <a:pt x="288" y="696"/>
                </a:lnTo>
                <a:lnTo>
                  <a:pt x="282" y="690"/>
                </a:lnTo>
                <a:lnTo>
                  <a:pt x="288" y="684"/>
                </a:lnTo>
                <a:lnTo>
                  <a:pt x="294" y="684"/>
                </a:lnTo>
                <a:lnTo>
                  <a:pt x="294" y="678"/>
                </a:lnTo>
                <a:lnTo>
                  <a:pt x="300" y="678"/>
                </a:lnTo>
                <a:lnTo>
                  <a:pt x="294" y="678"/>
                </a:lnTo>
                <a:lnTo>
                  <a:pt x="294" y="672"/>
                </a:lnTo>
                <a:lnTo>
                  <a:pt x="294" y="666"/>
                </a:lnTo>
                <a:lnTo>
                  <a:pt x="288" y="666"/>
                </a:lnTo>
                <a:lnTo>
                  <a:pt x="288" y="672"/>
                </a:lnTo>
                <a:lnTo>
                  <a:pt x="294" y="672"/>
                </a:lnTo>
                <a:lnTo>
                  <a:pt x="288" y="678"/>
                </a:lnTo>
                <a:lnTo>
                  <a:pt x="282" y="684"/>
                </a:lnTo>
                <a:lnTo>
                  <a:pt x="282" y="678"/>
                </a:lnTo>
                <a:lnTo>
                  <a:pt x="276" y="678"/>
                </a:lnTo>
                <a:lnTo>
                  <a:pt x="282" y="684"/>
                </a:lnTo>
                <a:lnTo>
                  <a:pt x="282" y="690"/>
                </a:lnTo>
                <a:lnTo>
                  <a:pt x="282" y="696"/>
                </a:lnTo>
                <a:lnTo>
                  <a:pt x="288" y="702"/>
                </a:lnTo>
                <a:lnTo>
                  <a:pt x="294" y="708"/>
                </a:lnTo>
                <a:lnTo>
                  <a:pt x="294" y="714"/>
                </a:lnTo>
                <a:lnTo>
                  <a:pt x="288" y="714"/>
                </a:lnTo>
                <a:lnTo>
                  <a:pt x="282" y="714"/>
                </a:lnTo>
                <a:lnTo>
                  <a:pt x="276" y="714"/>
                </a:lnTo>
                <a:lnTo>
                  <a:pt x="270" y="714"/>
                </a:lnTo>
                <a:lnTo>
                  <a:pt x="276" y="714"/>
                </a:lnTo>
                <a:lnTo>
                  <a:pt x="270" y="714"/>
                </a:lnTo>
                <a:lnTo>
                  <a:pt x="264" y="714"/>
                </a:lnTo>
                <a:lnTo>
                  <a:pt x="258" y="714"/>
                </a:lnTo>
                <a:lnTo>
                  <a:pt x="252" y="714"/>
                </a:lnTo>
                <a:lnTo>
                  <a:pt x="246" y="714"/>
                </a:lnTo>
                <a:lnTo>
                  <a:pt x="240" y="714"/>
                </a:lnTo>
                <a:lnTo>
                  <a:pt x="240" y="708"/>
                </a:lnTo>
                <a:lnTo>
                  <a:pt x="234" y="708"/>
                </a:lnTo>
                <a:lnTo>
                  <a:pt x="228" y="708"/>
                </a:lnTo>
                <a:lnTo>
                  <a:pt x="222" y="702"/>
                </a:lnTo>
                <a:lnTo>
                  <a:pt x="216" y="702"/>
                </a:lnTo>
                <a:lnTo>
                  <a:pt x="210" y="702"/>
                </a:lnTo>
                <a:lnTo>
                  <a:pt x="198" y="696"/>
                </a:lnTo>
                <a:lnTo>
                  <a:pt x="192" y="690"/>
                </a:lnTo>
                <a:lnTo>
                  <a:pt x="186" y="690"/>
                </a:lnTo>
                <a:lnTo>
                  <a:pt x="180" y="684"/>
                </a:lnTo>
                <a:lnTo>
                  <a:pt x="174" y="684"/>
                </a:lnTo>
                <a:lnTo>
                  <a:pt x="168" y="684"/>
                </a:lnTo>
                <a:lnTo>
                  <a:pt x="168" y="678"/>
                </a:lnTo>
                <a:lnTo>
                  <a:pt x="156" y="672"/>
                </a:lnTo>
                <a:lnTo>
                  <a:pt x="150" y="660"/>
                </a:lnTo>
                <a:lnTo>
                  <a:pt x="126" y="630"/>
                </a:lnTo>
                <a:lnTo>
                  <a:pt x="126" y="624"/>
                </a:lnTo>
                <a:lnTo>
                  <a:pt x="126" y="618"/>
                </a:lnTo>
                <a:lnTo>
                  <a:pt x="126" y="624"/>
                </a:lnTo>
                <a:lnTo>
                  <a:pt x="126" y="618"/>
                </a:lnTo>
                <a:lnTo>
                  <a:pt x="126" y="612"/>
                </a:lnTo>
                <a:lnTo>
                  <a:pt x="126" y="606"/>
                </a:lnTo>
                <a:lnTo>
                  <a:pt x="126" y="600"/>
                </a:lnTo>
                <a:lnTo>
                  <a:pt x="132" y="594"/>
                </a:lnTo>
                <a:lnTo>
                  <a:pt x="138" y="594"/>
                </a:lnTo>
                <a:lnTo>
                  <a:pt x="144" y="588"/>
                </a:lnTo>
                <a:lnTo>
                  <a:pt x="144" y="582"/>
                </a:lnTo>
                <a:lnTo>
                  <a:pt x="150" y="582"/>
                </a:lnTo>
                <a:lnTo>
                  <a:pt x="150" y="576"/>
                </a:lnTo>
                <a:lnTo>
                  <a:pt x="156" y="576"/>
                </a:lnTo>
                <a:lnTo>
                  <a:pt x="156" y="582"/>
                </a:lnTo>
                <a:lnTo>
                  <a:pt x="156" y="576"/>
                </a:lnTo>
                <a:lnTo>
                  <a:pt x="162" y="576"/>
                </a:lnTo>
                <a:lnTo>
                  <a:pt x="168" y="576"/>
                </a:lnTo>
                <a:lnTo>
                  <a:pt x="174" y="576"/>
                </a:lnTo>
                <a:lnTo>
                  <a:pt x="180" y="582"/>
                </a:lnTo>
                <a:lnTo>
                  <a:pt x="192" y="582"/>
                </a:lnTo>
                <a:lnTo>
                  <a:pt x="198" y="582"/>
                </a:lnTo>
                <a:lnTo>
                  <a:pt x="204" y="582"/>
                </a:lnTo>
                <a:lnTo>
                  <a:pt x="210" y="582"/>
                </a:lnTo>
                <a:lnTo>
                  <a:pt x="216" y="588"/>
                </a:lnTo>
                <a:lnTo>
                  <a:pt x="222" y="588"/>
                </a:lnTo>
                <a:lnTo>
                  <a:pt x="234" y="588"/>
                </a:lnTo>
                <a:lnTo>
                  <a:pt x="240" y="588"/>
                </a:lnTo>
                <a:lnTo>
                  <a:pt x="240" y="594"/>
                </a:lnTo>
                <a:lnTo>
                  <a:pt x="240" y="588"/>
                </a:lnTo>
                <a:lnTo>
                  <a:pt x="246" y="588"/>
                </a:lnTo>
                <a:lnTo>
                  <a:pt x="246" y="594"/>
                </a:lnTo>
                <a:lnTo>
                  <a:pt x="252" y="588"/>
                </a:lnTo>
                <a:lnTo>
                  <a:pt x="258" y="588"/>
                </a:lnTo>
                <a:lnTo>
                  <a:pt x="258" y="594"/>
                </a:lnTo>
                <a:lnTo>
                  <a:pt x="252" y="594"/>
                </a:lnTo>
                <a:lnTo>
                  <a:pt x="252" y="600"/>
                </a:lnTo>
                <a:lnTo>
                  <a:pt x="246" y="600"/>
                </a:lnTo>
                <a:lnTo>
                  <a:pt x="246" y="606"/>
                </a:lnTo>
                <a:lnTo>
                  <a:pt x="246" y="600"/>
                </a:lnTo>
                <a:lnTo>
                  <a:pt x="252" y="600"/>
                </a:lnTo>
                <a:lnTo>
                  <a:pt x="258" y="594"/>
                </a:lnTo>
                <a:lnTo>
                  <a:pt x="264" y="594"/>
                </a:lnTo>
                <a:lnTo>
                  <a:pt x="264" y="588"/>
                </a:lnTo>
                <a:lnTo>
                  <a:pt x="270" y="588"/>
                </a:lnTo>
                <a:lnTo>
                  <a:pt x="270" y="582"/>
                </a:lnTo>
                <a:lnTo>
                  <a:pt x="270" y="576"/>
                </a:lnTo>
                <a:lnTo>
                  <a:pt x="276" y="576"/>
                </a:lnTo>
                <a:lnTo>
                  <a:pt x="276" y="570"/>
                </a:lnTo>
                <a:lnTo>
                  <a:pt x="276" y="564"/>
                </a:lnTo>
                <a:lnTo>
                  <a:pt x="270" y="558"/>
                </a:lnTo>
                <a:lnTo>
                  <a:pt x="276" y="558"/>
                </a:lnTo>
                <a:lnTo>
                  <a:pt x="276" y="552"/>
                </a:lnTo>
                <a:lnTo>
                  <a:pt x="276" y="558"/>
                </a:lnTo>
                <a:lnTo>
                  <a:pt x="282" y="558"/>
                </a:lnTo>
                <a:lnTo>
                  <a:pt x="288" y="558"/>
                </a:lnTo>
                <a:lnTo>
                  <a:pt x="294" y="558"/>
                </a:lnTo>
                <a:lnTo>
                  <a:pt x="300" y="558"/>
                </a:lnTo>
                <a:lnTo>
                  <a:pt x="306" y="558"/>
                </a:lnTo>
                <a:lnTo>
                  <a:pt x="312" y="558"/>
                </a:lnTo>
                <a:lnTo>
                  <a:pt x="318" y="558"/>
                </a:lnTo>
                <a:lnTo>
                  <a:pt x="318" y="564"/>
                </a:lnTo>
                <a:lnTo>
                  <a:pt x="324" y="564"/>
                </a:lnTo>
                <a:lnTo>
                  <a:pt x="324" y="570"/>
                </a:lnTo>
                <a:lnTo>
                  <a:pt x="330" y="570"/>
                </a:lnTo>
                <a:lnTo>
                  <a:pt x="336" y="570"/>
                </a:lnTo>
                <a:lnTo>
                  <a:pt x="342" y="570"/>
                </a:lnTo>
                <a:lnTo>
                  <a:pt x="348" y="570"/>
                </a:lnTo>
                <a:lnTo>
                  <a:pt x="354" y="570"/>
                </a:lnTo>
                <a:lnTo>
                  <a:pt x="360" y="570"/>
                </a:lnTo>
                <a:lnTo>
                  <a:pt x="366" y="570"/>
                </a:lnTo>
                <a:lnTo>
                  <a:pt x="360" y="570"/>
                </a:lnTo>
                <a:lnTo>
                  <a:pt x="360" y="564"/>
                </a:lnTo>
                <a:lnTo>
                  <a:pt x="354" y="564"/>
                </a:lnTo>
                <a:lnTo>
                  <a:pt x="348" y="564"/>
                </a:lnTo>
                <a:lnTo>
                  <a:pt x="342" y="564"/>
                </a:lnTo>
                <a:lnTo>
                  <a:pt x="342" y="570"/>
                </a:lnTo>
                <a:lnTo>
                  <a:pt x="336" y="564"/>
                </a:lnTo>
                <a:lnTo>
                  <a:pt x="336" y="570"/>
                </a:lnTo>
                <a:lnTo>
                  <a:pt x="336" y="564"/>
                </a:lnTo>
                <a:lnTo>
                  <a:pt x="330" y="564"/>
                </a:lnTo>
                <a:lnTo>
                  <a:pt x="324" y="558"/>
                </a:lnTo>
                <a:lnTo>
                  <a:pt x="324" y="564"/>
                </a:lnTo>
                <a:lnTo>
                  <a:pt x="324" y="558"/>
                </a:lnTo>
                <a:lnTo>
                  <a:pt x="318" y="558"/>
                </a:lnTo>
                <a:lnTo>
                  <a:pt x="312" y="552"/>
                </a:lnTo>
                <a:lnTo>
                  <a:pt x="312" y="558"/>
                </a:lnTo>
                <a:lnTo>
                  <a:pt x="312" y="552"/>
                </a:lnTo>
                <a:lnTo>
                  <a:pt x="306" y="552"/>
                </a:lnTo>
                <a:lnTo>
                  <a:pt x="300" y="546"/>
                </a:lnTo>
                <a:lnTo>
                  <a:pt x="294" y="546"/>
                </a:lnTo>
                <a:lnTo>
                  <a:pt x="288" y="546"/>
                </a:lnTo>
                <a:lnTo>
                  <a:pt x="282" y="546"/>
                </a:lnTo>
                <a:lnTo>
                  <a:pt x="276" y="546"/>
                </a:lnTo>
                <a:lnTo>
                  <a:pt x="276" y="552"/>
                </a:lnTo>
                <a:lnTo>
                  <a:pt x="270" y="552"/>
                </a:lnTo>
                <a:lnTo>
                  <a:pt x="270" y="558"/>
                </a:lnTo>
                <a:lnTo>
                  <a:pt x="270" y="564"/>
                </a:lnTo>
                <a:lnTo>
                  <a:pt x="264" y="570"/>
                </a:lnTo>
                <a:lnTo>
                  <a:pt x="258" y="576"/>
                </a:lnTo>
                <a:lnTo>
                  <a:pt x="258" y="582"/>
                </a:lnTo>
                <a:lnTo>
                  <a:pt x="252" y="582"/>
                </a:lnTo>
                <a:lnTo>
                  <a:pt x="246" y="582"/>
                </a:lnTo>
                <a:lnTo>
                  <a:pt x="240" y="582"/>
                </a:lnTo>
                <a:lnTo>
                  <a:pt x="234" y="576"/>
                </a:lnTo>
                <a:lnTo>
                  <a:pt x="228" y="576"/>
                </a:lnTo>
                <a:lnTo>
                  <a:pt x="222" y="576"/>
                </a:lnTo>
                <a:lnTo>
                  <a:pt x="222" y="570"/>
                </a:lnTo>
                <a:lnTo>
                  <a:pt x="216" y="564"/>
                </a:lnTo>
                <a:lnTo>
                  <a:pt x="216" y="558"/>
                </a:lnTo>
                <a:lnTo>
                  <a:pt x="210" y="558"/>
                </a:lnTo>
                <a:lnTo>
                  <a:pt x="210" y="552"/>
                </a:lnTo>
                <a:lnTo>
                  <a:pt x="216" y="552"/>
                </a:lnTo>
                <a:lnTo>
                  <a:pt x="216" y="546"/>
                </a:lnTo>
                <a:lnTo>
                  <a:pt x="216" y="540"/>
                </a:lnTo>
                <a:lnTo>
                  <a:pt x="222" y="534"/>
                </a:lnTo>
                <a:lnTo>
                  <a:pt x="222" y="528"/>
                </a:lnTo>
                <a:lnTo>
                  <a:pt x="228" y="522"/>
                </a:lnTo>
                <a:lnTo>
                  <a:pt x="228" y="516"/>
                </a:lnTo>
                <a:lnTo>
                  <a:pt x="228" y="510"/>
                </a:lnTo>
                <a:lnTo>
                  <a:pt x="234" y="510"/>
                </a:lnTo>
                <a:lnTo>
                  <a:pt x="240" y="516"/>
                </a:lnTo>
                <a:lnTo>
                  <a:pt x="246" y="522"/>
                </a:lnTo>
                <a:lnTo>
                  <a:pt x="246" y="516"/>
                </a:lnTo>
                <a:lnTo>
                  <a:pt x="240" y="516"/>
                </a:lnTo>
                <a:lnTo>
                  <a:pt x="240" y="510"/>
                </a:lnTo>
                <a:lnTo>
                  <a:pt x="234" y="510"/>
                </a:lnTo>
                <a:lnTo>
                  <a:pt x="234" y="504"/>
                </a:lnTo>
                <a:lnTo>
                  <a:pt x="228" y="504"/>
                </a:lnTo>
                <a:lnTo>
                  <a:pt x="222" y="504"/>
                </a:lnTo>
                <a:lnTo>
                  <a:pt x="222" y="498"/>
                </a:lnTo>
                <a:lnTo>
                  <a:pt x="222" y="504"/>
                </a:lnTo>
                <a:lnTo>
                  <a:pt x="222" y="510"/>
                </a:lnTo>
                <a:lnTo>
                  <a:pt x="222" y="516"/>
                </a:lnTo>
                <a:lnTo>
                  <a:pt x="216" y="522"/>
                </a:lnTo>
                <a:lnTo>
                  <a:pt x="216" y="528"/>
                </a:lnTo>
                <a:lnTo>
                  <a:pt x="210" y="528"/>
                </a:lnTo>
                <a:lnTo>
                  <a:pt x="216" y="528"/>
                </a:lnTo>
                <a:lnTo>
                  <a:pt x="210" y="534"/>
                </a:lnTo>
                <a:lnTo>
                  <a:pt x="210" y="540"/>
                </a:lnTo>
                <a:lnTo>
                  <a:pt x="210" y="546"/>
                </a:lnTo>
                <a:lnTo>
                  <a:pt x="204" y="546"/>
                </a:lnTo>
                <a:lnTo>
                  <a:pt x="204" y="552"/>
                </a:lnTo>
                <a:lnTo>
                  <a:pt x="204" y="558"/>
                </a:lnTo>
                <a:lnTo>
                  <a:pt x="204" y="564"/>
                </a:lnTo>
                <a:lnTo>
                  <a:pt x="198" y="570"/>
                </a:lnTo>
                <a:lnTo>
                  <a:pt x="192" y="564"/>
                </a:lnTo>
                <a:lnTo>
                  <a:pt x="186" y="564"/>
                </a:lnTo>
                <a:lnTo>
                  <a:pt x="180" y="564"/>
                </a:lnTo>
                <a:lnTo>
                  <a:pt x="174" y="564"/>
                </a:lnTo>
                <a:lnTo>
                  <a:pt x="168" y="564"/>
                </a:lnTo>
                <a:lnTo>
                  <a:pt x="162" y="564"/>
                </a:lnTo>
                <a:lnTo>
                  <a:pt x="156" y="570"/>
                </a:lnTo>
                <a:lnTo>
                  <a:pt x="150" y="570"/>
                </a:lnTo>
                <a:lnTo>
                  <a:pt x="150" y="564"/>
                </a:lnTo>
                <a:lnTo>
                  <a:pt x="150" y="570"/>
                </a:lnTo>
                <a:lnTo>
                  <a:pt x="150" y="576"/>
                </a:lnTo>
                <a:lnTo>
                  <a:pt x="144" y="576"/>
                </a:lnTo>
                <a:lnTo>
                  <a:pt x="138" y="576"/>
                </a:lnTo>
                <a:lnTo>
                  <a:pt x="132" y="582"/>
                </a:lnTo>
                <a:lnTo>
                  <a:pt x="126" y="582"/>
                </a:lnTo>
                <a:lnTo>
                  <a:pt x="120" y="582"/>
                </a:lnTo>
                <a:lnTo>
                  <a:pt x="114" y="576"/>
                </a:lnTo>
                <a:lnTo>
                  <a:pt x="108" y="564"/>
                </a:lnTo>
                <a:lnTo>
                  <a:pt x="102" y="558"/>
                </a:lnTo>
                <a:lnTo>
                  <a:pt x="96" y="552"/>
                </a:lnTo>
                <a:lnTo>
                  <a:pt x="90" y="546"/>
                </a:lnTo>
                <a:lnTo>
                  <a:pt x="90" y="540"/>
                </a:lnTo>
                <a:lnTo>
                  <a:pt x="84" y="534"/>
                </a:lnTo>
                <a:lnTo>
                  <a:pt x="84" y="528"/>
                </a:lnTo>
                <a:lnTo>
                  <a:pt x="78" y="522"/>
                </a:lnTo>
                <a:lnTo>
                  <a:pt x="78" y="516"/>
                </a:lnTo>
                <a:lnTo>
                  <a:pt x="72" y="510"/>
                </a:lnTo>
                <a:lnTo>
                  <a:pt x="66" y="504"/>
                </a:lnTo>
                <a:lnTo>
                  <a:pt x="66" y="498"/>
                </a:lnTo>
                <a:lnTo>
                  <a:pt x="66" y="492"/>
                </a:lnTo>
                <a:lnTo>
                  <a:pt x="66" y="486"/>
                </a:lnTo>
                <a:lnTo>
                  <a:pt x="66" y="480"/>
                </a:lnTo>
                <a:lnTo>
                  <a:pt x="66" y="474"/>
                </a:lnTo>
                <a:lnTo>
                  <a:pt x="72" y="474"/>
                </a:lnTo>
                <a:lnTo>
                  <a:pt x="72" y="468"/>
                </a:lnTo>
                <a:lnTo>
                  <a:pt x="78" y="462"/>
                </a:lnTo>
                <a:lnTo>
                  <a:pt x="78" y="456"/>
                </a:lnTo>
                <a:lnTo>
                  <a:pt x="84" y="456"/>
                </a:lnTo>
                <a:lnTo>
                  <a:pt x="84" y="450"/>
                </a:lnTo>
                <a:lnTo>
                  <a:pt x="84" y="444"/>
                </a:lnTo>
                <a:lnTo>
                  <a:pt x="90" y="444"/>
                </a:lnTo>
                <a:lnTo>
                  <a:pt x="96" y="444"/>
                </a:lnTo>
                <a:lnTo>
                  <a:pt x="96" y="450"/>
                </a:lnTo>
                <a:lnTo>
                  <a:pt x="102" y="450"/>
                </a:lnTo>
                <a:lnTo>
                  <a:pt x="108" y="450"/>
                </a:lnTo>
                <a:lnTo>
                  <a:pt x="108" y="456"/>
                </a:lnTo>
                <a:lnTo>
                  <a:pt x="108" y="462"/>
                </a:lnTo>
                <a:lnTo>
                  <a:pt x="114" y="462"/>
                </a:lnTo>
                <a:lnTo>
                  <a:pt x="114" y="468"/>
                </a:lnTo>
                <a:lnTo>
                  <a:pt x="114" y="474"/>
                </a:lnTo>
                <a:lnTo>
                  <a:pt x="114" y="480"/>
                </a:lnTo>
                <a:lnTo>
                  <a:pt x="114" y="486"/>
                </a:lnTo>
                <a:lnTo>
                  <a:pt x="120" y="486"/>
                </a:lnTo>
                <a:lnTo>
                  <a:pt x="126" y="486"/>
                </a:lnTo>
                <a:lnTo>
                  <a:pt x="132" y="486"/>
                </a:lnTo>
                <a:lnTo>
                  <a:pt x="126" y="480"/>
                </a:lnTo>
                <a:lnTo>
                  <a:pt x="120" y="480"/>
                </a:lnTo>
                <a:lnTo>
                  <a:pt x="114" y="480"/>
                </a:lnTo>
                <a:lnTo>
                  <a:pt x="120" y="480"/>
                </a:lnTo>
                <a:lnTo>
                  <a:pt x="120" y="474"/>
                </a:lnTo>
                <a:lnTo>
                  <a:pt x="120" y="468"/>
                </a:lnTo>
                <a:lnTo>
                  <a:pt x="114" y="468"/>
                </a:lnTo>
                <a:lnTo>
                  <a:pt x="114" y="462"/>
                </a:lnTo>
                <a:lnTo>
                  <a:pt x="114" y="456"/>
                </a:lnTo>
                <a:lnTo>
                  <a:pt x="108" y="456"/>
                </a:lnTo>
                <a:lnTo>
                  <a:pt x="108" y="450"/>
                </a:lnTo>
                <a:lnTo>
                  <a:pt x="108" y="444"/>
                </a:lnTo>
                <a:lnTo>
                  <a:pt x="114" y="438"/>
                </a:lnTo>
                <a:lnTo>
                  <a:pt x="120" y="438"/>
                </a:lnTo>
                <a:lnTo>
                  <a:pt x="120" y="432"/>
                </a:lnTo>
                <a:lnTo>
                  <a:pt x="132" y="426"/>
                </a:lnTo>
                <a:lnTo>
                  <a:pt x="138" y="420"/>
                </a:lnTo>
                <a:lnTo>
                  <a:pt x="144" y="420"/>
                </a:lnTo>
                <a:lnTo>
                  <a:pt x="144" y="414"/>
                </a:lnTo>
                <a:lnTo>
                  <a:pt x="144" y="420"/>
                </a:lnTo>
                <a:lnTo>
                  <a:pt x="150" y="420"/>
                </a:lnTo>
                <a:lnTo>
                  <a:pt x="150" y="414"/>
                </a:lnTo>
                <a:lnTo>
                  <a:pt x="156" y="414"/>
                </a:lnTo>
                <a:lnTo>
                  <a:pt x="162" y="414"/>
                </a:lnTo>
                <a:lnTo>
                  <a:pt x="162" y="408"/>
                </a:lnTo>
                <a:lnTo>
                  <a:pt x="168" y="408"/>
                </a:lnTo>
                <a:lnTo>
                  <a:pt x="174" y="414"/>
                </a:lnTo>
                <a:lnTo>
                  <a:pt x="174" y="408"/>
                </a:lnTo>
                <a:lnTo>
                  <a:pt x="180" y="402"/>
                </a:lnTo>
                <a:lnTo>
                  <a:pt x="180" y="396"/>
                </a:lnTo>
                <a:lnTo>
                  <a:pt x="186" y="396"/>
                </a:lnTo>
                <a:lnTo>
                  <a:pt x="186" y="390"/>
                </a:lnTo>
                <a:lnTo>
                  <a:pt x="192" y="390"/>
                </a:lnTo>
                <a:lnTo>
                  <a:pt x="198" y="384"/>
                </a:lnTo>
                <a:lnTo>
                  <a:pt x="204" y="384"/>
                </a:lnTo>
                <a:lnTo>
                  <a:pt x="204" y="390"/>
                </a:lnTo>
                <a:lnTo>
                  <a:pt x="204" y="384"/>
                </a:lnTo>
                <a:lnTo>
                  <a:pt x="210" y="378"/>
                </a:lnTo>
                <a:lnTo>
                  <a:pt x="210" y="372"/>
                </a:lnTo>
                <a:lnTo>
                  <a:pt x="216" y="372"/>
                </a:lnTo>
                <a:lnTo>
                  <a:pt x="222" y="366"/>
                </a:lnTo>
                <a:lnTo>
                  <a:pt x="228" y="360"/>
                </a:lnTo>
                <a:lnTo>
                  <a:pt x="234" y="360"/>
                </a:lnTo>
                <a:lnTo>
                  <a:pt x="234" y="354"/>
                </a:lnTo>
                <a:lnTo>
                  <a:pt x="240" y="354"/>
                </a:lnTo>
                <a:lnTo>
                  <a:pt x="246" y="348"/>
                </a:lnTo>
                <a:lnTo>
                  <a:pt x="252" y="348"/>
                </a:lnTo>
                <a:lnTo>
                  <a:pt x="252" y="342"/>
                </a:lnTo>
                <a:lnTo>
                  <a:pt x="246" y="342"/>
                </a:lnTo>
                <a:lnTo>
                  <a:pt x="240" y="342"/>
                </a:lnTo>
                <a:lnTo>
                  <a:pt x="240" y="348"/>
                </a:lnTo>
                <a:lnTo>
                  <a:pt x="240" y="342"/>
                </a:lnTo>
                <a:lnTo>
                  <a:pt x="234" y="342"/>
                </a:lnTo>
                <a:lnTo>
                  <a:pt x="228" y="336"/>
                </a:lnTo>
                <a:lnTo>
                  <a:pt x="222" y="336"/>
                </a:lnTo>
                <a:lnTo>
                  <a:pt x="216" y="336"/>
                </a:lnTo>
                <a:lnTo>
                  <a:pt x="222" y="324"/>
                </a:lnTo>
                <a:lnTo>
                  <a:pt x="222" y="318"/>
                </a:lnTo>
                <a:lnTo>
                  <a:pt x="222" y="312"/>
                </a:lnTo>
                <a:lnTo>
                  <a:pt x="234" y="318"/>
                </a:lnTo>
                <a:lnTo>
                  <a:pt x="246" y="318"/>
                </a:lnTo>
                <a:lnTo>
                  <a:pt x="258" y="318"/>
                </a:lnTo>
                <a:lnTo>
                  <a:pt x="270" y="312"/>
                </a:lnTo>
                <a:lnTo>
                  <a:pt x="276" y="312"/>
                </a:lnTo>
                <a:lnTo>
                  <a:pt x="288" y="324"/>
                </a:lnTo>
                <a:lnTo>
                  <a:pt x="294" y="318"/>
                </a:lnTo>
                <a:lnTo>
                  <a:pt x="294" y="312"/>
                </a:lnTo>
                <a:lnTo>
                  <a:pt x="294" y="306"/>
                </a:lnTo>
                <a:lnTo>
                  <a:pt x="300" y="300"/>
                </a:lnTo>
                <a:lnTo>
                  <a:pt x="306" y="306"/>
                </a:lnTo>
                <a:lnTo>
                  <a:pt x="312" y="318"/>
                </a:lnTo>
                <a:lnTo>
                  <a:pt x="318" y="312"/>
                </a:lnTo>
                <a:lnTo>
                  <a:pt x="324" y="312"/>
                </a:lnTo>
                <a:lnTo>
                  <a:pt x="330" y="312"/>
                </a:lnTo>
                <a:lnTo>
                  <a:pt x="342" y="306"/>
                </a:lnTo>
                <a:lnTo>
                  <a:pt x="348" y="306"/>
                </a:lnTo>
                <a:lnTo>
                  <a:pt x="348" y="312"/>
                </a:lnTo>
                <a:lnTo>
                  <a:pt x="348" y="318"/>
                </a:lnTo>
                <a:lnTo>
                  <a:pt x="354" y="318"/>
                </a:lnTo>
                <a:lnTo>
                  <a:pt x="354" y="324"/>
                </a:lnTo>
                <a:lnTo>
                  <a:pt x="354" y="330"/>
                </a:lnTo>
                <a:lnTo>
                  <a:pt x="360" y="330"/>
                </a:lnTo>
                <a:lnTo>
                  <a:pt x="360" y="336"/>
                </a:lnTo>
                <a:lnTo>
                  <a:pt x="366" y="330"/>
                </a:lnTo>
                <a:lnTo>
                  <a:pt x="378" y="324"/>
                </a:lnTo>
                <a:lnTo>
                  <a:pt x="384" y="324"/>
                </a:lnTo>
                <a:lnTo>
                  <a:pt x="384" y="318"/>
                </a:lnTo>
                <a:lnTo>
                  <a:pt x="390" y="312"/>
                </a:lnTo>
                <a:lnTo>
                  <a:pt x="396" y="312"/>
                </a:lnTo>
                <a:lnTo>
                  <a:pt x="396" y="306"/>
                </a:lnTo>
                <a:lnTo>
                  <a:pt x="402" y="306"/>
                </a:lnTo>
                <a:lnTo>
                  <a:pt x="408" y="306"/>
                </a:lnTo>
                <a:lnTo>
                  <a:pt x="414" y="300"/>
                </a:lnTo>
                <a:lnTo>
                  <a:pt x="420" y="300"/>
                </a:lnTo>
                <a:lnTo>
                  <a:pt x="426" y="300"/>
                </a:lnTo>
                <a:lnTo>
                  <a:pt x="432" y="300"/>
                </a:lnTo>
                <a:lnTo>
                  <a:pt x="444" y="288"/>
                </a:lnTo>
                <a:lnTo>
                  <a:pt x="450" y="294"/>
                </a:lnTo>
                <a:lnTo>
                  <a:pt x="468" y="300"/>
                </a:lnTo>
                <a:lnTo>
                  <a:pt x="498" y="312"/>
                </a:lnTo>
                <a:lnTo>
                  <a:pt x="504" y="324"/>
                </a:lnTo>
                <a:lnTo>
                  <a:pt x="516" y="330"/>
                </a:lnTo>
                <a:lnTo>
                  <a:pt x="516" y="336"/>
                </a:lnTo>
                <a:lnTo>
                  <a:pt x="540" y="342"/>
                </a:lnTo>
                <a:lnTo>
                  <a:pt x="558" y="372"/>
                </a:lnTo>
                <a:lnTo>
                  <a:pt x="594" y="384"/>
                </a:lnTo>
                <a:lnTo>
                  <a:pt x="606" y="402"/>
                </a:lnTo>
                <a:lnTo>
                  <a:pt x="600" y="420"/>
                </a:lnTo>
                <a:lnTo>
                  <a:pt x="588" y="444"/>
                </a:lnTo>
                <a:lnTo>
                  <a:pt x="588" y="450"/>
                </a:lnTo>
                <a:lnTo>
                  <a:pt x="588" y="456"/>
                </a:lnTo>
                <a:lnTo>
                  <a:pt x="594" y="456"/>
                </a:lnTo>
                <a:lnTo>
                  <a:pt x="594" y="462"/>
                </a:lnTo>
                <a:lnTo>
                  <a:pt x="594" y="468"/>
                </a:lnTo>
                <a:lnTo>
                  <a:pt x="594" y="474"/>
                </a:lnTo>
                <a:lnTo>
                  <a:pt x="600" y="474"/>
                </a:lnTo>
                <a:lnTo>
                  <a:pt x="606" y="480"/>
                </a:lnTo>
                <a:lnTo>
                  <a:pt x="606" y="486"/>
                </a:lnTo>
                <a:lnTo>
                  <a:pt x="612" y="486"/>
                </a:lnTo>
                <a:lnTo>
                  <a:pt x="618" y="486"/>
                </a:lnTo>
                <a:lnTo>
                  <a:pt x="624" y="486"/>
                </a:lnTo>
                <a:lnTo>
                  <a:pt x="636" y="486"/>
                </a:lnTo>
                <a:lnTo>
                  <a:pt x="642" y="486"/>
                </a:lnTo>
                <a:lnTo>
                  <a:pt x="648" y="480"/>
                </a:lnTo>
                <a:lnTo>
                  <a:pt x="654" y="474"/>
                </a:lnTo>
                <a:lnTo>
                  <a:pt x="660" y="468"/>
                </a:lnTo>
                <a:lnTo>
                  <a:pt x="666" y="468"/>
                </a:lnTo>
                <a:lnTo>
                  <a:pt x="684" y="468"/>
                </a:lnTo>
                <a:lnTo>
                  <a:pt x="696" y="468"/>
                </a:lnTo>
                <a:lnTo>
                  <a:pt x="696" y="462"/>
                </a:lnTo>
                <a:lnTo>
                  <a:pt x="702" y="456"/>
                </a:lnTo>
                <a:lnTo>
                  <a:pt x="708" y="450"/>
                </a:lnTo>
                <a:lnTo>
                  <a:pt x="714" y="450"/>
                </a:lnTo>
                <a:lnTo>
                  <a:pt x="720" y="450"/>
                </a:lnTo>
                <a:lnTo>
                  <a:pt x="720" y="438"/>
                </a:lnTo>
                <a:lnTo>
                  <a:pt x="726" y="432"/>
                </a:lnTo>
                <a:lnTo>
                  <a:pt x="738" y="420"/>
                </a:lnTo>
                <a:lnTo>
                  <a:pt x="744" y="420"/>
                </a:lnTo>
                <a:lnTo>
                  <a:pt x="750" y="414"/>
                </a:lnTo>
                <a:lnTo>
                  <a:pt x="762" y="408"/>
                </a:lnTo>
                <a:lnTo>
                  <a:pt x="768" y="408"/>
                </a:lnTo>
                <a:lnTo>
                  <a:pt x="768" y="402"/>
                </a:lnTo>
                <a:lnTo>
                  <a:pt x="780" y="396"/>
                </a:lnTo>
                <a:lnTo>
                  <a:pt x="786" y="396"/>
                </a:lnTo>
                <a:lnTo>
                  <a:pt x="786" y="390"/>
                </a:lnTo>
                <a:lnTo>
                  <a:pt x="792" y="384"/>
                </a:lnTo>
                <a:lnTo>
                  <a:pt x="792" y="378"/>
                </a:lnTo>
                <a:lnTo>
                  <a:pt x="798" y="366"/>
                </a:lnTo>
                <a:lnTo>
                  <a:pt x="804" y="360"/>
                </a:lnTo>
                <a:lnTo>
                  <a:pt x="816" y="342"/>
                </a:lnTo>
                <a:lnTo>
                  <a:pt x="816" y="312"/>
                </a:lnTo>
                <a:lnTo>
                  <a:pt x="804" y="300"/>
                </a:lnTo>
                <a:lnTo>
                  <a:pt x="798" y="288"/>
                </a:lnTo>
                <a:lnTo>
                  <a:pt x="762" y="264"/>
                </a:lnTo>
                <a:lnTo>
                  <a:pt x="738" y="234"/>
                </a:lnTo>
                <a:lnTo>
                  <a:pt x="738" y="222"/>
                </a:lnTo>
                <a:lnTo>
                  <a:pt x="744" y="210"/>
                </a:lnTo>
                <a:lnTo>
                  <a:pt x="732" y="174"/>
                </a:lnTo>
                <a:lnTo>
                  <a:pt x="714" y="156"/>
                </a:lnTo>
                <a:lnTo>
                  <a:pt x="708" y="144"/>
                </a:lnTo>
                <a:lnTo>
                  <a:pt x="714" y="126"/>
                </a:lnTo>
                <a:lnTo>
                  <a:pt x="720" y="114"/>
                </a:lnTo>
                <a:lnTo>
                  <a:pt x="732" y="102"/>
                </a:lnTo>
                <a:lnTo>
                  <a:pt x="744" y="102"/>
                </a:lnTo>
                <a:lnTo>
                  <a:pt x="762" y="108"/>
                </a:lnTo>
                <a:lnTo>
                  <a:pt x="774" y="114"/>
                </a:lnTo>
                <a:lnTo>
                  <a:pt x="780" y="138"/>
                </a:lnTo>
                <a:lnTo>
                  <a:pt x="786" y="144"/>
                </a:lnTo>
                <a:lnTo>
                  <a:pt x="798" y="138"/>
                </a:lnTo>
                <a:lnTo>
                  <a:pt x="804" y="132"/>
                </a:lnTo>
                <a:lnTo>
                  <a:pt x="816" y="120"/>
                </a:lnTo>
                <a:lnTo>
                  <a:pt x="816" y="108"/>
                </a:lnTo>
                <a:lnTo>
                  <a:pt x="828" y="102"/>
                </a:lnTo>
                <a:lnTo>
                  <a:pt x="828" y="96"/>
                </a:lnTo>
                <a:lnTo>
                  <a:pt x="840" y="96"/>
                </a:lnTo>
                <a:lnTo>
                  <a:pt x="840" y="84"/>
                </a:lnTo>
                <a:lnTo>
                  <a:pt x="852" y="90"/>
                </a:lnTo>
                <a:lnTo>
                  <a:pt x="852" y="96"/>
                </a:lnTo>
                <a:lnTo>
                  <a:pt x="870" y="90"/>
                </a:lnTo>
                <a:lnTo>
                  <a:pt x="894" y="78"/>
                </a:lnTo>
                <a:lnTo>
                  <a:pt x="912" y="78"/>
                </a:lnTo>
                <a:lnTo>
                  <a:pt x="942" y="66"/>
                </a:lnTo>
                <a:lnTo>
                  <a:pt x="942" y="60"/>
                </a:lnTo>
                <a:lnTo>
                  <a:pt x="954" y="48"/>
                </a:lnTo>
                <a:lnTo>
                  <a:pt x="966" y="30"/>
                </a:lnTo>
                <a:lnTo>
                  <a:pt x="978" y="30"/>
                </a:lnTo>
                <a:lnTo>
                  <a:pt x="978" y="24"/>
                </a:lnTo>
                <a:lnTo>
                  <a:pt x="984" y="12"/>
                </a:lnTo>
                <a:lnTo>
                  <a:pt x="990" y="12"/>
                </a:lnTo>
                <a:lnTo>
                  <a:pt x="996" y="12"/>
                </a:lnTo>
                <a:lnTo>
                  <a:pt x="1014" y="6"/>
                </a:lnTo>
                <a:lnTo>
                  <a:pt x="1026" y="6"/>
                </a:lnTo>
                <a:lnTo>
                  <a:pt x="1044" y="6"/>
                </a:lnTo>
                <a:lnTo>
                  <a:pt x="1050" y="6"/>
                </a:lnTo>
                <a:lnTo>
                  <a:pt x="1056" y="6"/>
                </a:lnTo>
                <a:lnTo>
                  <a:pt x="1062" y="6"/>
                </a:lnTo>
                <a:lnTo>
                  <a:pt x="1068" y="6"/>
                </a:lnTo>
                <a:lnTo>
                  <a:pt x="1074" y="6"/>
                </a:lnTo>
                <a:lnTo>
                  <a:pt x="1080" y="6"/>
                </a:lnTo>
                <a:lnTo>
                  <a:pt x="1086" y="0"/>
                </a:lnTo>
                <a:lnTo>
                  <a:pt x="1092" y="30"/>
                </a:lnTo>
                <a:lnTo>
                  <a:pt x="1098" y="60"/>
                </a:lnTo>
                <a:lnTo>
                  <a:pt x="1110" y="84"/>
                </a:lnTo>
                <a:lnTo>
                  <a:pt x="1122" y="114"/>
                </a:lnTo>
                <a:lnTo>
                  <a:pt x="1128" y="144"/>
                </a:lnTo>
                <a:lnTo>
                  <a:pt x="1122" y="156"/>
                </a:lnTo>
                <a:lnTo>
                  <a:pt x="1128" y="168"/>
                </a:lnTo>
                <a:lnTo>
                  <a:pt x="1134" y="186"/>
                </a:lnTo>
                <a:lnTo>
                  <a:pt x="1140" y="204"/>
                </a:lnTo>
                <a:lnTo>
                  <a:pt x="1146" y="210"/>
                </a:lnTo>
                <a:lnTo>
                  <a:pt x="1146" y="216"/>
                </a:lnTo>
                <a:lnTo>
                  <a:pt x="1146" y="228"/>
                </a:lnTo>
                <a:lnTo>
                  <a:pt x="1146" y="234"/>
                </a:lnTo>
                <a:lnTo>
                  <a:pt x="1140" y="246"/>
                </a:lnTo>
                <a:lnTo>
                  <a:pt x="1128" y="258"/>
                </a:lnTo>
                <a:lnTo>
                  <a:pt x="1116" y="264"/>
                </a:lnTo>
                <a:lnTo>
                  <a:pt x="1110" y="276"/>
                </a:lnTo>
                <a:lnTo>
                  <a:pt x="1116" y="288"/>
                </a:lnTo>
                <a:lnTo>
                  <a:pt x="1122" y="300"/>
                </a:lnTo>
                <a:lnTo>
                  <a:pt x="1122" y="312"/>
                </a:lnTo>
                <a:lnTo>
                  <a:pt x="1116" y="324"/>
                </a:lnTo>
                <a:lnTo>
                  <a:pt x="1104" y="336"/>
                </a:lnTo>
                <a:lnTo>
                  <a:pt x="1104" y="354"/>
                </a:lnTo>
                <a:lnTo>
                  <a:pt x="1098" y="372"/>
                </a:lnTo>
                <a:lnTo>
                  <a:pt x="1092" y="384"/>
                </a:lnTo>
                <a:lnTo>
                  <a:pt x="1086" y="390"/>
                </a:lnTo>
                <a:lnTo>
                  <a:pt x="1086" y="402"/>
                </a:lnTo>
                <a:lnTo>
                  <a:pt x="1080" y="414"/>
                </a:lnTo>
                <a:lnTo>
                  <a:pt x="1074" y="426"/>
                </a:lnTo>
                <a:lnTo>
                  <a:pt x="1074" y="450"/>
                </a:lnTo>
                <a:lnTo>
                  <a:pt x="1074" y="462"/>
                </a:lnTo>
                <a:lnTo>
                  <a:pt x="1068" y="474"/>
                </a:lnTo>
                <a:lnTo>
                  <a:pt x="1062" y="486"/>
                </a:lnTo>
                <a:lnTo>
                  <a:pt x="1056" y="498"/>
                </a:lnTo>
                <a:close/>
                <a:moveTo>
                  <a:pt x="186" y="378"/>
                </a:moveTo>
                <a:lnTo>
                  <a:pt x="186" y="384"/>
                </a:lnTo>
                <a:lnTo>
                  <a:pt x="180" y="390"/>
                </a:lnTo>
                <a:lnTo>
                  <a:pt x="174" y="396"/>
                </a:lnTo>
                <a:lnTo>
                  <a:pt x="168" y="396"/>
                </a:lnTo>
                <a:lnTo>
                  <a:pt x="162" y="396"/>
                </a:lnTo>
                <a:lnTo>
                  <a:pt x="156" y="396"/>
                </a:lnTo>
                <a:lnTo>
                  <a:pt x="156" y="402"/>
                </a:lnTo>
                <a:lnTo>
                  <a:pt x="150" y="402"/>
                </a:lnTo>
                <a:lnTo>
                  <a:pt x="144" y="402"/>
                </a:lnTo>
                <a:lnTo>
                  <a:pt x="144" y="408"/>
                </a:lnTo>
                <a:lnTo>
                  <a:pt x="138" y="408"/>
                </a:lnTo>
                <a:lnTo>
                  <a:pt x="132" y="414"/>
                </a:lnTo>
                <a:lnTo>
                  <a:pt x="126" y="414"/>
                </a:lnTo>
                <a:lnTo>
                  <a:pt x="120" y="414"/>
                </a:lnTo>
                <a:lnTo>
                  <a:pt x="120" y="420"/>
                </a:lnTo>
                <a:lnTo>
                  <a:pt x="114" y="426"/>
                </a:lnTo>
                <a:lnTo>
                  <a:pt x="108" y="426"/>
                </a:lnTo>
                <a:lnTo>
                  <a:pt x="102" y="426"/>
                </a:lnTo>
                <a:lnTo>
                  <a:pt x="102" y="432"/>
                </a:lnTo>
                <a:lnTo>
                  <a:pt x="96" y="432"/>
                </a:lnTo>
                <a:lnTo>
                  <a:pt x="90" y="432"/>
                </a:lnTo>
                <a:lnTo>
                  <a:pt x="84" y="438"/>
                </a:lnTo>
                <a:lnTo>
                  <a:pt x="78" y="438"/>
                </a:lnTo>
                <a:lnTo>
                  <a:pt x="78" y="444"/>
                </a:lnTo>
                <a:lnTo>
                  <a:pt x="72" y="444"/>
                </a:lnTo>
                <a:lnTo>
                  <a:pt x="72" y="450"/>
                </a:lnTo>
                <a:lnTo>
                  <a:pt x="66" y="456"/>
                </a:lnTo>
                <a:lnTo>
                  <a:pt x="66" y="462"/>
                </a:lnTo>
                <a:lnTo>
                  <a:pt x="60" y="462"/>
                </a:lnTo>
                <a:lnTo>
                  <a:pt x="60" y="468"/>
                </a:lnTo>
                <a:lnTo>
                  <a:pt x="60" y="474"/>
                </a:lnTo>
                <a:lnTo>
                  <a:pt x="54" y="474"/>
                </a:lnTo>
                <a:lnTo>
                  <a:pt x="48" y="468"/>
                </a:lnTo>
                <a:lnTo>
                  <a:pt x="42" y="468"/>
                </a:lnTo>
                <a:lnTo>
                  <a:pt x="42" y="462"/>
                </a:lnTo>
                <a:lnTo>
                  <a:pt x="42" y="456"/>
                </a:lnTo>
                <a:lnTo>
                  <a:pt x="36" y="456"/>
                </a:lnTo>
                <a:lnTo>
                  <a:pt x="36" y="450"/>
                </a:lnTo>
                <a:lnTo>
                  <a:pt x="36" y="444"/>
                </a:lnTo>
                <a:lnTo>
                  <a:pt x="30" y="444"/>
                </a:lnTo>
                <a:lnTo>
                  <a:pt x="30" y="438"/>
                </a:lnTo>
                <a:lnTo>
                  <a:pt x="30" y="432"/>
                </a:lnTo>
                <a:lnTo>
                  <a:pt x="24" y="432"/>
                </a:lnTo>
                <a:lnTo>
                  <a:pt x="24" y="426"/>
                </a:lnTo>
                <a:lnTo>
                  <a:pt x="18" y="420"/>
                </a:lnTo>
                <a:lnTo>
                  <a:pt x="18" y="414"/>
                </a:lnTo>
                <a:lnTo>
                  <a:pt x="12" y="414"/>
                </a:lnTo>
                <a:lnTo>
                  <a:pt x="12" y="408"/>
                </a:lnTo>
                <a:lnTo>
                  <a:pt x="6" y="402"/>
                </a:lnTo>
                <a:lnTo>
                  <a:pt x="6" y="396"/>
                </a:lnTo>
                <a:lnTo>
                  <a:pt x="0" y="396"/>
                </a:lnTo>
                <a:lnTo>
                  <a:pt x="6" y="384"/>
                </a:lnTo>
                <a:lnTo>
                  <a:pt x="18" y="372"/>
                </a:lnTo>
                <a:lnTo>
                  <a:pt x="30" y="348"/>
                </a:lnTo>
                <a:lnTo>
                  <a:pt x="30" y="342"/>
                </a:lnTo>
                <a:lnTo>
                  <a:pt x="42" y="330"/>
                </a:lnTo>
                <a:lnTo>
                  <a:pt x="42" y="324"/>
                </a:lnTo>
                <a:lnTo>
                  <a:pt x="48" y="318"/>
                </a:lnTo>
                <a:lnTo>
                  <a:pt x="54" y="306"/>
                </a:lnTo>
                <a:lnTo>
                  <a:pt x="54" y="294"/>
                </a:lnTo>
                <a:lnTo>
                  <a:pt x="60" y="282"/>
                </a:lnTo>
                <a:lnTo>
                  <a:pt x="60" y="276"/>
                </a:lnTo>
                <a:lnTo>
                  <a:pt x="60" y="270"/>
                </a:lnTo>
                <a:lnTo>
                  <a:pt x="66" y="270"/>
                </a:lnTo>
                <a:lnTo>
                  <a:pt x="72" y="258"/>
                </a:lnTo>
                <a:lnTo>
                  <a:pt x="84" y="246"/>
                </a:lnTo>
                <a:lnTo>
                  <a:pt x="90" y="234"/>
                </a:lnTo>
                <a:lnTo>
                  <a:pt x="96" y="234"/>
                </a:lnTo>
                <a:lnTo>
                  <a:pt x="96" y="228"/>
                </a:lnTo>
                <a:lnTo>
                  <a:pt x="102" y="222"/>
                </a:lnTo>
                <a:lnTo>
                  <a:pt x="102" y="228"/>
                </a:lnTo>
                <a:lnTo>
                  <a:pt x="102" y="234"/>
                </a:lnTo>
                <a:lnTo>
                  <a:pt x="108" y="234"/>
                </a:lnTo>
                <a:lnTo>
                  <a:pt x="108" y="228"/>
                </a:lnTo>
                <a:lnTo>
                  <a:pt x="114" y="228"/>
                </a:lnTo>
                <a:lnTo>
                  <a:pt x="114" y="234"/>
                </a:lnTo>
                <a:lnTo>
                  <a:pt x="120" y="228"/>
                </a:lnTo>
                <a:lnTo>
                  <a:pt x="120" y="222"/>
                </a:lnTo>
                <a:lnTo>
                  <a:pt x="126" y="222"/>
                </a:lnTo>
                <a:lnTo>
                  <a:pt x="132" y="222"/>
                </a:lnTo>
                <a:lnTo>
                  <a:pt x="126" y="228"/>
                </a:lnTo>
                <a:lnTo>
                  <a:pt x="132" y="228"/>
                </a:lnTo>
                <a:lnTo>
                  <a:pt x="138" y="228"/>
                </a:lnTo>
                <a:lnTo>
                  <a:pt x="138" y="234"/>
                </a:lnTo>
                <a:lnTo>
                  <a:pt x="144" y="234"/>
                </a:lnTo>
                <a:lnTo>
                  <a:pt x="144" y="228"/>
                </a:lnTo>
                <a:lnTo>
                  <a:pt x="150" y="228"/>
                </a:lnTo>
                <a:lnTo>
                  <a:pt x="156" y="228"/>
                </a:lnTo>
                <a:lnTo>
                  <a:pt x="156" y="234"/>
                </a:lnTo>
                <a:lnTo>
                  <a:pt x="150" y="234"/>
                </a:lnTo>
                <a:lnTo>
                  <a:pt x="156" y="240"/>
                </a:lnTo>
                <a:lnTo>
                  <a:pt x="156" y="246"/>
                </a:lnTo>
                <a:lnTo>
                  <a:pt x="162" y="240"/>
                </a:lnTo>
                <a:lnTo>
                  <a:pt x="162" y="246"/>
                </a:lnTo>
                <a:lnTo>
                  <a:pt x="162" y="258"/>
                </a:lnTo>
                <a:lnTo>
                  <a:pt x="162" y="264"/>
                </a:lnTo>
                <a:lnTo>
                  <a:pt x="156" y="270"/>
                </a:lnTo>
                <a:lnTo>
                  <a:pt x="162" y="270"/>
                </a:lnTo>
                <a:lnTo>
                  <a:pt x="162" y="282"/>
                </a:lnTo>
                <a:lnTo>
                  <a:pt x="168" y="282"/>
                </a:lnTo>
                <a:lnTo>
                  <a:pt x="174" y="282"/>
                </a:lnTo>
                <a:lnTo>
                  <a:pt x="186" y="288"/>
                </a:lnTo>
                <a:lnTo>
                  <a:pt x="186" y="294"/>
                </a:lnTo>
                <a:lnTo>
                  <a:pt x="180" y="300"/>
                </a:lnTo>
                <a:lnTo>
                  <a:pt x="174" y="318"/>
                </a:lnTo>
                <a:lnTo>
                  <a:pt x="174" y="324"/>
                </a:lnTo>
                <a:lnTo>
                  <a:pt x="168" y="330"/>
                </a:lnTo>
                <a:lnTo>
                  <a:pt x="168" y="342"/>
                </a:lnTo>
                <a:lnTo>
                  <a:pt x="168" y="348"/>
                </a:lnTo>
                <a:lnTo>
                  <a:pt x="174" y="354"/>
                </a:lnTo>
                <a:lnTo>
                  <a:pt x="174" y="360"/>
                </a:lnTo>
                <a:lnTo>
                  <a:pt x="180" y="366"/>
                </a:lnTo>
                <a:lnTo>
                  <a:pt x="186" y="378"/>
                </a:lnTo>
                <a:close/>
              </a:path>
            </a:pathLst>
          </a:custGeom>
          <a:solidFill>
            <a:srgbClr val="FF9900"/>
          </a:solidFill>
          <a:ln w="9525">
            <a:solidFill>
              <a:schemeClr val="bg1"/>
            </a:solidFill>
            <a:round/>
            <a:headEnd/>
            <a:tailEnd/>
          </a:ln>
        </p:spPr>
        <p:txBody>
          <a:bodyPr/>
          <a:lstStyle/>
          <a:p>
            <a:endParaRPr lang="en-GB"/>
          </a:p>
        </p:txBody>
      </p:sp>
      <p:sp>
        <p:nvSpPr>
          <p:cNvPr id="17438" name="Freeform 24"/>
          <p:cNvSpPr>
            <a:spLocks/>
          </p:cNvSpPr>
          <p:nvPr/>
        </p:nvSpPr>
        <p:spPr bwMode="gray">
          <a:xfrm>
            <a:off x="2597150" y="4754563"/>
            <a:ext cx="854075" cy="942975"/>
          </a:xfrm>
          <a:custGeom>
            <a:avLst/>
            <a:gdLst>
              <a:gd name="T0" fmla="*/ 70473 w 1092"/>
              <a:gd name="T1" fmla="*/ 48328 h 1170"/>
              <a:gd name="T2" fmla="*/ 64992 w 1092"/>
              <a:gd name="T3" fmla="*/ 49939 h 1170"/>
              <a:gd name="T4" fmla="*/ 56378 w 1092"/>
              <a:gd name="T5" fmla="*/ 54771 h 1170"/>
              <a:gd name="T6" fmla="*/ 53246 w 1092"/>
              <a:gd name="T7" fmla="*/ 57188 h 1170"/>
              <a:gd name="T8" fmla="*/ 47765 w 1092"/>
              <a:gd name="T9" fmla="*/ 55577 h 1170"/>
              <a:gd name="T10" fmla="*/ 50114 w 1092"/>
              <a:gd name="T11" fmla="*/ 66048 h 1170"/>
              <a:gd name="T12" fmla="*/ 52463 w 1092"/>
              <a:gd name="T13" fmla="*/ 74908 h 1170"/>
              <a:gd name="T14" fmla="*/ 48548 w 1092"/>
              <a:gd name="T15" fmla="*/ 77324 h 1170"/>
              <a:gd name="T16" fmla="*/ 46199 w 1092"/>
              <a:gd name="T17" fmla="*/ 79741 h 1170"/>
              <a:gd name="T18" fmla="*/ 41501 w 1092"/>
              <a:gd name="T19" fmla="*/ 81352 h 1170"/>
              <a:gd name="T20" fmla="*/ 39152 w 1092"/>
              <a:gd name="T21" fmla="*/ 80546 h 1170"/>
              <a:gd name="T22" fmla="*/ 39152 w 1092"/>
              <a:gd name="T23" fmla="*/ 74908 h 1170"/>
              <a:gd name="T24" fmla="*/ 28972 w 1092"/>
              <a:gd name="T25" fmla="*/ 68464 h 1170"/>
              <a:gd name="T26" fmla="*/ 25057 w 1092"/>
              <a:gd name="T27" fmla="*/ 69270 h 1170"/>
              <a:gd name="T28" fmla="*/ 22708 w 1092"/>
              <a:gd name="T29" fmla="*/ 70881 h 1170"/>
              <a:gd name="T30" fmla="*/ 21142 w 1092"/>
              <a:gd name="T31" fmla="*/ 69270 h 1170"/>
              <a:gd name="T32" fmla="*/ 18010 w 1092"/>
              <a:gd name="T33" fmla="*/ 70075 h 1170"/>
              <a:gd name="T34" fmla="*/ 13312 w 1092"/>
              <a:gd name="T35" fmla="*/ 70075 h 1170"/>
              <a:gd name="T36" fmla="*/ 14095 w 1092"/>
              <a:gd name="T37" fmla="*/ 71686 h 1170"/>
              <a:gd name="T38" fmla="*/ 12528 w 1092"/>
              <a:gd name="T39" fmla="*/ 74102 h 1170"/>
              <a:gd name="T40" fmla="*/ 9396 w 1092"/>
              <a:gd name="T41" fmla="*/ 71686 h 1170"/>
              <a:gd name="T42" fmla="*/ 10179 w 1092"/>
              <a:gd name="T43" fmla="*/ 67659 h 1170"/>
              <a:gd name="T44" fmla="*/ 9396 w 1092"/>
              <a:gd name="T45" fmla="*/ 64437 h 1170"/>
              <a:gd name="T46" fmla="*/ 7830 w 1092"/>
              <a:gd name="T47" fmla="*/ 64437 h 1170"/>
              <a:gd name="T48" fmla="*/ 6264 w 1092"/>
              <a:gd name="T49" fmla="*/ 63631 h 1170"/>
              <a:gd name="T50" fmla="*/ 4698 w 1092"/>
              <a:gd name="T51" fmla="*/ 62826 h 1170"/>
              <a:gd name="T52" fmla="*/ 4698 w 1092"/>
              <a:gd name="T53" fmla="*/ 62020 h 1170"/>
              <a:gd name="T54" fmla="*/ 3132 w 1092"/>
              <a:gd name="T55" fmla="*/ 60410 h 1170"/>
              <a:gd name="T56" fmla="*/ 0 w 1092"/>
              <a:gd name="T57" fmla="*/ 57993 h 1170"/>
              <a:gd name="T58" fmla="*/ 0 w 1092"/>
              <a:gd name="T59" fmla="*/ 55577 h 1170"/>
              <a:gd name="T60" fmla="*/ 2349 w 1092"/>
              <a:gd name="T61" fmla="*/ 53966 h 1170"/>
              <a:gd name="T62" fmla="*/ 4698 w 1092"/>
              <a:gd name="T63" fmla="*/ 49939 h 1170"/>
              <a:gd name="T64" fmla="*/ 6264 w 1092"/>
              <a:gd name="T65" fmla="*/ 46717 h 1170"/>
              <a:gd name="T66" fmla="*/ 3915 w 1092"/>
              <a:gd name="T67" fmla="*/ 43495 h 1170"/>
              <a:gd name="T68" fmla="*/ 4698 w 1092"/>
              <a:gd name="T69" fmla="*/ 40273 h 1170"/>
              <a:gd name="T70" fmla="*/ 6264 w 1092"/>
              <a:gd name="T71" fmla="*/ 37051 h 1170"/>
              <a:gd name="T72" fmla="*/ 7830 w 1092"/>
              <a:gd name="T73" fmla="*/ 34635 h 1170"/>
              <a:gd name="T74" fmla="*/ 10962 w 1092"/>
              <a:gd name="T75" fmla="*/ 30608 h 1170"/>
              <a:gd name="T76" fmla="*/ 24274 w 1092"/>
              <a:gd name="T77" fmla="*/ 32218 h 1170"/>
              <a:gd name="T78" fmla="*/ 23491 w 1092"/>
              <a:gd name="T79" fmla="*/ 37051 h 1170"/>
              <a:gd name="T80" fmla="*/ 28189 w 1092"/>
              <a:gd name="T81" fmla="*/ 37857 h 1170"/>
              <a:gd name="T82" fmla="*/ 32104 w 1092"/>
              <a:gd name="T83" fmla="*/ 35440 h 1170"/>
              <a:gd name="T84" fmla="*/ 33670 w 1092"/>
              <a:gd name="T85" fmla="*/ 31413 h 1170"/>
              <a:gd name="T86" fmla="*/ 34453 w 1092"/>
              <a:gd name="T87" fmla="*/ 28191 h 1170"/>
              <a:gd name="T88" fmla="*/ 34453 w 1092"/>
              <a:gd name="T89" fmla="*/ 23358 h 1170"/>
              <a:gd name="T90" fmla="*/ 37585 w 1092"/>
              <a:gd name="T91" fmla="*/ 19331 h 1170"/>
              <a:gd name="T92" fmla="*/ 38369 w 1092"/>
              <a:gd name="T93" fmla="*/ 15304 h 1170"/>
              <a:gd name="T94" fmla="*/ 39935 w 1092"/>
              <a:gd name="T95" fmla="*/ 11276 h 1170"/>
              <a:gd name="T96" fmla="*/ 42284 w 1092"/>
              <a:gd name="T97" fmla="*/ 8055 h 1170"/>
              <a:gd name="T98" fmla="*/ 41501 w 1092"/>
              <a:gd name="T99" fmla="*/ 5638 h 1170"/>
              <a:gd name="T100" fmla="*/ 43067 w 1092"/>
              <a:gd name="T101" fmla="*/ 2416 h 1170"/>
              <a:gd name="T102" fmla="*/ 45416 w 1092"/>
              <a:gd name="T103" fmla="*/ 0 h 1170"/>
              <a:gd name="T104" fmla="*/ 50897 w 1092"/>
              <a:gd name="T105" fmla="*/ 1611 h 1170"/>
              <a:gd name="T106" fmla="*/ 47765 w 1092"/>
              <a:gd name="T107" fmla="*/ 4833 h 1170"/>
              <a:gd name="T108" fmla="*/ 52463 w 1092"/>
              <a:gd name="T109" fmla="*/ 5638 h 1170"/>
              <a:gd name="T110" fmla="*/ 55595 w 1092"/>
              <a:gd name="T111" fmla="*/ 4833 h 1170"/>
              <a:gd name="T112" fmla="*/ 58727 w 1092"/>
              <a:gd name="T113" fmla="*/ 7249 h 1170"/>
              <a:gd name="T114" fmla="*/ 64209 w 1092"/>
              <a:gd name="T115" fmla="*/ 9666 h 1170"/>
              <a:gd name="T116" fmla="*/ 65775 w 1092"/>
              <a:gd name="T117" fmla="*/ 13693 h 1170"/>
              <a:gd name="T118" fmla="*/ 73605 w 1092"/>
              <a:gd name="T119" fmla="*/ 18526 h 1170"/>
              <a:gd name="T120" fmla="*/ 73605 w 1092"/>
              <a:gd name="T121" fmla="*/ 27386 h 1170"/>
              <a:gd name="T122" fmla="*/ 70473 w 1092"/>
              <a:gd name="T123" fmla="*/ 33024 h 1170"/>
              <a:gd name="T124" fmla="*/ 71256 w 1092"/>
              <a:gd name="T125" fmla="*/ 41078 h 11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2"/>
              <a:gd name="T190" fmla="*/ 0 h 1170"/>
              <a:gd name="T191" fmla="*/ 1092 w 1092"/>
              <a:gd name="T192" fmla="*/ 1170 h 11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2" h="1170">
                <a:moveTo>
                  <a:pt x="1056" y="654"/>
                </a:moveTo>
                <a:lnTo>
                  <a:pt x="1062" y="684"/>
                </a:lnTo>
                <a:lnTo>
                  <a:pt x="1056" y="690"/>
                </a:lnTo>
                <a:lnTo>
                  <a:pt x="1050" y="690"/>
                </a:lnTo>
                <a:lnTo>
                  <a:pt x="1044" y="690"/>
                </a:lnTo>
                <a:lnTo>
                  <a:pt x="1038" y="690"/>
                </a:lnTo>
                <a:lnTo>
                  <a:pt x="1032" y="690"/>
                </a:lnTo>
                <a:lnTo>
                  <a:pt x="1026" y="690"/>
                </a:lnTo>
                <a:lnTo>
                  <a:pt x="1020" y="690"/>
                </a:lnTo>
                <a:lnTo>
                  <a:pt x="1002" y="690"/>
                </a:lnTo>
                <a:lnTo>
                  <a:pt x="990" y="690"/>
                </a:lnTo>
                <a:lnTo>
                  <a:pt x="972" y="696"/>
                </a:lnTo>
                <a:lnTo>
                  <a:pt x="966" y="696"/>
                </a:lnTo>
                <a:lnTo>
                  <a:pt x="960" y="696"/>
                </a:lnTo>
                <a:lnTo>
                  <a:pt x="954" y="708"/>
                </a:lnTo>
                <a:lnTo>
                  <a:pt x="954" y="714"/>
                </a:lnTo>
                <a:lnTo>
                  <a:pt x="942" y="714"/>
                </a:lnTo>
                <a:lnTo>
                  <a:pt x="930" y="732"/>
                </a:lnTo>
                <a:lnTo>
                  <a:pt x="918" y="744"/>
                </a:lnTo>
                <a:lnTo>
                  <a:pt x="918" y="750"/>
                </a:lnTo>
                <a:lnTo>
                  <a:pt x="888" y="762"/>
                </a:lnTo>
                <a:lnTo>
                  <a:pt x="870" y="762"/>
                </a:lnTo>
                <a:lnTo>
                  <a:pt x="846" y="774"/>
                </a:lnTo>
                <a:lnTo>
                  <a:pt x="828" y="780"/>
                </a:lnTo>
                <a:lnTo>
                  <a:pt x="828" y="774"/>
                </a:lnTo>
                <a:lnTo>
                  <a:pt x="816" y="768"/>
                </a:lnTo>
                <a:lnTo>
                  <a:pt x="816" y="780"/>
                </a:lnTo>
                <a:lnTo>
                  <a:pt x="804" y="780"/>
                </a:lnTo>
                <a:lnTo>
                  <a:pt x="804" y="786"/>
                </a:lnTo>
                <a:lnTo>
                  <a:pt x="792" y="792"/>
                </a:lnTo>
                <a:lnTo>
                  <a:pt x="792" y="804"/>
                </a:lnTo>
                <a:lnTo>
                  <a:pt x="780" y="816"/>
                </a:lnTo>
                <a:lnTo>
                  <a:pt x="774" y="822"/>
                </a:lnTo>
                <a:lnTo>
                  <a:pt x="762" y="828"/>
                </a:lnTo>
                <a:lnTo>
                  <a:pt x="756" y="822"/>
                </a:lnTo>
                <a:lnTo>
                  <a:pt x="750" y="798"/>
                </a:lnTo>
                <a:lnTo>
                  <a:pt x="738" y="792"/>
                </a:lnTo>
                <a:lnTo>
                  <a:pt x="720" y="786"/>
                </a:lnTo>
                <a:lnTo>
                  <a:pt x="708" y="786"/>
                </a:lnTo>
                <a:lnTo>
                  <a:pt x="696" y="798"/>
                </a:lnTo>
                <a:lnTo>
                  <a:pt x="690" y="810"/>
                </a:lnTo>
                <a:lnTo>
                  <a:pt x="684" y="828"/>
                </a:lnTo>
                <a:lnTo>
                  <a:pt x="690" y="840"/>
                </a:lnTo>
                <a:lnTo>
                  <a:pt x="708" y="858"/>
                </a:lnTo>
                <a:lnTo>
                  <a:pt x="720" y="894"/>
                </a:lnTo>
                <a:lnTo>
                  <a:pt x="714" y="906"/>
                </a:lnTo>
                <a:lnTo>
                  <a:pt x="714" y="918"/>
                </a:lnTo>
                <a:lnTo>
                  <a:pt x="738" y="948"/>
                </a:lnTo>
                <a:lnTo>
                  <a:pt x="774" y="972"/>
                </a:lnTo>
                <a:lnTo>
                  <a:pt x="780" y="984"/>
                </a:lnTo>
                <a:lnTo>
                  <a:pt x="792" y="996"/>
                </a:lnTo>
                <a:lnTo>
                  <a:pt x="792" y="1026"/>
                </a:lnTo>
                <a:lnTo>
                  <a:pt x="780" y="1044"/>
                </a:lnTo>
                <a:lnTo>
                  <a:pt x="774" y="1050"/>
                </a:lnTo>
                <a:lnTo>
                  <a:pt x="768" y="1062"/>
                </a:lnTo>
                <a:lnTo>
                  <a:pt x="768" y="1068"/>
                </a:lnTo>
                <a:lnTo>
                  <a:pt x="762" y="1074"/>
                </a:lnTo>
                <a:lnTo>
                  <a:pt x="762" y="1080"/>
                </a:lnTo>
                <a:lnTo>
                  <a:pt x="756" y="1080"/>
                </a:lnTo>
                <a:lnTo>
                  <a:pt x="744" y="1086"/>
                </a:lnTo>
                <a:lnTo>
                  <a:pt x="744" y="1092"/>
                </a:lnTo>
                <a:lnTo>
                  <a:pt x="738" y="1092"/>
                </a:lnTo>
                <a:lnTo>
                  <a:pt x="726" y="1098"/>
                </a:lnTo>
                <a:lnTo>
                  <a:pt x="720" y="1104"/>
                </a:lnTo>
                <a:lnTo>
                  <a:pt x="714" y="1104"/>
                </a:lnTo>
                <a:lnTo>
                  <a:pt x="702" y="1116"/>
                </a:lnTo>
                <a:lnTo>
                  <a:pt x="696" y="1122"/>
                </a:lnTo>
                <a:lnTo>
                  <a:pt x="696" y="1134"/>
                </a:lnTo>
                <a:lnTo>
                  <a:pt x="690" y="1134"/>
                </a:lnTo>
                <a:lnTo>
                  <a:pt x="684" y="1134"/>
                </a:lnTo>
                <a:lnTo>
                  <a:pt x="678" y="1140"/>
                </a:lnTo>
                <a:lnTo>
                  <a:pt x="672" y="1146"/>
                </a:lnTo>
                <a:lnTo>
                  <a:pt x="672" y="1152"/>
                </a:lnTo>
                <a:lnTo>
                  <a:pt x="660" y="1152"/>
                </a:lnTo>
                <a:lnTo>
                  <a:pt x="642" y="1152"/>
                </a:lnTo>
                <a:lnTo>
                  <a:pt x="636" y="1152"/>
                </a:lnTo>
                <a:lnTo>
                  <a:pt x="630" y="1158"/>
                </a:lnTo>
                <a:lnTo>
                  <a:pt x="624" y="1164"/>
                </a:lnTo>
                <a:lnTo>
                  <a:pt x="618" y="1170"/>
                </a:lnTo>
                <a:lnTo>
                  <a:pt x="612" y="1170"/>
                </a:lnTo>
                <a:lnTo>
                  <a:pt x="600" y="1170"/>
                </a:lnTo>
                <a:lnTo>
                  <a:pt x="594" y="1170"/>
                </a:lnTo>
                <a:lnTo>
                  <a:pt x="588" y="1170"/>
                </a:lnTo>
                <a:lnTo>
                  <a:pt x="582" y="1170"/>
                </a:lnTo>
                <a:lnTo>
                  <a:pt x="582" y="1164"/>
                </a:lnTo>
                <a:lnTo>
                  <a:pt x="576" y="1158"/>
                </a:lnTo>
                <a:lnTo>
                  <a:pt x="570" y="1158"/>
                </a:lnTo>
                <a:lnTo>
                  <a:pt x="570" y="1152"/>
                </a:lnTo>
                <a:lnTo>
                  <a:pt x="570" y="1146"/>
                </a:lnTo>
                <a:lnTo>
                  <a:pt x="570" y="1140"/>
                </a:lnTo>
                <a:lnTo>
                  <a:pt x="564" y="1140"/>
                </a:lnTo>
                <a:lnTo>
                  <a:pt x="564" y="1134"/>
                </a:lnTo>
                <a:lnTo>
                  <a:pt x="564" y="1128"/>
                </a:lnTo>
                <a:lnTo>
                  <a:pt x="576" y="1104"/>
                </a:lnTo>
                <a:lnTo>
                  <a:pt x="582" y="1086"/>
                </a:lnTo>
                <a:lnTo>
                  <a:pt x="570" y="1068"/>
                </a:lnTo>
                <a:lnTo>
                  <a:pt x="534" y="1056"/>
                </a:lnTo>
                <a:lnTo>
                  <a:pt x="516" y="1026"/>
                </a:lnTo>
                <a:lnTo>
                  <a:pt x="492" y="1020"/>
                </a:lnTo>
                <a:lnTo>
                  <a:pt x="492" y="1014"/>
                </a:lnTo>
                <a:lnTo>
                  <a:pt x="480" y="1008"/>
                </a:lnTo>
                <a:lnTo>
                  <a:pt x="474" y="996"/>
                </a:lnTo>
                <a:lnTo>
                  <a:pt x="444" y="984"/>
                </a:lnTo>
                <a:lnTo>
                  <a:pt x="426" y="978"/>
                </a:lnTo>
                <a:lnTo>
                  <a:pt x="420" y="972"/>
                </a:lnTo>
                <a:lnTo>
                  <a:pt x="408" y="984"/>
                </a:lnTo>
                <a:lnTo>
                  <a:pt x="402" y="984"/>
                </a:lnTo>
                <a:lnTo>
                  <a:pt x="396" y="984"/>
                </a:lnTo>
                <a:lnTo>
                  <a:pt x="390" y="984"/>
                </a:lnTo>
                <a:lnTo>
                  <a:pt x="384" y="990"/>
                </a:lnTo>
                <a:lnTo>
                  <a:pt x="378" y="990"/>
                </a:lnTo>
                <a:lnTo>
                  <a:pt x="372" y="990"/>
                </a:lnTo>
                <a:lnTo>
                  <a:pt x="372" y="996"/>
                </a:lnTo>
                <a:lnTo>
                  <a:pt x="366" y="996"/>
                </a:lnTo>
                <a:lnTo>
                  <a:pt x="360" y="1002"/>
                </a:lnTo>
                <a:lnTo>
                  <a:pt x="360" y="1008"/>
                </a:lnTo>
                <a:lnTo>
                  <a:pt x="354" y="1008"/>
                </a:lnTo>
                <a:lnTo>
                  <a:pt x="342" y="1014"/>
                </a:lnTo>
                <a:lnTo>
                  <a:pt x="336" y="1020"/>
                </a:lnTo>
                <a:lnTo>
                  <a:pt x="336" y="1014"/>
                </a:lnTo>
                <a:lnTo>
                  <a:pt x="330" y="1014"/>
                </a:lnTo>
                <a:lnTo>
                  <a:pt x="330" y="1008"/>
                </a:lnTo>
                <a:lnTo>
                  <a:pt x="330" y="1002"/>
                </a:lnTo>
                <a:lnTo>
                  <a:pt x="324" y="1002"/>
                </a:lnTo>
                <a:lnTo>
                  <a:pt x="324" y="996"/>
                </a:lnTo>
                <a:lnTo>
                  <a:pt x="324" y="990"/>
                </a:lnTo>
                <a:lnTo>
                  <a:pt x="318" y="990"/>
                </a:lnTo>
                <a:lnTo>
                  <a:pt x="306" y="996"/>
                </a:lnTo>
                <a:lnTo>
                  <a:pt x="300" y="996"/>
                </a:lnTo>
                <a:lnTo>
                  <a:pt x="294" y="996"/>
                </a:lnTo>
                <a:lnTo>
                  <a:pt x="288" y="1002"/>
                </a:lnTo>
                <a:lnTo>
                  <a:pt x="282" y="990"/>
                </a:lnTo>
                <a:lnTo>
                  <a:pt x="276" y="984"/>
                </a:lnTo>
                <a:lnTo>
                  <a:pt x="270" y="990"/>
                </a:lnTo>
                <a:lnTo>
                  <a:pt x="270" y="996"/>
                </a:lnTo>
                <a:lnTo>
                  <a:pt x="270" y="1002"/>
                </a:lnTo>
                <a:lnTo>
                  <a:pt x="264" y="1008"/>
                </a:lnTo>
                <a:lnTo>
                  <a:pt x="252" y="996"/>
                </a:lnTo>
                <a:lnTo>
                  <a:pt x="246" y="996"/>
                </a:lnTo>
                <a:lnTo>
                  <a:pt x="234" y="1002"/>
                </a:lnTo>
                <a:lnTo>
                  <a:pt x="222" y="1002"/>
                </a:lnTo>
                <a:lnTo>
                  <a:pt x="210" y="1002"/>
                </a:lnTo>
                <a:lnTo>
                  <a:pt x="198" y="996"/>
                </a:lnTo>
                <a:lnTo>
                  <a:pt x="198" y="1002"/>
                </a:lnTo>
                <a:lnTo>
                  <a:pt x="198" y="1008"/>
                </a:lnTo>
                <a:lnTo>
                  <a:pt x="192" y="1020"/>
                </a:lnTo>
                <a:lnTo>
                  <a:pt x="198" y="1020"/>
                </a:lnTo>
                <a:lnTo>
                  <a:pt x="204" y="1020"/>
                </a:lnTo>
                <a:lnTo>
                  <a:pt x="210" y="1026"/>
                </a:lnTo>
                <a:lnTo>
                  <a:pt x="216" y="1026"/>
                </a:lnTo>
                <a:lnTo>
                  <a:pt x="216" y="1032"/>
                </a:lnTo>
                <a:lnTo>
                  <a:pt x="210" y="1032"/>
                </a:lnTo>
                <a:lnTo>
                  <a:pt x="210" y="1038"/>
                </a:lnTo>
                <a:lnTo>
                  <a:pt x="204" y="1038"/>
                </a:lnTo>
                <a:lnTo>
                  <a:pt x="204" y="1044"/>
                </a:lnTo>
                <a:lnTo>
                  <a:pt x="198" y="1044"/>
                </a:lnTo>
                <a:lnTo>
                  <a:pt x="192" y="1044"/>
                </a:lnTo>
                <a:lnTo>
                  <a:pt x="186" y="1050"/>
                </a:lnTo>
                <a:lnTo>
                  <a:pt x="186" y="1056"/>
                </a:lnTo>
                <a:lnTo>
                  <a:pt x="180" y="1056"/>
                </a:lnTo>
                <a:lnTo>
                  <a:pt x="180" y="1062"/>
                </a:lnTo>
                <a:lnTo>
                  <a:pt x="174" y="1062"/>
                </a:lnTo>
                <a:lnTo>
                  <a:pt x="168" y="1062"/>
                </a:lnTo>
                <a:lnTo>
                  <a:pt x="162" y="1062"/>
                </a:lnTo>
                <a:lnTo>
                  <a:pt x="156" y="1050"/>
                </a:lnTo>
                <a:lnTo>
                  <a:pt x="150" y="1044"/>
                </a:lnTo>
                <a:lnTo>
                  <a:pt x="150" y="1038"/>
                </a:lnTo>
                <a:lnTo>
                  <a:pt x="144" y="1032"/>
                </a:lnTo>
                <a:lnTo>
                  <a:pt x="144" y="1026"/>
                </a:lnTo>
                <a:lnTo>
                  <a:pt x="144" y="1014"/>
                </a:lnTo>
                <a:lnTo>
                  <a:pt x="150" y="1008"/>
                </a:lnTo>
                <a:lnTo>
                  <a:pt x="150" y="1002"/>
                </a:lnTo>
                <a:lnTo>
                  <a:pt x="156" y="984"/>
                </a:lnTo>
                <a:lnTo>
                  <a:pt x="162" y="978"/>
                </a:lnTo>
                <a:lnTo>
                  <a:pt x="162" y="972"/>
                </a:lnTo>
                <a:lnTo>
                  <a:pt x="150" y="966"/>
                </a:lnTo>
                <a:lnTo>
                  <a:pt x="144" y="966"/>
                </a:lnTo>
                <a:lnTo>
                  <a:pt x="138" y="966"/>
                </a:lnTo>
                <a:lnTo>
                  <a:pt x="138" y="954"/>
                </a:lnTo>
                <a:lnTo>
                  <a:pt x="132" y="954"/>
                </a:lnTo>
                <a:lnTo>
                  <a:pt x="138" y="948"/>
                </a:lnTo>
                <a:lnTo>
                  <a:pt x="138" y="942"/>
                </a:lnTo>
                <a:lnTo>
                  <a:pt x="138" y="930"/>
                </a:lnTo>
                <a:lnTo>
                  <a:pt x="138" y="924"/>
                </a:lnTo>
                <a:lnTo>
                  <a:pt x="132" y="930"/>
                </a:lnTo>
                <a:lnTo>
                  <a:pt x="132" y="924"/>
                </a:lnTo>
                <a:lnTo>
                  <a:pt x="126" y="918"/>
                </a:lnTo>
                <a:lnTo>
                  <a:pt x="132" y="918"/>
                </a:lnTo>
                <a:lnTo>
                  <a:pt x="132" y="912"/>
                </a:lnTo>
                <a:lnTo>
                  <a:pt x="126" y="912"/>
                </a:lnTo>
                <a:lnTo>
                  <a:pt x="120" y="912"/>
                </a:lnTo>
                <a:lnTo>
                  <a:pt x="120" y="918"/>
                </a:lnTo>
                <a:lnTo>
                  <a:pt x="114" y="918"/>
                </a:lnTo>
                <a:lnTo>
                  <a:pt x="114" y="912"/>
                </a:lnTo>
                <a:lnTo>
                  <a:pt x="108" y="912"/>
                </a:lnTo>
                <a:lnTo>
                  <a:pt x="102" y="912"/>
                </a:lnTo>
                <a:lnTo>
                  <a:pt x="108" y="906"/>
                </a:lnTo>
                <a:lnTo>
                  <a:pt x="102" y="906"/>
                </a:lnTo>
                <a:lnTo>
                  <a:pt x="96" y="906"/>
                </a:lnTo>
                <a:lnTo>
                  <a:pt x="96" y="912"/>
                </a:lnTo>
                <a:lnTo>
                  <a:pt x="90" y="918"/>
                </a:lnTo>
                <a:lnTo>
                  <a:pt x="90" y="912"/>
                </a:lnTo>
                <a:lnTo>
                  <a:pt x="84" y="912"/>
                </a:lnTo>
                <a:lnTo>
                  <a:pt x="84" y="918"/>
                </a:lnTo>
                <a:lnTo>
                  <a:pt x="78" y="918"/>
                </a:lnTo>
                <a:lnTo>
                  <a:pt x="78" y="912"/>
                </a:lnTo>
                <a:lnTo>
                  <a:pt x="78" y="906"/>
                </a:lnTo>
                <a:lnTo>
                  <a:pt x="72" y="900"/>
                </a:lnTo>
                <a:lnTo>
                  <a:pt x="78" y="900"/>
                </a:lnTo>
                <a:lnTo>
                  <a:pt x="72" y="900"/>
                </a:lnTo>
                <a:lnTo>
                  <a:pt x="72" y="894"/>
                </a:lnTo>
                <a:lnTo>
                  <a:pt x="78" y="894"/>
                </a:lnTo>
                <a:lnTo>
                  <a:pt x="72" y="894"/>
                </a:lnTo>
                <a:lnTo>
                  <a:pt x="78" y="894"/>
                </a:lnTo>
                <a:lnTo>
                  <a:pt x="78" y="888"/>
                </a:lnTo>
                <a:lnTo>
                  <a:pt x="72" y="888"/>
                </a:lnTo>
                <a:lnTo>
                  <a:pt x="72" y="882"/>
                </a:lnTo>
                <a:lnTo>
                  <a:pt x="66" y="876"/>
                </a:lnTo>
                <a:lnTo>
                  <a:pt x="60" y="882"/>
                </a:lnTo>
                <a:lnTo>
                  <a:pt x="54" y="876"/>
                </a:lnTo>
                <a:lnTo>
                  <a:pt x="54" y="882"/>
                </a:lnTo>
                <a:lnTo>
                  <a:pt x="48" y="882"/>
                </a:lnTo>
                <a:lnTo>
                  <a:pt x="42" y="870"/>
                </a:lnTo>
                <a:lnTo>
                  <a:pt x="42" y="864"/>
                </a:lnTo>
                <a:lnTo>
                  <a:pt x="36" y="858"/>
                </a:lnTo>
                <a:lnTo>
                  <a:pt x="36" y="852"/>
                </a:lnTo>
                <a:lnTo>
                  <a:pt x="30" y="852"/>
                </a:lnTo>
                <a:lnTo>
                  <a:pt x="30" y="846"/>
                </a:lnTo>
                <a:lnTo>
                  <a:pt x="24" y="846"/>
                </a:lnTo>
                <a:lnTo>
                  <a:pt x="18" y="840"/>
                </a:lnTo>
                <a:lnTo>
                  <a:pt x="12" y="834"/>
                </a:lnTo>
                <a:lnTo>
                  <a:pt x="0" y="828"/>
                </a:lnTo>
                <a:lnTo>
                  <a:pt x="0" y="822"/>
                </a:lnTo>
                <a:lnTo>
                  <a:pt x="0" y="816"/>
                </a:lnTo>
                <a:lnTo>
                  <a:pt x="0" y="810"/>
                </a:lnTo>
                <a:lnTo>
                  <a:pt x="6" y="804"/>
                </a:lnTo>
                <a:lnTo>
                  <a:pt x="12" y="804"/>
                </a:lnTo>
                <a:lnTo>
                  <a:pt x="12" y="798"/>
                </a:lnTo>
                <a:lnTo>
                  <a:pt x="12" y="792"/>
                </a:lnTo>
                <a:lnTo>
                  <a:pt x="6" y="792"/>
                </a:lnTo>
                <a:lnTo>
                  <a:pt x="6" y="786"/>
                </a:lnTo>
                <a:lnTo>
                  <a:pt x="6" y="780"/>
                </a:lnTo>
                <a:lnTo>
                  <a:pt x="18" y="780"/>
                </a:lnTo>
                <a:lnTo>
                  <a:pt x="18" y="774"/>
                </a:lnTo>
                <a:lnTo>
                  <a:pt x="24" y="768"/>
                </a:lnTo>
                <a:lnTo>
                  <a:pt x="30" y="768"/>
                </a:lnTo>
                <a:lnTo>
                  <a:pt x="30" y="774"/>
                </a:lnTo>
                <a:lnTo>
                  <a:pt x="36" y="768"/>
                </a:lnTo>
                <a:lnTo>
                  <a:pt x="42" y="768"/>
                </a:lnTo>
                <a:lnTo>
                  <a:pt x="60" y="750"/>
                </a:lnTo>
                <a:lnTo>
                  <a:pt x="60" y="744"/>
                </a:lnTo>
                <a:lnTo>
                  <a:pt x="54" y="738"/>
                </a:lnTo>
                <a:lnTo>
                  <a:pt x="60" y="732"/>
                </a:lnTo>
                <a:lnTo>
                  <a:pt x="54" y="732"/>
                </a:lnTo>
                <a:lnTo>
                  <a:pt x="60" y="726"/>
                </a:lnTo>
                <a:lnTo>
                  <a:pt x="66" y="720"/>
                </a:lnTo>
                <a:lnTo>
                  <a:pt x="72" y="714"/>
                </a:lnTo>
                <a:lnTo>
                  <a:pt x="78" y="708"/>
                </a:lnTo>
                <a:lnTo>
                  <a:pt x="78" y="702"/>
                </a:lnTo>
                <a:lnTo>
                  <a:pt x="84" y="696"/>
                </a:lnTo>
                <a:lnTo>
                  <a:pt x="90" y="684"/>
                </a:lnTo>
                <a:lnTo>
                  <a:pt x="90" y="678"/>
                </a:lnTo>
                <a:lnTo>
                  <a:pt x="90" y="672"/>
                </a:lnTo>
                <a:lnTo>
                  <a:pt x="96" y="666"/>
                </a:lnTo>
                <a:lnTo>
                  <a:pt x="90" y="660"/>
                </a:lnTo>
                <a:lnTo>
                  <a:pt x="84" y="654"/>
                </a:lnTo>
                <a:lnTo>
                  <a:pt x="84" y="648"/>
                </a:lnTo>
                <a:lnTo>
                  <a:pt x="78" y="636"/>
                </a:lnTo>
                <a:lnTo>
                  <a:pt x="66" y="630"/>
                </a:lnTo>
                <a:lnTo>
                  <a:pt x="66" y="624"/>
                </a:lnTo>
                <a:lnTo>
                  <a:pt x="60" y="624"/>
                </a:lnTo>
                <a:lnTo>
                  <a:pt x="60" y="618"/>
                </a:lnTo>
                <a:lnTo>
                  <a:pt x="60" y="612"/>
                </a:lnTo>
                <a:lnTo>
                  <a:pt x="60" y="600"/>
                </a:lnTo>
                <a:lnTo>
                  <a:pt x="66" y="600"/>
                </a:lnTo>
                <a:lnTo>
                  <a:pt x="60" y="594"/>
                </a:lnTo>
                <a:lnTo>
                  <a:pt x="60" y="588"/>
                </a:lnTo>
                <a:lnTo>
                  <a:pt x="66" y="588"/>
                </a:lnTo>
                <a:lnTo>
                  <a:pt x="66" y="582"/>
                </a:lnTo>
                <a:lnTo>
                  <a:pt x="72" y="582"/>
                </a:lnTo>
                <a:lnTo>
                  <a:pt x="78" y="576"/>
                </a:lnTo>
                <a:lnTo>
                  <a:pt x="72" y="576"/>
                </a:lnTo>
                <a:lnTo>
                  <a:pt x="66" y="570"/>
                </a:lnTo>
                <a:lnTo>
                  <a:pt x="72" y="564"/>
                </a:lnTo>
                <a:lnTo>
                  <a:pt x="78" y="558"/>
                </a:lnTo>
                <a:lnTo>
                  <a:pt x="78" y="546"/>
                </a:lnTo>
                <a:lnTo>
                  <a:pt x="78" y="540"/>
                </a:lnTo>
                <a:lnTo>
                  <a:pt x="90" y="528"/>
                </a:lnTo>
                <a:lnTo>
                  <a:pt x="96" y="522"/>
                </a:lnTo>
                <a:lnTo>
                  <a:pt x="102" y="522"/>
                </a:lnTo>
                <a:lnTo>
                  <a:pt x="102" y="516"/>
                </a:lnTo>
                <a:lnTo>
                  <a:pt x="114" y="510"/>
                </a:lnTo>
                <a:lnTo>
                  <a:pt x="120" y="510"/>
                </a:lnTo>
                <a:lnTo>
                  <a:pt x="120" y="504"/>
                </a:lnTo>
                <a:lnTo>
                  <a:pt x="120" y="498"/>
                </a:lnTo>
                <a:lnTo>
                  <a:pt x="120" y="492"/>
                </a:lnTo>
                <a:lnTo>
                  <a:pt x="126" y="480"/>
                </a:lnTo>
                <a:lnTo>
                  <a:pt x="132" y="474"/>
                </a:lnTo>
                <a:lnTo>
                  <a:pt x="132" y="468"/>
                </a:lnTo>
                <a:lnTo>
                  <a:pt x="138" y="462"/>
                </a:lnTo>
                <a:lnTo>
                  <a:pt x="138" y="456"/>
                </a:lnTo>
                <a:lnTo>
                  <a:pt x="138" y="450"/>
                </a:lnTo>
                <a:lnTo>
                  <a:pt x="144" y="444"/>
                </a:lnTo>
                <a:lnTo>
                  <a:pt x="162" y="438"/>
                </a:lnTo>
                <a:lnTo>
                  <a:pt x="186" y="438"/>
                </a:lnTo>
                <a:lnTo>
                  <a:pt x="210" y="444"/>
                </a:lnTo>
                <a:lnTo>
                  <a:pt x="276" y="450"/>
                </a:lnTo>
                <a:lnTo>
                  <a:pt x="342" y="450"/>
                </a:lnTo>
                <a:lnTo>
                  <a:pt x="348" y="450"/>
                </a:lnTo>
                <a:lnTo>
                  <a:pt x="354" y="450"/>
                </a:lnTo>
                <a:lnTo>
                  <a:pt x="360" y="456"/>
                </a:lnTo>
                <a:lnTo>
                  <a:pt x="354" y="462"/>
                </a:lnTo>
                <a:lnTo>
                  <a:pt x="354" y="468"/>
                </a:lnTo>
                <a:lnTo>
                  <a:pt x="354" y="474"/>
                </a:lnTo>
                <a:lnTo>
                  <a:pt x="348" y="468"/>
                </a:lnTo>
                <a:lnTo>
                  <a:pt x="342" y="474"/>
                </a:lnTo>
                <a:lnTo>
                  <a:pt x="342" y="480"/>
                </a:lnTo>
                <a:lnTo>
                  <a:pt x="348" y="498"/>
                </a:lnTo>
                <a:lnTo>
                  <a:pt x="342" y="510"/>
                </a:lnTo>
                <a:lnTo>
                  <a:pt x="348" y="528"/>
                </a:lnTo>
                <a:lnTo>
                  <a:pt x="348" y="534"/>
                </a:lnTo>
                <a:lnTo>
                  <a:pt x="354" y="552"/>
                </a:lnTo>
                <a:lnTo>
                  <a:pt x="366" y="546"/>
                </a:lnTo>
                <a:lnTo>
                  <a:pt x="372" y="540"/>
                </a:lnTo>
                <a:lnTo>
                  <a:pt x="384" y="540"/>
                </a:lnTo>
                <a:lnTo>
                  <a:pt x="396" y="534"/>
                </a:lnTo>
                <a:lnTo>
                  <a:pt x="402" y="534"/>
                </a:lnTo>
                <a:lnTo>
                  <a:pt x="414" y="546"/>
                </a:lnTo>
                <a:lnTo>
                  <a:pt x="432" y="540"/>
                </a:lnTo>
                <a:lnTo>
                  <a:pt x="450" y="534"/>
                </a:lnTo>
                <a:lnTo>
                  <a:pt x="450" y="528"/>
                </a:lnTo>
                <a:lnTo>
                  <a:pt x="456" y="528"/>
                </a:lnTo>
                <a:lnTo>
                  <a:pt x="456" y="522"/>
                </a:lnTo>
                <a:lnTo>
                  <a:pt x="456" y="516"/>
                </a:lnTo>
                <a:lnTo>
                  <a:pt x="462" y="516"/>
                </a:lnTo>
                <a:lnTo>
                  <a:pt x="468" y="510"/>
                </a:lnTo>
                <a:lnTo>
                  <a:pt x="468" y="504"/>
                </a:lnTo>
                <a:lnTo>
                  <a:pt x="474" y="504"/>
                </a:lnTo>
                <a:lnTo>
                  <a:pt x="480" y="504"/>
                </a:lnTo>
                <a:lnTo>
                  <a:pt x="486" y="498"/>
                </a:lnTo>
                <a:lnTo>
                  <a:pt x="492" y="498"/>
                </a:lnTo>
                <a:lnTo>
                  <a:pt x="486" y="480"/>
                </a:lnTo>
                <a:lnTo>
                  <a:pt x="492" y="462"/>
                </a:lnTo>
                <a:lnTo>
                  <a:pt x="498" y="444"/>
                </a:lnTo>
                <a:lnTo>
                  <a:pt x="498" y="426"/>
                </a:lnTo>
                <a:lnTo>
                  <a:pt x="498" y="420"/>
                </a:lnTo>
                <a:lnTo>
                  <a:pt x="504" y="426"/>
                </a:lnTo>
                <a:lnTo>
                  <a:pt x="504" y="420"/>
                </a:lnTo>
                <a:lnTo>
                  <a:pt x="510" y="420"/>
                </a:lnTo>
                <a:lnTo>
                  <a:pt x="510" y="414"/>
                </a:lnTo>
                <a:lnTo>
                  <a:pt x="510" y="408"/>
                </a:lnTo>
                <a:lnTo>
                  <a:pt x="504" y="402"/>
                </a:lnTo>
                <a:lnTo>
                  <a:pt x="504" y="396"/>
                </a:lnTo>
                <a:lnTo>
                  <a:pt x="504" y="384"/>
                </a:lnTo>
                <a:lnTo>
                  <a:pt x="504" y="378"/>
                </a:lnTo>
                <a:lnTo>
                  <a:pt x="504" y="360"/>
                </a:lnTo>
                <a:lnTo>
                  <a:pt x="504" y="354"/>
                </a:lnTo>
                <a:lnTo>
                  <a:pt x="504" y="348"/>
                </a:lnTo>
                <a:lnTo>
                  <a:pt x="510" y="348"/>
                </a:lnTo>
                <a:lnTo>
                  <a:pt x="510" y="336"/>
                </a:lnTo>
                <a:lnTo>
                  <a:pt x="516" y="330"/>
                </a:lnTo>
                <a:lnTo>
                  <a:pt x="522" y="324"/>
                </a:lnTo>
                <a:lnTo>
                  <a:pt x="528" y="318"/>
                </a:lnTo>
                <a:lnTo>
                  <a:pt x="534" y="312"/>
                </a:lnTo>
                <a:lnTo>
                  <a:pt x="534" y="300"/>
                </a:lnTo>
                <a:lnTo>
                  <a:pt x="540" y="294"/>
                </a:lnTo>
                <a:lnTo>
                  <a:pt x="546" y="288"/>
                </a:lnTo>
                <a:lnTo>
                  <a:pt x="552" y="276"/>
                </a:lnTo>
                <a:lnTo>
                  <a:pt x="558" y="264"/>
                </a:lnTo>
                <a:lnTo>
                  <a:pt x="558" y="258"/>
                </a:lnTo>
                <a:lnTo>
                  <a:pt x="558" y="252"/>
                </a:lnTo>
                <a:lnTo>
                  <a:pt x="558" y="246"/>
                </a:lnTo>
                <a:lnTo>
                  <a:pt x="564" y="246"/>
                </a:lnTo>
                <a:lnTo>
                  <a:pt x="564" y="240"/>
                </a:lnTo>
                <a:lnTo>
                  <a:pt x="570" y="234"/>
                </a:lnTo>
                <a:lnTo>
                  <a:pt x="564" y="216"/>
                </a:lnTo>
                <a:lnTo>
                  <a:pt x="564" y="210"/>
                </a:lnTo>
                <a:lnTo>
                  <a:pt x="570" y="210"/>
                </a:lnTo>
                <a:lnTo>
                  <a:pt x="570" y="204"/>
                </a:lnTo>
                <a:lnTo>
                  <a:pt x="570" y="198"/>
                </a:lnTo>
                <a:lnTo>
                  <a:pt x="582" y="180"/>
                </a:lnTo>
                <a:lnTo>
                  <a:pt x="582" y="174"/>
                </a:lnTo>
                <a:lnTo>
                  <a:pt x="582" y="168"/>
                </a:lnTo>
                <a:lnTo>
                  <a:pt x="582" y="162"/>
                </a:lnTo>
                <a:lnTo>
                  <a:pt x="582" y="156"/>
                </a:lnTo>
                <a:lnTo>
                  <a:pt x="606" y="150"/>
                </a:lnTo>
                <a:lnTo>
                  <a:pt x="612" y="150"/>
                </a:lnTo>
                <a:lnTo>
                  <a:pt x="618" y="150"/>
                </a:lnTo>
                <a:lnTo>
                  <a:pt x="624" y="138"/>
                </a:lnTo>
                <a:lnTo>
                  <a:pt x="618" y="132"/>
                </a:lnTo>
                <a:lnTo>
                  <a:pt x="618" y="126"/>
                </a:lnTo>
                <a:lnTo>
                  <a:pt x="618" y="120"/>
                </a:lnTo>
                <a:lnTo>
                  <a:pt x="618" y="114"/>
                </a:lnTo>
                <a:lnTo>
                  <a:pt x="612" y="108"/>
                </a:lnTo>
                <a:lnTo>
                  <a:pt x="612" y="102"/>
                </a:lnTo>
                <a:lnTo>
                  <a:pt x="618" y="90"/>
                </a:lnTo>
                <a:lnTo>
                  <a:pt x="624" y="84"/>
                </a:lnTo>
                <a:lnTo>
                  <a:pt x="618" y="84"/>
                </a:lnTo>
                <a:lnTo>
                  <a:pt x="618" y="78"/>
                </a:lnTo>
                <a:lnTo>
                  <a:pt x="612" y="78"/>
                </a:lnTo>
                <a:lnTo>
                  <a:pt x="606" y="78"/>
                </a:lnTo>
                <a:lnTo>
                  <a:pt x="600" y="72"/>
                </a:lnTo>
                <a:lnTo>
                  <a:pt x="600" y="66"/>
                </a:lnTo>
                <a:lnTo>
                  <a:pt x="600" y="60"/>
                </a:lnTo>
                <a:lnTo>
                  <a:pt x="600" y="48"/>
                </a:lnTo>
                <a:lnTo>
                  <a:pt x="612" y="42"/>
                </a:lnTo>
                <a:lnTo>
                  <a:pt x="618" y="36"/>
                </a:lnTo>
                <a:lnTo>
                  <a:pt x="624" y="36"/>
                </a:lnTo>
                <a:lnTo>
                  <a:pt x="630" y="36"/>
                </a:lnTo>
                <a:lnTo>
                  <a:pt x="630" y="30"/>
                </a:lnTo>
                <a:lnTo>
                  <a:pt x="636" y="24"/>
                </a:lnTo>
                <a:lnTo>
                  <a:pt x="642" y="24"/>
                </a:lnTo>
                <a:lnTo>
                  <a:pt x="648" y="24"/>
                </a:lnTo>
                <a:lnTo>
                  <a:pt x="648" y="18"/>
                </a:lnTo>
                <a:lnTo>
                  <a:pt x="654" y="12"/>
                </a:lnTo>
                <a:lnTo>
                  <a:pt x="660" y="0"/>
                </a:lnTo>
                <a:lnTo>
                  <a:pt x="678" y="0"/>
                </a:lnTo>
                <a:lnTo>
                  <a:pt x="696" y="0"/>
                </a:lnTo>
                <a:lnTo>
                  <a:pt x="702" y="0"/>
                </a:lnTo>
                <a:lnTo>
                  <a:pt x="714" y="0"/>
                </a:lnTo>
                <a:lnTo>
                  <a:pt x="720" y="6"/>
                </a:lnTo>
                <a:lnTo>
                  <a:pt x="720" y="18"/>
                </a:lnTo>
                <a:lnTo>
                  <a:pt x="726" y="18"/>
                </a:lnTo>
                <a:lnTo>
                  <a:pt x="744" y="24"/>
                </a:lnTo>
                <a:lnTo>
                  <a:pt x="744" y="30"/>
                </a:lnTo>
                <a:lnTo>
                  <a:pt x="732" y="42"/>
                </a:lnTo>
                <a:lnTo>
                  <a:pt x="726" y="42"/>
                </a:lnTo>
                <a:lnTo>
                  <a:pt x="720" y="42"/>
                </a:lnTo>
                <a:lnTo>
                  <a:pt x="720" y="48"/>
                </a:lnTo>
                <a:lnTo>
                  <a:pt x="714" y="48"/>
                </a:lnTo>
                <a:lnTo>
                  <a:pt x="708" y="54"/>
                </a:lnTo>
                <a:lnTo>
                  <a:pt x="702" y="66"/>
                </a:lnTo>
                <a:lnTo>
                  <a:pt x="708" y="66"/>
                </a:lnTo>
                <a:lnTo>
                  <a:pt x="714" y="90"/>
                </a:lnTo>
                <a:lnTo>
                  <a:pt x="726" y="84"/>
                </a:lnTo>
                <a:lnTo>
                  <a:pt x="738" y="84"/>
                </a:lnTo>
                <a:lnTo>
                  <a:pt x="750" y="96"/>
                </a:lnTo>
                <a:lnTo>
                  <a:pt x="768" y="96"/>
                </a:lnTo>
                <a:lnTo>
                  <a:pt x="768" y="90"/>
                </a:lnTo>
                <a:lnTo>
                  <a:pt x="774" y="84"/>
                </a:lnTo>
                <a:lnTo>
                  <a:pt x="780" y="78"/>
                </a:lnTo>
                <a:lnTo>
                  <a:pt x="786" y="78"/>
                </a:lnTo>
                <a:lnTo>
                  <a:pt x="792" y="72"/>
                </a:lnTo>
                <a:lnTo>
                  <a:pt x="804" y="72"/>
                </a:lnTo>
                <a:lnTo>
                  <a:pt x="804" y="66"/>
                </a:lnTo>
                <a:lnTo>
                  <a:pt x="810" y="66"/>
                </a:lnTo>
                <a:lnTo>
                  <a:pt x="810" y="72"/>
                </a:lnTo>
                <a:lnTo>
                  <a:pt x="816" y="66"/>
                </a:lnTo>
                <a:lnTo>
                  <a:pt x="828" y="66"/>
                </a:lnTo>
                <a:lnTo>
                  <a:pt x="834" y="72"/>
                </a:lnTo>
                <a:lnTo>
                  <a:pt x="840" y="72"/>
                </a:lnTo>
                <a:lnTo>
                  <a:pt x="840" y="78"/>
                </a:lnTo>
                <a:lnTo>
                  <a:pt x="840" y="84"/>
                </a:lnTo>
                <a:lnTo>
                  <a:pt x="852" y="84"/>
                </a:lnTo>
                <a:lnTo>
                  <a:pt x="858" y="96"/>
                </a:lnTo>
                <a:lnTo>
                  <a:pt x="864" y="108"/>
                </a:lnTo>
                <a:lnTo>
                  <a:pt x="876" y="114"/>
                </a:lnTo>
                <a:lnTo>
                  <a:pt x="894" y="114"/>
                </a:lnTo>
                <a:lnTo>
                  <a:pt x="906" y="114"/>
                </a:lnTo>
                <a:lnTo>
                  <a:pt x="906" y="126"/>
                </a:lnTo>
                <a:lnTo>
                  <a:pt x="912" y="144"/>
                </a:lnTo>
                <a:lnTo>
                  <a:pt x="930" y="138"/>
                </a:lnTo>
                <a:lnTo>
                  <a:pt x="936" y="138"/>
                </a:lnTo>
                <a:lnTo>
                  <a:pt x="942" y="144"/>
                </a:lnTo>
                <a:lnTo>
                  <a:pt x="948" y="150"/>
                </a:lnTo>
                <a:lnTo>
                  <a:pt x="954" y="156"/>
                </a:lnTo>
                <a:lnTo>
                  <a:pt x="954" y="168"/>
                </a:lnTo>
                <a:lnTo>
                  <a:pt x="954" y="174"/>
                </a:lnTo>
                <a:lnTo>
                  <a:pt x="960" y="180"/>
                </a:lnTo>
                <a:lnTo>
                  <a:pt x="966" y="186"/>
                </a:lnTo>
                <a:lnTo>
                  <a:pt x="960" y="186"/>
                </a:lnTo>
                <a:lnTo>
                  <a:pt x="966" y="192"/>
                </a:lnTo>
                <a:lnTo>
                  <a:pt x="966" y="198"/>
                </a:lnTo>
                <a:lnTo>
                  <a:pt x="978" y="204"/>
                </a:lnTo>
                <a:lnTo>
                  <a:pt x="1050" y="186"/>
                </a:lnTo>
                <a:lnTo>
                  <a:pt x="1056" y="198"/>
                </a:lnTo>
                <a:lnTo>
                  <a:pt x="1068" y="210"/>
                </a:lnTo>
                <a:lnTo>
                  <a:pt x="1074" y="216"/>
                </a:lnTo>
                <a:lnTo>
                  <a:pt x="1080" y="252"/>
                </a:lnTo>
                <a:lnTo>
                  <a:pt x="1086" y="270"/>
                </a:lnTo>
                <a:lnTo>
                  <a:pt x="1092" y="282"/>
                </a:lnTo>
                <a:lnTo>
                  <a:pt x="1086" y="300"/>
                </a:lnTo>
                <a:lnTo>
                  <a:pt x="1074" y="330"/>
                </a:lnTo>
                <a:lnTo>
                  <a:pt x="1068" y="336"/>
                </a:lnTo>
                <a:lnTo>
                  <a:pt x="1062" y="348"/>
                </a:lnTo>
                <a:lnTo>
                  <a:pt x="1062" y="360"/>
                </a:lnTo>
                <a:lnTo>
                  <a:pt x="1068" y="378"/>
                </a:lnTo>
                <a:lnTo>
                  <a:pt x="1074" y="390"/>
                </a:lnTo>
                <a:lnTo>
                  <a:pt x="1068" y="396"/>
                </a:lnTo>
                <a:lnTo>
                  <a:pt x="1068" y="408"/>
                </a:lnTo>
                <a:lnTo>
                  <a:pt x="1062" y="414"/>
                </a:lnTo>
                <a:lnTo>
                  <a:pt x="1050" y="432"/>
                </a:lnTo>
                <a:lnTo>
                  <a:pt x="1044" y="450"/>
                </a:lnTo>
                <a:lnTo>
                  <a:pt x="1038" y="456"/>
                </a:lnTo>
                <a:lnTo>
                  <a:pt x="1026" y="468"/>
                </a:lnTo>
                <a:lnTo>
                  <a:pt x="1026" y="474"/>
                </a:lnTo>
                <a:lnTo>
                  <a:pt x="1026" y="480"/>
                </a:lnTo>
                <a:lnTo>
                  <a:pt x="1032" y="492"/>
                </a:lnTo>
                <a:lnTo>
                  <a:pt x="1044" y="504"/>
                </a:lnTo>
                <a:lnTo>
                  <a:pt x="1044" y="516"/>
                </a:lnTo>
                <a:lnTo>
                  <a:pt x="1038" y="528"/>
                </a:lnTo>
                <a:lnTo>
                  <a:pt x="1032" y="546"/>
                </a:lnTo>
                <a:lnTo>
                  <a:pt x="1032" y="570"/>
                </a:lnTo>
                <a:lnTo>
                  <a:pt x="1050" y="594"/>
                </a:lnTo>
                <a:lnTo>
                  <a:pt x="1056" y="624"/>
                </a:lnTo>
                <a:lnTo>
                  <a:pt x="1056" y="654"/>
                </a:lnTo>
                <a:close/>
              </a:path>
            </a:pathLst>
          </a:custGeom>
          <a:solidFill>
            <a:srgbClr val="FF9900"/>
          </a:solidFill>
          <a:ln w="9525">
            <a:solidFill>
              <a:schemeClr val="bg1"/>
            </a:solidFill>
            <a:round/>
            <a:headEnd/>
            <a:tailEnd/>
          </a:ln>
        </p:spPr>
        <p:txBody>
          <a:bodyPr/>
          <a:lstStyle/>
          <a:p>
            <a:endParaRPr lang="en-GB"/>
          </a:p>
        </p:txBody>
      </p:sp>
      <p:sp>
        <p:nvSpPr>
          <p:cNvPr id="17439" name="Freeform 25"/>
          <p:cNvSpPr>
            <a:spLocks/>
          </p:cNvSpPr>
          <p:nvPr/>
        </p:nvSpPr>
        <p:spPr bwMode="gray">
          <a:xfrm>
            <a:off x="2770188" y="4160838"/>
            <a:ext cx="1254125" cy="1130300"/>
          </a:xfrm>
          <a:custGeom>
            <a:avLst/>
            <a:gdLst>
              <a:gd name="T0" fmla="*/ 90826 w 1602"/>
              <a:gd name="T1" fmla="*/ 73344 h 1404"/>
              <a:gd name="T2" fmla="*/ 86911 w 1602"/>
              <a:gd name="T3" fmla="*/ 76568 h 1404"/>
              <a:gd name="T4" fmla="*/ 79864 w 1602"/>
              <a:gd name="T5" fmla="*/ 81404 h 1404"/>
              <a:gd name="T6" fmla="*/ 77515 w 1602"/>
              <a:gd name="T7" fmla="*/ 83016 h 1404"/>
              <a:gd name="T8" fmla="*/ 75166 w 1602"/>
              <a:gd name="T9" fmla="*/ 85434 h 1404"/>
              <a:gd name="T10" fmla="*/ 72817 w 1602"/>
              <a:gd name="T11" fmla="*/ 87046 h 1404"/>
              <a:gd name="T12" fmla="*/ 68903 w 1602"/>
              <a:gd name="T13" fmla="*/ 85434 h 1404"/>
              <a:gd name="T14" fmla="*/ 67337 w 1602"/>
              <a:gd name="T15" fmla="*/ 87046 h 1404"/>
              <a:gd name="T16" fmla="*/ 63422 w 1602"/>
              <a:gd name="T17" fmla="*/ 95911 h 1404"/>
              <a:gd name="T18" fmla="*/ 55592 w 1602"/>
              <a:gd name="T19" fmla="*/ 87852 h 1404"/>
              <a:gd name="T20" fmla="*/ 56375 w 1602"/>
              <a:gd name="T21" fmla="*/ 81404 h 1404"/>
              <a:gd name="T22" fmla="*/ 57941 w 1602"/>
              <a:gd name="T23" fmla="*/ 74956 h 1404"/>
              <a:gd name="T24" fmla="*/ 57158 w 1602"/>
              <a:gd name="T25" fmla="*/ 66090 h 1404"/>
              <a:gd name="T26" fmla="*/ 50111 w 1602"/>
              <a:gd name="T27" fmla="*/ 63672 h 1404"/>
              <a:gd name="T28" fmla="*/ 46196 w 1602"/>
              <a:gd name="T29" fmla="*/ 60448 h 1404"/>
              <a:gd name="T30" fmla="*/ 42281 w 1602"/>
              <a:gd name="T31" fmla="*/ 57224 h 1404"/>
              <a:gd name="T32" fmla="*/ 39932 w 1602"/>
              <a:gd name="T33" fmla="*/ 56419 h 1404"/>
              <a:gd name="T34" fmla="*/ 35234 w 1602"/>
              <a:gd name="T35" fmla="*/ 57224 h 1404"/>
              <a:gd name="T36" fmla="*/ 33668 w 1602"/>
              <a:gd name="T37" fmla="*/ 54807 h 1404"/>
              <a:gd name="T38" fmla="*/ 33668 w 1602"/>
              <a:gd name="T39" fmla="*/ 51583 h 1404"/>
              <a:gd name="T40" fmla="*/ 28187 w 1602"/>
              <a:gd name="T41" fmla="*/ 53195 h 1404"/>
              <a:gd name="T42" fmla="*/ 24272 w 1602"/>
              <a:gd name="T43" fmla="*/ 44329 h 1404"/>
              <a:gd name="T44" fmla="*/ 19575 w 1602"/>
              <a:gd name="T45" fmla="*/ 42717 h 1404"/>
              <a:gd name="T46" fmla="*/ 14877 w 1602"/>
              <a:gd name="T47" fmla="*/ 41105 h 1404"/>
              <a:gd name="T48" fmla="*/ 13311 w 1602"/>
              <a:gd name="T49" fmla="*/ 34657 h 1404"/>
              <a:gd name="T50" fmla="*/ 13311 w 1602"/>
              <a:gd name="T51" fmla="*/ 31433 h 1404"/>
              <a:gd name="T52" fmla="*/ 9396 w 1602"/>
              <a:gd name="T53" fmla="*/ 31433 h 1404"/>
              <a:gd name="T54" fmla="*/ 7830 w 1602"/>
              <a:gd name="T55" fmla="*/ 28209 h 1404"/>
              <a:gd name="T56" fmla="*/ 3915 w 1602"/>
              <a:gd name="T57" fmla="*/ 24179 h 1404"/>
              <a:gd name="T58" fmla="*/ 2349 w 1602"/>
              <a:gd name="T59" fmla="*/ 21761 h 1404"/>
              <a:gd name="T60" fmla="*/ 1566 w 1602"/>
              <a:gd name="T61" fmla="*/ 20149 h 1404"/>
              <a:gd name="T62" fmla="*/ 0 w 1602"/>
              <a:gd name="T63" fmla="*/ 17732 h 1404"/>
              <a:gd name="T64" fmla="*/ 6264 w 1602"/>
              <a:gd name="T65" fmla="*/ 11284 h 1404"/>
              <a:gd name="T66" fmla="*/ 12528 w 1602"/>
              <a:gd name="T67" fmla="*/ 12896 h 1404"/>
              <a:gd name="T68" fmla="*/ 24272 w 1602"/>
              <a:gd name="T69" fmla="*/ 14508 h 1404"/>
              <a:gd name="T70" fmla="*/ 33668 w 1602"/>
              <a:gd name="T71" fmla="*/ 13702 h 1404"/>
              <a:gd name="T72" fmla="*/ 36800 w 1602"/>
              <a:gd name="T73" fmla="*/ 4836 h 1404"/>
              <a:gd name="T74" fmla="*/ 40715 w 1602"/>
              <a:gd name="T75" fmla="*/ 0 h 1404"/>
              <a:gd name="T76" fmla="*/ 43064 w 1602"/>
              <a:gd name="T77" fmla="*/ 2418 h 1404"/>
              <a:gd name="T78" fmla="*/ 46196 w 1602"/>
              <a:gd name="T79" fmla="*/ 7254 h 1404"/>
              <a:gd name="T80" fmla="*/ 48545 w 1602"/>
              <a:gd name="T81" fmla="*/ 12896 h 1404"/>
              <a:gd name="T82" fmla="*/ 51677 w 1602"/>
              <a:gd name="T83" fmla="*/ 16120 h 1404"/>
              <a:gd name="T84" fmla="*/ 54809 w 1602"/>
              <a:gd name="T85" fmla="*/ 20149 h 1404"/>
              <a:gd name="T86" fmla="*/ 57941 w 1602"/>
              <a:gd name="T87" fmla="*/ 24179 h 1404"/>
              <a:gd name="T88" fmla="*/ 59507 w 1602"/>
              <a:gd name="T89" fmla="*/ 21761 h 1404"/>
              <a:gd name="T90" fmla="*/ 61073 w 1602"/>
              <a:gd name="T91" fmla="*/ 21761 h 1404"/>
              <a:gd name="T92" fmla="*/ 61073 w 1602"/>
              <a:gd name="T93" fmla="*/ 18538 h 1404"/>
              <a:gd name="T94" fmla="*/ 64205 w 1602"/>
              <a:gd name="T95" fmla="*/ 16120 h 1404"/>
              <a:gd name="T96" fmla="*/ 64205 w 1602"/>
              <a:gd name="T97" fmla="*/ 14508 h 1404"/>
              <a:gd name="T98" fmla="*/ 70468 w 1602"/>
              <a:gd name="T99" fmla="*/ 19343 h 1404"/>
              <a:gd name="T100" fmla="*/ 70468 w 1602"/>
              <a:gd name="T101" fmla="*/ 36269 h 1404"/>
              <a:gd name="T102" fmla="*/ 81430 w 1602"/>
              <a:gd name="T103" fmla="*/ 33045 h 1404"/>
              <a:gd name="T104" fmla="*/ 91609 w 1602"/>
              <a:gd name="T105" fmla="*/ 31433 h 1404"/>
              <a:gd name="T106" fmla="*/ 97873 w 1602"/>
              <a:gd name="T107" fmla="*/ 31433 h 1404"/>
              <a:gd name="T108" fmla="*/ 99439 w 1602"/>
              <a:gd name="T109" fmla="*/ 34657 h 1404"/>
              <a:gd name="T110" fmla="*/ 102571 w 1602"/>
              <a:gd name="T111" fmla="*/ 42717 h 1404"/>
              <a:gd name="T112" fmla="*/ 104137 w 1602"/>
              <a:gd name="T113" fmla="*/ 48359 h 1404"/>
              <a:gd name="T114" fmla="*/ 108052 w 1602"/>
              <a:gd name="T115" fmla="*/ 58836 h 1404"/>
              <a:gd name="T116" fmla="*/ 106486 w 1602"/>
              <a:gd name="T117" fmla="*/ 64478 h 1404"/>
              <a:gd name="T118" fmla="*/ 101005 w 1602"/>
              <a:gd name="T119" fmla="*/ 70120 h 1404"/>
              <a:gd name="T120" fmla="*/ 96307 w 1602"/>
              <a:gd name="T121" fmla="*/ 76568 h 14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02"/>
              <a:gd name="T184" fmla="*/ 0 h 1404"/>
              <a:gd name="T185" fmla="*/ 1602 w 1602"/>
              <a:gd name="T186" fmla="*/ 1404 h 140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02" h="1404">
                <a:moveTo>
                  <a:pt x="1392" y="1080"/>
                </a:moveTo>
                <a:lnTo>
                  <a:pt x="1380" y="1074"/>
                </a:lnTo>
                <a:lnTo>
                  <a:pt x="1368" y="1056"/>
                </a:lnTo>
                <a:lnTo>
                  <a:pt x="1356" y="1044"/>
                </a:lnTo>
                <a:lnTo>
                  <a:pt x="1344" y="1038"/>
                </a:lnTo>
                <a:lnTo>
                  <a:pt x="1338" y="1038"/>
                </a:lnTo>
                <a:lnTo>
                  <a:pt x="1332" y="1038"/>
                </a:lnTo>
                <a:lnTo>
                  <a:pt x="1326" y="1044"/>
                </a:lnTo>
                <a:lnTo>
                  <a:pt x="1320" y="1044"/>
                </a:lnTo>
                <a:lnTo>
                  <a:pt x="1314" y="1044"/>
                </a:lnTo>
                <a:lnTo>
                  <a:pt x="1296" y="1056"/>
                </a:lnTo>
                <a:lnTo>
                  <a:pt x="1296" y="1080"/>
                </a:lnTo>
                <a:lnTo>
                  <a:pt x="1290" y="1080"/>
                </a:lnTo>
                <a:lnTo>
                  <a:pt x="1284" y="1086"/>
                </a:lnTo>
                <a:lnTo>
                  <a:pt x="1278" y="1086"/>
                </a:lnTo>
                <a:lnTo>
                  <a:pt x="1278" y="1092"/>
                </a:lnTo>
                <a:lnTo>
                  <a:pt x="1272" y="1092"/>
                </a:lnTo>
                <a:lnTo>
                  <a:pt x="1266" y="1086"/>
                </a:lnTo>
                <a:lnTo>
                  <a:pt x="1260" y="1086"/>
                </a:lnTo>
                <a:lnTo>
                  <a:pt x="1260" y="1098"/>
                </a:lnTo>
                <a:lnTo>
                  <a:pt x="1248" y="1098"/>
                </a:lnTo>
                <a:lnTo>
                  <a:pt x="1212" y="1116"/>
                </a:lnTo>
                <a:lnTo>
                  <a:pt x="1206" y="1158"/>
                </a:lnTo>
                <a:lnTo>
                  <a:pt x="1176" y="1164"/>
                </a:lnTo>
                <a:lnTo>
                  <a:pt x="1158" y="1164"/>
                </a:lnTo>
                <a:lnTo>
                  <a:pt x="1152" y="1164"/>
                </a:lnTo>
                <a:lnTo>
                  <a:pt x="1152" y="1170"/>
                </a:lnTo>
                <a:lnTo>
                  <a:pt x="1152" y="1176"/>
                </a:lnTo>
                <a:lnTo>
                  <a:pt x="1146" y="1176"/>
                </a:lnTo>
                <a:lnTo>
                  <a:pt x="1140" y="1176"/>
                </a:lnTo>
                <a:lnTo>
                  <a:pt x="1134" y="1182"/>
                </a:lnTo>
                <a:lnTo>
                  <a:pt x="1134" y="1188"/>
                </a:lnTo>
                <a:lnTo>
                  <a:pt x="1128" y="1194"/>
                </a:lnTo>
                <a:lnTo>
                  <a:pt x="1122" y="1194"/>
                </a:lnTo>
                <a:lnTo>
                  <a:pt x="1116" y="1194"/>
                </a:lnTo>
                <a:lnTo>
                  <a:pt x="1110" y="1200"/>
                </a:lnTo>
                <a:lnTo>
                  <a:pt x="1110" y="1206"/>
                </a:lnTo>
                <a:lnTo>
                  <a:pt x="1104" y="1212"/>
                </a:lnTo>
                <a:lnTo>
                  <a:pt x="1104" y="1218"/>
                </a:lnTo>
                <a:lnTo>
                  <a:pt x="1098" y="1224"/>
                </a:lnTo>
                <a:lnTo>
                  <a:pt x="1092" y="1230"/>
                </a:lnTo>
                <a:lnTo>
                  <a:pt x="1086" y="1230"/>
                </a:lnTo>
                <a:lnTo>
                  <a:pt x="1080" y="1230"/>
                </a:lnTo>
                <a:lnTo>
                  <a:pt x="1080" y="1242"/>
                </a:lnTo>
                <a:lnTo>
                  <a:pt x="1074" y="1242"/>
                </a:lnTo>
                <a:lnTo>
                  <a:pt x="1068" y="1242"/>
                </a:lnTo>
                <a:lnTo>
                  <a:pt x="1068" y="1236"/>
                </a:lnTo>
                <a:lnTo>
                  <a:pt x="1062" y="1242"/>
                </a:lnTo>
                <a:lnTo>
                  <a:pt x="1056" y="1236"/>
                </a:lnTo>
                <a:lnTo>
                  <a:pt x="1050" y="1242"/>
                </a:lnTo>
                <a:lnTo>
                  <a:pt x="1050" y="1236"/>
                </a:lnTo>
                <a:lnTo>
                  <a:pt x="1044" y="1194"/>
                </a:lnTo>
                <a:lnTo>
                  <a:pt x="1032" y="1194"/>
                </a:lnTo>
                <a:lnTo>
                  <a:pt x="1032" y="1200"/>
                </a:lnTo>
                <a:lnTo>
                  <a:pt x="1026" y="1200"/>
                </a:lnTo>
                <a:lnTo>
                  <a:pt x="1014" y="1218"/>
                </a:lnTo>
                <a:lnTo>
                  <a:pt x="1014" y="1224"/>
                </a:lnTo>
                <a:lnTo>
                  <a:pt x="1014" y="1236"/>
                </a:lnTo>
                <a:lnTo>
                  <a:pt x="1014" y="1242"/>
                </a:lnTo>
                <a:lnTo>
                  <a:pt x="1008" y="1242"/>
                </a:lnTo>
                <a:lnTo>
                  <a:pt x="1002" y="1236"/>
                </a:lnTo>
                <a:lnTo>
                  <a:pt x="1002" y="1230"/>
                </a:lnTo>
                <a:lnTo>
                  <a:pt x="996" y="1236"/>
                </a:lnTo>
                <a:lnTo>
                  <a:pt x="990" y="1236"/>
                </a:lnTo>
                <a:lnTo>
                  <a:pt x="990" y="1230"/>
                </a:lnTo>
                <a:lnTo>
                  <a:pt x="984" y="1236"/>
                </a:lnTo>
                <a:lnTo>
                  <a:pt x="978" y="1248"/>
                </a:lnTo>
                <a:lnTo>
                  <a:pt x="972" y="1254"/>
                </a:lnTo>
                <a:lnTo>
                  <a:pt x="966" y="1260"/>
                </a:lnTo>
                <a:lnTo>
                  <a:pt x="930" y="1284"/>
                </a:lnTo>
                <a:lnTo>
                  <a:pt x="942" y="1356"/>
                </a:lnTo>
                <a:lnTo>
                  <a:pt x="930" y="1368"/>
                </a:lnTo>
                <a:lnTo>
                  <a:pt x="852" y="1404"/>
                </a:lnTo>
                <a:lnTo>
                  <a:pt x="834" y="1392"/>
                </a:lnTo>
                <a:lnTo>
                  <a:pt x="834" y="1362"/>
                </a:lnTo>
                <a:lnTo>
                  <a:pt x="828" y="1332"/>
                </a:lnTo>
                <a:lnTo>
                  <a:pt x="810" y="1308"/>
                </a:lnTo>
                <a:lnTo>
                  <a:pt x="810" y="1284"/>
                </a:lnTo>
                <a:lnTo>
                  <a:pt x="816" y="1266"/>
                </a:lnTo>
                <a:lnTo>
                  <a:pt x="822" y="1254"/>
                </a:lnTo>
                <a:lnTo>
                  <a:pt x="822" y="1242"/>
                </a:lnTo>
                <a:lnTo>
                  <a:pt x="810" y="1230"/>
                </a:lnTo>
                <a:lnTo>
                  <a:pt x="804" y="1218"/>
                </a:lnTo>
                <a:lnTo>
                  <a:pt x="804" y="1212"/>
                </a:lnTo>
                <a:lnTo>
                  <a:pt x="804" y="1206"/>
                </a:lnTo>
                <a:lnTo>
                  <a:pt x="816" y="1194"/>
                </a:lnTo>
                <a:lnTo>
                  <a:pt x="822" y="1188"/>
                </a:lnTo>
                <a:lnTo>
                  <a:pt x="828" y="1170"/>
                </a:lnTo>
                <a:lnTo>
                  <a:pt x="840" y="1152"/>
                </a:lnTo>
                <a:lnTo>
                  <a:pt x="846" y="1146"/>
                </a:lnTo>
                <a:lnTo>
                  <a:pt x="846" y="1134"/>
                </a:lnTo>
                <a:lnTo>
                  <a:pt x="852" y="1128"/>
                </a:lnTo>
                <a:lnTo>
                  <a:pt x="846" y="1116"/>
                </a:lnTo>
                <a:lnTo>
                  <a:pt x="840" y="1098"/>
                </a:lnTo>
                <a:lnTo>
                  <a:pt x="840" y="1086"/>
                </a:lnTo>
                <a:lnTo>
                  <a:pt x="846" y="1074"/>
                </a:lnTo>
                <a:lnTo>
                  <a:pt x="852" y="1068"/>
                </a:lnTo>
                <a:lnTo>
                  <a:pt x="864" y="1038"/>
                </a:lnTo>
                <a:lnTo>
                  <a:pt x="870" y="1020"/>
                </a:lnTo>
                <a:lnTo>
                  <a:pt x="864" y="1008"/>
                </a:lnTo>
                <a:lnTo>
                  <a:pt x="858" y="990"/>
                </a:lnTo>
                <a:lnTo>
                  <a:pt x="852" y="954"/>
                </a:lnTo>
                <a:lnTo>
                  <a:pt x="846" y="948"/>
                </a:lnTo>
                <a:lnTo>
                  <a:pt x="834" y="936"/>
                </a:lnTo>
                <a:lnTo>
                  <a:pt x="828" y="924"/>
                </a:lnTo>
                <a:lnTo>
                  <a:pt x="756" y="942"/>
                </a:lnTo>
                <a:lnTo>
                  <a:pt x="744" y="936"/>
                </a:lnTo>
                <a:lnTo>
                  <a:pt x="744" y="930"/>
                </a:lnTo>
                <a:lnTo>
                  <a:pt x="738" y="924"/>
                </a:lnTo>
                <a:lnTo>
                  <a:pt x="744" y="924"/>
                </a:lnTo>
                <a:lnTo>
                  <a:pt x="738" y="918"/>
                </a:lnTo>
                <a:lnTo>
                  <a:pt x="732" y="912"/>
                </a:lnTo>
                <a:lnTo>
                  <a:pt x="732" y="906"/>
                </a:lnTo>
                <a:lnTo>
                  <a:pt x="732" y="894"/>
                </a:lnTo>
                <a:lnTo>
                  <a:pt x="726" y="888"/>
                </a:lnTo>
                <a:lnTo>
                  <a:pt x="720" y="882"/>
                </a:lnTo>
                <a:lnTo>
                  <a:pt x="714" y="876"/>
                </a:lnTo>
                <a:lnTo>
                  <a:pt x="708" y="876"/>
                </a:lnTo>
                <a:lnTo>
                  <a:pt x="690" y="882"/>
                </a:lnTo>
                <a:lnTo>
                  <a:pt x="684" y="864"/>
                </a:lnTo>
                <a:lnTo>
                  <a:pt x="684" y="852"/>
                </a:lnTo>
                <a:lnTo>
                  <a:pt x="672" y="852"/>
                </a:lnTo>
                <a:lnTo>
                  <a:pt x="654" y="852"/>
                </a:lnTo>
                <a:lnTo>
                  <a:pt x="642" y="846"/>
                </a:lnTo>
                <a:lnTo>
                  <a:pt x="636" y="834"/>
                </a:lnTo>
                <a:lnTo>
                  <a:pt x="630" y="822"/>
                </a:lnTo>
                <a:lnTo>
                  <a:pt x="618" y="822"/>
                </a:lnTo>
                <a:lnTo>
                  <a:pt x="618" y="816"/>
                </a:lnTo>
                <a:lnTo>
                  <a:pt x="618" y="810"/>
                </a:lnTo>
                <a:lnTo>
                  <a:pt x="612" y="810"/>
                </a:lnTo>
                <a:lnTo>
                  <a:pt x="606" y="804"/>
                </a:lnTo>
                <a:lnTo>
                  <a:pt x="594" y="804"/>
                </a:lnTo>
                <a:lnTo>
                  <a:pt x="588" y="810"/>
                </a:lnTo>
                <a:lnTo>
                  <a:pt x="588" y="804"/>
                </a:lnTo>
                <a:lnTo>
                  <a:pt x="582" y="804"/>
                </a:lnTo>
                <a:lnTo>
                  <a:pt x="582" y="810"/>
                </a:lnTo>
                <a:lnTo>
                  <a:pt x="570" y="810"/>
                </a:lnTo>
                <a:lnTo>
                  <a:pt x="564" y="816"/>
                </a:lnTo>
                <a:lnTo>
                  <a:pt x="558" y="816"/>
                </a:lnTo>
                <a:lnTo>
                  <a:pt x="552" y="822"/>
                </a:lnTo>
                <a:lnTo>
                  <a:pt x="546" y="828"/>
                </a:lnTo>
                <a:lnTo>
                  <a:pt x="546" y="834"/>
                </a:lnTo>
                <a:lnTo>
                  <a:pt x="528" y="834"/>
                </a:lnTo>
                <a:lnTo>
                  <a:pt x="516" y="822"/>
                </a:lnTo>
                <a:lnTo>
                  <a:pt x="504" y="822"/>
                </a:lnTo>
                <a:lnTo>
                  <a:pt x="492" y="828"/>
                </a:lnTo>
                <a:lnTo>
                  <a:pt x="486" y="804"/>
                </a:lnTo>
                <a:lnTo>
                  <a:pt x="480" y="804"/>
                </a:lnTo>
                <a:lnTo>
                  <a:pt x="486" y="792"/>
                </a:lnTo>
                <a:lnTo>
                  <a:pt x="492" y="786"/>
                </a:lnTo>
                <a:lnTo>
                  <a:pt x="498" y="786"/>
                </a:lnTo>
                <a:lnTo>
                  <a:pt x="498" y="780"/>
                </a:lnTo>
                <a:lnTo>
                  <a:pt x="504" y="780"/>
                </a:lnTo>
                <a:lnTo>
                  <a:pt x="510" y="780"/>
                </a:lnTo>
                <a:lnTo>
                  <a:pt x="522" y="768"/>
                </a:lnTo>
                <a:lnTo>
                  <a:pt x="522" y="762"/>
                </a:lnTo>
                <a:lnTo>
                  <a:pt x="504" y="756"/>
                </a:lnTo>
                <a:lnTo>
                  <a:pt x="498" y="756"/>
                </a:lnTo>
                <a:lnTo>
                  <a:pt x="498" y="744"/>
                </a:lnTo>
                <a:lnTo>
                  <a:pt x="492" y="738"/>
                </a:lnTo>
                <a:lnTo>
                  <a:pt x="480" y="738"/>
                </a:lnTo>
                <a:lnTo>
                  <a:pt x="474" y="738"/>
                </a:lnTo>
                <a:lnTo>
                  <a:pt x="456" y="738"/>
                </a:lnTo>
                <a:lnTo>
                  <a:pt x="438" y="738"/>
                </a:lnTo>
                <a:lnTo>
                  <a:pt x="432" y="750"/>
                </a:lnTo>
                <a:lnTo>
                  <a:pt x="426" y="756"/>
                </a:lnTo>
                <a:lnTo>
                  <a:pt x="426" y="762"/>
                </a:lnTo>
                <a:lnTo>
                  <a:pt x="420" y="762"/>
                </a:lnTo>
                <a:lnTo>
                  <a:pt x="408" y="744"/>
                </a:lnTo>
                <a:lnTo>
                  <a:pt x="408" y="732"/>
                </a:lnTo>
                <a:lnTo>
                  <a:pt x="390" y="714"/>
                </a:lnTo>
                <a:lnTo>
                  <a:pt x="384" y="702"/>
                </a:lnTo>
                <a:lnTo>
                  <a:pt x="384" y="690"/>
                </a:lnTo>
                <a:lnTo>
                  <a:pt x="372" y="690"/>
                </a:lnTo>
                <a:lnTo>
                  <a:pt x="366" y="660"/>
                </a:lnTo>
                <a:lnTo>
                  <a:pt x="354" y="630"/>
                </a:lnTo>
                <a:lnTo>
                  <a:pt x="348" y="630"/>
                </a:lnTo>
                <a:lnTo>
                  <a:pt x="336" y="630"/>
                </a:lnTo>
                <a:lnTo>
                  <a:pt x="330" y="630"/>
                </a:lnTo>
                <a:lnTo>
                  <a:pt x="318" y="630"/>
                </a:lnTo>
                <a:lnTo>
                  <a:pt x="312" y="624"/>
                </a:lnTo>
                <a:lnTo>
                  <a:pt x="306" y="624"/>
                </a:lnTo>
                <a:lnTo>
                  <a:pt x="294" y="618"/>
                </a:lnTo>
                <a:lnTo>
                  <a:pt x="288" y="612"/>
                </a:lnTo>
                <a:lnTo>
                  <a:pt x="276" y="600"/>
                </a:lnTo>
                <a:lnTo>
                  <a:pt x="276" y="582"/>
                </a:lnTo>
                <a:lnTo>
                  <a:pt x="270" y="582"/>
                </a:lnTo>
                <a:lnTo>
                  <a:pt x="258" y="588"/>
                </a:lnTo>
                <a:lnTo>
                  <a:pt x="252" y="582"/>
                </a:lnTo>
                <a:lnTo>
                  <a:pt x="246" y="582"/>
                </a:lnTo>
                <a:lnTo>
                  <a:pt x="240" y="588"/>
                </a:lnTo>
                <a:lnTo>
                  <a:pt x="216" y="582"/>
                </a:lnTo>
                <a:lnTo>
                  <a:pt x="210" y="588"/>
                </a:lnTo>
                <a:lnTo>
                  <a:pt x="198" y="582"/>
                </a:lnTo>
                <a:lnTo>
                  <a:pt x="180" y="582"/>
                </a:lnTo>
                <a:lnTo>
                  <a:pt x="174" y="552"/>
                </a:lnTo>
                <a:lnTo>
                  <a:pt x="168" y="504"/>
                </a:lnTo>
                <a:lnTo>
                  <a:pt x="186" y="504"/>
                </a:lnTo>
                <a:lnTo>
                  <a:pt x="192" y="504"/>
                </a:lnTo>
                <a:lnTo>
                  <a:pt x="192" y="498"/>
                </a:lnTo>
                <a:lnTo>
                  <a:pt x="192" y="492"/>
                </a:lnTo>
                <a:lnTo>
                  <a:pt x="192" y="486"/>
                </a:lnTo>
                <a:lnTo>
                  <a:pt x="198" y="486"/>
                </a:lnTo>
                <a:lnTo>
                  <a:pt x="198" y="480"/>
                </a:lnTo>
                <a:lnTo>
                  <a:pt x="204" y="474"/>
                </a:lnTo>
                <a:lnTo>
                  <a:pt x="210" y="468"/>
                </a:lnTo>
                <a:lnTo>
                  <a:pt x="198" y="462"/>
                </a:lnTo>
                <a:lnTo>
                  <a:pt x="192" y="444"/>
                </a:lnTo>
                <a:lnTo>
                  <a:pt x="204" y="438"/>
                </a:lnTo>
                <a:lnTo>
                  <a:pt x="198" y="432"/>
                </a:lnTo>
                <a:lnTo>
                  <a:pt x="192" y="426"/>
                </a:lnTo>
                <a:lnTo>
                  <a:pt x="186" y="432"/>
                </a:lnTo>
                <a:lnTo>
                  <a:pt x="168" y="438"/>
                </a:lnTo>
                <a:lnTo>
                  <a:pt x="150" y="450"/>
                </a:lnTo>
                <a:lnTo>
                  <a:pt x="144" y="456"/>
                </a:lnTo>
                <a:lnTo>
                  <a:pt x="132" y="456"/>
                </a:lnTo>
                <a:lnTo>
                  <a:pt x="126" y="468"/>
                </a:lnTo>
                <a:lnTo>
                  <a:pt x="114" y="468"/>
                </a:lnTo>
                <a:lnTo>
                  <a:pt x="108" y="468"/>
                </a:lnTo>
                <a:lnTo>
                  <a:pt x="108" y="426"/>
                </a:lnTo>
                <a:lnTo>
                  <a:pt x="108" y="420"/>
                </a:lnTo>
                <a:lnTo>
                  <a:pt x="102" y="414"/>
                </a:lnTo>
                <a:lnTo>
                  <a:pt x="108" y="396"/>
                </a:lnTo>
                <a:lnTo>
                  <a:pt x="120" y="396"/>
                </a:lnTo>
                <a:lnTo>
                  <a:pt x="126" y="384"/>
                </a:lnTo>
                <a:lnTo>
                  <a:pt x="126" y="360"/>
                </a:lnTo>
                <a:lnTo>
                  <a:pt x="120" y="348"/>
                </a:lnTo>
                <a:lnTo>
                  <a:pt x="108" y="348"/>
                </a:lnTo>
                <a:lnTo>
                  <a:pt x="84" y="354"/>
                </a:lnTo>
                <a:lnTo>
                  <a:pt x="72" y="354"/>
                </a:lnTo>
                <a:lnTo>
                  <a:pt x="66" y="354"/>
                </a:lnTo>
                <a:lnTo>
                  <a:pt x="60" y="348"/>
                </a:lnTo>
                <a:lnTo>
                  <a:pt x="54" y="342"/>
                </a:lnTo>
                <a:lnTo>
                  <a:pt x="54" y="336"/>
                </a:lnTo>
                <a:lnTo>
                  <a:pt x="54" y="330"/>
                </a:lnTo>
                <a:lnTo>
                  <a:pt x="54" y="324"/>
                </a:lnTo>
                <a:lnTo>
                  <a:pt x="60" y="318"/>
                </a:lnTo>
                <a:lnTo>
                  <a:pt x="42" y="324"/>
                </a:lnTo>
                <a:lnTo>
                  <a:pt x="36" y="318"/>
                </a:lnTo>
                <a:lnTo>
                  <a:pt x="36" y="312"/>
                </a:lnTo>
                <a:lnTo>
                  <a:pt x="36" y="306"/>
                </a:lnTo>
                <a:lnTo>
                  <a:pt x="36" y="300"/>
                </a:lnTo>
                <a:lnTo>
                  <a:pt x="30" y="300"/>
                </a:lnTo>
                <a:lnTo>
                  <a:pt x="30" y="306"/>
                </a:lnTo>
                <a:lnTo>
                  <a:pt x="24" y="306"/>
                </a:lnTo>
                <a:lnTo>
                  <a:pt x="24" y="300"/>
                </a:lnTo>
                <a:lnTo>
                  <a:pt x="24" y="294"/>
                </a:lnTo>
                <a:lnTo>
                  <a:pt x="24" y="288"/>
                </a:lnTo>
                <a:lnTo>
                  <a:pt x="24" y="282"/>
                </a:lnTo>
                <a:lnTo>
                  <a:pt x="18" y="282"/>
                </a:lnTo>
                <a:lnTo>
                  <a:pt x="24" y="276"/>
                </a:lnTo>
                <a:lnTo>
                  <a:pt x="18" y="276"/>
                </a:lnTo>
                <a:lnTo>
                  <a:pt x="6" y="264"/>
                </a:lnTo>
                <a:lnTo>
                  <a:pt x="6" y="258"/>
                </a:lnTo>
                <a:lnTo>
                  <a:pt x="0" y="258"/>
                </a:lnTo>
                <a:lnTo>
                  <a:pt x="0" y="252"/>
                </a:lnTo>
                <a:lnTo>
                  <a:pt x="6" y="240"/>
                </a:lnTo>
                <a:lnTo>
                  <a:pt x="18" y="234"/>
                </a:lnTo>
                <a:lnTo>
                  <a:pt x="30" y="228"/>
                </a:lnTo>
                <a:lnTo>
                  <a:pt x="30" y="216"/>
                </a:lnTo>
                <a:lnTo>
                  <a:pt x="30" y="210"/>
                </a:lnTo>
                <a:lnTo>
                  <a:pt x="42" y="192"/>
                </a:lnTo>
                <a:lnTo>
                  <a:pt x="66" y="186"/>
                </a:lnTo>
                <a:lnTo>
                  <a:pt x="90" y="156"/>
                </a:lnTo>
                <a:lnTo>
                  <a:pt x="102" y="144"/>
                </a:lnTo>
                <a:lnTo>
                  <a:pt x="138" y="150"/>
                </a:lnTo>
                <a:lnTo>
                  <a:pt x="162" y="168"/>
                </a:lnTo>
                <a:lnTo>
                  <a:pt x="174" y="174"/>
                </a:lnTo>
                <a:lnTo>
                  <a:pt x="180" y="174"/>
                </a:lnTo>
                <a:lnTo>
                  <a:pt x="180" y="180"/>
                </a:lnTo>
                <a:lnTo>
                  <a:pt x="174" y="180"/>
                </a:lnTo>
                <a:lnTo>
                  <a:pt x="180" y="186"/>
                </a:lnTo>
                <a:lnTo>
                  <a:pt x="186" y="186"/>
                </a:lnTo>
                <a:lnTo>
                  <a:pt x="198" y="192"/>
                </a:lnTo>
                <a:lnTo>
                  <a:pt x="216" y="198"/>
                </a:lnTo>
                <a:lnTo>
                  <a:pt x="252" y="204"/>
                </a:lnTo>
                <a:lnTo>
                  <a:pt x="258" y="210"/>
                </a:lnTo>
                <a:lnTo>
                  <a:pt x="306" y="216"/>
                </a:lnTo>
                <a:lnTo>
                  <a:pt x="342" y="216"/>
                </a:lnTo>
                <a:lnTo>
                  <a:pt x="354" y="210"/>
                </a:lnTo>
                <a:lnTo>
                  <a:pt x="384" y="210"/>
                </a:lnTo>
                <a:lnTo>
                  <a:pt x="408" y="222"/>
                </a:lnTo>
                <a:lnTo>
                  <a:pt x="438" y="228"/>
                </a:lnTo>
                <a:lnTo>
                  <a:pt x="468" y="222"/>
                </a:lnTo>
                <a:lnTo>
                  <a:pt x="468" y="228"/>
                </a:lnTo>
                <a:lnTo>
                  <a:pt x="486" y="222"/>
                </a:lnTo>
                <a:lnTo>
                  <a:pt x="492" y="210"/>
                </a:lnTo>
                <a:lnTo>
                  <a:pt x="492" y="198"/>
                </a:lnTo>
                <a:lnTo>
                  <a:pt x="486" y="180"/>
                </a:lnTo>
                <a:lnTo>
                  <a:pt x="492" y="162"/>
                </a:lnTo>
                <a:lnTo>
                  <a:pt x="510" y="96"/>
                </a:lnTo>
                <a:lnTo>
                  <a:pt x="516" y="84"/>
                </a:lnTo>
                <a:lnTo>
                  <a:pt x="522" y="84"/>
                </a:lnTo>
                <a:lnTo>
                  <a:pt x="528" y="84"/>
                </a:lnTo>
                <a:lnTo>
                  <a:pt x="528" y="78"/>
                </a:lnTo>
                <a:lnTo>
                  <a:pt x="534" y="72"/>
                </a:lnTo>
                <a:lnTo>
                  <a:pt x="534" y="60"/>
                </a:lnTo>
                <a:lnTo>
                  <a:pt x="540" y="36"/>
                </a:lnTo>
                <a:lnTo>
                  <a:pt x="546" y="6"/>
                </a:lnTo>
                <a:lnTo>
                  <a:pt x="558" y="6"/>
                </a:lnTo>
                <a:lnTo>
                  <a:pt x="564" y="0"/>
                </a:lnTo>
                <a:lnTo>
                  <a:pt x="582" y="0"/>
                </a:lnTo>
                <a:lnTo>
                  <a:pt x="588" y="0"/>
                </a:lnTo>
                <a:lnTo>
                  <a:pt x="594" y="6"/>
                </a:lnTo>
                <a:lnTo>
                  <a:pt x="600" y="12"/>
                </a:lnTo>
                <a:lnTo>
                  <a:pt x="600" y="18"/>
                </a:lnTo>
                <a:lnTo>
                  <a:pt x="606" y="18"/>
                </a:lnTo>
                <a:lnTo>
                  <a:pt x="612" y="18"/>
                </a:lnTo>
                <a:lnTo>
                  <a:pt x="618" y="18"/>
                </a:lnTo>
                <a:lnTo>
                  <a:pt x="624" y="24"/>
                </a:lnTo>
                <a:lnTo>
                  <a:pt x="630" y="30"/>
                </a:lnTo>
                <a:lnTo>
                  <a:pt x="636" y="30"/>
                </a:lnTo>
                <a:lnTo>
                  <a:pt x="636" y="36"/>
                </a:lnTo>
                <a:lnTo>
                  <a:pt x="642" y="36"/>
                </a:lnTo>
                <a:lnTo>
                  <a:pt x="642" y="42"/>
                </a:lnTo>
                <a:lnTo>
                  <a:pt x="648" y="54"/>
                </a:lnTo>
                <a:lnTo>
                  <a:pt x="660" y="72"/>
                </a:lnTo>
                <a:lnTo>
                  <a:pt x="666" y="78"/>
                </a:lnTo>
                <a:lnTo>
                  <a:pt x="672" y="90"/>
                </a:lnTo>
                <a:lnTo>
                  <a:pt x="678" y="102"/>
                </a:lnTo>
                <a:lnTo>
                  <a:pt x="678" y="114"/>
                </a:lnTo>
                <a:lnTo>
                  <a:pt x="684" y="132"/>
                </a:lnTo>
                <a:lnTo>
                  <a:pt x="684" y="144"/>
                </a:lnTo>
                <a:lnTo>
                  <a:pt x="690" y="162"/>
                </a:lnTo>
                <a:lnTo>
                  <a:pt x="696" y="168"/>
                </a:lnTo>
                <a:lnTo>
                  <a:pt x="696" y="180"/>
                </a:lnTo>
                <a:lnTo>
                  <a:pt x="702" y="186"/>
                </a:lnTo>
                <a:lnTo>
                  <a:pt x="708" y="186"/>
                </a:lnTo>
                <a:lnTo>
                  <a:pt x="714" y="198"/>
                </a:lnTo>
                <a:lnTo>
                  <a:pt x="720" y="198"/>
                </a:lnTo>
                <a:lnTo>
                  <a:pt x="732" y="204"/>
                </a:lnTo>
                <a:lnTo>
                  <a:pt x="738" y="210"/>
                </a:lnTo>
                <a:lnTo>
                  <a:pt x="738" y="216"/>
                </a:lnTo>
                <a:lnTo>
                  <a:pt x="744" y="222"/>
                </a:lnTo>
                <a:lnTo>
                  <a:pt x="750" y="228"/>
                </a:lnTo>
                <a:lnTo>
                  <a:pt x="756" y="228"/>
                </a:lnTo>
                <a:lnTo>
                  <a:pt x="768" y="240"/>
                </a:lnTo>
                <a:lnTo>
                  <a:pt x="774" y="252"/>
                </a:lnTo>
                <a:lnTo>
                  <a:pt x="780" y="258"/>
                </a:lnTo>
                <a:lnTo>
                  <a:pt x="786" y="258"/>
                </a:lnTo>
                <a:lnTo>
                  <a:pt x="798" y="264"/>
                </a:lnTo>
                <a:lnTo>
                  <a:pt x="798" y="270"/>
                </a:lnTo>
                <a:lnTo>
                  <a:pt x="798" y="276"/>
                </a:lnTo>
                <a:lnTo>
                  <a:pt x="810" y="288"/>
                </a:lnTo>
                <a:lnTo>
                  <a:pt x="816" y="288"/>
                </a:lnTo>
                <a:lnTo>
                  <a:pt x="816" y="300"/>
                </a:lnTo>
                <a:lnTo>
                  <a:pt x="816" y="306"/>
                </a:lnTo>
                <a:lnTo>
                  <a:pt x="822" y="318"/>
                </a:lnTo>
                <a:lnTo>
                  <a:pt x="828" y="324"/>
                </a:lnTo>
                <a:lnTo>
                  <a:pt x="834" y="330"/>
                </a:lnTo>
                <a:lnTo>
                  <a:pt x="846" y="336"/>
                </a:lnTo>
                <a:lnTo>
                  <a:pt x="846" y="342"/>
                </a:lnTo>
                <a:lnTo>
                  <a:pt x="852" y="348"/>
                </a:lnTo>
                <a:lnTo>
                  <a:pt x="852" y="354"/>
                </a:lnTo>
                <a:lnTo>
                  <a:pt x="858" y="354"/>
                </a:lnTo>
                <a:lnTo>
                  <a:pt x="858" y="348"/>
                </a:lnTo>
                <a:lnTo>
                  <a:pt x="864" y="342"/>
                </a:lnTo>
                <a:lnTo>
                  <a:pt x="864" y="336"/>
                </a:lnTo>
                <a:lnTo>
                  <a:pt x="864" y="318"/>
                </a:lnTo>
                <a:lnTo>
                  <a:pt x="870" y="318"/>
                </a:lnTo>
                <a:lnTo>
                  <a:pt x="876" y="312"/>
                </a:lnTo>
                <a:lnTo>
                  <a:pt x="876" y="306"/>
                </a:lnTo>
                <a:lnTo>
                  <a:pt x="870" y="300"/>
                </a:lnTo>
                <a:lnTo>
                  <a:pt x="870" y="294"/>
                </a:lnTo>
                <a:lnTo>
                  <a:pt x="876" y="294"/>
                </a:lnTo>
                <a:lnTo>
                  <a:pt x="882" y="300"/>
                </a:lnTo>
                <a:lnTo>
                  <a:pt x="888" y="300"/>
                </a:lnTo>
                <a:lnTo>
                  <a:pt x="888" y="306"/>
                </a:lnTo>
                <a:lnTo>
                  <a:pt x="894" y="300"/>
                </a:lnTo>
                <a:lnTo>
                  <a:pt x="900" y="294"/>
                </a:lnTo>
                <a:lnTo>
                  <a:pt x="894" y="288"/>
                </a:lnTo>
                <a:lnTo>
                  <a:pt x="888" y="282"/>
                </a:lnTo>
                <a:lnTo>
                  <a:pt x="888" y="276"/>
                </a:lnTo>
                <a:lnTo>
                  <a:pt x="894" y="276"/>
                </a:lnTo>
                <a:lnTo>
                  <a:pt x="900" y="276"/>
                </a:lnTo>
                <a:lnTo>
                  <a:pt x="900" y="270"/>
                </a:lnTo>
                <a:lnTo>
                  <a:pt x="906" y="264"/>
                </a:lnTo>
                <a:lnTo>
                  <a:pt x="906" y="258"/>
                </a:lnTo>
                <a:lnTo>
                  <a:pt x="918" y="264"/>
                </a:lnTo>
                <a:lnTo>
                  <a:pt x="918" y="258"/>
                </a:lnTo>
                <a:lnTo>
                  <a:pt x="924" y="252"/>
                </a:lnTo>
                <a:lnTo>
                  <a:pt x="930" y="252"/>
                </a:lnTo>
                <a:lnTo>
                  <a:pt x="930" y="246"/>
                </a:lnTo>
                <a:lnTo>
                  <a:pt x="936" y="234"/>
                </a:lnTo>
                <a:lnTo>
                  <a:pt x="942" y="228"/>
                </a:lnTo>
                <a:lnTo>
                  <a:pt x="942" y="222"/>
                </a:lnTo>
                <a:lnTo>
                  <a:pt x="948" y="222"/>
                </a:lnTo>
                <a:lnTo>
                  <a:pt x="948" y="216"/>
                </a:lnTo>
                <a:lnTo>
                  <a:pt x="942" y="216"/>
                </a:lnTo>
                <a:lnTo>
                  <a:pt x="936" y="216"/>
                </a:lnTo>
                <a:lnTo>
                  <a:pt x="936" y="210"/>
                </a:lnTo>
                <a:lnTo>
                  <a:pt x="942" y="210"/>
                </a:lnTo>
                <a:lnTo>
                  <a:pt x="972" y="210"/>
                </a:lnTo>
                <a:lnTo>
                  <a:pt x="1032" y="216"/>
                </a:lnTo>
                <a:lnTo>
                  <a:pt x="1068" y="216"/>
                </a:lnTo>
                <a:lnTo>
                  <a:pt x="1056" y="234"/>
                </a:lnTo>
                <a:lnTo>
                  <a:pt x="1050" y="240"/>
                </a:lnTo>
                <a:lnTo>
                  <a:pt x="1044" y="246"/>
                </a:lnTo>
                <a:lnTo>
                  <a:pt x="1038" y="246"/>
                </a:lnTo>
                <a:lnTo>
                  <a:pt x="1026" y="282"/>
                </a:lnTo>
                <a:lnTo>
                  <a:pt x="1032" y="306"/>
                </a:lnTo>
                <a:lnTo>
                  <a:pt x="1044" y="324"/>
                </a:lnTo>
                <a:lnTo>
                  <a:pt x="1044" y="342"/>
                </a:lnTo>
                <a:lnTo>
                  <a:pt x="1062" y="366"/>
                </a:lnTo>
                <a:lnTo>
                  <a:pt x="1056" y="396"/>
                </a:lnTo>
                <a:lnTo>
                  <a:pt x="1038" y="462"/>
                </a:lnTo>
                <a:lnTo>
                  <a:pt x="1038" y="498"/>
                </a:lnTo>
                <a:lnTo>
                  <a:pt x="1038" y="522"/>
                </a:lnTo>
                <a:lnTo>
                  <a:pt x="1038" y="534"/>
                </a:lnTo>
                <a:lnTo>
                  <a:pt x="1056" y="522"/>
                </a:lnTo>
                <a:lnTo>
                  <a:pt x="1098" y="504"/>
                </a:lnTo>
                <a:lnTo>
                  <a:pt x="1104" y="498"/>
                </a:lnTo>
                <a:lnTo>
                  <a:pt x="1128" y="492"/>
                </a:lnTo>
                <a:lnTo>
                  <a:pt x="1152" y="480"/>
                </a:lnTo>
                <a:lnTo>
                  <a:pt x="1170" y="474"/>
                </a:lnTo>
                <a:lnTo>
                  <a:pt x="1188" y="468"/>
                </a:lnTo>
                <a:lnTo>
                  <a:pt x="1200" y="462"/>
                </a:lnTo>
                <a:lnTo>
                  <a:pt x="1224" y="450"/>
                </a:lnTo>
                <a:lnTo>
                  <a:pt x="1248" y="450"/>
                </a:lnTo>
                <a:lnTo>
                  <a:pt x="1266" y="450"/>
                </a:lnTo>
                <a:lnTo>
                  <a:pt x="1296" y="456"/>
                </a:lnTo>
                <a:lnTo>
                  <a:pt x="1308" y="456"/>
                </a:lnTo>
                <a:lnTo>
                  <a:pt x="1326" y="456"/>
                </a:lnTo>
                <a:lnTo>
                  <a:pt x="1338" y="456"/>
                </a:lnTo>
                <a:lnTo>
                  <a:pt x="1350" y="462"/>
                </a:lnTo>
                <a:lnTo>
                  <a:pt x="1356" y="462"/>
                </a:lnTo>
                <a:lnTo>
                  <a:pt x="1374" y="456"/>
                </a:lnTo>
                <a:lnTo>
                  <a:pt x="1386" y="456"/>
                </a:lnTo>
                <a:lnTo>
                  <a:pt x="1392" y="456"/>
                </a:lnTo>
                <a:lnTo>
                  <a:pt x="1398" y="456"/>
                </a:lnTo>
                <a:lnTo>
                  <a:pt x="1422" y="456"/>
                </a:lnTo>
                <a:lnTo>
                  <a:pt x="1440" y="456"/>
                </a:lnTo>
                <a:lnTo>
                  <a:pt x="1446" y="456"/>
                </a:lnTo>
                <a:lnTo>
                  <a:pt x="1476" y="456"/>
                </a:lnTo>
                <a:lnTo>
                  <a:pt x="1470" y="468"/>
                </a:lnTo>
                <a:lnTo>
                  <a:pt x="1470" y="474"/>
                </a:lnTo>
                <a:lnTo>
                  <a:pt x="1470" y="486"/>
                </a:lnTo>
                <a:lnTo>
                  <a:pt x="1464" y="492"/>
                </a:lnTo>
                <a:lnTo>
                  <a:pt x="1464" y="498"/>
                </a:lnTo>
                <a:lnTo>
                  <a:pt x="1458" y="498"/>
                </a:lnTo>
                <a:lnTo>
                  <a:pt x="1458" y="510"/>
                </a:lnTo>
                <a:lnTo>
                  <a:pt x="1452" y="522"/>
                </a:lnTo>
                <a:lnTo>
                  <a:pt x="1458" y="528"/>
                </a:lnTo>
                <a:lnTo>
                  <a:pt x="1464" y="546"/>
                </a:lnTo>
                <a:lnTo>
                  <a:pt x="1470" y="552"/>
                </a:lnTo>
                <a:lnTo>
                  <a:pt x="1476" y="564"/>
                </a:lnTo>
                <a:lnTo>
                  <a:pt x="1488" y="588"/>
                </a:lnTo>
                <a:lnTo>
                  <a:pt x="1506" y="606"/>
                </a:lnTo>
                <a:lnTo>
                  <a:pt x="1506" y="612"/>
                </a:lnTo>
                <a:lnTo>
                  <a:pt x="1518" y="618"/>
                </a:lnTo>
                <a:lnTo>
                  <a:pt x="1512" y="630"/>
                </a:lnTo>
                <a:lnTo>
                  <a:pt x="1518" y="642"/>
                </a:lnTo>
                <a:lnTo>
                  <a:pt x="1518" y="648"/>
                </a:lnTo>
                <a:lnTo>
                  <a:pt x="1530" y="666"/>
                </a:lnTo>
                <a:lnTo>
                  <a:pt x="1518" y="672"/>
                </a:lnTo>
                <a:lnTo>
                  <a:pt x="1524" y="696"/>
                </a:lnTo>
                <a:lnTo>
                  <a:pt x="1518" y="732"/>
                </a:lnTo>
                <a:lnTo>
                  <a:pt x="1524" y="762"/>
                </a:lnTo>
                <a:lnTo>
                  <a:pt x="1524" y="780"/>
                </a:lnTo>
                <a:lnTo>
                  <a:pt x="1524" y="810"/>
                </a:lnTo>
                <a:lnTo>
                  <a:pt x="1530" y="834"/>
                </a:lnTo>
                <a:lnTo>
                  <a:pt x="1536" y="846"/>
                </a:lnTo>
                <a:lnTo>
                  <a:pt x="1542" y="846"/>
                </a:lnTo>
                <a:lnTo>
                  <a:pt x="1584" y="840"/>
                </a:lnTo>
                <a:lnTo>
                  <a:pt x="1590" y="846"/>
                </a:lnTo>
                <a:lnTo>
                  <a:pt x="1596" y="858"/>
                </a:lnTo>
                <a:lnTo>
                  <a:pt x="1602" y="864"/>
                </a:lnTo>
                <a:lnTo>
                  <a:pt x="1596" y="870"/>
                </a:lnTo>
                <a:lnTo>
                  <a:pt x="1590" y="864"/>
                </a:lnTo>
                <a:lnTo>
                  <a:pt x="1578" y="882"/>
                </a:lnTo>
                <a:lnTo>
                  <a:pt x="1572" y="906"/>
                </a:lnTo>
                <a:lnTo>
                  <a:pt x="1560" y="924"/>
                </a:lnTo>
                <a:lnTo>
                  <a:pt x="1560" y="936"/>
                </a:lnTo>
                <a:lnTo>
                  <a:pt x="1548" y="960"/>
                </a:lnTo>
                <a:lnTo>
                  <a:pt x="1542" y="978"/>
                </a:lnTo>
                <a:lnTo>
                  <a:pt x="1536" y="990"/>
                </a:lnTo>
                <a:lnTo>
                  <a:pt x="1530" y="990"/>
                </a:lnTo>
                <a:lnTo>
                  <a:pt x="1506" y="996"/>
                </a:lnTo>
                <a:lnTo>
                  <a:pt x="1494" y="1002"/>
                </a:lnTo>
                <a:lnTo>
                  <a:pt x="1482" y="1002"/>
                </a:lnTo>
                <a:lnTo>
                  <a:pt x="1464" y="1008"/>
                </a:lnTo>
                <a:lnTo>
                  <a:pt x="1446" y="1026"/>
                </a:lnTo>
                <a:lnTo>
                  <a:pt x="1440" y="1026"/>
                </a:lnTo>
                <a:lnTo>
                  <a:pt x="1434" y="1038"/>
                </a:lnTo>
                <a:lnTo>
                  <a:pt x="1428" y="1044"/>
                </a:lnTo>
                <a:lnTo>
                  <a:pt x="1428" y="1062"/>
                </a:lnTo>
                <a:lnTo>
                  <a:pt x="1428" y="1086"/>
                </a:lnTo>
                <a:lnTo>
                  <a:pt x="1416" y="1092"/>
                </a:lnTo>
                <a:lnTo>
                  <a:pt x="1410" y="1080"/>
                </a:lnTo>
                <a:lnTo>
                  <a:pt x="1392" y="1080"/>
                </a:lnTo>
                <a:close/>
              </a:path>
            </a:pathLst>
          </a:custGeom>
          <a:solidFill>
            <a:srgbClr val="FF9900"/>
          </a:solidFill>
          <a:ln w="9525">
            <a:solidFill>
              <a:schemeClr val="bg1"/>
            </a:solidFill>
            <a:round/>
            <a:headEnd/>
            <a:tailEnd/>
          </a:ln>
        </p:spPr>
        <p:txBody>
          <a:bodyPr/>
          <a:lstStyle/>
          <a:p>
            <a:endParaRPr lang="en-GB"/>
          </a:p>
        </p:txBody>
      </p:sp>
      <p:sp>
        <p:nvSpPr>
          <p:cNvPr id="17440" name="Freeform 27"/>
          <p:cNvSpPr>
            <a:spLocks/>
          </p:cNvSpPr>
          <p:nvPr/>
        </p:nvSpPr>
        <p:spPr bwMode="gray">
          <a:xfrm>
            <a:off x="1435100" y="4562475"/>
            <a:ext cx="960438" cy="846138"/>
          </a:xfrm>
          <a:custGeom>
            <a:avLst/>
            <a:gdLst>
              <a:gd name="T0" fmla="*/ 74456 w 1224"/>
              <a:gd name="T1" fmla="*/ 71706 h 1050"/>
              <a:gd name="T2" fmla="*/ 70537 w 1224"/>
              <a:gd name="T3" fmla="*/ 67677 h 1050"/>
              <a:gd name="T4" fmla="*/ 65835 w 1224"/>
              <a:gd name="T5" fmla="*/ 66872 h 1050"/>
              <a:gd name="T6" fmla="*/ 64267 w 1224"/>
              <a:gd name="T7" fmla="*/ 64455 h 1050"/>
              <a:gd name="T8" fmla="*/ 66618 w 1224"/>
              <a:gd name="T9" fmla="*/ 62038 h 1050"/>
              <a:gd name="T10" fmla="*/ 63483 w 1224"/>
              <a:gd name="T11" fmla="*/ 61232 h 1050"/>
              <a:gd name="T12" fmla="*/ 60348 w 1224"/>
              <a:gd name="T13" fmla="*/ 62038 h 1050"/>
              <a:gd name="T14" fmla="*/ 61132 w 1224"/>
              <a:gd name="T15" fmla="*/ 58815 h 1050"/>
              <a:gd name="T16" fmla="*/ 46241 w 1224"/>
              <a:gd name="T17" fmla="*/ 57203 h 1050"/>
              <a:gd name="T18" fmla="*/ 32134 w 1224"/>
              <a:gd name="T19" fmla="*/ 58815 h 1050"/>
              <a:gd name="T20" fmla="*/ 25864 w 1224"/>
              <a:gd name="T21" fmla="*/ 57203 h 1050"/>
              <a:gd name="T22" fmla="*/ 23512 w 1224"/>
              <a:gd name="T23" fmla="*/ 60426 h 1050"/>
              <a:gd name="T24" fmla="*/ 21161 w 1224"/>
              <a:gd name="T25" fmla="*/ 64455 h 1050"/>
              <a:gd name="T26" fmla="*/ 9405 w 1224"/>
              <a:gd name="T27" fmla="*/ 65260 h 1050"/>
              <a:gd name="T28" fmla="*/ 7054 w 1224"/>
              <a:gd name="T29" fmla="*/ 67677 h 1050"/>
              <a:gd name="T30" fmla="*/ 4702 w 1224"/>
              <a:gd name="T31" fmla="*/ 66872 h 1050"/>
              <a:gd name="T32" fmla="*/ 784 w 1224"/>
              <a:gd name="T33" fmla="*/ 66872 h 1050"/>
              <a:gd name="T34" fmla="*/ 2351 w 1224"/>
              <a:gd name="T35" fmla="*/ 62038 h 1050"/>
              <a:gd name="T36" fmla="*/ 3919 w 1224"/>
              <a:gd name="T37" fmla="*/ 56398 h 1050"/>
              <a:gd name="T38" fmla="*/ 1567 w 1224"/>
              <a:gd name="T39" fmla="*/ 52369 h 1050"/>
              <a:gd name="T40" fmla="*/ 2351 w 1224"/>
              <a:gd name="T41" fmla="*/ 46730 h 1050"/>
              <a:gd name="T42" fmla="*/ 3135 w 1224"/>
              <a:gd name="T43" fmla="*/ 41090 h 1050"/>
              <a:gd name="T44" fmla="*/ 2351 w 1224"/>
              <a:gd name="T45" fmla="*/ 37867 h 1050"/>
              <a:gd name="T46" fmla="*/ 3135 w 1224"/>
              <a:gd name="T47" fmla="*/ 31422 h 1050"/>
              <a:gd name="T48" fmla="*/ 4702 w 1224"/>
              <a:gd name="T49" fmla="*/ 23365 h 1050"/>
              <a:gd name="T50" fmla="*/ 2351 w 1224"/>
              <a:gd name="T51" fmla="*/ 17725 h 1050"/>
              <a:gd name="T52" fmla="*/ 1567 w 1224"/>
              <a:gd name="T53" fmla="*/ 11280 h 1050"/>
              <a:gd name="T54" fmla="*/ 0 w 1224"/>
              <a:gd name="T55" fmla="*/ 4834 h 1050"/>
              <a:gd name="T56" fmla="*/ 7054 w 1224"/>
              <a:gd name="T57" fmla="*/ 806 h 1050"/>
              <a:gd name="T58" fmla="*/ 8621 w 1224"/>
              <a:gd name="T59" fmla="*/ 6445 h 1050"/>
              <a:gd name="T60" fmla="*/ 11756 w 1224"/>
              <a:gd name="T61" fmla="*/ 7251 h 1050"/>
              <a:gd name="T62" fmla="*/ 14107 w 1224"/>
              <a:gd name="T63" fmla="*/ 6445 h 1050"/>
              <a:gd name="T64" fmla="*/ 14107 w 1224"/>
              <a:gd name="T65" fmla="*/ 10474 h 1050"/>
              <a:gd name="T66" fmla="*/ 13324 w 1224"/>
              <a:gd name="T67" fmla="*/ 12085 h 1050"/>
              <a:gd name="T68" fmla="*/ 13324 w 1224"/>
              <a:gd name="T69" fmla="*/ 13697 h 1050"/>
              <a:gd name="T70" fmla="*/ 13324 w 1224"/>
              <a:gd name="T71" fmla="*/ 16919 h 1050"/>
              <a:gd name="T72" fmla="*/ 16459 w 1224"/>
              <a:gd name="T73" fmla="*/ 20142 h 1050"/>
              <a:gd name="T74" fmla="*/ 18810 w 1224"/>
              <a:gd name="T75" fmla="*/ 24976 h 1050"/>
              <a:gd name="T76" fmla="*/ 27431 w 1224"/>
              <a:gd name="T77" fmla="*/ 27393 h 1050"/>
              <a:gd name="T78" fmla="*/ 31350 w 1224"/>
              <a:gd name="T79" fmla="*/ 21753 h 1050"/>
              <a:gd name="T80" fmla="*/ 36052 w 1224"/>
              <a:gd name="T81" fmla="*/ 24170 h 1050"/>
              <a:gd name="T82" fmla="*/ 39971 w 1224"/>
              <a:gd name="T83" fmla="*/ 21753 h 1050"/>
              <a:gd name="T84" fmla="*/ 46241 w 1224"/>
              <a:gd name="T85" fmla="*/ 31422 h 1050"/>
              <a:gd name="T86" fmla="*/ 46241 w 1224"/>
              <a:gd name="T87" fmla="*/ 36256 h 1050"/>
              <a:gd name="T88" fmla="*/ 56430 w 1224"/>
              <a:gd name="T89" fmla="*/ 36256 h 1050"/>
              <a:gd name="T90" fmla="*/ 61916 w 1224"/>
              <a:gd name="T91" fmla="*/ 35450 h 1050"/>
              <a:gd name="T92" fmla="*/ 68186 w 1224"/>
              <a:gd name="T93" fmla="*/ 38673 h 1050"/>
              <a:gd name="T94" fmla="*/ 72888 w 1224"/>
              <a:gd name="T95" fmla="*/ 40284 h 1050"/>
              <a:gd name="T96" fmla="*/ 76807 w 1224"/>
              <a:gd name="T97" fmla="*/ 41090 h 1050"/>
              <a:gd name="T98" fmla="*/ 83077 w 1224"/>
              <a:gd name="T99" fmla="*/ 40284 h 1050"/>
              <a:gd name="T100" fmla="*/ 81509 w 1224"/>
              <a:gd name="T101" fmla="*/ 43507 h 1050"/>
              <a:gd name="T102" fmla="*/ 81509 w 1224"/>
              <a:gd name="T103" fmla="*/ 48341 h 1050"/>
              <a:gd name="T104" fmla="*/ 79158 w 1224"/>
              <a:gd name="T105" fmla="*/ 50758 h 1050"/>
              <a:gd name="T106" fmla="*/ 76807 w 1224"/>
              <a:gd name="T107" fmla="*/ 53175 h 1050"/>
              <a:gd name="T108" fmla="*/ 74456 w 1224"/>
              <a:gd name="T109" fmla="*/ 54786 h 1050"/>
              <a:gd name="T110" fmla="*/ 72888 w 1224"/>
              <a:gd name="T111" fmla="*/ 58009 h 1050"/>
              <a:gd name="T112" fmla="*/ 76807 w 1224"/>
              <a:gd name="T113" fmla="*/ 60426 h 1050"/>
              <a:gd name="T114" fmla="*/ 79942 w 1224"/>
              <a:gd name="T115" fmla="*/ 62038 h 1050"/>
              <a:gd name="T116" fmla="*/ 83861 w 1224"/>
              <a:gd name="T117" fmla="*/ 61232 h 1050"/>
              <a:gd name="T118" fmla="*/ 81509 w 1224"/>
              <a:gd name="T119" fmla="*/ 67677 h 1050"/>
              <a:gd name="T120" fmla="*/ 80726 w 1224"/>
              <a:gd name="T121" fmla="*/ 70094 h 1050"/>
              <a:gd name="T122" fmla="*/ 81509 w 1224"/>
              <a:gd name="T123" fmla="*/ 73317 h 105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24"/>
              <a:gd name="T187" fmla="*/ 0 h 1050"/>
              <a:gd name="T188" fmla="*/ 1224 w 1224"/>
              <a:gd name="T189" fmla="*/ 1050 h 105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24" h="1050">
                <a:moveTo>
                  <a:pt x="1128" y="1032"/>
                </a:moveTo>
                <a:lnTo>
                  <a:pt x="1122" y="1026"/>
                </a:lnTo>
                <a:lnTo>
                  <a:pt x="1116" y="1026"/>
                </a:lnTo>
                <a:lnTo>
                  <a:pt x="1110" y="1026"/>
                </a:lnTo>
                <a:lnTo>
                  <a:pt x="1104" y="1026"/>
                </a:lnTo>
                <a:lnTo>
                  <a:pt x="1104" y="1020"/>
                </a:lnTo>
                <a:lnTo>
                  <a:pt x="1098" y="1020"/>
                </a:lnTo>
                <a:lnTo>
                  <a:pt x="1092" y="1020"/>
                </a:lnTo>
                <a:lnTo>
                  <a:pt x="1086" y="1020"/>
                </a:lnTo>
                <a:lnTo>
                  <a:pt x="1080" y="1014"/>
                </a:lnTo>
                <a:lnTo>
                  <a:pt x="1068" y="1014"/>
                </a:lnTo>
                <a:lnTo>
                  <a:pt x="1062" y="1014"/>
                </a:lnTo>
                <a:lnTo>
                  <a:pt x="1062" y="1008"/>
                </a:lnTo>
                <a:lnTo>
                  <a:pt x="1062" y="990"/>
                </a:lnTo>
                <a:lnTo>
                  <a:pt x="1062" y="984"/>
                </a:lnTo>
                <a:lnTo>
                  <a:pt x="1062" y="972"/>
                </a:lnTo>
                <a:lnTo>
                  <a:pt x="1044" y="966"/>
                </a:lnTo>
                <a:lnTo>
                  <a:pt x="1026" y="966"/>
                </a:lnTo>
                <a:lnTo>
                  <a:pt x="1014" y="966"/>
                </a:lnTo>
                <a:lnTo>
                  <a:pt x="996" y="966"/>
                </a:lnTo>
                <a:lnTo>
                  <a:pt x="996" y="972"/>
                </a:lnTo>
                <a:lnTo>
                  <a:pt x="990" y="972"/>
                </a:lnTo>
                <a:lnTo>
                  <a:pt x="984" y="966"/>
                </a:lnTo>
                <a:lnTo>
                  <a:pt x="978" y="966"/>
                </a:lnTo>
                <a:lnTo>
                  <a:pt x="978" y="960"/>
                </a:lnTo>
                <a:lnTo>
                  <a:pt x="972" y="954"/>
                </a:lnTo>
                <a:lnTo>
                  <a:pt x="966" y="954"/>
                </a:lnTo>
                <a:lnTo>
                  <a:pt x="960" y="954"/>
                </a:lnTo>
                <a:lnTo>
                  <a:pt x="954" y="954"/>
                </a:lnTo>
                <a:lnTo>
                  <a:pt x="954" y="948"/>
                </a:lnTo>
                <a:lnTo>
                  <a:pt x="942" y="942"/>
                </a:lnTo>
                <a:lnTo>
                  <a:pt x="936" y="942"/>
                </a:lnTo>
                <a:lnTo>
                  <a:pt x="936" y="936"/>
                </a:lnTo>
                <a:lnTo>
                  <a:pt x="936" y="930"/>
                </a:lnTo>
                <a:lnTo>
                  <a:pt x="942" y="930"/>
                </a:lnTo>
                <a:lnTo>
                  <a:pt x="942" y="924"/>
                </a:lnTo>
                <a:lnTo>
                  <a:pt x="942" y="918"/>
                </a:lnTo>
                <a:lnTo>
                  <a:pt x="948" y="918"/>
                </a:lnTo>
                <a:lnTo>
                  <a:pt x="960" y="918"/>
                </a:lnTo>
                <a:lnTo>
                  <a:pt x="966" y="912"/>
                </a:lnTo>
                <a:lnTo>
                  <a:pt x="978" y="906"/>
                </a:lnTo>
                <a:lnTo>
                  <a:pt x="978" y="900"/>
                </a:lnTo>
                <a:lnTo>
                  <a:pt x="978" y="894"/>
                </a:lnTo>
                <a:lnTo>
                  <a:pt x="978" y="888"/>
                </a:lnTo>
                <a:lnTo>
                  <a:pt x="972" y="888"/>
                </a:lnTo>
                <a:lnTo>
                  <a:pt x="978" y="888"/>
                </a:lnTo>
                <a:lnTo>
                  <a:pt x="978" y="882"/>
                </a:lnTo>
                <a:lnTo>
                  <a:pt x="972" y="876"/>
                </a:lnTo>
                <a:lnTo>
                  <a:pt x="966" y="870"/>
                </a:lnTo>
                <a:lnTo>
                  <a:pt x="954" y="876"/>
                </a:lnTo>
                <a:lnTo>
                  <a:pt x="948" y="876"/>
                </a:lnTo>
                <a:lnTo>
                  <a:pt x="942" y="870"/>
                </a:lnTo>
                <a:lnTo>
                  <a:pt x="936" y="876"/>
                </a:lnTo>
                <a:lnTo>
                  <a:pt x="930" y="876"/>
                </a:lnTo>
                <a:lnTo>
                  <a:pt x="924" y="882"/>
                </a:lnTo>
                <a:lnTo>
                  <a:pt x="912" y="888"/>
                </a:lnTo>
                <a:lnTo>
                  <a:pt x="906" y="894"/>
                </a:lnTo>
                <a:lnTo>
                  <a:pt x="900" y="900"/>
                </a:lnTo>
                <a:lnTo>
                  <a:pt x="894" y="888"/>
                </a:lnTo>
                <a:lnTo>
                  <a:pt x="888" y="894"/>
                </a:lnTo>
                <a:lnTo>
                  <a:pt x="882" y="888"/>
                </a:lnTo>
                <a:lnTo>
                  <a:pt x="876" y="894"/>
                </a:lnTo>
                <a:lnTo>
                  <a:pt x="876" y="888"/>
                </a:lnTo>
                <a:lnTo>
                  <a:pt x="876" y="882"/>
                </a:lnTo>
                <a:lnTo>
                  <a:pt x="876" y="876"/>
                </a:lnTo>
                <a:lnTo>
                  <a:pt x="870" y="858"/>
                </a:lnTo>
                <a:lnTo>
                  <a:pt x="864" y="858"/>
                </a:lnTo>
                <a:lnTo>
                  <a:pt x="870" y="852"/>
                </a:lnTo>
                <a:lnTo>
                  <a:pt x="870" y="846"/>
                </a:lnTo>
                <a:lnTo>
                  <a:pt x="876" y="846"/>
                </a:lnTo>
                <a:lnTo>
                  <a:pt x="882" y="846"/>
                </a:lnTo>
                <a:lnTo>
                  <a:pt x="888" y="840"/>
                </a:lnTo>
                <a:lnTo>
                  <a:pt x="894" y="834"/>
                </a:lnTo>
                <a:lnTo>
                  <a:pt x="894" y="828"/>
                </a:lnTo>
                <a:lnTo>
                  <a:pt x="894" y="816"/>
                </a:lnTo>
                <a:lnTo>
                  <a:pt x="858" y="810"/>
                </a:lnTo>
                <a:lnTo>
                  <a:pt x="858" y="816"/>
                </a:lnTo>
                <a:lnTo>
                  <a:pt x="852" y="816"/>
                </a:lnTo>
                <a:lnTo>
                  <a:pt x="780" y="816"/>
                </a:lnTo>
                <a:lnTo>
                  <a:pt x="750" y="816"/>
                </a:lnTo>
                <a:lnTo>
                  <a:pt x="684" y="816"/>
                </a:lnTo>
                <a:lnTo>
                  <a:pt x="636" y="816"/>
                </a:lnTo>
                <a:lnTo>
                  <a:pt x="612" y="816"/>
                </a:lnTo>
                <a:lnTo>
                  <a:pt x="492" y="816"/>
                </a:lnTo>
                <a:lnTo>
                  <a:pt x="486" y="816"/>
                </a:lnTo>
                <a:lnTo>
                  <a:pt x="480" y="816"/>
                </a:lnTo>
                <a:lnTo>
                  <a:pt x="480" y="822"/>
                </a:lnTo>
                <a:lnTo>
                  <a:pt x="480" y="834"/>
                </a:lnTo>
                <a:lnTo>
                  <a:pt x="474" y="840"/>
                </a:lnTo>
                <a:lnTo>
                  <a:pt x="468" y="840"/>
                </a:lnTo>
                <a:lnTo>
                  <a:pt x="432" y="840"/>
                </a:lnTo>
                <a:lnTo>
                  <a:pt x="426" y="834"/>
                </a:lnTo>
                <a:lnTo>
                  <a:pt x="420" y="834"/>
                </a:lnTo>
                <a:lnTo>
                  <a:pt x="420" y="828"/>
                </a:lnTo>
                <a:lnTo>
                  <a:pt x="414" y="822"/>
                </a:lnTo>
                <a:lnTo>
                  <a:pt x="408" y="822"/>
                </a:lnTo>
                <a:lnTo>
                  <a:pt x="396" y="822"/>
                </a:lnTo>
                <a:lnTo>
                  <a:pt x="396" y="816"/>
                </a:lnTo>
                <a:lnTo>
                  <a:pt x="384" y="816"/>
                </a:lnTo>
                <a:lnTo>
                  <a:pt x="372" y="810"/>
                </a:lnTo>
                <a:lnTo>
                  <a:pt x="372" y="804"/>
                </a:lnTo>
                <a:lnTo>
                  <a:pt x="366" y="804"/>
                </a:lnTo>
                <a:lnTo>
                  <a:pt x="360" y="804"/>
                </a:lnTo>
                <a:lnTo>
                  <a:pt x="348" y="828"/>
                </a:lnTo>
                <a:lnTo>
                  <a:pt x="348" y="834"/>
                </a:lnTo>
                <a:lnTo>
                  <a:pt x="348" y="852"/>
                </a:lnTo>
                <a:lnTo>
                  <a:pt x="348" y="858"/>
                </a:lnTo>
                <a:lnTo>
                  <a:pt x="342" y="864"/>
                </a:lnTo>
                <a:lnTo>
                  <a:pt x="342" y="870"/>
                </a:lnTo>
                <a:lnTo>
                  <a:pt x="330" y="876"/>
                </a:lnTo>
                <a:lnTo>
                  <a:pt x="324" y="888"/>
                </a:lnTo>
                <a:lnTo>
                  <a:pt x="324" y="894"/>
                </a:lnTo>
                <a:lnTo>
                  <a:pt x="330" y="900"/>
                </a:lnTo>
                <a:lnTo>
                  <a:pt x="330" y="906"/>
                </a:lnTo>
                <a:lnTo>
                  <a:pt x="324" y="906"/>
                </a:lnTo>
                <a:lnTo>
                  <a:pt x="318" y="912"/>
                </a:lnTo>
                <a:lnTo>
                  <a:pt x="312" y="918"/>
                </a:lnTo>
                <a:lnTo>
                  <a:pt x="306" y="924"/>
                </a:lnTo>
                <a:lnTo>
                  <a:pt x="288" y="924"/>
                </a:lnTo>
                <a:lnTo>
                  <a:pt x="282" y="924"/>
                </a:lnTo>
                <a:lnTo>
                  <a:pt x="276" y="930"/>
                </a:lnTo>
                <a:lnTo>
                  <a:pt x="270" y="930"/>
                </a:lnTo>
                <a:lnTo>
                  <a:pt x="264" y="930"/>
                </a:lnTo>
                <a:lnTo>
                  <a:pt x="198" y="930"/>
                </a:lnTo>
                <a:lnTo>
                  <a:pt x="132" y="930"/>
                </a:lnTo>
                <a:lnTo>
                  <a:pt x="132" y="936"/>
                </a:lnTo>
                <a:lnTo>
                  <a:pt x="132" y="942"/>
                </a:lnTo>
                <a:lnTo>
                  <a:pt x="132" y="948"/>
                </a:lnTo>
                <a:lnTo>
                  <a:pt x="126" y="948"/>
                </a:lnTo>
                <a:lnTo>
                  <a:pt x="120" y="948"/>
                </a:lnTo>
                <a:lnTo>
                  <a:pt x="120" y="954"/>
                </a:lnTo>
                <a:lnTo>
                  <a:pt x="114" y="954"/>
                </a:lnTo>
                <a:lnTo>
                  <a:pt x="114" y="960"/>
                </a:lnTo>
                <a:lnTo>
                  <a:pt x="108" y="960"/>
                </a:lnTo>
                <a:lnTo>
                  <a:pt x="108" y="966"/>
                </a:lnTo>
                <a:lnTo>
                  <a:pt x="102" y="966"/>
                </a:lnTo>
                <a:lnTo>
                  <a:pt x="102" y="972"/>
                </a:lnTo>
                <a:lnTo>
                  <a:pt x="96" y="972"/>
                </a:lnTo>
                <a:lnTo>
                  <a:pt x="96" y="966"/>
                </a:lnTo>
                <a:lnTo>
                  <a:pt x="90" y="966"/>
                </a:lnTo>
                <a:lnTo>
                  <a:pt x="84" y="966"/>
                </a:lnTo>
                <a:lnTo>
                  <a:pt x="78" y="960"/>
                </a:lnTo>
                <a:lnTo>
                  <a:pt x="72" y="960"/>
                </a:lnTo>
                <a:lnTo>
                  <a:pt x="66" y="960"/>
                </a:lnTo>
                <a:lnTo>
                  <a:pt x="60" y="960"/>
                </a:lnTo>
                <a:lnTo>
                  <a:pt x="54" y="966"/>
                </a:lnTo>
                <a:lnTo>
                  <a:pt x="48" y="966"/>
                </a:lnTo>
                <a:lnTo>
                  <a:pt x="42" y="966"/>
                </a:lnTo>
                <a:lnTo>
                  <a:pt x="36" y="966"/>
                </a:lnTo>
                <a:lnTo>
                  <a:pt x="30" y="966"/>
                </a:lnTo>
                <a:lnTo>
                  <a:pt x="24" y="960"/>
                </a:lnTo>
                <a:lnTo>
                  <a:pt x="18" y="960"/>
                </a:lnTo>
                <a:lnTo>
                  <a:pt x="12" y="960"/>
                </a:lnTo>
                <a:lnTo>
                  <a:pt x="12" y="948"/>
                </a:lnTo>
                <a:lnTo>
                  <a:pt x="18" y="942"/>
                </a:lnTo>
                <a:lnTo>
                  <a:pt x="18" y="936"/>
                </a:lnTo>
                <a:lnTo>
                  <a:pt x="18" y="930"/>
                </a:lnTo>
                <a:lnTo>
                  <a:pt x="18" y="924"/>
                </a:lnTo>
                <a:lnTo>
                  <a:pt x="18" y="912"/>
                </a:lnTo>
                <a:lnTo>
                  <a:pt x="24" y="906"/>
                </a:lnTo>
                <a:lnTo>
                  <a:pt x="30" y="900"/>
                </a:lnTo>
                <a:lnTo>
                  <a:pt x="36" y="894"/>
                </a:lnTo>
                <a:lnTo>
                  <a:pt x="36" y="882"/>
                </a:lnTo>
                <a:lnTo>
                  <a:pt x="30" y="876"/>
                </a:lnTo>
                <a:lnTo>
                  <a:pt x="30" y="870"/>
                </a:lnTo>
                <a:lnTo>
                  <a:pt x="24" y="858"/>
                </a:lnTo>
                <a:lnTo>
                  <a:pt x="24" y="846"/>
                </a:lnTo>
                <a:lnTo>
                  <a:pt x="36" y="822"/>
                </a:lnTo>
                <a:lnTo>
                  <a:pt x="42" y="816"/>
                </a:lnTo>
                <a:lnTo>
                  <a:pt x="48" y="816"/>
                </a:lnTo>
                <a:lnTo>
                  <a:pt x="60" y="804"/>
                </a:lnTo>
                <a:lnTo>
                  <a:pt x="60" y="786"/>
                </a:lnTo>
                <a:lnTo>
                  <a:pt x="60" y="774"/>
                </a:lnTo>
                <a:lnTo>
                  <a:pt x="60" y="768"/>
                </a:lnTo>
                <a:lnTo>
                  <a:pt x="54" y="762"/>
                </a:lnTo>
                <a:lnTo>
                  <a:pt x="42" y="762"/>
                </a:lnTo>
                <a:lnTo>
                  <a:pt x="36" y="762"/>
                </a:lnTo>
                <a:lnTo>
                  <a:pt x="30" y="762"/>
                </a:lnTo>
                <a:lnTo>
                  <a:pt x="30" y="756"/>
                </a:lnTo>
                <a:lnTo>
                  <a:pt x="24" y="750"/>
                </a:lnTo>
                <a:lnTo>
                  <a:pt x="24" y="744"/>
                </a:lnTo>
                <a:lnTo>
                  <a:pt x="24" y="738"/>
                </a:lnTo>
                <a:lnTo>
                  <a:pt x="24" y="732"/>
                </a:lnTo>
                <a:lnTo>
                  <a:pt x="36" y="714"/>
                </a:lnTo>
                <a:lnTo>
                  <a:pt x="30" y="708"/>
                </a:lnTo>
                <a:lnTo>
                  <a:pt x="30" y="702"/>
                </a:lnTo>
                <a:lnTo>
                  <a:pt x="36" y="684"/>
                </a:lnTo>
                <a:lnTo>
                  <a:pt x="36" y="678"/>
                </a:lnTo>
                <a:lnTo>
                  <a:pt x="36" y="666"/>
                </a:lnTo>
                <a:lnTo>
                  <a:pt x="36" y="654"/>
                </a:lnTo>
                <a:lnTo>
                  <a:pt x="18" y="654"/>
                </a:lnTo>
                <a:lnTo>
                  <a:pt x="18" y="648"/>
                </a:lnTo>
                <a:lnTo>
                  <a:pt x="18" y="618"/>
                </a:lnTo>
                <a:lnTo>
                  <a:pt x="18" y="612"/>
                </a:lnTo>
                <a:lnTo>
                  <a:pt x="24" y="612"/>
                </a:lnTo>
                <a:lnTo>
                  <a:pt x="30" y="600"/>
                </a:lnTo>
                <a:lnTo>
                  <a:pt x="36" y="594"/>
                </a:lnTo>
                <a:lnTo>
                  <a:pt x="48" y="594"/>
                </a:lnTo>
                <a:lnTo>
                  <a:pt x="54" y="588"/>
                </a:lnTo>
                <a:lnTo>
                  <a:pt x="60" y="588"/>
                </a:lnTo>
                <a:lnTo>
                  <a:pt x="60" y="582"/>
                </a:lnTo>
                <a:lnTo>
                  <a:pt x="54" y="576"/>
                </a:lnTo>
                <a:lnTo>
                  <a:pt x="48" y="564"/>
                </a:lnTo>
                <a:lnTo>
                  <a:pt x="42" y="564"/>
                </a:lnTo>
                <a:lnTo>
                  <a:pt x="36" y="558"/>
                </a:lnTo>
                <a:lnTo>
                  <a:pt x="30" y="552"/>
                </a:lnTo>
                <a:lnTo>
                  <a:pt x="30" y="546"/>
                </a:lnTo>
                <a:lnTo>
                  <a:pt x="36" y="540"/>
                </a:lnTo>
                <a:lnTo>
                  <a:pt x="48" y="534"/>
                </a:lnTo>
                <a:lnTo>
                  <a:pt x="54" y="528"/>
                </a:lnTo>
                <a:lnTo>
                  <a:pt x="60" y="504"/>
                </a:lnTo>
                <a:lnTo>
                  <a:pt x="60" y="492"/>
                </a:lnTo>
                <a:lnTo>
                  <a:pt x="54" y="492"/>
                </a:lnTo>
                <a:lnTo>
                  <a:pt x="54" y="480"/>
                </a:lnTo>
                <a:lnTo>
                  <a:pt x="48" y="456"/>
                </a:lnTo>
                <a:lnTo>
                  <a:pt x="42" y="450"/>
                </a:lnTo>
                <a:lnTo>
                  <a:pt x="36" y="444"/>
                </a:lnTo>
                <a:lnTo>
                  <a:pt x="36" y="420"/>
                </a:lnTo>
                <a:lnTo>
                  <a:pt x="36" y="408"/>
                </a:lnTo>
                <a:lnTo>
                  <a:pt x="36" y="372"/>
                </a:lnTo>
                <a:lnTo>
                  <a:pt x="36" y="342"/>
                </a:lnTo>
                <a:lnTo>
                  <a:pt x="42" y="342"/>
                </a:lnTo>
                <a:lnTo>
                  <a:pt x="60" y="342"/>
                </a:lnTo>
                <a:lnTo>
                  <a:pt x="66" y="336"/>
                </a:lnTo>
                <a:lnTo>
                  <a:pt x="66" y="330"/>
                </a:lnTo>
                <a:lnTo>
                  <a:pt x="66" y="300"/>
                </a:lnTo>
                <a:lnTo>
                  <a:pt x="60" y="294"/>
                </a:lnTo>
                <a:lnTo>
                  <a:pt x="60" y="288"/>
                </a:lnTo>
                <a:lnTo>
                  <a:pt x="54" y="282"/>
                </a:lnTo>
                <a:lnTo>
                  <a:pt x="42" y="276"/>
                </a:lnTo>
                <a:lnTo>
                  <a:pt x="36" y="276"/>
                </a:lnTo>
                <a:lnTo>
                  <a:pt x="36" y="270"/>
                </a:lnTo>
                <a:lnTo>
                  <a:pt x="30" y="264"/>
                </a:lnTo>
                <a:lnTo>
                  <a:pt x="36" y="258"/>
                </a:lnTo>
                <a:lnTo>
                  <a:pt x="30" y="252"/>
                </a:lnTo>
                <a:lnTo>
                  <a:pt x="24" y="246"/>
                </a:lnTo>
                <a:lnTo>
                  <a:pt x="24" y="240"/>
                </a:lnTo>
                <a:lnTo>
                  <a:pt x="24" y="228"/>
                </a:lnTo>
                <a:lnTo>
                  <a:pt x="24" y="216"/>
                </a:lnTo>
                <a:lnTo>
                  <a:pt x="24" y="210"/>
                </a:lnTo>
                <a:lnTo>
                  <a:pt x="18" y="192"/>
                </a:lnTo>
                <a:lnTo>
                  <a:pt x="18" y="186"/>
                </a:lnTo>
                <a:lnTo>
                  <a:pt x="24" y="162"/>
                </a:lnTo>
                <a:lnTo>
                  <a:pt x="24" y="144"/>
                </a:lnTo>
                <a:lnTo>
                  <a:pt x="24" y="132"/>
                </a:lnTo>
                <a:lnTo>
                  <a:pt x="24" y="114"/>
                </a:lnTo>
                <a:lnTo>
                  <a:pt x="24" y="102"/>
                </a:lnTo>
                <a:lnTo>
                  <a:pt x="18" y="90"/>
                </a:lnTo>
                <a:lnTo>
                  <a:pt x="12" y="90"/>
                </a:lnTo>
                <a:lnTo>
                  <a:pt x="12" y="84"/>
                </a:lnTo>
                <a:lnTo>
                  <a:pt x="6" y="78"/>
                </a:lnTo>
                <a:lnTo>
                  <a:pt x="6" y="72"/>
                </a:lnTo>
                <a:lnTo>
                  <a:pt x="0" y="60"/>
                </a:lnTo>
                <a:lnTo>
                  <a:pt x="18" y="48"/>
                </a:lnTo>
                <a:lnTo>
                  <a:pt x="42" y="36"/>
                </a:lnTo>
                <a:lnTo>
                  <a:pt x="54" y="24"/>
                </a:lnTo>
                <a:lnTo>
                  <a:pt x="60" y="0"/>
                </a:lnTo>
                <a:lnTo>
                  <a:pt x="78" y="0"/>
                </a:lnTo>
                <a:lnTo>
                  <a:pt x="78" y="6"/>
                </a:lnTo>
                <a:lnTo>
                  <a:pt x="90" y="6"/>
                </a:lnTo>
                <a:lnTo>
                  <a:pt x="102" y="12"/>
                </a:lnTo>
                <a:lnTo>
                  <a:pt x="138" y="12"/>
                </a:lnTo>
                <a:lnTo>
                  <a:pt x="138" y="18"/>
                </a:lnTo>
                <a:lnTo>
                  <a:pt x="126" y="18"/>
                </a:lnTo>
                <a:lnTo>
                  <a:pt x="126" y="24"/>
                </a:lnTo>
                <a:lnTo>
                  <a:pt x="120" y="30"/>
                </a:lnTo>
                <a:lnTo>
                  <a:pt x="114" y="60"/>
                </a:lnTo>
                <a:lnTo>
                  <a:pt x="120" y="60"/>
                </a:lnTo>
                <a:lnTo>
                  <a:pt x="114" y="84"/>
                </a:lnTo>
                <a:lnTo>
                  <a:pt x="120" y="90"/>
                </a:lnTo>
                <a:lnTo>
                  <a:pt x="126" y="96"/>
                </a:lnTo>
                <a:lnTo>
                  <a:pt x="132" y="96"/>
                </a:lnTo>
                <a:lnTo>
                  <a:pt x="138" y="96"/>
                </a:lnTo>
                <a:lnTo>
                  <a:pt x="138" y="102"/>
                </a:lnTo>
                <a:lnTo>
                  <a:pt x="138" y="114"/>
                </a:lnTo>
                <a:lnTo>
                  <a:pt x="138" y="132"/>
                </a:lnTo>
                <a:lnTo>
                  <a:pt x="162" y="126"/>
                </a:lnTo>
                <a:lnTo>
                  <a:pt x="162" y="114"/>
                </a:lnTo>
                <a:lnTo>
                  <a:pt x="174" y="108"/>
                </a:lnTo>
                <a:lnTo>
                  <a:pt x="174" y="102"/>
                </a:lnTo>
                <a:lnTo>
                  <a:pt x="180" y="96"/>
                </a:lnTo>
                <a:lnTo>
                  <a:pt x="180" y="60"/>
                </a:lnTo>
                <a:lnTo>
                  <a:pt x="192" y="60"/>
                </a:lnTo>
                <a:lnTo>
                  <a:pt x="192" y="72"/>
                </a:lnTo>
                <a:lnTo>
                  <a:pt x="198" y="72"/>
                </a:lnTo>
                <a:lnTo>
                  <a:pt x="198" y="78"/>
                </a:lnTo>
                <a:lnTo>
                  <a:pt x="204" y="78"/>
                </a:lnTo>
                <a:lnTo>
                  <a:pt x="204" y="96"/>
                </a:lnTo>
                <a:lnTo>
                  <a:pt x="204" y="102"/>
                </a:lnTo>
                <a:lnTo>
                  <a:pt x="204" y="108"/>
                </a:lnTo>
                <a:lnTo>
                  <a:pt x="204" y="114"/>
                </a:lnTo>
                <a:lnTo>
                  <a:pt x="204" y="120"/>
                </a:lnTo>
                <a:lnTo>
                  <a:pt x="204" y="126"/>
                </a:lnTo>
                <a:lnTo>
                  <a:pt x="210" y="126"/>
                </a:lnTo>
                <a:lnTo>
                  <a:pt x="210" y="132"/>
                </a:lnTo>
                <a:lnTo>
                  <a:pt x="204" y="138"/>
                </a:lnTo>
                <a:lnTo>
                  <a:pt x="204" y="150"/>
                </a:lnTo>
                <a:lnTo>
                  <a:pt x="198" y="150"/>
                </a:lnTo>
                <a:lnTo>
                  <a:pt x="192" y="150"/>
                </a:lnTo>
                <a:lnTo>
                  <a:pt x="192" y="156"/>
                </a:lnTo>
                <a:lnTo>
                  <a:pt x="198" y="156"/>
                </a:lnTo>
                <a:lnTo>
                  <a:pt x="204" y="156"/>
                </a:lnTo>
                <a:lnTo>
                  <a:pt x="204" y="162"/>
                </a:lnTo>
                <a:lnTo>
                  <a:pt x="198" y="162"/>
                </a:lnTo>
                <a:lnTo>
                  <a:pt x="192" y="162"/>
                </a:lnTo>
                <a:lnTo>
                  <a:pt x="192" y="168"/>
                </a:lnTo>
                <a:lnTo>
                  <a:pt x="198" y="168"/>
                </a:lnTo>
                <a:lnTo>
                  <a:pt x="198" y="174"/>
                </a:lnTo>
                <a:lnTo>
                  <a:pt x="186" y="174"/>
                </a:lnTo>
                <a:lnTo>
                  <a:pt x="192" y="174"/>
                </a:lnTo>
                <a:lnTo>
                  <a:pt x="198" y="174"/>
                </a:lnTo>
                <a:lnTo>
                  <a:pt x="198" y="180"/>
                </a:lnTo>
                <a:lnTo>
                  <a:pt x="192" y="186"/>
                </a:lnTo>
                <a:lnTo>
                  <a:pt x="192" y="192"/>
                </a:lnTo>
                <a:lnTo>
                  <a:pt x="192" y="198"/>
                </a:lnTo>
                <a:lnTo>
                  <a:pt x="186" y="204"/>
                </a:lnTo>
                <a:lnTo>
                  <a:pt x="186" y="210"/>
                </a:lnTo>
                <a:lnTo>
                  <a:pt x="180" y="210"/>
                </a:lnTo>
                <a:lnTo>
                  <a:pt x="180" y="216"/>
                </a:lnTo>
                <a:lnTo>
                  <a:pt x="180" y="222"/>
                </a:lnTo>
                <a:lnTo>
                  <a:pt x="186" y="228"/>
                </a:lnTo>
                <a:lnTo>
                  <a:pt x="186" y="234"/>
                </a:lnTo>
                <a:lnTo>
                  <a:pt x="192" y="240"/>
                </a:lnTo>
                <a:lnTo>
                  <a:pt x="198" y="246"/>
                </a:lnTo>
                <a:lnTo>
                  <a:pt x="198" y="252"/>
                </a:lnTo>
                <a:lnTo>
                  <a:pt x="198" y="258"/>
                </a:lnTo>
                <a:lnTo>
                  <a:pt x="204" y="258"/>
                </a:lnTo>
                <a:lnTo>
                  <a:pt x="210" y="258"/>
                </a:lnTo>
                <a:lnTo>
                  <a:pt x="216" y="258"/>
                </a:lnTo>
                <a:lnTo>
                  <a:pt x="228" y="270"/>
                </a:lnTo>
                <a:lnTo>
                  <a:pt x="228" y="276"/>
                </a:lnTo>
                <a:lnTo>
                  <a:pt x="234" y="276"/>
                </a:lnTo>
                <a:lnTo>
                  <a:pt x="240" y="288"/>
                </a:lnTo>
                <a:lnTo>
                  <a:pt x="246" y="294"/>
                </a:lnTo>
                <a:lnTo>
                  <a:pt x="246" y="306"/>
                </a:lnTo>
                <a:lnTo>
                  <a:pt x="252" y="318"/>
                </a:lnTo>
                <a:lnTo>
                  <a:pt x="258" y="324"/>
                </a:lnTo>
                <a:lnTo>
                  <a:pt x="258" y="330"/>
                </a:lnTo>
                <a:lnTo>
                  <a:pt x="258" y="342"/>
                </a:lnTo>
                <a:lnTo>
                  <a:pt x="270" y="342"/>
                </a:lnTo>
                <a:lnTo>
                  <a:pt x="276" y="348"/>
                </a:lnTo>
                <a:lnTo>
                  <a:pt x="276" y="354"/>
                </a:lnTo>
                <a:lnTo>
                  <a:pt x="288" y="366"/>
                </a:lnTo>
                <a:lnTo>
                  <a:pt x="336" y="360"/>
                </a:lnTo>
                <a:lnTo>
                  <a:pt x="354" y="360"/>
                </a:lnTo>
                <a:lnTo>
                  <a:pt x="366" y="372"/>
                </a:lnTo>
                <a:lnTo>
                  <a:pt x="378" y="378"/>
                </a:lnTo>
                <a:lnTo>
                  <a:pt x="378" y="390"/>
                </a:lnTo>
                <a:lnTo>
                  <a:pt x="384" y="390"/>
                </a:lnTo>
                <a:lnTo>
                  <a:pt x="390" y="396"/>
                </a:lnTo>
                <a:lnTo>
                  <a:pt x="408" y="390"/>
                </a:lnTo>
                <a:lnTo>
                  <a:pt x="426" y="366"/>
                </a:lnTo>
                <a:lnTo>
                  <a:pt x="432" y="360"/>
                </a:lnTo>
                <a:lnTo>
                  <a:pt x="438" y="348"/>
                </a:lnTo>
                <a:lnTo>
                  <a:pt x="438" y="342"/>
                </a:lnTo>
                <a:lnTo>
                  <a:pt x="438" y="330"/>
                </a:lnTo>
                <a:lnTo>
                  <a:pt x="444" y="324"/>
                </a:lnTo>
                <a:lnTo>
                  <a:pt x="450" y="318"/>
                </a:lnTo>
                <a:lnTo>
                  <a:pt x="456" y="312"/>
                </a:lnTo>
                <a:lnTo>
                  <a:pt x="456" y="306"/>
                </a:lnTo>
                <a:lnTo>
                  <a:pt x="456" y="300"/>
                </a:lnTo>
                <a:lnTo>
                  <a:pt x="474" y="288"/>
                </a:lnTo>
                <a:lnTo>
                  <a:pt x="480" y="288"/>
                </a:lnTo>
                <a:lnTo>
                  <a:pt x="486" y="288"/>
                </a:lnTo>
                <a:lnTo>
                  <a:pt x="492" y="294"/>
                </a:lnTo>
                <a:lnTo>
                  <a:pt x="492" y="318"/>
                </a:lnTo>
                <a:lnTo>
                  <a:pt x="504" y="324"/>
                </a:lnTo>
                <a:lnTo>
                  <a:pt x="492" y="348"/>
                </a:lnTo>
                <a:lnTo>
                  <a:pt x="522" y="348"/>
                </a:lnTo>
                <a:lnTo>
                  <a:pt x="528" y="342"/>
                </a:lnTo>
                <a:lnTo>
                  <a:pt x="528" y="336"/>
                </a:lnTo>
                <a:lnTo>
                  <a:pt x="528" y="330"/>
                </a:lnTo>
                <a:lnTo>
                  <a:pt x="534" y="330"/>
                </a:lnTo>
                <a:lnTo>
                  <a:pt x="540" y="330"/>
                </a:lnTo>
                <a:lnTo>
                  <a:pt x="546" y="330"/>
                </a:lnTo>
                <a:lnTo>
                  <a:pt x="552" y="324"/>
                </a:lnTo>
                <a:lnTo>
                  <a:pt x="558" y="318"/>
                </a:lnTo>
                <a:lnTo>
                  <a:pt x="576" y="318"/>
                </a:lnTo>
                <a:lnTo>
                  <a:pt x="636" y="318"/>
                </a:lnTo>
                <a:lnTo>
                  <a:pt x="642" y="312"/>
                </a:lnTo>
                <a:lnTo>
                  <a:pt x="648" y="348"/>
                </a:lnTo>
                <a:lnTo>
                  <a:pt x="654" y="354"/>
                </a:lnTo>
                <a:lnTo>
                  <a:pt x="648" y="402"/>
                </a:lnTo>
                <a:lnTo>
                  <a:pt x="678" y="402"/>
                </a:lnTo>
                <a:lnTo>
                  <a:pt x="678" y="420"/>
                </a:lnTo>
                <a:lnTo>
                  <a:pt x="684" y="438"/>
                </a:lnTo>
                <a:lnTo>
                  <a:pt x="684" y="450"/>
                </a:lnTo>
                <a:lnTo>
                  <a:pt x="684" y="456"/>
                </a:lnTo>
                <a:lnTo>
                  <a:pt x="690" y="468"/>
                </a:lnTo>
                <a:lnTo>
                  <a:pt x="690" y="474"/>
                </a:lnTo>
                <a:lnTo>
                  <a:pt x="690" y="480"/>
                </a:lnTo>
                <a:lnTo>
                  <a:pt x="696" y="486"/>
                </a:lnTo>
                <a:lnTo>
                  <a:pt x="696" y="498"/>
                </a:lnTo>
                <a:lnTo>
                  <a:pt x="702" y="504"/>
                </a:lnTo>
                <a:lnTo>
                  <a:pt x="690" y="516"/>
                </a:lnTo>
                <a:lnTo>
                  <a:pt x="678" y="522"/>
                </a:lnTo>
                <a:lnTo>
                  <a:pt x="654" y="528"/>
                </a:lnTo>
                <a:lnTo>
                  <a:pt x="660" y="546"/>
                </a:lnTo>
                <a:lnTo>
                  <a:pt x="672" y="546"/>
                </a:lnTo>
                <a:lnTo>
                  <a:pt x="678" y="540"/>
                </a:lnTo>
                <a:lnTo>
                  <a:pt x="714" y="540"/>
                </a:lnTo>
                <a:lnTo>
                  <a:pt x="798" y="540"/>
                </a:lnTo>
                <a:lnTo>
                  <a:pt x="804" y="540"/>
                </a:lnTo>
                <a:lnTo>
                  <a:pt x="816" y="528"/>
                </a:lnTo>
                <a:lnTo>
                  <a:pt x="822" y="522"/>
                </a:lnTo>
                <a:lnTo>
                  <a:pt x="834" y="516"/>
                </a:lnTo>
                <a:lnTo>
                  <a:pt x="846" y="516"/>
                </a:lnTo>
                <a:lnTo>
                  <a:pt x="852" y="510"/>
                </a:lnTo>
                <a:lnTo>
                  <a:pt x="858" y="510"/>
                </a:lnTo>
                <a:lnTo>
                  <a:pt x="882" y="516"/>
                </a:lnTo>
                <a:lnTo>
                  <a:pt x="888" y="516"/>
                </a:lnTo>
                <a:lnTo>
                  <a:pt x="888" y="510"/>
                </a:lnTo>
                <a:lnTo>
                  <a:pt x="894" y="510"/>
                </a:lnTo>
                <a:lnTo>
                  <a:pt x="906" y="504"/>
                </a:lnTo>
                <a:lnTo>
                  <a:pt x="918" y="498"/>
                </a:lnTo>
                <a:lnTo>
                  <a:pt x="930" y="492"/>
                </a:lnTo>
                <a:lnTo>
                  <a:pt x="936" y="492"/>
                </a:lnTo>
                <a:lnTo>
                  <a:pt x="948" y="492"/>
                </a:lnTo>
                <a:lnTo>
                  <a:pt x="954" y="528"/>
                </a:lnTo>
                <a:lnTo>
                  <a:pt x="954" y="564"/>
                </a:lnTo>
                <a:lnTo>
                  <a:pt x="972" y="564"/>
                </a:lnTo>
                <a:lnTo>
                  <a:pt x="978" y="558"/>
                </a:lnTo>
                <a:lnTo>
                  <a:pt x="990" y="552"/>
                </a:lnTo>
                <a:lnTo>
                  <a:pt x="1002" y="540"/>
                </a:lnTo>
                <a:lnTo>
                  <a:pt x="1026" y="534"/>
                </a:lnTo>
                <a:lnTo>
                  <a:pt x="1032" y="540"/>
                </a:lnTo>
                <a:lnTo>
                  <a:pt x="1044" y="546"/>
                </a:lnTo>
                <a:lnTo>
                  <a:pt x="1062" y="552"/>
                </a:lnTo>
                <a:lnTo>
                  <a:pt x="1068" y="552"/>
                </a:lnTo>
                <a:lnTo>
                  <a:pt x="1068" y="570"/>
                </a:lnTo>
                <a:lnTo>
                  <a:pt x="1068" y="576"/>
                </a:lnTo>
                <a:lnTo>
                  <a:pt x="1068" y="582"/>
                </a:lnTo>
                <a:lnTo>
                  <a:pt x="1068" y="588"/>
                </a:lnTo>
                <a:lnTo>
                  <a:pt x="1068" y="594"/>
                </a:lnTo>
                <a:lnTo>
                  <a:pt x="1080" y="600"/>
                </a:lnTo>
                <a:lnTo>
                  <a:pt x="1086" y="606"/>
                </a:lnTo>
                <a:lnTo>
                  <a:pt x="1092" y="594"/>
                </a:lnTo>
                <a:lnTo>
                  <a:pt x="1104" y="588"/>
                </a:lnTo>
                <a:lnTo>
                  <a:pt x="1116" y="588"/>
                </a:lnTo>
                <a:lnTo>
                  <a:pt x="1122" y="588"/>
                </a:lnTo>
                <a:lnTo>
                  <a:pt x="1122" y="594"/>
                </a:lnTo>
                <a:lnTo>
                  <a:pt x="1128" y="594"/>
                </a:lnTo>
                <a:lnTo>
                  <a:pt x="1134" y="594"/>
                </a:lnTo>
                <a:lnTo>
                  <a:pt x="1140" y="594"/>
                </a:lnTo>
                <a:lnTo>
                  <a:pt x="1146" y="588"/>
                </a:lnTo>
                <a:lnTo>
                  <a:pt x="1158" y="582"/>
                </a:lnTo>
                <a:lnTo>
                  <a:pt x="1164" y="576"/>
                </a:lnTo>
                <a:lnTo>
                  <a:pt x="1176" y="576"/>
                </a:lnTo>
                <a:lnTo>
                  <a:pt x="1194" y="576"/>
                </a:lnTo>
                <a:lnTo>
                  <a:pt x="1218" y="576"/>
                </a:lnTo>
                <a:lnTo>
                  <a:pt x="1224" y="582"/>
                </a:lnTo>
                <a:lnTo>
                  <a:pt x="1224" y="588"/>
                </a:lnTo>
                <a:lnTo>
                  <a:pt x="1224" y="594"/>
                </a:lnTo>
                <a:lnTo>
                  <a:pt x="1212" y="600"/>
                </a:lnTo>
                <a:lnTo>
                  <a:pt x="1206" y="606"/>
                </a:lnTo>
                <a:lnTo>
                  <a:pt x="1200" y="606"/>
                </a:lnTo>
                <a:lnTo>
                  <a:pt x="1200" y="612"/>
                </a:lnTo>
                <a:lnTo>
                  <a:pt x="1194" y="612"/>
                </a:lnTo>
                <a:lnTo>
                  <a:pt x="1194" y="618"/>
                </a:lnTo>
                <a:lnTo>
                  <a:pt x="1194" y="624"/>
                </a:lnTo>
                <a:lnTo>
                  <a:pt x="1194" y="630"/>
                </a:lnTo>
                <a:lnTo>
                  <a:pt x="1194" y="648"/>
                </a:lnTo>
                <a:lnTo>
                  <a:pt x="1194" y="660"/>
                </a:lnTo>
                <a:lnTo>
                  <a:pt x="1194" y="666"/>
                </a:lnTo>
                <a:lnTo>
                  <a:pt x="1194" y="672"/>
                </a:lnTo>
                <a:lnTo>
                  <a:pt x="1194" y="678"/>
                </a:lnTo>
                <a:lnTo>
                  <a:pt x="1188" y="684"/>
                </a:lnTo>
                <a:lnTo>
                  <a:pt x="1188" y="690"/>
                </a:lnTo>
                <a:lnTo>
                  <a:pt x="1188" y="696"/>
                </a:lnTo>
                <a:lnTo>
                  <a:pt x="1188" y="702"/>
                </a:lnTo>
                <a:lnTo>
                  <a:pt x="1188" y="708"/>
                </a:lnTo>
                <a:lnTo>
                  <a:pt x="1188" y="714"/>
                </a:lnTo>
                <a:lnTo>
                  <a:pt x="1182" y="720"/>
                </a:lnTo>
                <a:lnTo>
                  <a:pt x="1170" y="720"/>
                </a:lnTo>
                <a:lnTo>
                  <a:pt x="1158" y="726"/>
                </a:lnTo>
                <a:lnTo>
                  <a:pt x="1152" y="726"/>
                </a:lnTo>
                <a:lnTo>
                  <a:pt x="1152" y="732"/>
                </a:lnTo>
                <a:lnTo>
                  <a:pt x="1146" y="738"/>
                </a:lnTo>
                <a:lnTo>
                  <a:pt x="1140" y="738"/>
                </a:lnTo>
                <a:lnTo>
                  <a:pt x="1140" y="744"/>
                </a:lnTo>
                <a:lnTo>
                  <a:pt x="1134" y="744"/>
                </a:lnTo>
                <a:lnTo>
                  <a:pt x="1128" y="744"/>
                </a:lnTo>
                <a:lnTo>
                  <a:pt x="1122" y="750"/>
                </a:lnTo>
                <a:lnTo>
                  <a:pt x="1128" y="750"/>
                </a:lnTo>
                <a:lnTo>
                  <a:pt x="1122" y="756"/>
                </a:lnTo>
                <a:lnTo>
                  <a:pt x="1116" y="756"/>
                </a:lnTo>
                <a:lnTo>
                  <a:pt x="1110" y="762"/>
                </a:lnTo>
                <a:lnTo>
                  <a:pt x="1104" y="762"/>
                </a:lnTo>
                <a:lnTo>
                  <a:pt x="1104" y="768"/>
                </a:lnTo>
                <a:lnTo>
                  <a:pt x="1098" y="768"/>
                </a:lnTo>
                <a:lnTo>
                  <a:pt x="1098" y="774"/>
                </a:lnTo>
                <a:lnTo>
                  <a:pt x="1092" y="774"/>
                </a:lnTo>
                <a:lnTo>
                  <a:pt x="1092" y="780"/>
                </a:lnTo>
                <a:lnTo>
                  <a:pt x="1086" y="780"/>
                </a:lnTo>
                <a:lnTo>
                  <a:pt x="1086" y="786"/>
                </a:lnTo>
                <a:lnTo>
                  <a:pt x="1080" y="786"/>
                </a:lnTo>
                <a:lnTo>
                  <a:pt x="1080" y="792"/>
                </a:lnTo>
                <a:lnTo>
                  <a:pt x="1080" y="798"/>
                </a:lnTo>
                <a:lnTo>
                  <a:pt x="1080" y="804"/>
                </a:lnTo>
                <a:lnTo>
                  <a:pt x="1086" y="810"/>
                </a:lnTo>
                <a:lnTo>
                  <a:pt x="1080" y="816"/>
                </a:lnTo>
                <a:lnTo>
                  <a:pt x="1080" y="822"/>
                </a:lnTo>
                <a:lnTo>
                  <a:pt x="1074" y="822"/>
                </a:lnTo>
                <a:lnTo>
                  <a:pt x="1068" y="828"/>
                </a:lnTo>
                <a:lnTo>
                  <a:pt x="1074" y="828"/>
                </a:lnTo>
                <a:lnTo>
                  <a:pt x="1074" y="834"/>
                </a:lnTo>
                <a:lnTo>
                  <a:pt x="1080" y="846"/>
                </a:lnTo>
                <a:lnTo>
                  <a:pt x="1086" y="846"/>
                </a:lnTo>
                <a:lnTo>
                  <a:pt x="1092" y="852"/>
                </a:lnTo>
                <a:lnTo>
                  <a:pt x="1092" y="858"/>
                </a:lnTo>
                <a:lnTo>
                  <a:pt x="1098" y="858"/>
                </a:lnTo>
                <a:lnTo>
                  <a:pt x="1110" y="864"/>
                </a:lnTo>
                <a:lnTo>
                  <a:pt x="1116" y="864"/>
                </a:lnTo>
                <a:lnTo>
                  <a:pt x="1122" y="864"/>
                </a:lnTo>
                <a:lnTo>
                  <a:pt x="1128" y="864"/>
                </a:lnTo>
                <a:lnTo>
                  <a:pt x="1134" y="876"/>
                </a:lnTo>
                <a:lnTo>
                  <a:pt x="1140" y="882"/>
                </a:lnTo>
                <a:lnTo>
                  <a:pt x="1140" y="888"/>
                </a:lnTo>
                <a:lnTo>
                  <a:pt x="1152" y="918"/>
                </a:lnTo>
                <a:lnTo>
                  <a:pt x="1158" y="894"/>
                </a:lnTo>
                <a:lnTo>
                  <a:pt x="1164" y="888"/>
                </a:lnTo>
                <a:lnTo>
                  <a:pt x="1164" y="882"/>
                </a:lnTo>
                <a:lnTo>
                  <a:pt x="1176" y="864"/>
                </a:lnTo>
                <a:lnTo>
                  <a:pt x="1182" y="858"/>
                </a:lnTo>
                <a:lnTo>
                  <a:pt x="1188" y="846"/>
                </a:lnTo>
                <a:lnTo>
                  <a:pt x="1200" y="840"/>
                </a:lnTo>
                <a:lnTo>
                  <a:pt x="1212" y="840"/>
                </a:lnTo>
                <a:lnTo>
                  <a:pt x="1218" y="846"/>
                </a:lnTo>
                <a:lnTo>
                  <a:pt x="1224" y="858"/>
                </a:lnTo>
                <a:lnTo>
                  <a:pt x="1224" y="864"/>
                </a:lnTo>
                <a:lnTo>
                  <a:pt x="1224" y="876"/>
                </a:lnTo>
                <a:lnTo>
                  <a:pt x="1212" y="912"/>
                </a:lnTo>
                <a:lnTo>
                  <a:pt x="1218" y="918"/>
                </a:lnTo>
                <a:lnTo>
                  <a:pt x="1218" y="930"/>
                </a:lnTo>
                <a:lnTo>
                  <a:pt x="1200" y="930"/>
                </a:lnTo>
                <a:lnTo>
                  <a:pt x="1200" y="942"/>
                </a:lnTo>
                <a:lnTo>
                  <a:pt x="1194" y="948"/>
                </a:lnTo>
                <a:lnTo>
                  <a:pt x="1194" y="960"/>
                </a:lnTo>
                <a:lnTo>
                  <a:pt x="1194" y="966"/>
                </a:lnTo>
                <a:lnTo>
                  <a:pt x="1188" y="972"/>
                </a:lnTo>
                <a:lnTo>
                  <a:pt x="1182" y="984"/>
                </a:lnTo>
                <a:lnTo>
                  <a:pt x="1170" y="984"/>
                </a:lnTo>
                <a:lnTo>
                  <a:pt x="1164" y="984"/>
                </a:lnTo>
                <a:lnTo>
                  <a:pt x="1158" y="984"/>
                </a:lnTo>
                <a:lnTo>
                  <a:pt x="1146" y="984"/>
                </a:lnTo>
                <a:lnTo>
                  <a:pt x="1140" y="990"/>
                </a:lnTo>
                <a:lnTo>
                  <a:pt x="1140" y="996"/>
                </a:lnTo>
                <a:lnTo>
                  <a:pt x="1152" y="996"/>
                </a:lnTo>
                <a:lnTo>
                  <a:pt x="1176" y="1002"/>
                </a:lnTo>
                <a:lnTo>
                  <a:pt x="1194" y="1008"/>
                </a:lnTo>
                <a:lnTo>
                  <a:pt x="1206" y="1008"/>
                </a:lnTo>
                <a:lnTo>
                  <a:pt x="1218" y="1014"/>
                </a:lnTo>
                <a:lnTo>
                  <a:pt x="1212" y="1038"/>
                </a:lnTo>
                <a:lnTo>
                  <a:pt x="1212" y="1044"/>
                </a:lnTo>
                <a:lnTo>
                  <a:pt x="1206" y="1044"/>
                </a:lnTo>
                <a:lnTo>
                  <a:pt x="1206" y="1050"/>
                </a:lnTo>
                <a:lnTo>
                  <a:pt x="1194" y="1050"/>
                </a:lnTo>
                <a:lnTo>
                  <a:pt x="1188" y="1044"/>
                </a:lnTo>
                <a:lnTo>
                  <a:pt x="1158" y="1020"/>
                </a:lnTo>
                <a:lnTo>
                  <a:pt x="1152" y="1020"/>
                </a:lnTo>
                <a:lnTo>
                  <a:pt x="1140" y="1020"/>
                </a:lnTo>
                <a:lnTo>
                  <a:pt x="1134" y="1020"/>
                </a:lnTo>
                <a:lnTo>
                  <a:pt x="1134" y="1026"/>
                </a:lnTo>
                <a:lnTo>
                  <a:pt x="1134" y="1032"/>
                </a:lnTo>
                <a:lnTo>
                  <a:pt x="1128" y="1032"/>
                </a:lnTo>
                <a:close/>
              </a:path>
            </a:pathLst>
          </a:custGeom>
          <a:solidFill>
            <a:srgbClr val="FF9900"/>
          </a:solidFill>
          <a:ln w="9525">
            <a:solidFill>
              <a:schemeClr val="bg1"/>
            </a:solidFill>
            <a:round/>
            <a:headEnd/>
            <a:tailEnd/>
          </a:ln>
        </p:spPr>
        <p:txBody>
          <a:bodyPr/>
          <a:lstStyle/>
          <a:p>
            <a:endParaRPr lang="en-GB"/>
          </a:p>
        </p:txBody>
      </p:sp>
      <p:sp>
        <p:nvSpPr>
          <p:cNvPr id="17441" name="Freeform 28"/>
          <p:cNvSpPr>
            <a:spLocks/>
          </p:cNvSpPr>
          <p:nvPr/>
        </p:nvSpPr>
        <p:spPr bwMode="gray">
          <a:xfrm>
            <a:off x="2117725" y="4478338"/>
            <a:ext cx="503238" cy="571500"/>
          </a:xfrm>
          <a:custGeom>
            <a:avLst/>
            <a:gdLst>
              <a:gd name="T0" fmla="*/ 33724 w 642"/>
              <a:gd name="T1" fmla="*/ 33081 h 708"/>
              <a:gd name="T2" fmla="*/ 30587 w 642"/>
              <a:gd name="T3" fmla="*/ 33081 h 708"/>
              <a:gd name="T4" fmla="*/ 29802 w 642"/>
              <a:gd name="T5" fmla="*/ 37922 h 708"/>
              <a:gd name="T6" fmla="*/ 29802 w 642"/>
              <a:gd name="T7" fmla="*/ 39536 h 708"/>
              <a:gd name="T8" fmla="*/ 29802 w 642"/>
              <a:gd name="T9" fmla="*/ 40343 h 708"/>
              <a:gd name="T10" fmla="*/ 28234 w 642"/>
              <a:gd name="T11" fmla="*/ 41957 h 708"/>
              <a:gd name="T12" fmla="*/ 27450 w 642"/>
              <a:gd name="T13" fmla="*/ 42763 h 708"/>
              <a:gd name="T14" fmla="*/ 25881 w 642"/>
              <a:gd name="T15" fmla="*/ 44377 h 708"/>
              <a:gd name="T16" fmla="*/ 25097 w 642"/>
              <a:gd name="T17" fmla="*/ 45184 h 708"/>
              <a:gd name="T18" fmla="*/ 24312 w 642"/>
              <a:gd name="T19" fmla="*/ 47605 h 708"/>
              <a:gd name="T20" fmla="*/ 20391 w 642"/>
              <a:gd name="T21" fmla="*/ 47605 h 708"/>
              <a:gd name="T22" fmla="*/ 18038 w 642"/>
              <a:gd name="T23" fmla="*/ 49218 h 708"/>
              <a:gd name="T24" fmla="*/ 15685 w 642"/>
              <a:gd name="T25" fmla="*/ 49218 h 708"/>
              <a:gd name="T26" fmla="*/ 13333 w 642"/>
              <a:gd name="T27" fmla="*/ 47605 h 708"/>
              <a:gd name="T28" fmla="*/ 11764 w 642"/>
              <a:gd name="T29" fmla="*/ 45184 h 708"/>
              <a:gd name="T30" fmla="*/ 7058 w 642"/>
              <a:gd name="T31" fmla="*/ 46798 h 708"/>
              <a:gd name="T32" fmla="*/ 4706 w 642"/>
              <a:gd name="T33" fmla="*/ 41957 h 708"/>
              <a:gd name="T34" fmla="*/ 1569 w 642"/>
              <a:gd name="T35" fmla="*/ 42763 h 708"/>
              <a:gd name="T36" fmla="*/ 784 w 642"/>
              <a:gd name="T37" fmla="*/ 41150 h 708"/>
              <a:gd name="T38" fmla="*/ 3137 w 642"/>
              <a:gd name="T39" fmla="*/ 37922 h 708"/>
              <a:gd name="T40" fmla="*/ 3921 w 642"/>
              <a:gd name="T41" fmla="*/ 33081 h 708"/>
              <a:gd name="T42" fmla="*/ 3921 w 642"/>
              <a:gd name="T43" fmla="*/ 30661 h 708"/>
              <a:gd name="T44" fmla="*/ 3921 w 642"/>
              <a:gd name="T45" fmla="*/ 28240 h 708"/>
              <a:gd name="T46" fmla="*/ 4706 w 642"/>
              <a:gd name="T47" fmla="*/ 26626 h 708"/>
              <a:gd name="T48" fmla="*/ 3921 w 642"/>
              <a:gd name="T49" fmla="*/ 23399 h 708"/>
              <a:gd name="T50" fmla="*/ 3137 w 642"/>
              <a:gd name="T51" fmla="*/ 22592 h 708"/>
              <a:gd name="T52" fmla="*/ 784 w 642"/>
              <a:gd name="T53" fmla="*/ 20978 h 708"/>
              <a:gd name="T54" fmla="*/ 784 w 642"/>
              <a:gd name="T55" fmla="*/ 19365 h 708"/>
              <a:gd name="T56" fmla="*/ 784 w 642"/>
              <a:gd name="T57" fmla="*/ 16137 h 708"/>
              <a:gd name="T58" fmla="*/ 784 w 642"/>
              <a:gd name="T59" fmla="*/ 12910 h 708"/>
              <a:gd name="T60" fmla="*/ 1569 w 642"/>
              <a:gd name="T61" fmla="*/ 11296 h 708"/>
              <a:gd name="T62" fmla="*/ 6274 w 642"/>
              <a:gd name="T63" fmla="*/ 11296 h 708"/>
              <a:gd name="T64" fmla="*/ 7058 w 642"/>
              <a:gd name="T65" fmla="*/ 8069 h 708"/>
              <a:gd name="T66" fmla="*/ 11764 w 642"/>
              <a:gd name="T67" fmla="*/ 7262 h 708"/>
              <a:gd name="T68" fmla="*/ 14117 w 642"/>
              <a:gd name="T69" fmla="*/ 11296 h 708"/>
              <a:gd name="T70" fmla="*/ 15685 w 642"/>
              <a:gd name="T71" fmla="*/ 9682 h 708"/>
              <a:gd name="T72" fmla="*/ 15685 w 642"/>
              <a:gd name="T73" fmla="*/ 8875 h 708"/>
              <a:gd name="T74" fmla="*/ 16470 w 642"/>
              <a:gd name="T75" fmla="*/ 7262 h 708"/>
              <a:gd name="T76" fmla="*/ 18823 w 642"/>
              <a:gd name="T77" fmla="*/ 7262 h 708"/>
              <a:gd name="T78" fmla="*/ 21175 w 642"/>
              <a:gd name="T79" fmla="*/ 6455 h 708"/>
              <a:gd name="T80" fmla="*/ 25881 w 642"/>
              <a:gd name="T81" fmla="*/ 1614 h 708"/>
              <a:gd name="T82" fmla="*/ 32939 w 642"/>
              <a:gd name="T83" fmla="*/ 1614 h 708"/>
              <a:gd name="T84" fmla="*/ 38429 w 642"/>
              <a:gd name="T85" fmla="*/ 807 h 708"/>
              <a:gd name="T86" fmla="*/ 41566 w 642"/>
              <a:gd name="T87" fmla="*/ 3227 h 708"/>
              <a:gd name="T88" fmla="*/ 43135 w 642"/>
              <a:gd name="T89" fmla="*/ 3227 h 708"/>
              <a:gd name="T90" fmla="*/ 43135 w 642"/>
              <a:gd name="T91" fmla="*/ 5648 h 708"/>
              <a:gd name="T92" fmla="*/ 40782 w 642"/>
              <a:gd name="T93" fmla="*/ 7262 h 708"/>
              <a:gd name="T94" fmla="*/ 38429 w 642"/>
              <a:gd name="T95" fmla="*/ 9682 h 708"/>
              <a:gd name="T96" fmla="*/ 36861 w 642"/>
              <a:gd name="T97" fmla="*/ 11296 h 708"/>
              <a:gd name="T98" fmla="*/ 36861 w 642"/>
              <a:gd name="T99" fmla="*/ 13717 h 708"/>
              <a:gd name="T100" fmla="*/ 35292 w 642"/>
              <a:gd name="T101" fmla="*/ 20978 h 708"/>
              <a:gd name="T102" fmla="*/ 39214 w 642"/>
              <a:gd name="T103" fmla="*/ 29854 h 70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42"/>
              <a:gd name="T157" fmla="*/ 0 h 708"/>
              <a:gd name="T158" fmla="*/ 642 w 642"/>
              <a:gd name="T159" fmla="*/ 708 h 70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42" h="708">
                <a:moveTo>
                  <a:pt x="576" y="468"/>
                </a:moveTo>
                <a:lnTo>
                  <a:pt x="564" y="468"/>
                </a:lnTo>
                <a:lnTo>
                  <a:pt x="516" y="468"/>
                </a:lnTo>
                <a:lnTo>
                  <a:pt x="498" y="474"/>
                </a:lnTo>
                <a:lnTo>
                  <a:pt x="492" y="468"/>
                </a:lnTo>
                <a:lnTo>
                  <a:pt x="486" y="468"/>
                </a:lnTo>
                <a:lnTo>
                  <a:pt x="480" y="468"/>
                </a:lnTo>
                <a:lnTo>
                  <a:pt x="468" y="474"/>
                </a:lnTo>
                <a:lnTo>
                  <a:pt x="456" y="468"/>
                </a:lnTo>
                <a:lnTo>
                  <a:pt x="444" y="474"/>
                </a:lnTo>
                <a:lnTo>
                  <a:pt x="438" y="492"/>
                </a:lnTo>
                <a:lnTo>
                  <a:pt x="438" y="504"/>
                </a:lnTo>
                <a:lnTo>
                  <a:pt x="432" y="516"/>
                </a:lnTo>
                <a:lnTo>
                  <a:pt x="432" y="528"/>
                </a:lnTo>
                <a:lnTo>
                  <a:pt x="432" y="534"/>
                </a:lnTo>
                <a:lnTo>
                  <a:pt x="444" y="540"/>
                </a:lnTo>
                <a:lnTo>
                  <a:pt x="444" y="546"/>
                </a:lnTo>
                <a:lnTo>
                  <a:pt x="438" y="546"/>
                </a:lnTo>
                <a:lnTo>
                  <a:pt x="432" y="552"/>
                </a:lnTo>
                <a:lnTo>
                  <a:pt x="432" y="558"/>
                </a:lnTo>
                <a:lnTo>
                  <a:pt x="438" y="564"/>
                </a:lnTo>
                <a:lnTo>
                  <a:pt x="444" y="564"/>
                </a:lnTo>
                <a:lnTo>
                  <a:pt x="438" y="564"/>
                </a:lnTo>
                <a:lnTo>
                  <a:pt x="438" y="570"/>
                </a:lnTo>
                <a:lnTo>
                  <a:pt x="432" y="570"/>
                </a:lnTo>
                <a:lnTo>
                  <a:pt x="432" y="576"/>
                </a:lnTo>
                <a:lnTo>
                  <a:pt x="426" y="588"/>
                </a:lnTo>
                <a:lnTo>
                  <a:pt x="420" y="594"/>
                </a:lnTo>
                <a:lnTo>
                  <a:pt x="420" y="600"/>
                </a:lnTo>
                <a:lnTo>
                  <a:pt x="414" y="600"/>
                </a:lnTo>
                <a:lnTo>
                  <a:pt x="414" y="606"/>
                </a:lnTo>
                <a:lnTo>
                  <a:pt x="408" y="606"/>
                </a:lnTo>
                <a:lnTo>
                  <a:pt x="408" y="612"/>
                </a:lnTo>
                <a:lnTo>
                  <a:pt x="402" y="612"/>
                </a:lnTo>
                <a:lnTo>
                  <a:pt x="396" y="612"/>
                </a:lnTo>
                <a:lnTo>
                  <a:pt x="390" y="612"/>
                </a:lnTo>
                <a:lnTo>
                  <a:pt x="390" y="618"/>
                </a:lnTo>
                <a:lnTo>
                  <a:pt x="384" y="618"/>
                </a:lnTo>
                <a:lnTo>
                  <a:pt x="378" y="618"/>
                </a:lnTo>
                <a:lnTo>
                  <a:pt x="378" y="624"/>
                </a:lnTo>
                <a:lnTo>
                  <a:pt x="384" y="630"/>
                </a:lnTo>
                <a:lnTo>
                  <a:pt x="384" y="636"/>
                </a:lnTo>
                <a:lnTo>
                  <a:pt x="378" y="630"/>
                </a:lnTo>
                <a:lnTo>
                  <a:pt x="372" y="636"/>
                </a:lnTo>
                <a:lnTo>
                  <a:pt x="372" y="642"/>
                </a:lnTo>
                <a:lnTo>
                  <a:pt x="366" y="642"/>
                </a:lnTo>
                <a:lnTo>
                  <a:pt x="360" y="654"/>
                </a:lnTo>
                <a:lnTo>
                  <a:pt x="354" y="666"/>
                </a:lnTo>
                <a:lnTo>
                  <a:pt x="354" y="672"/>
                </a:lnTo>
                <a:lnTo>
                  <a:pt x="354" y="678"/>
                </a:lnTo>
                <a:lnTo>
                  <a:pt x="354" y="684"/>
                </a:lnTo>
                <a:lnTo>
                  <a:pt x="348" y="678"/>
                </a:lnTo>
                <a:lnTo>
                  <a:pt x="324" y="678"/>
                </a:lnTo>
                <a:lnTo>
                  <a:pt x="306" y="678"/>
                </a:lnTo>
                <a:lnTo>
                  <a:pt x="294" y="678"/>
                </a:lnTo>
                <a:lnTo>
                  <a:pt x="288" y="684"/>
                </a:lnTo>
                <a:lnTo>
                  <a:pt x="276" y="690"/>
                </a:lnTo>
                <a:lnTo>
                  <a:pt x="270" y="696"/>
                </a:lnTo>
                <a:lnTo>
                  <a:pt x="264" y="696"/>
                </a:lnTo>
                <a:lnTo>
                  <a:pt x="258" y="696"/>
                </a:lnTo>
                <a:lnTo>
                  <a:pt x="252" y="696"/>
                </a:lnTo>
                <a:lnTo>
                  <a:pt x="252" y="690"/>
                </a:lnTo>
                <a:lnTo>
                  <a:pt x="246" y="690"/>
                </a:lnTo>
                <a:lnTo>
                  <a:pt x="234" y="690"/>
                </a:lnTo>
                <a:lnTo>
                  <a:pt x="222" y="696"/>
                </a:lnTo>
                <a:lnTo>
                  <a:pt x="216" y="708"/>
                </a:lnTo>
                <a:lnTo>
                  <a:pt x="210" y="702"/>
                </a:lnTo>
                <a:lnTo>
                  <a:pt x="198" y="696"/>
                </a:lnTo>
                <a:lnTo>
                  <a:pt x="198" y="690"/>
                </a:lnTo>
                <a:lnTo>
                  <a:pt x="198" y="684"/>
                </a:lnTo>
                <a:lnTo>
                  <a:pt x="198" y="678"/>
                </a:lnTo>
                <a:lnTo>
                  <a:pt x="198" y="672"/>
                </a:lnTo>
                <a:lnTo>
                  <a:pt x="198" y="654"/>
                </a:lnTo>
                <a:lnTo>
                  <a:pt x="192" y="654"/>
                </a:lnTo>
                <a:lnTo>
                  <a:pt x="174" y="648"/>
                </a:lnTo>
                <a:lnTo>
                  <a:pt x="162" y="642"/>
                </a:lnTo>
                <a:lnTo>
                  <a:pt x="156" y="636"/>
                </a:lnTo>
                <a:lnTo>
                  <a:pt x="132" y="642"/>
                </a:lnTo>
                <a:lnTo>
                  <a:pt x="120" y="654"/>
                </a:lnTo>
                <a:lnTo>
                  <a:pt x="108" y="660"/>
                </a:lnTo>
                <a:lnTo>
                  <a:pt x="102" y="666"/>
                </a:lnTo>
                <a:lnTo>
                  <a:pt x="84" y="666"/>
                </a:lnTo>
                <a:lnTo>
                  <a:pt x="84" y="630"/>
                </a:lnTo>
                <a:lnTo>
                  <a:pt x="78" y="594"/>
                </a:lnTo>
                <a:lnTo>
                  <a:pt x="66" y="594"/>
                </a:lnTo>
                <a:lnTo>
                  <a:pt x="60" y="594"/>
                </a:lnTo>
                <a:lnTo>
                  <a:pt x="48" y="600"/>
                </a:lnTo>
                <a:lnTo>
                  <a:pt x="36" y="606"/>
                </a:lnTo>
                <a:lnTo>
                  <a:pt x="24" y="612"/>
                </a:lnTo>
                <a:lnTo>
                  <a:pt x="18" y="612"/>
                </a:lnTo>
                <a:lnTo>
                  <a:pt x="12" y="606"/>
                </a:lnTo>
                <a:lnTo>
                  <a:pt x="12" y="600"/>
                </a:lnTo>
                <a:lnTo>
                  <a:pt x="12" y="594"/>
                </a:lnTo>
                <a:lnTo>
                  <a:pt x="12" y="588"/>
                </a:lnTo>
                <a:lnTo>
                  <a:pt x="12" y="582"/>
                </a:lnTo>
                <a:lnTo>
                  <a:pt x="12" y="576"/>
                </a:lnTo>
                <a:lnTo>
                  <a:pt x="18" y="552"/>
                </a:lnTo>
                <a:lnTo>
                  <a:pt x="30" y="552"/>
                </a:lnTo>
                <a:lnTo>
                  <a:pt x="30" y="540"/>
                </a:lnTo>
                <a:lnTo>
                  <a:pt x="42" y="534"/>
                </a:lnTo>
                <a:lnTo>
                  <a:pt x="42" y="522"/>
                </a:lnTo>
                <a:lnTo>
                  <a:pt x="48" y="516"/>
                </a:lnTo>
                <a:lnTo>
                  <a:pt x="48" y="492"/>
                </a:lnTo>
                <a:lnTo>
                  <a:pt x="48" y="480"/>
                </a:lnTo>
                <a:lnTo>
                  <a:pt x="54" y="468"/>
                </a:lnTo>
                <a:lnTo>
                  <a:pt x="48" y="456"/>
                </a:lnTo>
                <a:lnTo>
                  <a:pt x="48" y="450"/>
                </a:lnTo>
                <a:lnTo>
                  <a:pt x="48" y="444"/>
                </a:lnTo>
                <a:lnTo>
                  <a:pt x="48" y="438"/>
                </a:lnTo>
                <a:lnTo>
                  <a:pt x="54" y="432"/>
                </a:lnTo>
                <a:lnTo>
                  <a:pt x="54" y="426"/>
                </a:lnTo>
                <a:lnTo>
                  <a:pt x="54" y="420"/>
                </a:lnTo>
                <a:lnTo>
                  <a:pt x="54" y="414"/>
                </a:lnTo>
                <a:lnTo>
                  <a:pt x="60" y="408"/>
                </a:lnTo>
                <a:lnTo>
                  <a:pt x="60" y="402"/>
                </a:lnTo>
                <a:lnTo>
                  <a:pt x="60" y="396"/>
                </a:lnTo>
                <a:lnTo>
                  <a:pt x="66" y="390"/>
                </a:lnTo>
                <a:lnTo>
                  <a:pt x="72" y="384"/>
                </a:lnTo>
                <a:lnTo>
                  <a:pt x="72" y="378"/>
                </a:lnTo>
                <a:lnTo>
                  <a:pt x="66" y="378"/>
                </a:lnTo>
                <a:lnTo>
                  <a:pt x="66" y="366"/>
                </a:lnTo>
                <a:lnTo>
                  <a:pt x="60" y="360"/>
                </a:lnTo>
                <a:lnTo>
                  <a:pt x="66" y="354"/>
                </a:lnTo>
                <a:lnTo>
                  <a:pt x="60" y="342"/>
                </a:lnTo>
                <a:lnTo>
                  <a:pt x="60" y="336"/>
                </a:lnTo>
                <a:lnTo>
                  <a:pt x="60" y="330"/>
                </a:lnTo>
                <a:lnTo>
                  <a:pt x="54" y="330"/>
                </a:lnTo>
                <a:lnTo>
                  <a:pt x="54" y="324"/>
                </a:lnTo>
                <a:lnTo>
                  <a:pt x="54" y="318"/>
                </a:lnTo>
                <a:lnTo>
                  <a:pt x="48" y="318"/>
                </a:lnTo>
                <a:lnTo>
                  <a:pt x="48" y="312"/>
                </a:lnTo>
                <a:lnTo>
                  <a:pt x="30" y="312"/>
                </a:lnTo>
                <a:lnTo>
                  <a:pt x="24" y="306"/>
                </a:lnTo>
                <a:lnTo>
                  <a:pt x="18" y="306"/>
                </a:lnTo>
                <a:lnTo>
                  <a:pt x="12" y="294"/>
                </a:lnTo>
                <a:lnTo>
                  <a:pt x="12" y="282"/>
                </a:lnTo>
                <a:lnTo>
                  <a:pt x="6" y="276"/>
                </a:lnTo>
                <a:lnTo>
                  <a:pt x="0" y="276"/>
                </a:lnTo>
                <a:lnTo>
                  <a:pt x="0" y="270"/>
                </a:lnTo>
                <a:lnTo>
                  <a:pt x="12" y="270"/>
                </a:lnTo>
                <a:lnTo>
                  <a:pt x="12" y="246"/>
                </a:lnTo>
                <a:lnTo>
                  <a:pt x="12" y="240"/>
                </a:lnTo>
                <a:lnTo>
                  <a:pt x="6" y="234"/>
                </a:lnTo>
                <a:lnTo>
                  <a:pt x="6" y="228"/>
                </a:lnTo>
                <a:lnTo>
                  <a:pt x="12" y="228"/>
                </a:lnTo>
                <a:lnTo>
                  <a:pt x="12" y="222"/>
                </a:lnTo>
                <a:lnTo>
                  <a:pt x="6" y="210"/>
                </a:lnTo>
                <a:lnTo>
                  <a:pt x="12" y="204"/>
                </a:lnTo>
                <a:lnTo>
                  <a:pt x="12" y="198"/>
                </a:lnTo>
                <a:lnTo>
                  <a:pt x="12" y="186"/>
                </a:lnTo>
                <a:lnTo>
                  <a:pt x="18" y="174"/>
                </a:lnTo>
                <a:lnTo>
                  <a:pt x="12" y="168"/>
                </a:lnTo>
                <a:lnTo>
                  <a:pt x="18" y="162"/>
                </a:lnTo>
                <a:lnTo>
                  <a:pt x="18" y="156"/>
                </a:lnTo>
                <a:lnTo>
                  <a:pt x="24" y="156"/>
                </a:lnTo>
                <a:lnTo>
                  <a:pt x="24" y="162"/>
                </a:lnTo>
                <a:lnTo>
                  <a:pt x="30" y="168"/>
                </a:lnTo>
                <a:lnTo>
                  <a:pt x="48" y="162"/>
                </a:lnTo>
                <a:lnTo>
                  <a:pt x="72" y="162"/>
                </a:lnTo>
                <a:lnTo>
                  <a:pt x="90" y="156"/>
                </a:lnTo>
                <a:lnTo>
                  <a:pt x="90" y="150"/>
                </a:lnTo>
                <a:lnTo>
                  <a:pt x="84" y="144"/>
                </a:lnTo>
                <a:lnTo>
                  <a:pt x="84" y="132"/>
                </a:lnTo>
                <a:lnTo>
                  <a:pt x="90" y="120"/>
                </a:lnTo>
                <a:lnTo>
                  <a:pt x="108" y="114"/>
                </a:lnTo>
                <a:lnTo>
                  <a:pt x="114" y="102"/>
                </a:lnTo>
                <a:lnTo>
                  <a:pt x="120" y="90"/>
                </a:lnTo>
                <a:lnTo>
                  <a:pt x="138" y="90"/>
                </a:lnTo>
                <a:lnTo>
                  <a:pt x="138" y="102"/>
                </a:lnTo>
                <a:lnTo>
                  <a:pt x="168" y="108"/>
                </a:lnTo>
                <a:lnTo>
                  <a:pt x="168" y="114"/>
                </a:lnTo>
                <a:lnTo>
                  <a:pt x="174" y="126"/>
                </a:lnTo>
                <a:lnTo>
                  <a:pt x="186" y="150"/>
                </a:lnTo>
                <a:lnTo>
                  <a:pt x="186" y="162"/>
                </a:lnTo>
                <a:lnTo>
                  <a:pt x="204" y="162"/>
                </a:lnTo>
                <a:lnTo>
                  <a:pt x="204" y="156"/>
                </a:lnTo>
                <a:lnTo>
                  <a:pt x="210" y="144"/>
                </a:lnTo>
                <a:lnTo>
                  <a:pt x="210" y="138"/>
                </a:lnTo>
                <a:lnTo>
                  <a:pt x="216" y="138"/>
                </a:lnTo>
                <a:lnTo>
                  <a:pt x="222" y="138"/>
                </a:lnTo>
                <a:lnTo>
                  <a:pt x="228" y="138"/>
                </a:lnTo>
                <a:lnTo>
                  <a:pt x="234" y="144"/>
                </a:lnTo>
                <a:lnTo>
                  <a:pt x="240" y="138"/>
                </a:lnTo>
                <a:lnTo>
                  <a:pt x="240" y="126"/>
                </a:lnTo>
                <a:lnTo>
                  <a:pt x="234" y="126"/>
                </a:lnTo>
                <a:lnTo>
                  <a:pt x="228" y="114"/>
                </a:lnTo>
                <a:lnTo>
                  <a:pt x="228" y="108"/>
                </a:lnTo>
                <a:lnTo>
                  <a:pt x="234" y="102"/>
                </a:lnTo>
                <a:lnTo>
                  <a:pt x="246" y="102"/>
                </a:lnTo>
                <a:lnTo>
                  <a:pt x="246" y="108"/>
                </a:lnTo>
                <a:lnTo>
                  <a:pt x="252" y="108"/>
                </a:lnTo>
                <a:lnTo>
                  <a:pt x="264" y="108"/>
                </a:lnTo>
                <a:lnTo>
                  <a:pt x="270" y="108"/>
                </a:lnTo>
                <a:lnTo>
                  <a:pt x="276" y="108"/>
                </a:lnTo>
                <a:lnTo>
                  <a:pt x="282" y="102"/>
                </a:lnTo>
                <a:lnTo>
                  <a:pt x="288" y="102"/>
                </a:lnTo>
                <a:lnTo>
                  <a:pt x="294" y="102"/>
                </a:lnTo>
                <a:lnTo>
                  <a:pt x="300" y="96"/>
                </a:lnTo>
                <a:lnTo>
                  <a:pt x="306" y="96"/>
                </a:lnTo>
                <a:lnTo>
                  <a:pt x="306" y="90"/>
                </a:lnTo>
                <a:lnTo>
                  <a:pt x="312" y="90"/>
                </a:lnTo>
                <a:lnTo>
                  <a:pt x="318" y="84"/>
                </a:lnTo>
                <a:lnTo>
                  <a:pt x="324" y="18"/>
                </a:lnTo>
                <a:lnTo>
                  <a:pt x="360" y="18"/>
                </a:lnTo>
                <a:lnTo>
                  <a:pt x="378" y="18"/>
                </a:lnTo>
                <a:lnTo>
                  <a:pt x="378" y="30"/>
                </a:lnTo>
                <a:lnTo>
                  <a:pt x="390" y="30"/>
                </a:lnTo>
                <a:lnTo>
                  <a:pt x="432" y="30"/>
                </a:lnTo>
                <a:lnTo>
                  <a:pt x="456" y="24"/>
                </a:lnTo>
                <a:lnTo>
                  <a:pt x="480" y="24"/>
                </a:lnTo>
                <a:lnTo>
                  <a:pt x="498" y="30"/>
                </a:lnTo>
                <a:lnTo>
                  <a:pt x="522" y="18"/>
                </a:lnTo>
                <a:lnTo>
                  <a:pt x="528" y="0"/>
                </a:lnTo>
                <a:lnTo>
                  <a:pt x="558" y="6"/>
                </a:lnTo>
                <a:lnTo>
                  <a:pt x="558" y="12"/>
                </a:lnTo>
                <a:lnTo>
                  <a:pt x="570" y="18"/>
                </a:lnTo>
                <a:lnTo>
                  <a:pt x="576" y="24"/>
                </a:lnTo>
                <a:lnTo>
                  <a:pt x="588" y="36"/>
                </a:lnTo>
                <a:lnTo>
                  <a:pt x="594" y="48"/>
                </a:lnTo>
                <a:lnTo>
                  <a:pt x="606" y="48"/>
                </a:lnTo>
                <a:lnTo>
                  <a:pt x="606" y="42"/>
                </a:lnTo>
                <a:lnTo>
                  <a:pt x="618" y="36"/>
                </a:lnTo>
                <a:lnTo>
                  <a:pt x="624" y="36"/>
                </a:lnTo>
                <a:lnTo>
                  <a:pt x="630" y="42"/>
                </a:lnTo>
                <a:lnTo>
                  <a:pt x="636" y="42"/>
                </a:lnTo>
                <a:lnTo>
                  <a:pt x="636" y="48"/>
                </a:lnTo>
                <a:lnTo>
                  <a:pt x="642" y="54"/>
                </a:lnTo>
                <a:lnTo>
                  <a:pt x="636" y="60"/>
                </a:lnTo>
                <a:lnTo>
                  <a:pt x="636" y="66"/>
                </a:lnTo>
                <a:lnTo>
                  <a:pt x="636" y="78"/>
                </a:lnTo>
                <a:lnTo>
                  <a:pt x="624" y="84"/>
                </a:lnTo>
                <a:lnTo>
                  <a:pt x="618" y="90"/>
                </a:lnTo>
                <a:lnTo>
                  <a:pt x="612" y="90"/>
                </a:lnTo>
                <a:lnTo>
                  <a:pt x="600" y="102"/>
                </a:lnTo>
                <a:lnTo>
                  <a:pt x="594" y="108"/>
                </a:lnTo>
                <a:lnTo>
                  <a:pt x="582" y="114"/>
                </a:lnTo>
                <a:lnTo>
                  <a:pt x="570" y="132"/>
                </a:lnTo>
                <a:lnTo>
                  <a:pt x="564" y="132"/>
                </a:lnTo>
                <a:lnTo>
                  <a:pt x="564" y="138"/>
                </a:lnTo>
                <a:lnTo>
                  <a:pt x="558" y="144"/>
                </a:lnTo>
                <a:lnTo>
                  <a:pt x="558" y="150"/>
                </a:lnTo>
                <a:lnTo>
                  <a:pt x="552" y="150"/>
                </a:lnTo>
                <a:lnTo>
                  <a:pt x="546" y="156"/>
                </a:lnTo>
                <a:lnTo>
                  <a:pt x="546" y="162"/>
                </a:lnTo>
                <a:lnTo>
                  <a:pt x="540" y="162"/>
                </a:lnTo>
                <a:lnTo>
                  <a:pt x="534" y="168"/>
                </a:lnTo>
                <a:lnTo>
                  <a:pt x="534" y="174"/>
                </a:lnTo>
                <a:lnTo>
                  <a:pt x="534" y="180"/>
                </a:lnTo>
                <a:lnTo>
                  <a:pt x="540" y="186"/>
                </a:lnTo>
                <a:lnTo>
                  <a:pt x="540" y="198"/>
                </a:lnTo>
                <a:lnTo>
                  <a:pt x="540" y="210"/>
                </a:lnTo>
                <a:lnTo>
                  <a:pt x="528" y="234"/>
                </a:lnTo>
                <a:lnTo>
                  <a:pt x="528" y="246"/>
                </a:lnTo>
                <a:lnTo>
                  <a:pt x="528" y="252"/>
                </a:lnTo>
                <a:lnTo>
                  <a:pt x="516" y="294"/>
                </a:lnTo>
                <a:lnTo>
                  <a:pt x="516" y="312"/>
                </a:lnTo>
                <a:lnTo>
                  <a:pt x="528" y="318"/>
                </a:lnTo>
                <a:lnTo>
                  <a:pt x="540" y="360"/>
                </a:lnTo>
                <a:lnTo>
                  <a:pt x="558" y="408"/>
                </a:lnTo>
                <a:lnTo>
                  <a:pt x="570" y="426"/>
                </a:lnTo>
                <a:lnTo>
                  <a:pt x="576" y="432"/>
                </a:lnTo>
                <a:lnTo>
                  <a:pt x="576" y="438"/>
                </a:lnTo>
                <a:lnTo>
                  <a:pt x="576" y="444"/>
                </a:lnTo>
                <a:lnTo>
                  <a:pt x="576" y="468"/>
                </a:lnTo>
                <a:close/>
              </a:path>
            </a:pathLst>
          </a:custGeom>
          <a:solidFill>
            <a:srgbClr val="CD202C"/>
          </a:solidFill>
          <a:ln w="9525">
            <a:solidFill>
              <a:schemeClr val="bg1"/>
            </a:solidFill>
            <a:round/>
            <a:headEnd/>
            <a:tailEnd/>
          </a:ln>
        </p:spPr>
        <p:txBody>
          <a:bodyPr/>
          <a:lstStyle/>
          <a:p>
            <a:endParaRPr lang="en-GB"/>
          </a:p>
        </p:txBody>
      </p:sp>
      <p:sp>
        <p:nvSpPr>
          <p:cNvPr id="17442" name="Freeform 29"/>
          <p:cNvSpPr>
            <a:spLocks/>
          </p:cNvSpPr>
          <p:nvPr/>
        </p:nvSpPr>
        <p:spPr bwMode="gray">
          <a:xfrm>
            <a:off x="2520950" y="4494213"/>
            <a:ext cx="476250" cy="409575"/>
          </a:xfrm>
          <a:custGeom>
            <a:avLst/>
            <a:gdLst>
              <a:gd name="T0" fmla="*/ 3936 w 606"/>
              <a:gd name="T1" fmla="*/ 28895 h 510"/>
              <a:gd name="T2" fmla="*/ 3149 w 606"/>
              <a:gd name="T3" fmla="*/ 27289 h 510"/>
              <a:gd name="T4" fmla="*/ 0 w 606"/>
              <a:gd name="T5" fmla="*/ 20066 h 510"/>
              <a:gd name="T6" fmla="*/ 787 w 606"/>
              <a:gd name="T7" fmla="*/ 16053 h 510"/>
              <a:gd name="T8" fmla="*/ 1574 w 606"/>
              <a:gd name="T9" fmla="*/ 12039 h 510"/>
              <a:gd name="T10" fmla="*/ 1574 w 606"/>
              <a:gd name="T11" fmla="*/ 10434 h 510"/>
              <a:gd name="T12" fmla="*/ 2361 w 606"/>
              <a:gd name="T13" fmla="*/ 9632 h 510"/>
              <a:gd name="T14" fmla="*/ 3149 w 606"/>
              <a:gd name="T15" fmla="*/ 8829 h 510"/>
              <a:gd name="T16" fmla="*/ 3149 w 606"/>
              <a:gd name="T17" fmla="*/ 8026 h 510"/>
              <a:gd name="T18" fmla="*/ 5510 w 606"/>
              <a:gd name="T19" fmla="*/ 6421 h 510"/>
              <a:gd name="T20" fmla="*/ 7084 w 606"/>
              <a:gd name="T21" fmla="*/ 4816 h 510"/>
              <a:gd name="T22" fmla="*/ 8658 w 606"/>
              <a:gd name="T23" fmla="*/ 3211 h 510"/>
              <a:gd name="T24" fmla="*/ 9446 w 606"/>
              <a:gd name="T25" fmla="*/ 2408 h 510"/>
              <a:gd name="T26" fmla="*/ 10233 w 606"/>
              <a:gd name="T27" fmla="*/ 3211 h 510"/>
              <a:gd name="T28" fmla="*/ 11807 w 606"/>
              <a:gd name="T29" fmla="*/ 1605 h 510"/>
              <a:gd name="T30" fmla="*/ 13381 w 606"/>
              <a:gd name="T31" fmla="*/ 1605 h 510"/>
              <a:gd name="T32" fmla="*/ 14956 w 606"/>
              <a:gd name="T33" fmla="*/ 4013 h 510"/>
              <a:gd name="T34" fmla="*/ 17317 w 606"/>
              <a:gd name="T35" fmla="*/ 4013 h 510"/>
              <a:gd name="T36" fmla="*/ 19678 w 606"/>
              <a:gd name="T37" fmla="*/ 4816 h 510"/>
              <a:gd name="T38" fmla="*/ 22827 w 606"/>
              <a:gd name="T39" fmla="*/ 803 h 510"/>
              <a:gd name="T40" fmla="*/ 29911 w 606"/>
              <a:gd name="T41" fmla="*/ 0 h 510"/>
              <a:gd name="T42" fmla="*/ 29911 w 606"/>
              <a:gd name="T43" fmla="*/ 4013 h 510"/>
              <a:gd name="T44" fmla="*/ 32272 w 606"/>
              <a:gd name="T45" fmla="*/ 3211 h 510"/>
              <a:gd name="T46" fmla="*/ 35421 w 606"/>
              <a:gd name="T47" fmla="*/ 1605 h 510"/>
              <a:gd name="T48" fmla="*/ 36208 w 606"/>
              <a:gd name="T49" fmla="*/ 1605 h 510"/>
              <a:gd name="T50" fmla="*/ 36995 w 606"/>
              <a:gd name="T51" fmla="*/ 4013 h 510"/>
              <a:gd name="T52" fmla="*/ 35421 w 606"/>
              <a:gd name="T53" fmla="*/ 4816 h 510"/>
              <a:gd name="T54" fmla="*/ 35421 w 606"/>
              <a:gd name="T55" fmla="*/ 5618 h 510"/>
              <a:gd name="T56" fmla="*/ 33847 w 606"/>
              <a:gd name="T57" fmla="*/ 6421 h 510"/>
              <a:gd name="T58" fmla="*/ 35421 w 606"/>
              <a:gd name="T59" fmla="*/ 12039 h 510"/>
              <a:gd name="T60" fmla="*/ 38569 w 606"/>
              <a:gd name="T61" fmla="*/ 12039 h 510"/>
              <a:gd name="T62" fmla="*/ 40144 w 606"/>
              <a:gd name="T63" fmla="*/ 12039 h 510"/>
              <a:gd name="T64" fmla="*/ 41718 w 606"/>
              <a:gd name="T65" fmla="*/ 12842 h 510"/>
              <a:gd name="T66" fmla="*/ 40931 w 606"/>
              <a:gd name="T67" fmla="*/ 16053 h 510"/>
              <a:gd name="T68" fmla="*/ 37782 w 606"/>
              <a:gd name="T69" fmla="*/ 18460 h 510"/>
              <a:gd name="T70" fmla="*/ 35421 w 606"/>
              <a:gd name="T71" fmla="*/ 20066 h 510"/>
              <a:gd name="T72" fmla="*/ 34634 w 606"/>
              <a:gd name="T73" fmla="*/ 22474 h 510"/>
              <a:gd name="T74" fmla="*/ 33847 w 606"/>
              <a:gd name="T75" fmla="*/ 26487 h 510"/>
              <a:gd name="T76" fmla="*/ 30698 w 606"/>
              <a:gd name="T77" fmla="*/ 30500 h 510"/>
              <a:gd name="T78" fmla="*/ 29124 w 606"/>
              <a:gd name="T79" fmla="*/ 32908 h 510"/>
              <a:gd name="T80" fmla="*/ 24401 w 606"/>
              <a:gd name="T81" fmla="*/ 35316 h 510"/>
              <a:gd name="T82" fmla="*/ 22040 w 606"/>
              <a:gd name="T83" fmla="*/ 34513 h 510"/>
              <a:gd name="T84" fmla="*/ 22040 w 606"/>
              <a:gd name="T85" fmla="*/ 32908 h 510"/>
              <a:gd name="T86" fmla="*/ 22040 w 606"/>
              <a:gd name="T87" fmla="*/ 32105 h 510"/>
              <a:gd name="T88" fmla="*/ 21253 w 606"/>
              <a:gd name="T89" fmla="*/ 30500 h 510"/>
              <a:gd name="T90" fmla="*/ 21253 w 606"/>
              <a:gd name="T91" fmla="*/ 28895 h 510"/>
              <a:gd name="T92" fmla="*/ 18891 w 606"/>
              <a:gd name="T93" fmla="*/ 28092 h 510"/>
              <a:gd name="T94" fmla="*/ 12594 w 606"/>
              <a:gd name="T95" fmla="*/ 27289 h 510"/>
              <a:gd name="T96" fmla="*/ 10233 w 606"/>
              <a:gd name="T97" fmla="*/ 27289 h 510"/>
              <a:gd name="T98" fmla="*/ 7084 w 606"/>
              <a:gd name="T99" fmla="*/ 28895 h 510"/>
              <a:gd name="T100" fmla="*/ 6297 w 606"/>
              <a:gd name="T101" fmla="*/ 30500 h 510"/>
              <a:gd name="T102" fmla="*/ 5510 w 606"/>
              <a:gd name="T103" fmla="*/ 31302 h 51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6"/>
              <a:gd name="T157" fmla="*/ 0 h 510"/>
              <a:gd name="T158" fmla="*/ 606 w 606"/>
              <a:gd name="T159" fmla="*/ 510 h 51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6" h="510">
                <a:moveTo>
                  <a:pt x="60" y="450"/>
                </a:moveTo>
                <a:lnTo>
                  <a:pt x="60" y="426"/>
                </a:lnTo>
                <a:lnTo>
                  <a:pt x="60" y="420"/>
                </a:lnTo>
                <a:lnTo>
                  <a:pt x="60" y="414"/>
                </a:lnTo>
                <a:lnTo>
                  <a:pt x="54" y="408"/>
                </a:lnTo>
                <a:lnTo>
                  <a:pt x="42" y="390"/>
                </a:lnTo>
                <a:lnTo>
                  <a:pt x="24" y="342"/>
                </a:lnTo>
                <a:lnTo>
                  <a:pt x="12" y="300"/>
                </a:lnTo>
                <a:lnTo>
                  <a:pt x="0" y="294"/>
                </a:lnTo>
                <a:lnTo>
                  <a:pt x="0" y="276"/>
                </a:lnTo>
                <a:lnTo>
                  <a:pt x="12" y="234"/>
                </a:lnTo>
                <a:lnTo>
                  <a:pt x="12" y="228"/>
                </a:lnTo>
                <a:lnTo>
                  <a:pt x="12" y="216"/>
                </a:lnTo>
                <a:lnTo>
                  <a:pt x="24" y="192"/>
                </a:lnTo>
                <a:lnTo>
                  <a:pt x="24" y="180"/>
                </a:lnTo>
                <a:lnTo>
                  <a:pt x="24" y="168"/>
                </a:lnTo>
                <a:lnTo>
                  <a:pt x="18" y="162"/>
                </a:lnTo>
                <a:lnTo>
                  <a:pt x="18" y="156"/>
                </a:lnTo>
                <a:lnTo>
                  <a:pt x="18" y="150"/>
                </a:lnTo>
                <a:lnTo>
                  <a:pt x="24" y="144"/>
                </a:lnTo>
                <a:lnTo>
                  <a:pt x="30" y="144"/>
                </a:lnTo>
                <a:lnTo>
                  <a:pt x="30" y="138"/>
                </a:lnTo>
                <a:lnTo>
                  <a:pt x="36" y="132"/>
                </a:lnTo>
                <a:lnTo>
                  <a:pt x="42" y="132"/>
                </a:lnTo>
                <a:lnTo>
                  <a:pt x="42" y="126"/>
                </a:lnTo>
                <a:lnTo>
                  <a:pt x="48" y="120"/>
                </a:lnTo>
                <a:lnTo>
                  <a:pt x="48" y="114"/>
                </a:lnTo>
                <a:lnTo>
                  <a:pt x="54" y="114"/>
                </a:lnTo>
                <a:lnTo>
                  <a:pt x="66" y="96"/>
                </a:lnTo>
                <a:lnTo>
                  <a:pt x="78" y="90"/>
                </a:lnTo>
                <a:lnTo>
                  <a:pt x="84" y="84"/>
                </a:lnTo>
                <a:lnTo>
                  <a:pt x="96" y="72"/>
                </a:lnTo>
                <a:lnTo>
                  <a:pt x="102" y="72"/>
                </a:lnTo>
                <a:lnTo>
                  <a:pt x="108" y="66"/>
                </a:lnTo>
                <a:lnTo>
                  <a:pt x="120" y="60"/>
                </a:lnTo>
                <a:lnTo>
                  <a:pt x="120" y="48"/>
                </a:lnTo>
                <a:lnTo>
                  <a:pt x="120" y="42"/>
                </a:lnTo>
                <a:lnTo>
                  <a:pt x="126" y="36"/>
                </a:lnTo>
                <a:lnTo>
                  <a:pt x="138" y="36"/>
                </a:lnTo>
                <a:lnTo>
                  <a:pt x="138" y="42"/>
                </a:lnTo>
                <a:lnTo>
                  <a:pt x="144" y="48"/>
                </a:lnTo>
                <a:lnTo>
                  <a:pt x="150" y="48"/>
                </a:lnTo>
                <a:lnTo>
                  <a:pt x="162" y="36"/>
                </a:lnTo>
                <a:lnTo>
                  <a:pt x="162" y="30"/>
                </a:lnTo>
                <a:lnTo>
                  <a:pt x="168" y="24"/>
                </a:lnTo>
                <a:lnTo>
                  <a:pt x="180" y="24"/>
                </a:lnTo>
                <a:lnTo>
                  <a:pt x="192" y="24"/>
                </a:lnTo>
                <a:lnTo>
                  <a:pt x="198" y="24"/>
                </a:lnTo>
                <a:lnTo>
                  <a:pt x="210" y="30"/>
                </a:lnTo>
                <a:lnTo>
                  <a:pt x="216" y="30"/>
                </a:lnTo>
                <a:lnTo>
                  <a:pt x="210" y="54"/>
                </a:lnTo>
                <a:lnTo>
                  <a:pt x="216" y="60"/>
                </a:lnTo>
                <a:lnTo>
                  <a:pt x="222" y="60"/>
                </a:lnTo>
                <a:lnTo>
                  <a:pt x="246" y="60"/>
                </a:lnTo>
                <a:lnTo>
                  <a:pt x="252" y="66"/>
                </a:lnTo>
                <a:lnTo>
                  <a:pt x="258" y="66"/>
                </a:lnTo>
                <a:lnTo>
                  <a:pt x="276" y="66"/>
                </a:lnTo>
                <a:lnTo>
                  <a:pt x="312" y="66"/>
                </a:lnTo>
                <a:lnTo>
                  <a:pt x="318" y="60"/>
                </a:lnTo>
                <a:lnTo>
                  <a:pt x="330" y="12"/>
                </a:lnTo>
                <a:lnTo>
                  <a:pt x="414" y="6"/>
                </a:lnTo>
                <a:lnTo>
                  <a:pt x="420" y="0"/>
                </a:lnTo>
                <a:lnTo>
                  <a:pt x="426" y="6"/>
                </a:lnTo>
                <a:lnTo>
                  <a:pt x="426" y="12"/>
                </a:lnTo>
                <a:lnTo>
                  <a:pt x="426" y="54"/>
                </a:lnTo>
                <a:lnTo>
                  <a:pt x="432" y="54"/>
                </a:lnTo>
                <a:lnTo>
                  <a:pt x="444" y="54"/>
                </a:lnTo>
                <a:lnTo>
                  <a:pt x="450" y="42"/>
                </a:lnTo>
                <a:lnTo>
                  <a:pt x="462" y="42"/>
                </a:lnTo>
                <a:lnTo>
                  <a:pt x="468" y="36"/>
                </a:lnTo>
                <a:lnTo>
                  <a:pt x="486" y="24"/>
                </a:lnTo>
                <a:lnTo>
                  <a:pt x="504" y="18"/>
                </a:lnTo>
                <a:lnTo>
                  <a:pt x="510" y="12"/>
                </a:lnTo>
                <a:lnTo>
                  <a:pt x="516" y="18"/>
                </a:lnTo>
                <a:lnTo>
                  <a:pt x="522" y="24"/>
                </a:lnTo>
                <a:lnTo>
                  <a:pt x="510" y="30"/>
                </a:lnTo>
                <a:lnTo>
                  <a:pt x="516" y="48"/>
                </a:lnTo>
                <a:lnTo>
                  <a:pt x="528" y="54"/>
                </a:lnTo>
                <a:lnTo>
                  <a:pt x="522" y="60"/>
                </a:lnTo>
                <a:lnTo>
                  <a:pt x="516" y="66"/>
                </a:lnTo>
                <a:lnTo>
                  <a:pt x="516" y="72"/>
                </a:lnTo>
                <a:lnTo>
                  <a:pt x="510" y="72"/>
                </a:lnTo>
                <a:lnTo>
                  <a:pt x="510" y="78"/>
                </a:lnTo>
                <a:lnTo>
                  <a:pt x="510" y="84"/>
                </a:lnTo>
                <a:lnTo>
                  <a:pt x="510" y="90"/>
                </a:lnTo>
                <a:lnTo>
                  <a:pt x="504" y="90"/>
                </a:lnTo>
                <a:lnTo>
                  <a:pt x="486" y="90"/>
                </a:lnTo>
                <a:lnTo>
                  <a:pt x="492" y="138"/>
                </a:lnTo>
                <a:lnTo>
                  <a:pt x="498" y="168"/>
                </a:lnTo>
                <a:lnTo>
                  <a:pt x="516" y="168"/>
                </a:lnTo>
                <a:lnTo>
                  <a:pt x="528" y="174"/>
                </a:lnTo>
                <a:lnTo>
                  <a:pt x="534" y="168"/>
                </a:lnTo>
                <a:lnTo>
                  <a:pt x="558" y="174"/>
                </a:lnTo>
                <a:lnTo>
                  <a:pt x="564" y="168"/>
                </a:lnTo>
                <a:lnTo>
                  <a:pt x="570" y="168"/>
                </a:lnTo>
                <a:lnTo>
                  <a:pt x="576" y="174"/>
                </a:lnTo>
                <a:lnTo>
                  <a:pt x="588" y="168"/>
                </a:lnTo>
                <a:lnTo>
                  <a:pt x="594" y="168"/>
                </a:lnTo>
                <a:lnTo>
                  <a:pt x="594" y="186"/>
                </a:lnTo>
                <a:lnTo>
                  <a:pt x="606" y="198"/>
                </a:lnTo>
                <a:lnTo>
                  <a:pt x="600" y="210"/>
                </a:lnTo>
                <a:lnTo>
                  <a:pt x="588" y="234"/>
                </a:lnTo>
                <a:lnTo>
                  <a:pt x="564" y="246"/>
                </a:lnTo>
                <a:lnTo>
                  <a:pt x="546" y="258"/>
                </a:lnTo>
                <a:lnTo>
                  <a:pt x="540" y="270"/>
                </a:lnTo>
                <a:lnTo>
                  <a:pt x="534" y="294"/>
                </a:lnTo>
                <a:lnTo>
                  <a:pt x="528" y="300"/>
                </a:lnTo>
                <a:lnTo>
                  <a:pt x="516" y="294"/>
                </a:lnTo>
                <a:lnTo>
                  <a:pt x="510" y="300"/>
                </a:lnTo>
                <a:lnTo>
                  <a:pt x="498" y="318"/>
                </a:lnTo>
                <a:lnTo>
                  <a:pt x="492" y="324"/>
                </a:lnTo>
                <a:lnTo>
                  <a:pt x="486" y="336"/>
                </a:lnTo>
                <a:lnTo>
                  <a:pt x="486" y="354"/>
                </a:lnTo>
                <a:lnTo>
                  <a:pt x="486" y="384"/>
                </a:lnTo>
                <a:lnTo>
                  <a:pt x="474" y="408"/>
                </a:lnTo>
                <a:lnTo>
                  <a:pt x="450" y="426"/>
                </a:lnTo>
                <a:lnTo>
                  <a:pt x="444" y="444"/>
                </a:lnTo>
                <a:lnTo>
                  <a:pt x="426" y="474"/>
                </a:lnTo>
                <a:lnTo>
                  <a:pt x="420" y="486"/>
                </a:lnTo>
                <a:lnTo>
                  <a:pt x="414" y="486"/>
                </a:lnTo>
                <a:lnTo>
                  <a:pt x="414" y="498"/>
                </a:lnTo>
                <a:lnTo>
                  <a:pt x="378" y="504"/>
                </a:lnTo>
                <a:lnTo>
                  <a:pt x="348" y="510"/>
                </a:lnTo>
                <a:lnTo>
                  <a:pt x="330" y="510"/>
                </a:lnTo>
                <a:lnTo>
                  <a:pt x="324" y="504"/>
                </a:lnTo>
                <a:lnTo>
                  <a:pt x="318" y="504"/>
                </a:lnTo>
                <a:lnTo>
                  <a:pt x="312" y="504"/>
                </a:lnTo>
                <a:lnTo>
                  <a:pt x="312" y="498"/>
                </a:lnTo>
                <a:lnTo>
                  <a:pt x="312" y="486"/>
                </a:lnTo>
                <a:lnTo>
                  <a:pt x="312" y="480"/>
                </a:lnTo>
                <a:lnTo>
                  <a:pt x="318" y="468"/>
                </a:lnTo>
                <a:lnTo>
                  <a:pt x="318" y="462"/>
                </a:lnTo>
                <a:lnTo>
                  <a:pt x="312" y="456"/>
                </a:lnTo>
                <a:lnTo>
                  <a:pt x="312" y="450"/>
                </a:lnTo>
                <a:lnTo>
                  <a:pt x="306" y="444"/>
                </a:lnTo>
                <a:lnTo>
                  <a:pt x="306" y="438"/>
                </a:lnTo>
                <a:lnTo>
                  <a:pt x="300" y="426"/>
                </a:lnTo>
                <a:lnTo>
                  <a:pt x="300" y="420"/>
                </a:lnTo>
                <a:lnTo>
                  <a:pt x="294" y="414"/>
                </a:lnTo>
                <a:lnTo>
                  <a:pt x="294" y="408"/>
                </a:lnTo>
                <a:lnTo>
                  <a:pt x="270" y="408"/>
                </a:lnTo>
                <a:lnTo>
                  <a:pt x="246" y="408"/>
                </a:lnTo>
                <a:lnTo>
                  <a:pt x="222" y="408"/>
                </a:lnTo>
                <a:lnTo>
                  <a:pt x="180" y="402"/>
                </a:lnTo>
                <a:lnTo>
                  <a:pt x="180" y="396"/>
                </a:lnTo>
                <a:lnTo>
                  <a:pt x="156" y="402"/>
                </a:lnTo>
                <a:lnTo>
                  <a:pt x="144" y="396"/>
                </a:lnTo>
                <a:lnTo>
                  <a:pt x="126" y="396"/>
                </a:lnTo>
                <a:lnTo>
                  <a:pt x="108" y="408"/>
                </a:lnTo>
                <a:lnTo>
                  <a:pt x="102" y="414"/>
                </a:lnTo>
                <a:lnTo>
                  <a:pt x="102" y="420"/>
                </a:lnTo>
                <a:lnTo>
                  <a:pt x="96" y="426"/>
                </a:lnTo>
                <a:lnTo>
                  <a:pt x="96" y="438"/>
                </a:lnTo>
                <a:lnTo>
                  <a:pt x="90" y="444"/>
                </a:lnTo>
                <a:lnTo>
                  <a:pt x="90" y="450"/>
                </a:lnTo>
                <a:lnTo>
                  <a:pt x="78" y="450"/>
                </a:lnTo>
                <a:lnTo>
                  <a:pt x="60" y="45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43" name="Freeform 30"/>
          <p:cNvSpPr>
            <a:spLocks/>
          </p:cNvSpPr>
          <p:nvPr/>
        </p:nvSpPr>
        <p:spPr bwMode="gray">
          <a:xfrm>
            <a:off x="2274888" y="4654550"/>
            <a:ext cx="825500" cy="971550"/>
          </a:xfrm>
          <a:custGeom>
            <a:avLst/>
            <a:gdLst>
              <a:gd name="T0" fmla="*/ 30470 w 1056"/>
              <a:gd name="T1" fmla="*/ 75722 h 1206"/>
              <a:gd name="T2" fmla="*/ 27345 w 1056"/>
              <a:gd name="T3" fmla="*/ 82972 h 1206"/>
              <a:gd name="T4" fmla="*/ 22657 w 1056"/>
              <a:gd name="T5" fmla="*/ 79750 h 1206"/>
              <a:gd name="T6" fmla="*/ 17970 w 1056"/>
              <a:gd name="T7" fmla="*/ 75722 h 1206"/>
              <a:gd name="T8" fmla="*/ 16407 w 1056"/>
              <a:gd name="T9" fmla="*/ 73305 h 1206"/>
              <a:gd name="T10" fmla="*/ 14063 w 1056"/>
              <a:gd name="T11" fmla="*/ 71694 h 1206"/>
              <a:gd name="T12" fmla="*/ 11719 w 1056"/>
              <a:gd name="T13" fmla="*/ 69278 h 1206"/>
              <a:gd name="T14" fmla="*/ 8594 w 1056"/>
              <a:gd name="T15" fmla="*/ 66861 h 1206"/>
              <a:gd name="T16" fmla="*/ 6250 w 1056"/>
              <a:gd name="T17" fmla="*/ 65250 h 1206"/>
              <a:gd name="T18" fmla="*/ 4688 w 1056"/>
              <a:gd name="T19" fmla="*/ 63639 h 1206"/>
              <a:gd name="T20" fmla="*/ 10157 w 1056"/>
              <a:gd name="T21" fmla="*/ 62833 h 1206"/>
              <a:gd name="T22" fmla="*/ 6250 w 1056"/>
              <a:gd name="T23" fmla="*/ 60416 h 1206"/>
              <a:gd name="T24" fmla="*/ 10157 w 1056"/>
              <a:gd name="T25" fmla="*/ 57194 h 1206"/>
              <a:gd name="T26" fmla="*/ 7813 w 1056"/>
              <a:gd name="T27" fmla="*/ 50750 h 1206"/>
              <a:gd name="T28" fmla="*/ 4688 w 1056"/>
              <a:gd name="T29" fmla="*/ 53167 h 1206"/>
              <a:gd name="T30" fmla="*/ 781 w 1056"/>
              <a:gd name="T31" fmla="*/ 50750 h 1206"/>
              <a:gd name="T32" fmla="*/ 781 w 1056"/>
              <a:gd name="T33" fmla="*/ 47528 h 1206"/>
              <a:gd name="T34" fmla="*/ 2344 w 1056"/>
              <a:gd name="T35" fmla="*/ 45917 h 1206"/>
              <a:gd name="T36" fmla="*/ 4688 w 1056"/>
              <a:gd name="T37" fmla="*/ 44305 h 1206"/>
              <a:gd name="T38" fmla="*/ 7813 w 1056"/>
              <a:gd name="T39" fmla="*/ 41083 h 1206"/>
              <a:gd name="T40" fmla="*/ 8594 w 1056"/>
              <a:gd name="T41" fmla="*/ 37055 h 1206"/>
              <a:gd name="T42" fmla="*/ 10938 w 1056"/>
              <a:gd name="T43" fmla="*/ 33833 h 1206"/>
              <a:gd name="T44" fmla="*/ 11719 w 1056"/>
              <a:gd name="T45" fmla="*/ 29000 h 1206"/>
              <a:gd name="T46" fmla="*/ 13282 w 1056"/>
              <a:gd name="T47" fmla="*/ 27389 h 1206"/>
              <a:gd name="T48" fmla="*/ 15626 w 1056"/>
              <a:gd name="T49" fmla="*/ 24972 h 1206"/>
              <a:gd name="T50" fmla="*/ 16407 w 1056"/>
              <a:gd name="T51" fmla="*/ 23361 h 1206"/>
              <a:gd name="T52" fmla="*/ 17970 w 1056"/>
              <a:gd name="T53" fmla="*/ 17722 h 1206"/>
              <a:gd name="T54" fmla="*/ 27345 w 1056"/>
              <a:gd name="T55" fmla="*/ 17722 h 1206"/>
              <a:gd name="T56" fmla="*/ 32033 w 1056"/>
              <a:gd name="T57" fmla="*/ 14500 h 1206"/>
              <a:gd name="T58" fmla="*/ 42189 w 1056"/>
              <a:gd name="T59" fmla="*/ 16111 h 1206"/>
              <a:gd name="T60" fmla="*/ 42189 w 1056"/>
              <a:gd name="T61" fmla="*/ 20944 h 1206"/>
              <a:gd name="T62" fmla="*/ 50002 w 1056"/>
              <a:gd name="T63" fmla="*/ 20139 h 1206"/>
              <a:gd name="T64" fmla="*/ 55471 w 1056"/>
              <a:gd name="T65" fmla="*/ 8056 h 1206"/>
              <a:gd name="T66" fmla="*/ 62503 w 1056"/>
              <a:gd name="T67" fmla="*/ 806 h 1206"/>
              <a:gd name="T68" fmla="*/ 67191 w 1056"/>
              <a:gd name="T69" fmla="*/ 1611 h 1206"/>
              <a:gd name="T70" fmla="*/ 71097 w 1056"/>
              <a:gd name="T71" fmla="*/ 10472 h 1206"/>
              <a:gd name="T72" fmla="*/ 68753 w 1056"/>
              <a:gd name="T73" fmla="*/ 13694 h 1206"/>
              <a:gd name="T74" fmla="*/ 69534 w 1056"/>
              <a:gd name="T75" fmla="*/ 16917 h 1206"/>
              <a:gd name="T76" fmla="*/ 67191 w 1056"/>
              <a:gd name="T77" fmla="*/ 20139 h 1206"/>
              <a:gd name="T78" fmla="*/ 66409 w 1056"/>
              <a:gd name="T79" fmla="*/ 24972 h 1206"/>
              <a:gd name="T80" fmla="*/ 64847 w 1056"/>
              <a:gd name="T81" fmla="*/ 29000 h 1206"/>
              <a:gd name="T82" fmla="*/ 62503 w 1056"/>
              <a:gd name="T83" fmla="*/ 33833 h 1206"/>
              <a:gd name="T84" fmla="*/ 62503 w 1056"/>
              <a:gd name="T85" fmla="*/ 37861 h 1206"/>
              <a:gd name="T86" fmla="*/ 60159 w 1056"/>
              <a:gd name="T87" fmla="*/ 44305 h 1206"/>
              <a:gd name="T88" fmla="*/ 58596 w 1056"/>
              <a:gd name="T89" fmla="*/ 45917 h 1206"/>
              <a:gd name="T90" fmla="*/ 51565 w 1056"/>
              <a:gd name="T91" fmla="*/ 45917 h 1206"/>
              <a:gd name="T92" fmla="*/ 51565 w 1056"/>
              <a:gd name="T93" fmla="*/ 41083 h 1206"/>
              <a:gd name="T94" fmla="*/ 37502 w 1056"/>
              <a:gd name="T95" fmla="*/ 40278 h 1206"/>
              <a:gd name="T96" fmla="*/ 35939 w 1056"/>
              <a:gd name="T97" fmla="*/ 44305 h 1206"/>
              <a:gd name="T98" fmla="*/ 32814 w 1056"/>
              <a:gd name="T99" fmla="*/ 47528 h 1206"/>
              <a:gd name="T100" fmla="*/ 32033 w 1056"/>
              <a:gd name="T101" fmla="*/ 49944 h 1206"/>
              <a:gd name="T102" fmla="*/ 33595 w 1056"/>
              <a:gd name="T103" fmla="*/ 53972 h 1206"/>
              <a:gd name="T104" fmla="*/ 32814 w 1056"/>
              <a:gd name="T105" fmla="*/ 58000 h 1206"/>
              <a:gd name="T106" fmla="*/ 30470 w 1056"/>
              <a:gd name="T107" fmla="*/ 62028 h 1206"/>
              <a:gd name="T108" fmla="*/ 28126 w 1056"/>
              <a:gd name="T109" fmla="*/ 64444 h 1206"/>
              <a:gd name="T110" fmla="*/ 28908 w 1056"/>
              <a:gd name="T111" fmla="*/ 66861 h 1206"/>
              <a:gd name="T112" fmla="*/ 31251 w 1056"/>
              <a:gd name="T113" fmla="*/ 70083 h 1206"/>
              <a:gd name="T114" fmla="*/ 32814 w 1056"/>
              <a:gd name="T115" fmla="*/ 71694 h 12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56"/>
              <a:gd name="T175" fmla="*/ 0 h 1206"/>
              <a:gd name="T176" fmla="*/ 1056 w 1056"/>
              <a:gd name="T177" fmla="*/ 1206 h 12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56" h="1206">
                <a:moveTo>
                  <a:pt x="492" y="1032"/>
                </a:moveTo>
                <a:lnTo>
                  <a:pt x="486" y="1038"/>
                </a:lnTo>
                <a:lnTo>
                  <a:pt x="486" y="1044"/>
                </a:lnTo>
                <a:lnTo>
                  <a:pt x="480" y="1044"/>
                </a:lnTo>
                <a:lnTo>
                  <a:pt x="474" y="1056"/>
                </a:lnTo>
                <a:lnTo>
                  <a:pt x="462" y="1068"/>
                </a:lnTo>
                <a:lnTo>
                  <a:pt x="456" y="1080"/>
                </a:lnTo>
                <a:lnTo>
                  <a:pt x="450" y="1080"/>
                </a:lnTo>
                <a:lnTo>
                  <a:pt x="450" y="1086"/>
                </a:lnTo>
                <a:lnTo>
                  <a:pt x="450" y="1092"/>
                </a:lnTo>
                <a:lnTo>
                  <a:pt x="444" y="1104"/>
                </a:lnTo>
                <a:lnTo>
                  <a:pt x="444" y="1116"/>
                </a:lnTo>
                <a:lnTo>
                  <a:pt x="438" y="1128"/>
                </a:lnTo>
                <a:lnTo>
                  <a:pt x="432" y="1134"/>
                </a:lnTo>
                <a:lnTo>
                  <a:pt x="432" y="1140"/>
                </a:lnTo>
                <a:lnTo>
                  <a:pt x="420" y="1152"/>
                </a:lnTo>
                <a:lnTo>
                  <a:pt x="420" y="1158"/>
                </a:lnTo>
                <a:lnTo>
                  <a:pt x="408" y="1182"/>
                </a:lnTo>
                <a:lnTo>
                  <a:pt x="396" y="1194"/>
                </a:lnTo>
                <a:lnTo>
                  <a:pt x="390" y="1206"/>
                </a:lnTo>
                <a:lnTo>
                  <a:pt x="390" y="1200"/>
                </a:lnTo>
                <a:lnTo>
                  <a:pt x="384" y="1194"/>
                </a:lnTo>
                <a:lnTo>
                  <a:pt x="378" y="1188"/>
                </a:lnTo>
                <a:lnTo>
                  <a:pt x="366" y="1176"/>
                </a:lnTo>
                <a:lnTo>
                  <a:pt x="366" y="1170"/>
                </a:lnTo>
                <a:lnTo>
                  <a:pt x="348" y="1152"/>
                </a:lnTo>
                <a:lnTo>
                  <a:pt x="336" y="1140"/>
                </a:lnTo>
                <a:lnTo>
                  <a:pt x="330" y="1134"/>
                </a:lnTo>
                <a:lnTo>
                  <a:pt x="324" y="1128"/>
                </a:lnTo>
                <a:lnTo>
                  <a:pt x="318" y="1122"/>
                </a:lnTo>
                <a:lnTo>
                  <a:pt x="312" y="1116"/>
                </a:lnTo>
                <a:lnTo>
                  <a:pt x="306" y="1110"/>
                </a:lnTo>
                <a:lnTo>
                  <a:pt x="300" y="1104"/>
                </a:lnTo>
                <a:lnTo>
                  <a:pt x="294" y="1098"/>
                </a:lnTo>
                <a:lnTo>
                  <a:pt x="276" y="1080"/>
                </a:lnTo>
                <a:lnTo>
                  <a:pt x="270" y="1080"/>
                </a:lnTo>
                <a:lnTo>
                  <a:pt x="270" y="1074"/>
                </a:lnTo>
                <a:lnTo>
                  <a:pt x="264" y="1068"/>
                </a:lnTo>
                <a:lnTo>
                  <a:pt x="258" y="1062"/>
                </a:lnTo>
                <a:lnTo>
                  <a:pt x="252" y="1062"/>
                </a:lnTo>
                <a:lnTo>
                  <a:pt x="252" y="1056"/>
                </a:lnTo>
                <a:lnTo>
                  <a:pt x="252" y="1062"/>
                </a:lnTo>
                <a:lnTo>
                  <a:pt x="252" y="1056"/>
                </a:lnTo>
                <a:lnTo>
                  <a:pt x="246" y="1056"/>
                </a:lnTo>
                <a:lnTo>
                  <a:pt x="246" y="1050"/>
                </a:lnTo>
                <a:lnTo>
                  <a:pt x="240" y="1050"/>
                </a:lnTo>
                <a:lnTo>
                  <a:pt x="234" y="1044"/>
                </a:lnTo>
                <a:lnTo>
                  <a:pt x="228" y="1044"/>
                </a:lnTo>
                <a:lnTo>
                  <a:pt x="222" y="1038"/>
                </a:lnTo>
                <a:lnTo>
                  <a:pt x="222" y="1032"/>
                </a:lnTo>
                <a:lnTo>
                  <a:pt x="216" y="1032"/>
                </a:lnTo>
                <a:lnTo>
                  <a:pt x="216" y="1026"/>
                </a:lnTo>
                <a:lnTo>
                  <a:pt x="210" y="1026"/>
                </a:lnTo>
                <a:lnTo>
                  <a:pt x="204" y="1020"/>
                </a:lnTo>
                <a:lnTo>
                  <a:pt x="204" y="1014"/>
                </a:lnTo>
                <a:lnTo>
                  <a:pt x="198" y="1014"/>
                </a:lnTo>
                <a:lnTo>
                  <a:pt x="192" y="1014"/>
                </a:lnTo>
                <a:lnTo>
                  <a:pt x="192" y="1008"/>
                </a:lnTo>
                <a:lnTo>
                  <a:pt x="186" y="1008"/>
                </a:lnTo>
                <a:lnTo>
                  <a:pt x="186" y="1002"/>
                </a:lnTo>
                <a:lnTo>
                  <a:pt x="180" y="1002"/>
                </a:lnTo>
                <a:lnTo>
                  <a:pt x="174" y="996"/>
                </a:lnTo>
                <a:lnTo>
                  <a:pt x="168" y="996"/>
                </a:lnTo>
                <a:lnTo>
                  <a:pt x="168" y="990"/>
                </a:lnTo>
                <a:lnTo>
                  <a:pt x="162" y="990"/>
                </a:lnTo>
                <a:lnTo>
                  <a:pt x="162" y="984"/>
                </a:lnTo>
                <a:lnTo>
                  <a:pt x="150" y="978"/>
                </a:lnTo>
                <a:lnTo>
                  <a:pt x="144" y="972"/>
                </a:lnTo>
                <a:lnTo>
                  <a:pt x="138" y="972"/>
                </a:lnTo>
                <a:lnTo>
                  <a:pt x="138" y="966"/>
                </a:lnTo>
                <a:lnTo>
                  <a:pt x="132" y="966"/>
                </a:lnTo>
                <a:lnTo>
                  <a:pt x="126" y="960"/>
                </a:lnTo>
                <a:lnTo>
                  <a:pt x="126" y="954"/>
                </a:lnTo>
                <a:lnTo>
                  <a:pt x="120" y="954"/>
                </a:lnTo>
                <a:lnTo>
                  <a:pt x="114" y="948"/>
                </a:lnTo>
                <a:lnTo>
                  <a:pt x="108" y="948"/>
                </a:lnTo>
                <a:lnTo>
                  <a:pt x="108" y="942"/>
                </a:lnTo>
                <a:lnTo>
                  <a:pt x="102" y="942"/>
                </a:lnTo>
                <a:lnTo>
                  <a:pt x="96" y="942"/>
                </a:lnTo>
                <a:lnTo>
                  <a:pt x="96" y="936"/>
                </a:lnTo>
                <a:lnTo>
                  <a:pt x="90" y="936"/>
                </a:lnTo>
                <a:lnTo>
                  <a:pt x="90" y="930"/>
                </a:lnTo>
                <a:lnTo>
                  <a:pt x="84" y="930"/>
                </a:lnTo>
                <a:lnTo>
                  <a:pt x="78" y="930"/>
                </a:lnTo>
                <a:lnTo>
                  <a:pt x="78" y="924"/>
                </a:lnTo>
                <a:lnTo>
                  <a:pt x="60" y="918"/>
                </a:lnTo>
                <a:lnTo>
                  <a:pt x="66" y="918"/>
                </a:lnTo>
                <a:lnTo>
                  <a:pt x="66" y="912"/>
                </a:lnTo>
                <a:lnTo>
                  <a:pt x="66" y="906"/>
                </a:lnTo>
                <a:lnTo>
                  <a:pt x="72" y="906"/>
                </a:lnTo>
                <a:lnTo>
                  <a:pt x="84" y="906"/>
                </a:lnTo>
                <a:lnTo>
                  <a:pt x="90" y="906"/>
                </a:lnTo>
                <a:lnTo>
                  <a:pt x="120" y="930"/>
                </a:lnTo>
                <a:lnTo>
                  <a:pt x="126" y="936"/>
                </a:lnTo>
                <a:lnTo>
                  <a:pt x="138" y="936"/>
                </a:lnTo>
                <a:lnTo>
                  <a:pt x="138" y="930"/>
                </a:lnTo>
                <a:lnTo>
                  <a:pt x="144" y="930"/>
                </a:lnTo>
                <a:lnTo>
                  <a:pt x="144" y="924"/>
                </a:lnTo>
                <a:lnTo>
                  <a:pt x="150" y="900"/>
                </a:lnTo>
                <a:lnTo>
                  <a:pt x="138" y="894"/>
                </a:lnTo>
                <a:lnTo>
                  <a:pt x="126" y="894"/>
                </a:lnTo>
                <a:lnTo>
                  <a:pt x="108" y="888"/>
                </a:lnTo>
                <a:lnTo>
                  <a:pt x="84" y="882"/>
                </a:lnTo>
                <a:lnTo>
                  <a:pt x="72" y="882"/>
                </a:lnTo>
                <a:lnTo>
                  <a:pt x="72" y="876"/>
                </a:lnTo>
                <a:lnTo>
                  <a:pt x="78" y="870"/>
                </a:lnTo>
                <a:lnTo>
                  <a:pt x="90" y="870"/>
                </a:lnTo>
                <a:lnTo>
                  <a:pt x="96" y="870"/>
                </a:lnTo>
                <a:lnTo>
                  <a:pt x="102" y="870"/>
                </a:lnTo>
                <a:lnTo>
                  <a:pt x="114" y="870"/>
                </a:lnTo>
                <a:lnTo>
                  <a:pt x="120" y="858"/>
                </a:lnTo>
                <a:lnTo>
                  <a:pt x="126" y="852"/>
                </a:lnTo>
                <a:lnTo>
                  <a:pt x="126" y="846"/>
                </a:lnTo>
                <a:lnTo>
                  <a:pt x="126" y="834"/>
                </a:lnTo>
                <a:lnTo>
                  <a:pt x="132" y="828"/>
                </a:lnTo>
                <a:lnTo>
                  <a:pt x="132" y="816"/>
                </a:lnTo>
                <a:lnTo>
                  <a:pt x="150" y="816"/>
                </a:lnTo>
                <a:lnTo>
                  <a:pt x="150" y="804"/>
                </a:lnTo>
                <a:lnTo>
                  <a:pt x="144" y="798"/>
                </a:lnTo>
                <a:lnTo>
                  <a:pt x="156" y="762"/>
                </a:lnTo>
                <a:lnTo>
                  <a:pt x="156" y="750"/>
                </a:lnTo>
                <a:lnTo>
                  <a:pt x="156" y="744"/>
                </a:lnTo>
                <a:lnTo>
                  <a:pt x="150" y="732"/>
                </a:lnTo>
                <a:lnTo>
                  <a:pt x="144" y="726"/>
                </a:lnTo>
                <a:lnTo>
                  <a:pt x="132" y="726"/>
                </a:lnTo>
                <a:lnTo>
                  <a:pt x="120" y="732"/>
                </a:lnTo>
                <a:lnTo>
                  <a:pt x="114" y="744"/>
                </a:lnTo>
                <a:lnTo>
                  <a:pt x="108" y="750"/>
                </a:lnTo>
                <a:lnTo>
                  <a:pt x="96" y="768"/>
                </a:lnTo>
                <a:lnTo>
                  <a:pt x="96" y="774"/>
                </a:lnTo>
                <a:lnTo>
                  <a:pt x="90" y="780"/>
                </a:lnTo>
                <a:lnTo>
                  <a:pt x="84" y="804"/>
                </a:lnTo>
                <a:lnTo>
                  <a:pt x="72" y="774"/>
                </a:lnTo>
                <a:lnTo>
                  <a:pt x="72" y="768"/>
                </a:lnTo>
                <a:lnTo>
                  <a:pt x="66" y="762"/>
                </a:lnTo>
                <a:lnTo>
                  <a:pt x="60" y="750"/>
                </a:lnTo>
                <a:lnTo>
                  <a:pt x="54" y="750"/>
                </a:lnTo>
                <a:lnTo>
                  <a:pt x="48" y="750"/>
                </a:lnTo>
                <a:lnTo>
                  <a:pt x="42" y="750"/>
                </a:lnTo>
                <a:lnTo>
                  <a:pt x="30" y="744"/>
                </a:lnTo>
                <a:lnTo>
                  <a:pt x="24" y="744"/>
                </a:lnTo>
                <a:lnTo>
                  <a:pt x="24" y="738"/>
                </a:lnTo>
                <a:lnTo>
                  <a:pt x="18" y="732"/>
                </a:lnTo>
                <a:lnTo>
                  <a:pt x="12" y="732"/>
                </a:lnTo>
                <a:lnTo>
                  <a:pt x="6" y="720"/>
                </a:lnTo>
                <a:lnTo>
                  <a:pt x="6" y="714"/>
                </a:lnTo>
                <a:lnTo>
                  <a:pt x="0" y="714"/>
                </a:lnTo>
                <a:lnTo>
                  <a:pt x="6" y="708"/>
                </a:lnTo>
                <a:lnTo>
                  <a:pt x="12" y="708"/>
                </a:lnTo>
                <a:lnTo>
                  <a:pt x="12" y="702"/>
                </a:lnTo>
                <a:lnTo>
                  <a:pt x="18" y="696"/>
                </a:lnTo>
                <a:lnTo>
                  <a:pt x="12" y="690"/>
                </a:lnTo>
                <a:lnTo>
                  <a:pt x="12" y="684"/>
                </a:lnTo>
                <a:lnTo>
                  <a:pt x="12" y="678"/>
                </a:lnTo>
                <a:lnTo>
                  <a:pt x="12" y="672"/>
                </a:lnTo>
                <a:lnTo>
                  <a:pt x="18" y="672"/>
                </a:lnTo>
                <a:lnTo>
                  <a:pt x="18" y="666"/>
                </a:lnTo>
                <a:lnTo>
                  <a:pt x="24" y="666"/>
                </a:lnTo>
                <a:lnTo>
                  <a:pt x="24" y="660"/>
                </a:lnTo>
                <a:lnTo>
                  <a:pt x="30" y="660"/>
                </a:lnTo>
                <a:lnTo>
                  <a:pt x="30" y="654"/>
                </a:lnTo>
                <a:lnTo>
                  <a:pt x="36" y="654"/>
                </a:lnTo>
                <a:lnTo>
                  <a:pt x="36" y="648"/>
                </a:lnTo>
                <a:lnTo>
                  <a:pt x="42" y="648"/>
                </a:lnTo>
                <a:lnTo>
                  <a:pt x="48" y="642"/>
                </a:lnTo>
                <a:lnTo>
                  <a:pt x="54" y="642"/>
                </a:lnTo>
                <a:lnTo>
                  <a:pt x="60" y="636"/>
                </a:lnTo>
                <a:lnTo>
                  <a:pt x="54" y="636"/>
                </a:lnTo>
                <a:lnTo>
                  <a:pt x="60" y="630"/>
                </a:lnTo>
                <a:lnTo>
                  <a:pt x="66" y="630"/>
                </a:lnTo>
                <a:lnTo>
                  <a:pt x="72" y="630"/>
                </a:lnTo>
                <a:lnTo>
                  <a:pt x="72" y="624"/>
                </a:lnTo>
                <a:lnTo>
                  <a:pt x="78" y="624"/>
                </a:lnTo>
                <a:lnTo>
                  <a:pt x="84" y="618"/>
                </a:lnTo>
                <a:lnTo>
                  <a:pt x="84" y="612"/>
                </a:lnTo>
                <a:lnTo>
                  <a:pt x="90" y="612"/>
                </a:lnTo>
                <a:lnTo>
                  <a:pt x="102" y="606"/>
                </a:lnTo>
                <a:lnTo>
                  <a:pt x="114" y="606"/>
                </a:lnTo>
                <a:lnTo>
                  <a:pt x="120" y="600"/>
                </a:lnTo>
                <a:lnTo>
                  <a:pt x="120" y="594"/>
                </a:lnTo>
                <a:lnTo>
                  <a:pt x="120" y="588"/>
                </a:lnTo>
                <a:lnTo>
                  <a:pt x="120" y="582"/>
                </a:lnTo>
                <a:lnTo>
                  <a:pt x="120" y="576"/>
                </a:lnTo>
                <a:lnTo>
                  <a:pt x="120" y="570"/>
                </a:lnTo>
                <a:lnTo>
                  <a:pt x="126" y="564"/>
                </a:lnTo>
                <a:lnTo>
                  <a:pt x="126" y="558"/>
                </a:lnTo>
                <a:lnTo>
                  <a:pt x="126" y="552"/>
                </a:lnTo>
                <a:lnTo>
                  <a:pt x="126" y="546"/>
                </a:lnTo>
                <a:lnTo>
                  <a:pt x="126" y="534"/>
                </a:lnTo>
                <a:lnTo>
                  <a:pt x="126" y="516"/>
                </a:lnTo>
                <a:lnTo>
                  <a:pt x="126" y="510"/>
                </a:lnTo>
                <a:lnTo>
                  <a:pt x="126" y="504"/>
                </a:lnTo>
                <a:lnTo>
                  <a:pt x="126" y="498"/>
                </a:lnTo>
                <a:lnTo>
                  <a:pt x="132" y="498"/>
                </a:lnTo>
                <a:lnTo>
                  <a:pt x="132" y="492"/>
                </a:lnTo>
                <a:lnTo>
                  <a:pt x="138" y="492"/>
                </a:lnTo>
                <a:lnTo>
                  <a:pt x="144" y="486"/>
                </a:lnTo>
                <a:lnTo>
                  <a:pt x="156" y="480"/>
                </a:lnTo>
                <a:lnTo>
                  <a:pt x="156" y="474"/>
                </a:lnTo>
                <a:lnTo>
                  <a:pt x="156" y="468"/>
                </a:lnTo>
                <a:lnTo>
                  <a:pt x="156" y="462"/>
                </a:lnTo>
                <a:lnTo>
                  <a:pt x="156" y="456"/>
                </a:lnTo>
                <a:lnTo>
                  <a:pt x="156" y="450"/>
                </a:lnTo>
                <a:lnTo>
                  <a:pt x="162" y="438"/>
                </a:lnTo>
                <a:lnTo>
                  <a:pt x="168" y="426"/>
                </a:lnTo>
                <a:lnTo>
                  <a:pt x="174" y="426"/>
                </a:lnTo>
                <a:lnTo>
                  <a:pt x="174" y="420"/>
                </a:lnTo>
                <a:lnTo>
                  <a:pt x="180" y="414"/>
                </a:lnTo>
                <a:lnTo>
                  <a:pt x="186" y="420"/>
                </a:lnTo>
                <a:lnTo>
                  <a:pt x="186" y="414"/>
                </a:lnTo>
                <a:lnTo>
                  <a:pt x="180" y="408"/>
                </a:lnTo>
                <a:lnTo>
                  <a:pt x="180" y="402"/>
                </a:lnTo>
                <a:lnTo>
                  <a:pt x="186" y="402"/>
                </a:lnTo>
                <a:lnTo>
                  <a:pt x="192" y="402"/>
                </a:lnTo>
                <a:lnTo>
                  <a:pt x="192" y="396"/>
                </a:lnTo>
                <a:lnTo>
                  <a:pt x="198" y="396"/>
                </a:lnTo>
                <a:lnTo>
                  <a:pt x="204" y="396"/>
                </a:lnTo>
                <a:lnTo>
                  <a:pt x="210" y="396"/>
                </a:lnTo>
                <a:lnTo>
                  <a:pt x="210" y="390"/>
                </a:lnTo>
                <a:lnTo>
                  <a:pt x="216" y="390"/>
                </a:lnTo>
                <a:lnTo>
                  <a:pt x="216" y="384"/>
                </a:lnTo>
                <a:lnTo>
                  <a:pt x="222" y="384"/>
                </a:lnTo>
                <a:lnTo>
                  <a:pt x="222" y="378"/>
                </a:lnTo>
                <a:lnTo>
                  <a:pt x="228" y="372"/>
                </a:lnTo>
                <a:lnTo>
                  <a:pt x="234" y="360"/>
                </a:lnTo>
                <a:lnTo>
                  <a:pt x="234" y="354"/>
                </a:lnTo>
                <a:lnTo>
                  <a:pt x="240" y="354"/>
                </a:lnTo>
                <a:lnTo>
                  <a:pt x="240" y="348"/>
                </a:lnTo>
                <a:lnTo>
                  <a:pt x="246" y="348"/>
                </a:lnTo>
                <a:lnTo>
                  <a:pt x="240" y="348"/>
                </a:lnTo>
                <a:lnTo>
                  <a:pt x="234" y="342"/>
                </a:lnTo>
                <a:lnTo>
                  <a:pt x="234" y="336"/>
                </a:lnTo>
                <a:lnTo>
                  <a:pt x="240" y="330"/>
                </a:lnTo>
                <a:lnTo>
                  <a:pt x="246" y="330"/>
                </a:lnTo>
                <a:lnTo>
                  <a:pt x="246" y="324"/>
                </a:lnTo>
                <a:lnTo>
                  <a:pt x="234" y="318"/>
                </a:lnTo>
                <a:lnTo>
                  <a:pt x="234" y="312"/>
                </a:lnTo>
                <a:lnTo>
                  <a:pt x="234" y="300"/>
                </a:lnTo>
                <a:lnTo>
                  <a:pt x="240" y="288"/>
                </a:lnTo>
                <a:lnTo>
                  <a:pt x="240" y="276"/>
                </a:lnTo>
                <a:lnTo>
                  <a:pt x="246" y="258"/>
                </a:lnTo>
                <a:lnTo>
                  <a:pt x="258" y="252"/>
                </a:lnTo>
                <a:lnTo>
                  <a:pt x="270" y="258"/>
                </a:lnTo>
                <a:lnTo>
                  <a:pt x="282" y="252"/>
                </a:lnTo>
                <a:lnTo>
                  <a:pt x="288" y="252"/>
                </a:lnTo>
                <a:lnTo>
                  <a:pt x="294" y="252"/>
                </a:lnTo>
                <a:lnTo>
                  <a:pt x="300" y="258"/>
                </a:lnTo>
                <a:lnTo>
                  <a:pt x="318" y="252"/>
                </a:lnTo>
                <a:lnTo>
                  <a:pt x="366" y="252"/>
                </a:lnTo>
                <a:lnTo>
                  <a:pt x="378" y="252"/>
                </a:lnTo>
                <a:lnTo>
                  <a:pt x="396" y="252"/>
                </a:lnTo>
                <a:lnTo>
                  <a:pt x="408" y="252"/>
                </a:lnTo>
                <a:lnTo>
                  <a:pt x="408" y="246"/>
                </a:lnTo>
                <a:lnTo>
                  <a:pt x="414" y="240"/>
                </a:lnTo>
                <a:lnTo>
                  <a:pt x="414" y="228"/>
                </a:lnTo>
                <a:lnTo>
                  <a:pt x="420" y="222"/>
                </a:lnTo>
                <a:lnTo>
                  <a:pt x="420" y="216"/>
                </a:lnTo>
                <a:lnTo>
                  <a:pt x="426" y="210"/>
                </a:lnTo>
                <a:lnTo>
                  <a:pt x="444" y="198"/>
                </a:lnTo>
                <a:lnTo>
                  <a:pt x="462" y="198"/>
                </a:lnTo>
                <a:lnTo>
                  <a:pt x="474" y="204"/>
                </a:lnTo>
                <a:lnTo>
                  <a:pt x="498" y="198"/>
                </a:lnTo>
                <a:lnTo>
                  <a:pt x="498" y="204"/>
                </a:lnTo>
                <a:lnTo>
                  <a:pt x="540" y="210"/>
                </a:lnTo>
                <a:lnTo>
                  <a:pt x="564" y="210"/>
                </a:lnTo>
                <a:lnTo>
                  <a:pt x="588" y="210"/>
                </a:lnTo>
                <a:lnTo>
                  <a:pt x="612" y="210"/>
                </a:lnTo>
                <a:lnTo>
                  <a:pt x="612" y="216"/>
                </a:lnTo>
                <a:lnTo>
                  <a:pt x="618" y="222"/>
                </a:lnTo>
                <a:lnTo>
                  <a:pt x="618" y="228"/>
                </a:lnTo>
                <a:lnTo>
                  <a:pt x="624" y="240"/>
                </a:lnTo>
                <a:lnTo>
                  <a:pt x="624" y="246"/>
                </a:lnTo>
                <a:lnTo>
                  <a:pt x="630" y="252"/>
                </a:lnTo>
                <a:lnTo>
                  <a:pt x="630" y="258"/>
                </a:lnTo>
                <a:lnTo>
                  <a:pt x="636" y="264"/>
                </a:lnTo>
                <a:lnTo>
                  <a:pt x="636" y="270"/>
                </a:lnTo>
                <a:lnTo>
                  <a:pt x="630" y="282"/>
                </a:lnTo>
                <a:lnTo>
                  <a:pt x="630" y="288"/>
                </a:lnTo>
                <a:lnTo>
                  <a:pt x="630" y="300"/>
                </a:lnTo>
                <a:lnTo>
                  <a:pt x="630" y="306"/>
                </a:lnTo>
                <a:lnTo>
                  <a:pt x="636" y="306"/>
                </a:lnTo>
                <a:lnTo>
                  <a:pt x="642" y="306"/>
                </a:lnTo>
                <a:lnTo>
                  <a:pt x="648" y="312"/>
                </a:lnTo>
                <a:lnTo>
                  <a:pt x="666" y="312"/>
                </a:lnTo>
                <a:lnTo>
                  <a:pt x="696" y="306"/>
                </a:lnTo>
                <a:lnTo>
                  <a:pt x="732" y="300"/>
                </a:lnTo>
                <a:lnTo>
                  <a:pt x="732" y="288"/>
                </a:lnTo>
                <a:lnTo>
                  <a:pt x="738" y="288"/>
                </a:lnTo>
                <a:lnTo>
                  <a:pt x="744" y="276"/>
                </a:lnTo>
                <a:lnTo>
                  <a:pt x="762" y="246"/>
                </a:lnTo>
                <a:lnTo>
                  <a:pt x="768" y="228"/>
                </a:lnTo>
                <a:lnTo>
                  <a:pt x="792" y="210"/>
                </a:lnTo>
                <a:lnTo>
                  <a:pt x="804" y="186"/>
                </a:lnTo>
                <a:lnTo>
                  <a:pt x="804" y="156"/>
                </a:lnTo>
                <a:lnTo>
                  <a:pt x="804" y="138"/>
                </a:lnTo>
                <a:lnTo>
                  <a:pt x="810" y="126"/>
                </a:lnTo>
                <a:lnTo>
                  <a:pt x="816" y="120"/>
                </a:lnTo>
                <a:lnTo>
                  <a:pt x="828" y="102"/>
                </a:lnTo>
                <a:lnTo>
                  <a:pt x="834" y="96"/>
                </a:lnTo>
                <a:lnTo>
                  <a:pt x="846" y="102"/>
                </a:lnTo>
                <a:lnTo>
                  <a:pt x="852" y="96"/>
                </a:lnTo>
                <a:lnTo>
                  <a:pt x="858" y="72"/>
                </a:lnTo>
                <a:lnTo>
                  <a:pt x="864" y="60"/>
                </a:lnTo>
                <a:lnTo>
                  <a:pt x="882" y="48"/>
                </a:lnTo>
                <a:lnTo>
                  <a:pt x="906" y="36"/>
                </a:lnTo>
                <a:lnTo>
                  <a:pt x="918" y="12"/>
                </a:lnTo>
                <a:lnTo>
                  <a:pt x="924" y="0"/>
                </a:lnTo>
                <a:lnTo>
                  <a:pt x="930" y="6"/>
                </a:lnTo>
                <a:lnTo>
                  <a:pt x="942" y="12"/>
                </a:lnTo>
                <a:lnTo>
                  <a:pt x="948" y="12"/>
                </a:lnTo>
                <a:lnTo>
                  <a:pt x="954" y="18"/>
                </a:lnTo>
                <a:lnTo>
                  <a:pt x="966" y="18"/>
                </a:lnTo>
                <a:lnTo>
                  <a:pt x="972" y="18"/>
                </a:lnTo>
                <a:lnTo>
                  <a:pt x="984" y="18"/>
                </a:lnTo>
                <a:lnTo>
                  <a:pt x="990" y="18"/>
                </a:lnTo>
                <a:lnTo>
                  <a:pt x="1002" y="48"/>
                </a:lnTo>
                <a:lnTo>
                  <a:pt x="1008" y="78"/>
                </a:lnTo>
                <a:lnTo>
                  <a:pt x="1020" y="78"/>
                </a:lnTo>
                <a:lnTo>
                  <a:pt x="1020" y="90"/>
                </a:lnTo>
                <a:lnTo>
                  <a:pt x="1026" y="102"/>
                </a:lnTo>
                <a:lnTo>
                  <a:pt x="1044" y="120"/>
                </a:lnTo>
                <a:lnTo>
                  <a:pt x="1044" y="132"/>
                </a:lnTo>
                <a:lnTo>
                  <a:pt x="1056" y="150"/>
                </a:lnTo>
                <a:lnTo>
                  <a:pt x="1050" y="150"/>
                </a:lnTo>
                <a:lnTo>
                  <a:pt x="1044" y="156"/>
                </a:lnTo>
                <a:lnTo>
                  <a:pt x="1044" y="162"/>
                </a:lnTo>
                <a:lnTo>
                  <a:pt x="1038" y="162"/>
                </a:lnTo>
                <a:lnTo>
                  <a:pt x="1032" y="162"/>
                </a:lnTo>
                <a:lnTo>
                  <a:pt x="1026" y="168"/>
                </a:lnTo>
                <a:lnTo>
                  <a:pt x="1014" y="174"/>
                </a:lnTo>
                <a:lnTo>
                  <a:pt x="1014" y="186"/>
                </a:lnTo>
                <a:lnTo>
                  <a:pt x="1014" y="192"/>
                </a:lnTo>
                <a:lnTo>
                  <a:pt x="1014" y="198"/>
                </a:lnTo>
                <a:lnTo>
                  <a:pt x="1020" y="204"/>
                </a:lnTo>
                <a:lnTo>
                  <a:pt x="1026" y="204"/>
                </a:lnTo>
                <a:lnTo>
                  <a:pt x="1032" y="204"/>
                </a:lnTo>
                <a:lnTo>
                  <a:pt x="1032" y="210"/>
                </a:lnTo>
                <a:lnTo>
                  <a:pt x="1038" y="210"/>
                </a:lnTo>
                <a:lnTo>
                  <a:pt x="1032" y="216"/>
                </a:lnTo>
                <a:lnTo>
                  <a:pt x="1026" y="228"/>
                </a:lnTo>
                <a:lnTo>
                  <a:pt x="1026" y="234"/>
                </a:lnTo>
                <a:lnTo>
                  <a:pt x="1032" y="240"/>
                </a:lnTo>
                <a:lnTo>
                  <a:pt x="1032" y="246"/>
                </a:lnTo>
                <a:lnTo>
                  <a:pt x="1032" y="252"/>
                </a:lnTo>
                <a:lnTo>
                  <a:pt x="1032" y="258"/>
                </a:lnTo>
                <a:lnTo>
                  <a:pt x="1038" y="264"/>
                </a:lnTo>
                <a:lnTo>
                  <a:pt x="1032" y="276"/>
                </a:lnTo>
                <a:lnTo>
                  <a:pt x="1026" y="276"/>
                </a:lnTo>
                <a:lnTo>
                  <a:pt x="1020" y="276"/>
                </a:lnTo>
                <a:lnTo>
                  <a:pt x="996" y="282"/>
                </a:lnTo>
                <a:lnTo>
                  <a:pt x="996" y="288"/>
                </a:lnTo>
                <a:lnTo>
                  <a:pt x="996" y="294"/>
                </a:lnTo>
                <a:lnTo>
                  <a:pt x="996" y="300"/>
                </a:lnTo>
                <a:lnTo>
                  <a:pt x="996" y="306"/>
                </a:lnTo>
                <a:lnTo>
                  <a:pt x="984" y="324"/>
                </a:lnTo>
                <a:lnTo>
                  <a:pt x="984" y="330"/>
                </a:lnTo>
                <a:lnTo>
                  <a:pt x="984" y="336"/>
                </a:lnTo>
                <a:lnTo>
                  <a:pt x="978" y="336"/>
                </a:lnTo>
                <a:lnTo>
                  <a:pt x="978" y="342"/>
                </a:lnTo>
                <a:lnTo>
                  <a:pt x="984" y="360"/>
                </a:lnTo>
                <a:lnTo>
                  <a:pt x="978" y="366"/>
                </a:lnTo>
                <a:lnTo>
                  <a:pt x="978" y="372"/>
                </a:lnTo>
                <a:lnTo>
                  <a:pt x="972" y="372"/>
                </a:lnTo>
                <a:lnTo>
                  <a:pt x="972" y="378"/>
                </a:lnTo>
                <a:lnTo>
                  <a:pt x="972" y="384"/>
                </a:lnTo>
                <a:lnTo>
                  <a:pt x="972" y="390"/>
                </a:lnTo>
                <a:lnTo>
                  <a:pt x="966" y="402"/>
                </a:lnTo>
                <a:lnTo>
                  <a:pt x="960" y="414"/>
                </a:lnTo>
                <a:lnTo>
                  <a:pt x="954" y="420"/>
                </a:lnTo>
                <a:lnTo>
                  <a:pt x="948" y="426"/>
                </a:lnTo>
                <a:lnTo>
                  <a:pt x="948" y="438"/>
                </a:lnTo>
                <a:lnTo>
                  <a:pt x="942" y="444"/>
                </a:lnTo>
                <a:lnTo>
                  <a:pt x="936" y="450"/>
                </a:lnTo>
                <a:lnTo>
                  <a:pt x="930" y="456"/>
                </a:lnTo>
                <a:lnTo>
                  <a:pt x="924" y="462"/>
                </a:lnTo>
                <a:lnTo>
                  <a:pt x="924" y="474"/>
                </a:lnTo>
                <a:lnTo>
                  <a:pt x="918" y="474"/>
                </a:lnTo>
                <a:lnTo>
                  <a:pt x="918" y="480"/>
                </a:lnTo>
                <a:lnTo>
                  <a:pt x="918" y="486"/>
                </a:lnTo>
                <a:lnTo>
                  <a:pt x="918" y="504"/>
                </a:lnTo>
                <a:lnTo>
                  <a:pt x="918" y="510"/>
                </a:lnTo>
                <a:lnTo>
                  <a:pt x="918" y="522"/>
                </a:lnTo>
                <a:lnTo>
                  <a:pt x="918" y="528"/>
                </a:lnTo>
                <a:lnTo>
                  <a:pt x="924" y="534"/>
                </a:lnTo>
                <a:lnTo>
                  <a:pt x="924" y="540"/>
                </a:lnTo>
                <a:lnTo>
                  <a:pt x="924" y="546"/>
                </a:lnTo>
                <a:lnTo>
                  <a:pt x="918" y="546"/>
                </a:lnTo>
                <a:lnTo>
                  <a:pt x="918" y="552"/>
                </a:lnTo>
                <a:lnTo>
                  <a:pt x="912" y="546"/>
                </a:lnTo>
                <a:lnTo>
                  <a:pt x="912" y="552"/>
                </a:lnTo>
                <a:lnTo>
                  <a:pt x="912" y="570"/>
                </a:lnTo>
                <a:lnTo>
                  <a:pt x="906" y="588"/>
                </a:lnTo>
                <a:lnTo>
                  <a:pt x="900" y="606"/>
                </a:lnTo>
                <a:lnTo>
                  <a:pt x="906" y="624"/>
                </a:lnTo>
                <a:lnTo>
                  <a:pt x="900" y="624"/>
                </a:lnTo>
                <a:lnTo>
                  <a:pt x="894" y="630"/>
                </a:lnTo>
                <a:lnTo>
                  <a:pt x="888" y="630"/>
                </a:lnTo>
                <a:lnTo>
                  <a:pt x="882" y="630"/>
                </a:lnTo>
                <a:lnTo>
                  <a:pt x="882" y="636"/>
                </a:lnTo>
                <a:lnTo>
                  <a:pt x="876" y="642"/>
                </a:lnTo>
                <a:lnTo>
                  <a:pt x="870" y="642"/>
                </a:lnTo>
                <a:lnTo>
                  <a:pt x="870" y="648"/>
                </a:lnTo>
                <a:lnTo>
                  <a:pt x="870" y="654"/>
                </a:lnTo>
                <a:lnTo>
                  <a:pt x="864" y="654"/>
                </a:lnTo>
                <a:lnTo>
                  <a:pt x="864" y="660"/>
                </a:lnTo>
                <a:lnTo>
                  <a:pt x="846" y="666"/>
                </a:lnTo>
                <a:lnTo>
                  <a:pt x="828" y="672"/>
                </a:lnTo>
                <a:lnTo>
                  <a:pt x="816" y="660"/>
                </a:lnTo>
                <a:lnTo>
                  <a:pt x="810" y="660"/>
                </a:lnTo>
                <a:lnTo>
                  <a:pt x="798" y="666"/>
                </a:lnTo>
                <a:lnTo>
                  <a:pt x="786" y="666"/>
                </a:lnTo>
                <a:lnTo>
                  <a:pt x="780" y="672"/>
                </a:lnTo>
                <a:lnTo>
                  <a:pt x="768" y="678"/>
                </a:lnTo>
                <a:lnTo>
                  <a:pt x="762" y="660"/>
                </a:lnTo>
                <a:lnTo>
                  <a:pt x="762" y="654"/>
                </a:lnTo>
                <a:lnTo>
                  <a:pt x="756" y="636"/>
                </a:lnTo>
                <a:lnTo>
                  <a:pt x="762" y="624"/>
                </a:lnTo>
                <a:lnTo>
                  <a:pt x="756" y="606"/>
                </a:lnTo>
                <a:lnTo>
                  <a:pt x="756" y="600"/>
                </a:lnTo>
                <a:lnTo>
                  <a:pt x="762" y="594"/>
                </a:lnTo>
                <a:lnTo>
                  <a:pt x="768" y="600"/>
                </a:lnTo>
                <a:lnTo>
                  <a:pt x="768" y="594"/>
                </a:lnTo>
                <a:lnTo>
                  <a:pt x="768" y="588"/>
                </a:lnTo>
                <a:lnTo>
                  <a:pt x="774" y="582"/>
                </a:lnTo>
                <a:lnTo>
                  <a:pt x="768" y="576"/>
                </a:lnTo>
                <a:lnTo>
                  <a:pt x="762" y="576"/>
                </a:lnTo>
                <a:lnTo>
                  <a:pt x="756" y="576"/>
                </a:lnTo>
                <a:lnTo>
                  <a:pt x="690" y="576"/>
                </a:lnTo>
                <a:lnTo>
                  <a:pt x="624" y="570"/>
                </a:lnTo>
                <a:lnTo>
                  <a:pt x="600" y="564"/>
                </a:lnTo>
                <a:lnTo>
                  <a:pt x="576" y="564"/>
                </a:lnTo>
                <a:lnTo>
                  <a:pt x="558" y="570"/>
                </a:lnTo>
                <a:lnTo>
                  <a:pt x="552" y="576"/>
                </a:lnTo>
                <a:lnTo>
                  <a:pt x="552" y="582"/>
                </a:lnTo>
                <a:lnTo>
                  <a:pt x="552" y="588"/>
                </a:lnTo>
                <a:lnTo>
                  <a:pt x="546" y="594"/>
                </a:lnTo>
                <a:lnTo>
                  <a:pt x="546" y="600"/>
                </a:lnTo>
                <a:lnTo>
                  <a:pt x="540" y="606"/>
                </a:lnTo>
                <a:lnTo>
                  <a:pt x="534" y="618"/>
                </a:lnTo>
                <a:lnTo>
                  <a:pt x="534" y="624"/>
                </a:lnTo>
                <a:lnTo>
                  <a:pt x="534" y="630"/>
                </a:lnTo>
                <a:lnTo>
                  <a:pt x="534" y="636"/>
                </a:lnTo>
                <a:lnTo>
                  <a:pt x="528" y="636"/>
                </a:lnTo>
                <a:lnTo>
                  <a:pt x="516" y="642"/>
                </a:lnTo>
                <a:lnTo>
                  <a:pt x="516" y="648"/>
                </a:lnTo>
                <a:lnTo>
                  <a:pt x="510" y="648"/>
                </a:lnTo>
                <a:lnTo>
                  <a:pt x="504" y="654"/>
                </a:lnTo>
                <a:lnTo>
                  <a:pt x="492" y="666"/>
                </a:lnTo>
                <a:lnTo>
                  <a:pt x="492" y="672"/>
                </a:lnTo>
                <a:lnTo>
                  <a:pt x="492" y="684"/>
                </a:lnTo>
                <a:lnTo>
                  <a:pt x="486" y="690"/>
                </a:lnTo>
                <a:lnTo>
                  <a:pt x="480" y="696"/>
                </a:lnTo>
                <a:lnTo>
                  <a:pt x="486" y="702"/>
                </a:lnTo>
                <a:lnTo>
                  <a:pt x="492" y="702"/>
                </a:lnTo>
                <a:lnTo>
                  <a:pt x="486" y="708"/>
                </a:lnTo>
                <a:lnTo>
                  <a:pt x="480" y="708"/>
                </a:lnTo>
                <a:lnTo>
                  <a:pt x="480" y="714"/>
                </a:lnTo>
                <a:lnTo>
                  <a:pt x="474" y="714"/>
                </a:lnTo>
                <a:lnTo>
                  <a:pt x="474" y="720"/>
                </a:lnTo>
                <a:lnTo>
                  <a:pt x="480" y="726"/>
                </a:lnTo>
                <a:lnTo>
                  <a:pt x="474" y="726"/>
                </a:lnTo>
                <a:lnTo>
                  <a:pt x="474" y="738"/>
                </a:lnTo>
                <a:lnTo>
                  <a:pt x="474" y="744"/>
                </a:lnTo>
                <a:lnTo>
                  <a:pt x="474" y="750"/>
                </a:lnTo>
                <a:lnTo>
                  <a:pt x="480" y="750"/>
                </a:lnTo>
                <a:lnTo>
                  <a:pt x="480" y="756"/>
                </a:lnTo>
                <a:lnTo>
                  <a:pt x="492" y="762"/>
                </a:lnTo>
                <a:lnTo>
                  <a:pt x="498" y="774"/>
                </a:lnTo>
                <a:lnTo>
                  <a:pt x="498" y="780"/>
                </a:lnTo>
                <a:lnTo>
                  <a:pt x="504" y="786"/>
                </a:lnTo>
                <a:lnTo>
                  <a:pt x="510" y="792"/>
                </a:lnTo>
                <a:lnTo>
                  <a:pt x="504" y="798"/>
                </a:lnTo>
                <a:lnTo>
                  <a:pt x="504" y="804"/>
                </a:lnTo>
                <a:lnTo>
                  <a:pt x="504" y="810"/>
                </a:lnTo>
                <a:lnTo>
                  <a:pt x="498" y="822"/>
                </a:lnTo>
                <a:lnTo>
                  <a:pt x="492" y="828"/>
                </a:lnTo>
                <a:lnTo>
                  <a:pt x="492" y="834"/>
                </a:lnTo>
                <a:lnTo>
                  <a:pt x="486" y="840"/>
                </a:lnTo>
                <a:lnTo>
                  <a:pt x="480" y="846"/>
                </a:lnTo>
                <a:lnTo>
                  <a:pt x="474" y="852"/>
                </a:lnTo>
                <a:lnTo>
                  <a:pt x="468" y="858"/>
                </a:lnTo>
                <a:lnTo>
                  <a:pt x="474" y="858"/>
                </a:lnTo>
                <a:lnTo>
                  <a:pt x="468" y="864"/>
                </a:lnTo>
                <a:lnTo>
                  <a:pt x="474" y="870"/>
                </a:lnTo>
                <a:lnTo>
                  <a:pt x="474" y="876"/>
                </a:lnTo>
                <a:lnTo>
                  <a:pt x="456" y="894"/>
                </a:lnTo>
                <a:lnTo>
                  <a:pt x="450" y="894"/>
                </a:lnTo>
                <a:lnTo>
                  <a:pt x="444" y="900"/>
                </a:lnTo>
                <a:lnTo>
                  <a:pt x="444" y="894"/>
                </a:lnTo>
                <a:lnTo>
                  <a:pt x="438" y="894"/>
                </a:lnTo>
                <a:lnTo>
                  <a:pt x="432" y="900"/>
                </a:lnTo>
                <a:lnTo>
                  <a:pt x="432" y="906"/>
                </a:lnTo>
                <a:lnTo>
                  <a:pt x="420" y="906"/>
                </a:lnTo>
                <a:lnTo>
                  <a:pt x="420" y="912"/>
                </a:lnTo>
                <a:lnTo>
                  <a:pt x="420" y="918"/>
                </a:lnTo>
                <a:lnTo>
                  <a:pt x="426" y="918"/>
                </a:lnTo>
                <a:lnTo>
                  <a:pt x="426" y="924"/>
                </a:lnTo>
                <a:lnTo>
                  <a:pt x="426" y="930"/>
                </a:lnTo>
                <a:lnTo>
                  <a:pt x="420" y="930"/>
                </a:lnTo>
                <a:lnTo>
                  <a:pt x="414" y="936"/>
                </a:lnTo>
                <a:lnTo>
                  <a:pt x="414" y="942"/>
                </a:lnTo>
                <a:lnTo>
                  <a:pt x="414" y="948"/>
                </a:lnTo>
                <a:lnTo>
                  <a:pt x="414" y="954"/>
                </a:lnTo>
                <a:lnTo>
                  <a:pt x="426" y="960"/>
                </a:lnTo>
                <a:lnTo>
                  <a:pt x="432" y="966"/>
                </a:lnTo>
                <a:lnTo>
                  <a:pt x="438" y="972"/>
                </a:lnTo>
                <a:lnTo>
                  <a:pt x="444" y="972"/>
                </a:lnTo>
                <a:lnTo>
                  <a:pt x="444" y="978"/>
                </a:lnTo>
                <a:lnTo>
                  <a:pt x="450" y="978"/>
                </a:lnTo>
                <a:lnTo>
                  <a:pt x="450" y="984"/>
                </a:lnTo>
                <a:lnTo>
                  <a:pt x="456" y="990"/>
                </a:lnTo>
                <a:lnTo>
                  <a:pt x="456" y="996"/>
                </a:lnTo>
                <a:lnTo>
                  <a:pt x="462" y="1008"/>
                </a:lnTo>
                <a:lnTo>
                  <a:pt x="468" y="1008"/>
                </a:lnTo>
                <a:lnTo>
                  <a:pt x="468" y="1002"/>
                </a:lnTo>
                <a:lnTo>
                  <a:pt x="474" y="1008"/>
                </a:lnTo>
                <a:lnTo>
                  <a:pt x="480" y="1002"/>
                </a:lnTo>
                <a:lnTo>
                  <a:pt x="486" y="1008"/>
                </a:lnTo>
                <a:lnTo>
                  <a:pt x="486" y="1014"/>
                </a:lnTo>
                <a:lnTo>
                  <a:pt x="492" y="1014"/>
                </a:lnTo>
                <a:lnTo>
                  <a:pt x="492" y="1020"/>
                </a:lnTo>
                <a:lnTo>
                  <a:pt x="486" y="1020"/>
                </a:lnTo>
                <a:lnTo>
                  <a:pt x="492" y="1020"/>
                </a:lnTo>
                <a:lnTo>
                  <a:pt x="486" y="1020"/>
                </a:lnTo>
                <a:lnTo>
                  <a:pt x="486" y="1026"/>
                </a:lnTo>
                <a:lnTo>
                  <a:pt x="492" y="1026"/>
                </a:lnTo>
                <a:lnTo>
                  <a:pt x="486" y="1026"/>
                </a:lnTo>
                <a:lnTo>
                  <a:pt x="492" y="1032"/>
                </a:lnTo>
                <a:close/>
              </a:path>
            </a:pathLst>
          </a:custGeom>
          <a:solidFill>
            <a:srgbClr val="FF9900"/>
          </a:solidFill>
          <a:ln w="9525">
            <a:solidFill>
              <a:schemeClr val="bg1"/>
            </a:solidFill>
            <a:round/>
            <a:headEnd/>
            <a:tailEnd/>
          </a:ln>
        </p:spPr>
        <p:txBody>
          <a:bodyPr/>
          <a:lstStyle/>
          <a:p>
            <a:endParaRPr lang="en-GB"/>
          </a:p>
        </p:txBody>
      </p:sp>
      <p:sp>
        <p:nvSpPr>
          <p:cNvPr id="17444" name="Freeform 31"/>
          <p:cNvSpPr>
            <a:spLocks noEditPoints="1"/>
          </p:cNvSpPr>
          <p:nvPr/>
        </p:nvSpPr>
        <p:spPr bwMode="gray">
          <a:xfrm>
            <a:off x="1443038" y="5210175"/>
            <a:ext cx="825500" cy="168275"/>
          </a:xfrm>
          <a:custGeom>
            <a:avLst/>
            <a:gdLst>
              <a:gd name="T0" fmla="*/ 53909 w 1056"/>
              <a:gd name="T1" fmla="*/ 5640 h 210"/>
              <a:gd name="T2" fmla="*/ 49221 w 1056"/>
              <a:gd name="T3" fmla="*/ 4028 h 210"/>
              <a:gd name="T4" fmla="*/ 44533 w 1056"/>
              <a:gd name="T5" fmla="*/ 4028 h 210"/>
              <a:gd name="T6" fmla="*/ 42189 w 1056"/>
              <a:gd name="T7" fmla="*/ 4834 h 210"/>
              <a:gd name="T8" fmla="*/ 39846 w 1056"/>
              <a:gd name="T9" fmla="*/ 5640 h 210"/>
              <a:gd name="T10" fmla="*/ 35939 w 1056"/>
              <a:gd name="T11" fmla="*/ 7251 h 210"/>
              <a:gd name="T12" fmla="*/ 32814 w 1056"/>
              <a:gd name="T13" fmla="*/ 6445 h 210"/>
              <a:gd name="T14" fmla="*/ 32814 w 1056"/>
              <a:gd name="T15" fmla="*/ 4028 h 210"/>
              <a:gd name="T16" fmla="*/ 32033 w 1056"/>
              <a:gd name="T17" fmla="*/ 5640 h 210"/>
              <a:gd name="T18" fmla="*/ 29689 w 1056"/>
              <a:gd name="T19" fmla="*/ 8057 h 210"/>
              <a:gd name="T20" fmla="*/ 28908 w 1056"/>
              <a:gd name="T21" fmla="*/ 9668 h 210"/>
              <a:gd name="T22" fmla="*/ 28908 w 1056"/>
              <a:gd name="T23" fmla="*/ 12085 h 210"/>
              <a:gd name="T24" fmla="*/ 28908 w 1056"/>
              <a:gd name="T25" fmla="*/ 12891 h 210"/>
              <a:gd name="T26" fmla="*/ 29689 w 1056"/>
              <a:gd name="T27" fmla="*/ 12891 h 210"/>
              <a:gd name="T28" fmla="*/ 26564 w 1056"/>
              <a:gd name="T29" fmla="*/ 12891 h 210"/>
              <a:gd name="T30" fmla="*/ 20313 w 1056"/>
              <a:gd name="T31" fmla="*/ 12891 h 210"/>
              <a:gd name="T32" fmla="*/ 15626 w 1056"/>
              <a:gd name="T33" fmla="*/ 13697 h 210"/>
              <a:gd name="T34" fmla="*/ 10157 w 1056"/>
              <a:gd name="T35" fmla="*/ 13697 h 210"/>
              <a:gd name="T36" fmla="*/ 4688 w 1056"/>
              <a:gd name="T37" fmla="*/ 13697 h 210"/>
              <a:gd name="T38" fmla="*/ 781 w 1056"/>
              <a:gd name="T39" fmla="*/ 14502 h 210"/>
              <a:gd name="T40" fmla="*/ 2344 w 1056"/>
              <a:gd name="T41" fmla="*/ 11280 h 210"/>
              <a:gd name="T42" fmla="*/ 6250 w 1056"/>
              <a:gd name="T43" fmla="*/ 12085 h 210"/>
              <a:gd name="T44" fmla="*/ 8594 w 1056"/>
              <a:gd name="T45" fmla="*/ 9668 h 210"/>
              <a:gd name="T46" fmla="*/ 20313 w 1056"/>
              <a:gd name="T47" fmla="*/ 8057 h 210"/>
              <a:gd name="T48" fmla="*/ 22657 w 1056"/>
              <a:gd name="T49" fmla="*/ 4028 h 210"/>
              <a:gd name="T50" fmla="*/ 26564 w 1056"/>
              <a:gd name="T51" fmla="*/ 806 h 210"/>
              <a:gd name="T52" fmla="*/ 32033 w 1056"/>
              <a:gd name="T53" fmla="*/ 2417 h 210"/>
              <a:gd name="T54" fmla="*/ 57034 w 1056"/>
              <a:gd name="T55" fmla="*/ 806 h 210"/>
              <a:gd name="T56" fmla="*/ 58596 w 1056"/>
              <a:gd name="T57" fmla="*/ 3223 h 210"/>
              <a:gd name="T58" fmla="*/ 66409 w 1056"/>
              <a:gd name="T59" fmla="*/ 12085 h 210"/>
              <a:gd name="T60" fmla="*/ 71097 w 1056"/>
              <a:gd name="T61" fmla="*/ 14502 h 210"/>
              <a:gd name="T62" fmla="*/ 66409 w 1056"/>
              <a:gd name="T63" fmla="*/ 14502 h 210"/>
              <a:gd name="T64" fmla="*/ 61722 w 1056"/>
              <a:gd name="T65" fmla="*/ 12891 h 210"/>
              <a:gd name="T66" fmla="*/ 57815 w 1056"/>
              <a:gd name="T67" fmla="*/ 12891 h 210"/>
              <a:gd name="T68" fmla="*/ 53909 w 1056"/>
              <a:gd name="T69" fmla="*/ 12085 h 210"/>
              <a:gd name="T70" fmla="*/ 50784 w 1056"/>
              <a:gd name="T71" fmla="*/ 11280 h 210"/>
              <a:gd name="T72" fmla="*/ 46096 w 1056"/>
              <a:gd name="T73" fmla="*/ 12085 h 210"/>
              <a:gd name="T74" fmla="*/ 42189 w 1056"/>
              <a:gd name="T75" fmla="*/ 12085 h 210"/>
              <a:gd name="T76" fmla="*/ 38283 w 1056"/>
              <a:gd name="T77" fmla="*/ 12085 h 210"/>
              <a:gd name="T78" fmla="*/ 32814 w 1056"/>
              <a:gd name="T79" fmla="*/ 12085 h 210"/>
              <a:gd name="T80" fmla="*/ 29689 w 1056"/>
              <a:gd name="T81" fmla="*/ 12891 h 210"/>
              <a:gd name="T82" fmla="*/ 32033 w 1056"/>
              <a:gd name="T83" fmla="*/ 11280 h 210"/>
              <a:gd name="T84" fmla="*/ 32814 w 1056"/>
              <a:gd name="T85" fmla="*/ 10474 h 210"/>
              <a:gd name="T86" fmla="*/ 35158 w 1056"/>
              <a:gd name="T87" fmla="*/ 10474 h 210"/>
              <a:gd name="T88" fmla="*/ 37502 w 1056"/>
              <a:gd name="T89" fmla="*/ 9668 h 210"/>
              <a:gd name="T90" fmla="*/ 39846 w 1056"/>
              <a:gd name="T91" fmla="*/ 8863 h 210"/>
              <a:gd name="T92" fmla="*/ 42189 w 1056"/>
              <a:gd name="T93" fmla="*/ 7251 h 210"/>
              <a:gd name="T94" fmla="*/ 44533 w 1056"/>
              <a:gd name="T95" fmla="*/ 6445 h 210"/>
              <a:gd name="T96" fmla="*/ 46877 w 1056"/>
              <a:gd name="T97" fmla="*/ 4028 h 210"/>
              <a:gd name="T98" fmla="*/ 50784 w 1056"/>
              <a:gd name="T99" fmla="*/ 4028 h 210"/>
              <a:gd name="T100" fmla="*/ 56253 w 1056"/>
              <a:gd name="T101" fmla="*/ 5640 h 210"/>
              <a:gd name="T102" fmla="*/ 60159 w 1056"/>
              <a:gd name="T103" fmla="*/ 8863 h 210"/>
              <a:gd name="T104" fmla="*/ 53909 w 1056"/>
              <a:gd name="T105" fmla="*/ 8057 h 210"/>
              <a:gd name="T106" fmla="*/ 56253 w 1056"/>
              <a:gd name="T107" fmla="*/ 9668 h 210"/>
              <a:gd name="T108" fmla="*/ 60940 w 1056"/>
              <a:gd name="T109" fmla="*/ 12085 h 210"/>
              <a:gd name="T110" fmla="*/ 65628 w 1056"/>
              <a:gd name="T111" fmla="*/ 11280 h 210"/>
              <a:gd name="T112" fmla="*/ 65628 w 1056"/>
              <a:gd name="T113" fmla="*/ 11280 h 210"/>
              <a:gd name="T114" fmla="*/ 60940 w 1056"/>
              <a:gd name="T115" fmla="*/ 10474 h 210"/>
              <a:gd name="T116" fmla="*/ 59378 w 1056"/>
              <a:gd name="T117" fmla="*/ 11280 h 210"/>
              <a:gd name="T118" fmla="*/ 29689 w 1056"/>
              <a:gd name="T119" fmla="*/ 9668 h 210"/>
              <a:gd name="T120" fmla="*/ 32033 w 1056"/>
              <a:gd name="T121" fmla="*/ 9668 h 210"/>
              <a:gd name="T122" fmla="*/ 31251 w 1056"/>
              <a:gd name="T123" fmla="*/ 11280 h 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6"/>
              <a:gd name="T187" fmla="*/ 0 h 210"/>
              <a:gd name="T188" fmla="*/ 1056 w 1056"/>
              <a:gd name="T189" fmla="*/ 210 h 2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6" h="210">
                <a:moveTo>
                  <a:pt x="870" y="90"/>
                </a:moveTo>
                <a:lnTo>
                  <a:pt x="864" y="90"/>
                </a:lnTo>
                <a:lnTo>
                  <a:pt x="852" y="84"/>
                </a:lnTo>
                <a:lnTo>
                  <a:pt x="846" y="84"/>
                </a:lnTo>
                <a:lnTo>
                  <a:pt x="846" y="78"/>
                </a:lnTo>
                <a:lnTo>
                  <a:pt x="840" y="78"/>
                </a:lnTo>
                <a:lnTo>
                  <a:pt x="834" y="78"/>
                </a:lnTo>
                <a:lnTo>
                  <a:pt x="834" y="72"/>
                </a:lnTo>
                <a:lnTo>
                  <a:pt x="804" y="78"/>
                </a:lnTo>
                <a:lnTo>
                  <a:pt x="798" y="78"/>
                </a:lnTo>
                <a:lnTo>
                  <a:pt x="792" y="72"/>
                </a:lnTo>
                <a:lnTo>
                  <a:pt x="780" y="60"/>
                </a:lnTo>
                <a:lnTo>
                  <a:pt x="768" y="54"/>
                </a:lnTo>
                <a:lnTo>
                  <a:pt x="756" y="54"/>
                </a:lnTo>
                <a:lnTo>
                  <a:pt x="750" y="54"/>
                </a:lnTo>
                <a:lnTo>
                  <a:pt x="750" y="48"/>
                </a:lnTo>
                <a:lnTo>
                  <a:pt x="744" y="48"/>
                </a:lnTo>
                <a:lnTo>
                  <a:pt x="738" y="48"/>
                </a:lnTo>
                <a:lnTo>
                  <a:pt x="732" y="48"/>
                </a:lnTo>
                <a:lnTo>
                  <a:pt x="732" y="54"/>
                </a:lnTo>
                <a:lnTo>
                  <a:pt x="726" y="48"/>
                </a:lnTo>
                <a:lnTo>
                  <a:pt x="720" y="48"/>
                </a:lnTo>
                <a:lnTo>
                  <a:pt x="714" y="48"/>
                </a:lnTo>
                <a:lnTo>
                  <a:pt x="708" y="48"/>
                </a:lnTo>
                <a:lnTo>
                  <a:pt x="702" y="48"/>
                </a:lnTo>
                <a:lnTo>
                  <a:pt x="696" y="48"/>
                </a:lnTo>
                <a:lnTo>
                  <a:pt x="684" y="48"/>
                </a:lnTo>
                <a:lnTo>
                  <a:pt x="678" y="48"/>
                </a:lnTo>
                <a:lnTo>
                  <a:pt x="672" y="48"/>
                </a:lnTo>
                <a:lnTo>
                  <a:pt x="666" y="54"/>
                </a:lnTo>
                <a:lnTo>
                  <a:pt x="660" y="54"/>
                </a:lnTo>
                <a:lnTo>
                  <a:pt x="660" y="48"/>
                </a:lnTo>
                <a:lnTo>
                  <a:pt x="654" y="48"/>
                </a:lnTo>
                <a:lnTo>
                  <a:pt x="648" y="48"/>
                </a:lnTo>
                <a:lnTo>
                  <a:pt x="642" y="48"/>
                </a:lnTo>
                <a:lnTo>
                  <a:pt x="642" y="54"/>
                </a:lnTo>
                <a:lnTo>
                  <a:pt x="636" y="54"/>
                </a:lnTo>
                <a:lnTo>
                  <a:pt x="636" y="60"/>
                </a:lnTo>
                <a:lnTo>
                  <a:pt x="630" y="60"/>
                </a:lnTo>
                <a:lnTo>
                  <a:pt x="630" y="66"/>
                </a:lnTo>
                <a:lnTo>
                  <a:pt x="624" y="66"/>
                </a:lnTo>
                <a:lnTo>
                  <a:pt x="618" y="66"/>
                </a:lnTo>
                <a:lnTo>
                  <a:pt x="618" y="72"/>
                </a:lnTo>
                <a:lnTo>
                  <a:pt x="612" y="78"/>
                </a:lnTo>
                <a:lnTo>
                  <a:pt x="606" y="78"/>
                </a:lnTo>
                <a:lnTo>
                  <a:pt x="606" y="84"/>
                </a:lnTo>
                <a:lnTo>
                  <a:pt x="600" y="84"/>
                </a:lnTo>
                <a:lnTo>
                  <a:pt x="594" y="90"/>
                </a:lnTo>
                <a:lnTo>
                  <a:pt x="588" y="90"/>
                </a:lnTo>
                <a:lnTo>
                  <a:pt x="588" y="84"/>
                </a:lnTo>
                <a:lnTo>
                  <a:pt x="582" y="84"/>
                </a:lnTo>
                <a:lnTo>
                  <a:pt x="576" y="84"/>
                </a:lnTo>
                <a:lnTo>
                  <a:pt x="570" y="84"/>
                </a:lnTo>
                <a:lnTo>
                  <a:pt x="564" y="84"/>
                </a:lnTo>
                <a:lnTo>
                  <a:pt x="558" y="90"/>
                </a:lnTo>
                <a:lnTo>
                  <a:pt x="558" y="96"/>
                </a:lnTo>
                <a:lnTo>
                  <a:pt x="552" y="96"/>
                </a:lnTo>
                <a:lnTo>
                  <a:pt x="546" y="102"/>
                </a:lnTo>
                <a:lnTo>
                  <a:pt x="540" y="102"/>
                </a:lnTo>
                <a:lnTo>
                  <a:pt x="534" y="102"/>
                </a:lnTo>
                <a:lnTo>
                  <a:pt x="528" y="102"/>
                </a:lnTo>
                <a:lnTo>
                  <a:pt x="528" y="108"/>
                </a:lnTo>
                <a:lnTo>
                  <a:pt x="522" y="108"/>
                </a:lnTo>
                <a:lnTo>
                  <a:pt x="522" y="102"/>
                </a:lnTo>
                <a:lnTo>
                  <a:pt x="516" y="102"/>
                </a:lnTo>
                <a:lnTo>
                  <a:pt x="510" y="102"/>
                </a:lnTo>
                <a:lnTo>
                  <a:pt x="504" y="102"/>
                </a:lnTo>
                <a:lnTo>
                  <a:pt x="498" y="102"/>
                </a:lnTo>
                <a:lnTo>
                  <a:pt x="498" y="96"/>
                </a:lnTo>
                <a:lnTo>
                  <a:pt x="492" y="96"/>
                </a:lnTo>
                <a:lnTo>
                  <a:pt x="492" y="90"/>
                </a:lnTo>
                <a:lnTo>
                  <a:pt x="492" y="84"/>
                </a:lnTo>
                <a:lnTo>
                  <a:pt x="492" y="78"/>
                </a:lnTo>
                <a:lnTo>
                  <a:pt x="498" y="78"/>
                </a:lnTo>
                <a:lnTo>
                  <a:pt x="498" y="72"/>
                </a:lnTo>
                <a:lnTo>
                  <a:pt x="498" y="66"/>
                </a:lnTo>
                <a:lnTo>
                  <a:pt x="504" y="60"/>
                </a:lnTo>
                <a:lnTo>
                  <a:pt x="498" y="60"/>
                </a:lnTo>
                <a:lnTo>
                  <a:pt x="498" y="54"/>
                </a:lnTo>
                <a:lnTo>
                  <a:pt x="492" y="54"/>
                </a:lnTo>
                <a:lnTo>
                  <a:pt x="492" y="60"/>
                </a:lnTo>
                <a:lnTo>
                  <a:pt x="486" y="60"/>
                </a:lnTo>
                <a:lnTo>
                  <a:pt x="486" y="66"/>
                </a:lnTo>
                <a:lnTo>
                  <a:pt x="480" y="66"/>
                </a:lnTo>
                <a:lnTo>
                  <a:pt x="474" y="72"/>
                </a:lnTo>
                <a:lnTo>
                  <a:pt x="474" y="66"/>
                </a:lnTo>
                <a:lnTo>
                  <a:pt x="474" y="72"/>
                </a:lnTo>
                <a:lnTo>
                  <a:pt x="468" y="72"/>
                </a:lnTo>
                <a:lnTo>
                  <a:pt x="468" y="78"/>
                </a:lnTo>
                <a:lnTo>
                  <a:pt x="468" y="84"/>
                </a:lnTo>
                <a:lnTo>
                  <a:pt x="462" y="90"/>
                </a:lnTo>
                <a:lnTo>
                  <a:pt x="462" y="84"/>
                </a:lnTo>
                <a:lnTo>
                  <a:pt x="456" y="84"/>
                </a:lnTo>
                <a:lnTo>
                  <a:pt x="450" y="84"/>
                </a:lnTo>
                <a:lnTo>
                  <a:pt x="450" y="90"/>
                </a:lnTo>
                <a:lnTo>
                  <a:pt x="450" y="96"/>
                </a:lnTo>
                <a:lnTo>
                  <a:pt x="450" y="102"/>
                </a:lnTo>
                <a:lnTo>
                  <a:pt x="444" y="102"/>
                </a:lnTo>
                <a:lnTo>
                  <a:pt x="444" y="108"/>
                </a:lnTo>
                <a:lnTo>
                  <a:pt x="444" y="114"/>
                </a:lnTo>
                <a:lnTo>
                  <a:pt x="450" y="114"/>
                </a:lnTo>
                <a:lnTo>
                  <a:pt x="444" y="120"/>
                </a:lnTo>
                <a:lnTo>
                  <a:pt x="444" y="126"/>
                </a:lnTo>
                <a:lnTo>
                  <a:pt x="438" y="126"/>
                </a:lnTo>
                <a:lnTo>
                  <a:pt x="438" y="132"/>
                </a:lnTo>
                <a:lnTo>
                  <a:pt x="438" y="138"/>
                </a:lnTo>
                <a:lnTo>
                  <a:pt x="438" y="144"/>
                </a:lnTo>
                <a:lnTo>
                  <a:pt x="432" y="144"/>
                </a:lnTo>
                <a:lnTo>
                  <a:pt x="432" y="150"/>
                </a:lnTo>
                <a:lnTo>
                  <a:pt x="432" y="144"/>
                </a:lnTo>
                <a:lnTo>
                  <a:pt x="426" y="144"/>
                </a:lnTo>
                <a:lnTo>
                  <a:pt x="426" y="150"/>
                </a:lnTo>
                <a:lnTo>
                  <a:pt x="426" y="156"/>
                </a:lnTo>
                <a:lnTo>
                  <a:pt x="432" y="156"/>
                </a:lnTo>
                <a:lnTo>
                  <a:pt x="438" y="156"/>
                </a:lnTo>
                <a:lnTo>
                  <a:pt x="438" y="162"/>
                </a:lnTo>
                <a:lnTo>
                  <a:pt x="438" y="168"/>
                </a:lnTo>
                <a:lnTo>
                  <a:pt x="432" y="162"/>
                </a:lnTo>
                <a:lnTo>
                  <a:pt x="432" y="168"/>
                </a:lnTo>
                <a:lnTo>
                  <a:pt x="426" y="168"/>
                </a:lnTo>
                <a:lnTo>
                  <a:pt x="420" y="168"/>
                </a:lnTo>
                <a:lnTo>
                  <a:pt x="420" y="174"/>
                </a:lnTo>
                <a:lnTo>
                  <a:pt x="426" y="168"/>
                </a:lnTo>
                <a:lnTo>
                  <a:pt x="432" y="168"/>
                </a:lnTo>
                <a:lnTo>
                  <a:pt x="438" y="168"/>
                </a:lnTo>
                <a:lnTo>
                  <a:pt x="432" y="168"/>
                </a:lnTo>
                <a:lnTo>
                  <a:pt x="438" y="168"/>
                </a:lnTo>
                <a:lnTo>
                  <a:pt x="438" y="174"/>
                </a:lnTo>
                <a:lnTo>
                  <a:pt x="438" y="180"/>
                </a:lnTo>
                <a:lnTo>
                  <a:pt x="432" y="180"/>
                </a:lnTo>
                <a:lnTo>
                  <a:pt x="432" y="186"/>
                </a:lnTo>
                <a:lnTo>
                  <a:pt x="432" y="180"/>
                </a:lnTo>
                <a:lnTo>
                  <a:pt x="438" y="180"/>
                </a:lnTo>
                <a:lnTo>
                  <a:pt x="438" y="174"/>
                </a:lnTo>
                <a:lnTo>
                  <a:pt x="444" y="174"/>
                </a:lnTo>
                <a:lnTo>
                  <a:pt x="438" y="174"/>
                </a:lnTo>
                <a:lnTo>
                  <a:pt x="444" y="174"/>
                </a:lnTo>
                <a:lnTo>
                  <a:pt x="444" y="168"/>
                </a:lnTo>
                <a:lnTo>
                  <a:pt x="444" y="174"/>
                </a:lnTo>
                <a:lnTo>
                  <a:pt x="444" y="180"/>
                </a:lnTo>
                <a:lnTo>
                  <a:pt x="444" y="186"/>
                </a:lnTo>
                <a:lnTo>
                  <a:pt x="444" y="192"/>
                </a:lnTo>
                <a:lnTo>
                  <a:pt x="438" y="192"/>
                </a:lnTo>
                <a:lnTo>
                  <a:pt x="432" y="192"/>
                </a:lnTo>
                <a:lnTo>
                  <a:pt x="426" y="192"/>
                </a:lnTo>
                <a:lnTo>
                  <a:pt x="420" y="186"/>
                </a:lnTo>
                <a:lnTo>
                  <a:pt x="414" y="186"/>
                </a:lnTo>
                <a:lnTo>
                  <a:pt x="408" y="186"/>
                </a:lnTo>
                <a:lnTo>
                  <a:pt x="402" y="186"/>
                </a:lnTo>
                <a:lnTo>
                  <a:pt x="396" y="186"/>
                </a:lnTo>
                <a:lnTo>
                  <a:pt x="390" y="186"/>
                </a:lnTo>
                <a:lnTo>
                  <a:pt x="384" y="186"/>
                </a:lnTo>
                <a:lnTo>
                  <a:pt x="378" y="186"/>
                </a:lnTo>
                <a:lnTo>
                  <a:pt x="372" y="186"/>
                </a:lnTo>
                <a:lnTo>
                  <a:pt x="354" y="186"/>
                </a:lnTo>
                <a:lnTo>
                  <a:pt x="342" y="186"/>
                </a:lnTo>
                <a:lnTo>
                  <a:pt x="324" y="186"/>
                </a:lnTo>
                <a:lnTo>
                  <a:pt x="312" y="186"/>
                </a:lnTo>
                <a:lnTo>
                  <a:pt x="306" y="186"/>
                </a:lnTo>
                <a:lnTo>
                  <a:pt x="300" y="186"/>
                </a:lnTo>
                <a:lnTo>
                  <a:pt x="294" y="186"/>
                </a:lnTo>
                <a:lnTo>
                  <a:pt x="282" y="186"/>
                </a:lnTo>
                <a:lnTo>
                  <a:pt x="270" y="186"/>
                </a:lnTo>
                <a:lnTo>
                  <a:pt x="264" y="186"/>
                </a:lnTo>
                <a:lnTo>
                  <a:pt x="258" y="192"/>
                </a:lnTo>
                <a:lnTo>
                  <a:pt x="258" y="186"/>
                </a:lnTo>
                <a:lnTo>
                  <a:pt x="246" y="186"/>
                </a:lnTo>
                <a:lnTo>
                  <a:pt x="240" y="186"/>
                </a:lnTo>
                <a:lnTo>
                  <a:pt x="234" y="186"/>
                </a:lnTo>
                <a:lnTo>
                  <a:pt x="228" y="192"/>
                </a:lnTo>
                <a:lnTo>
                  <a:pt x="222" y="192"/>
                </a:lnTo>
                <a:lnTo>
                  <a:pt x="216" y="192"/>
                </a:lnTo>
                <a:lnTo>
                  <a:pt x="210" y="192"/>
                </a:lnTo>
                <a:lnTo>
                  <a:pt x="204" y="192"/>
                </a:lnTo>
                <a:lnTo>
                  <a:pt x="198" y="192"/>
                </a:lnTo>
                <a:lnTo>
                  <a:pt x="192" y="192"/>
                </a:lnTo>
                <a:lnTo>
                  <a:pt x="180" y="192"/>
                </a:lnTo>
                <a:lnTo>
                  <a:pt x="168" y="192"/>
                </a:lnTo>
                <a:lnTo>
                  <a:pt x="162" y="192"/>
                </a:lnTo>
                <a:lnTo>
                  <a:pt x="150" y="192"/>
                </a:lnTo>
                <a:lnTo>
                  <a:pt x="138" y="192"/>
                </a:lnTo>
                <a:lnTo>
                  <a:pt x="132" y="192"/>
                </a:lnTo>
                <a:lnTo>
                  <a:pt x="120" y="192"/>
                </a:lnTo>
                <a:lnTo>
                  <a:pt x="114" y="192"/>
                </a:lnTo>
                <a:lnTo>
                  <a:pt x="108" y="192"/>
                </a:lnTo>
                <a:lnTo>
                  <a:pt x="102" y="192"/>
                </a:lnTo>
                <a:lnTo>
                  <a:pt x="90" y="192"/>
                </a:lnTo>
                <a:lnTo>
                  <a:pt x="84" y="192"/>
                </a:lnTo>
                <a:lnTo>
                  <a:pt x="78" y="192"/>
                </a:lnTo>
                <a:lnTo>
                  <a:pt x="72" y="198"/>
                </a:lnTo>
                <a:lnTo>
                  <a:pt x="66" y="198"/>
                </a:lnTo>
                <a:lnTo>
                  <a:pt x="60" y="198"/>
                </a:lnTo>
                <a:lnTo>
                  <a:pt x="54" y="198"/>
                </a:lnTo>
                <a:lnTo>
                  <a:pt x="48" y="198"/>
                </a:lnTo>
                <a:lnTo>
                  <a:pt x="42" y="198"/>
                </a:lnTo>
                <a:lnTo>
                  <a:pt x="36" y="198"/>
                </a:lnTo>
                <a:lnTo>
                  <a:pt x="30" y="204"/>
                </a:lnTo>
                <a:lnTo>
                  <a:pt x="24" y="204"/>
                </a:lnTo>
                <a:lnTo>
                  <a:pt x="18" y="204"/>
                </a:lnTo>
                <a:lnTo>
                  <a:pt x="12" y="204"/>
                </a:lnTo>
                <a:lnTo>
                  <a:pt x="6" y="210"/>
                </a:lnTo>
                <a:lnTo>
                  <a:pt x="0" y="186"/>
                </a:lnTo>
                <a:lnTo>
                  <a:pt x="0" y="180"/>
                </a:lnTo>
                <a:lnTo>
                  <a:pt x="0" y="174"/>
                </a:lnTo>
                <a:lnTo>
                  <a:pt x="6" y="156"/>
                </a:lnTo>
                <a:lnTo>
                  <a:pt x="12" y="156"/>
                </a:lnTo>
                <a:lnTo>
                  <a:pt x="18" y="156"/>
                </a:lnTo>
                <a:lnTo>
                  <a:pt x="24" y="162"/>
                </a:lnTo>
                <a:lnTo>
                  <a:pt x="30" y="162"/>
                </a:lnTo>
                <a:lnTo>
                  <a:pt x="36" y="162"/>
                </a:lnTo>
                <a:lnTo>
                  <a:pt x="42" y="162"/>
                </a:lnTo>
                <a:lnTo>
                  <a:pt x="48" y="162"/>
                </a:lnTo>
                <a:lnTo>
                  <a:pt x="54" y="156"/>
                </a:lnTo>
                <a:lnTo>
                  <a:pt x="60" y="156"/>
                </a:lnTo>
                <a:lnTo>
                  <a:pt x="66" y="156"/>
                </a:lnTo>
                <a:lnTo>
                  <a:pt x="72" y="156"/>
                </a:lnTo>
                <a:lnTo>
                  <a:pt x="78" y="162"/>
                </a:lnTo>
                <a:lnTo>
                  <a:pt x="84" y="162"/>
                </a:lnTo>
                <a:lnTo>
                  <a:pt x="90" y="162"/>
                </a:lnTo>
                <a:lnTo>
                  <a:pt x="90" y="168"/>
                </a:lnTo>
                <a:lnTo>
                  <a:pt x="96" y="168"/>
                </a:lnTo>
                <a:lnTo>
                  <a:pt x="96" y="162"/>
                </a:lnTo>
                <a:lnTo>
                  <a:pt x="102" y="162"/>
                </a:lnTo>
                <a:lnTo>
                  <a:pt x="102" y="156"/>
                </a:lnTo>
                <a:lnTo>
                  <a:pt x="108" y="156"/>
                </a:lnTo>
                <a:lnTo>
                  <a:pt x="108" y="150"/>
                </a:lnTo>
                <a:lnTo>
                  <a:pt x="114" y="150"/>
                </a:lnTo>
                <a:lnTo>
                  <a:pt x="114" y="144"/>
                </a:lnTo>
                <a:lnTo>
                  <a:pt x="120" y="144"/>
                </a:lnTo>
                <a:lnTo>
                  <a:pt x="126" y="144"/>
                </a:lnTo>
                <a:lnTo>
                  <a:pt x="126" y="138"/>
                </a:lnTo>
                <a:lnTo>
                  <a:pt x="126" y="132"/>
                </a:lnTo>
                <a:lnTo>
                  <a:pt x="126" y="126"/>
                </a:lnTo>
                <a:lnTo>
                  <a:pt x="192" y="126"/>
                </a:lnTo>
                <a:lnTo>
                  <a:pt x="258" y="126"/>
                </a:lnTo>
                <a:lnTo>
                  <a:pt x="264" y="126"/>
                </a:lnTo>
                <a:lnTo>
                  <a:pt x="270" y="126"/>
                </a:lnTo>
                <a:lnTo>
                  <a:pt x="276" y="120"/>
                </a:lnTo>
                <a:lnTo>
                  <a:pt x="282" y="120"/>
                </a:lnTo>
                <a:lnTo>
                  <a:pt x="300" y="120"/>
                </a:lnTo>
                <a:lnTo>
                  <a:pt x="306" y="114"/>
                </a:lnTo>
                <a:lnTo>
                  <a:pt x="312" y="108"/>
                </a:lnTo>
                <a:lnTo>
                  <a:pt x="318" y="102"/>
                </a:lnTo>
                <a:lnTo>
                  <a:pt x="324" y="102"/>
                </a:lnTo>
                <a:lnTo>
                  <a:pt x="324" y="96"/>
                </a:lnTo>
                <a:lnTo>
                  <a:pt x="318" y="90"/>
                </a:lnTo>
                <a:lnTo>
                  <a:pt x="318" y="84"/>
                </a:lnTo>
                <a:lnTo>
                  <a:pt x="324" y="72"/>
                </a:lnTo>
                <a:lnTo>
                  <a:pt x="336" y="66"/>
                </a:lnTo>
                <a:lnTo>
                  <a:pt x="336" y="60"/>
                </a:lnTo>
                <a:lnTo>
                  <a:pt x="342" y="54"/>
                </a:lnTo>
                <a:lnTo>
                  <a:pt x="342" y="48"/>
                </a:lnTo>
                <a:lnTo>
                  <a:pt x="342" y="30"/>
                </a:lnTo>
                <a:lnTo>
                  <a:pt x="342" y="24"/>
                </a:lnTo>
                <a:lnTo>
                  <a:pt x="354" y="0"/>
                </a:lnTo>
                <a:lnTo>
                  <a:pt x="360" y="0"/>
                </a:lnTo>
                <a:lnTo>
                  <a:pt x="366" y="0"/>
                </a:lnTo>
                <a:lnTo>
                  <a:pt x="366" y="6"/>
                </a:lnTo>
                <a:lnTo>
                  <a:pt x="378" y="12"/>
                </a:lnTo>
                <a:lnTo>
                  <a:pt x="390" y="12"/>
                </a:lnTo>
                <a:lnTo>
                  <a:pt x="390" y="18"/>
                </a:lnTo>
                <a:lnTo>
                  <a:pt x="402" y="18"/>
                </a:lnTo>
                <a:lnTo>
                  <a:pt x="408" y="18"/>
                </a:lnTo>
                <a:lnTo>
                  <a:pt x="414" y="24"/>
                </a:lnTo>
                <a:lnTo>
                  <a:pt x="414" y="30"/>
                </a:lnTo>
                <a:lnTo>
                  <a:pt x="420" y="30"/>
                </a:lnTo>
                <a:lnTo>
                  <a:pt x="426" y="36"/>
                </a:lnTo>
                <a:lnTo>
                  <a:pt x="462" y="36"/>
                </a:lnTo>
                <a:lnTo>
                  <a:pt x="468" y="36"/>
                </a:lnTo>
                <a:lnTo>
                  <a:pt x="474" y="30"/>
                </a:lnTo>
                <a:lnTo>
                  <a:pt x="474" y="18"/>
                </a:lnTo>
                <a:lnTo>
                  <a:pt x="474" y="12"/>
                </a:lnTo>
                <a:lnTo>
                  <a:pt x="480" y="12"/>
                </a:lnTo>
                <a:lnTo>
                  <a:pt x="486" y="12"/>
                </a:lnTo>
                <a:lnTo>
                  <a:pt x="606" y="12"/>
                </a:lnTo>
                <a:lnTo>
                  <a:pt x="630" y="12"/>
                </a:lnTo>
                <a:lnTo>
                  <a:pt x="678" y="12"/>
                </a:lnTo>
                <a:lnTo>
                  <a:pt x="744" y="12"/>
                </a:lnTo>
                <a:lnTo>
                  <a:pt x="774" y="12"/>
                </a:lnTo>
                <a:lnTo>
                  <a:pt x="846" y="12"/>
                </a:lnTo>
                <a:lnTo>
                  <a:pt x="852" y="12"/>
                </a:lnTo>
                <a:lnTo>
                  <a:pt x="852" y="6"/>
                </a:lnTo>
                <a:lnTo>
                  <a:pt x="888" y="12"/>
                </a:lnTo>
                <a:lnTo>
                  <a:pt x="888" y="24"/>
                </a:lnTo>
                <a:lnTo>
                  <a:pt x="888" y="30"/>
                </a:lnTo>
                <a:lnTo>
                  <a:pt x="882" y="36"/>
                </a:lnTo>
                <a:lnTo>
                  <a:pt x="876" y="42"/>
                </a:lnTo>
                <a:lnTo>
                  <a:pt x="870" y="42"/>
                </a:lnTo>
                <a:lnTo>
                  <a:pt x="864" y="42"/>
                </a:lnTo>
                <a:lnTo>
                  <a:pt x="864" y="48"/>
                </a:lnTo>
                <a:lnTo>
                  <a:pt x="858" y="54"/>
                </a:lnTo>
                <a:lnTo>
                  <a:pt x="864" y="54"/>
                </a:lnTo>
                <a:lnTo>
                  <a:pt x="870" y="72"/>
                </a:lnTo>
                <a:lnTo>
                  <a:pt x="870" y="78"/>
                </a:lnTo>
                <a:lnTo>
                  <a:pt x="870" y="84"/>
                </a:lnTo>
                <a:lnTo>
                  <a:pt x="870" y="90"/>
                </a:lnTo>
                <a:close/>
                <a:moveTo>
                  <a:pt x="972" y="156"/>
                </a:moveTo>
                <a:lnTo>
                  <a:pt x="972" y="162"/>
                </a:lnTo>
                <a:lnTo>
                  <a:pt x="978" y="162"/>
                </a:lnTo>
                <a:lnTo>
                  <a:pt x="984" y="168"/>
                </a:lnTo>
                <a:lnTo>
                  <a:pt x="990" y="168"/>
                </a:lnTo>
                <a:lnTo>
                  <a:pt x="990" y="162"/>
                </a:lnTo>
                <a:lnTo>
                  <a:pt x="1008" y="162"/>
                </a:lnTo>
                <a:lnTo>
                  <a:pt x="1020" y="162"/>
                </a:lnTo>
                <a:lnTo>
                  <a:pt x="1038" y="162"/>
                </a:lnTo>
                <a:lnTo>
                  <a:pt x="1056" y="168"/>
                </a:lnTo>
                <a:lnTo>
                  <a:pt x="1056" y="180"/>
                </a:lnTo>
                <a:lnTo>
                  <a:pt x="1056" y="186"/>
                </a:lnTo>
                <a:lnTo>
                  <a:pt x="1056" y="204"/>
                </a:lnTo>
                <a:lnTo>
                  <a:pt x="1050" y="204"/>
                </a:lnTo>
                <a:lnTo>
                  <a:pt x="1044" y="204"/>
                </a:lnTo>
                <a:lnTo>
                  <a:pt x="1038" y="204"/>
                </a:lnTo>
                <a:lnTo>
                  <a:pt x="1032" y="204"/>
                </a:lnTo>
                <a:lnTo>
                  <a:pt x="1026" y="204"/>
                </a:lnTo>
                <a:lnTo>
                  <a:pt x="1020" y="204"/>
                </a:lnTo>
                <a:lnTo>
                  <a:pt x="1014" y="204"/>
                </a:lnTo>
                <a:lnTo>
                  <a:pt x="1008" y="204"/>
                </a:lnTo>
                <a:lnTo>
                  <a:pt x="1002" y="204"/>
                </a:lnTo>
                <a:lnTo>
                  <a:pt x="996" y="204"/>
                </a:lnTo>
                <a:lnTo>
                  <a:pt x="984" y="204"/>
                </a:lnTo>
                <a:lnTo>
                  <a:pt x="984" y="198"/>
                </a:lnTo>
                <a:lnTo>
                  <a:pt x="978" y="198"/>
                </a:lnTo>
                <a:lnTo>
                  <a:pt x="966" y="198"/>
                </a:lnTo>
                <a:lnTo>
                  <a:pt x="948" y="192"/>
                </a:lnTo>
                <a:lnTo>
                  <a:pt x="942" y="192"/>
                </a:lnTo>
                <a:lnTo>
                  <a:pt x="936" y="192"/>
                </a:lnTo>
                <a:lnTo>
                  <a:pt x="924" y="192"/>
                </a:lnTo>
                <a:lnTo>
                  <a:pt x="918" y="192"/>
                </a:lnTo>
                <a:lnTo>
                  <a:pt x="918" y="186"/>
                </a:lnTo>
                <a:lnTo>
                  <a:pt x="912" y="186"/>
                </a:lnTo>
                <a:lnTo>
                  <a:pt x="906" y="186"/>
                </a:lnTo>
                <a:lnTo>
                  <a:pt x="900" y="186"/>
                </a:lnTo>
                <a:lnTo>
                  <a:pt x="894" y="186"/>
                </a:lnTo>
                <a:lnTo>
                  <a:pt x="888" y="186"/>
                </a:lnTo>
                <a:lnTo>
                  <a:pt x="888" y="180"/>
                </a:lnTo>
                <a:lnTo>
                  <a:pt x="882" y="180"/>
                </a:lnTo>
                <a:lnTo>
                  <a:pt x="876" y="180"/>
                </a:lnTo>
                <a:lnTo>
                  <a:pt x="870" y="180"/>
                </a:lnTo>
                <a:lnTo>
                  <a:pt x="864" y="180"/>
                </a:lnTo>
                <a:lnTo>
                  <a:pt x="858" y="180"/>
                </a:lnTo>
                <a:lnTo>
                  <a:pt x="852" y="180"/>
                </a:lnTo>
                <a:lnTo>
                  <a:pt x="852" y="174"/>
                </a:lnTo>
                <a:lnTo>
                  <a:pt x="846" y="174"/>
                </a:lnTo>
                <a:lnTo>
                  <a:pt x="840" y="174"/>
                </a:lnTo>
                <a:lnTo>
                  <a:pt x="834" y="174"/>
                </a:lnTo>
                <a:lnTo>
                  <a:pt x="828" y="174"/>
                </a:lnTo>
                <a:lnTo>
                  <a:pt x="822" y="174"/>
                </a:lnTo>
                <a:lnTo>
                  <a:pt x="816" y="174"/>
                </a:lnTo>
                <a:lnTo>
                  <a:pt x="810" y="168"/>
                </a:lnTo>
                <a:lnTo>
                  <a:pt x="804" y="168"/>
                </a:lnTo>
                <a:lnTo>
                  <a:pt x="798" y="168"/>
                </a:lnTo>
                <a:lnTo>
                  <a:pt x="792" y="168"/>
                </a:lnTo>
                <a:lnTo>
                  <a:pt x="786" y="168"/>
                </a:lnTo>
                <a:lnTo>
                  <a:pt x="780" y="168"/>
                </a:lnTo>
                <a:lnTo>
                  <a:pt x="774" y="168"/>
                </a:lnTo>
                <a:lnTo>
                  <a:pt x="768" y="168"/>
                </a:lnTo>
                <a:lnTo>
                  <a:pt x="762" y="168"/>
                </a:lnTo>
                <a:lnTo>
                  <a:pt x="756" y="168"/>
                </a:lnTo>
                <a:lnTo>
                  <a:pt x="750" y="168"/>
                </a:lnTo>
                <a:lnTo>
                  <a:pt x="750" y="162"/>
                </a:lnTo>
                <a:lnTo>
                  <a:pt x="744" y="168"/>
                </a:lnTo>
                <a:lnTo>
                  <a:pt x="738" y="162"/>
                </a:lnTo>
                <a:lnTo>
                  <a:pt x="732" y="162"/>
                </a:lnTo>
                <a:lnTo>
                  <a:pt x="726" y="162"/>
                </a:lnTo>
                <a:lnTo>
                  <a:pt x="714" y="162"/>
                </a:lnTo>
                <a:lnTo>
                  <a:pt x="702" y="162"/>
                </a:lnTo>
                <a:lnTo>
                  <a:pt x="696" y="168"/>
                </a:lnTo>
                <a:lnTo>
                  <a:pt x="690" y="168"/>
                </a:lnTo>
                <a:lnTo>
                  <a:pt x="684" y="168"/>
                </a:lnTo>
                <a:lnTo>
                  <a:pt x="678" y="168"/>
                </a:lnTo>
                <a:lnTo>
                  <a:pt x="672" y="168"/>
                </a:lnTo>
                <a:lnTo>
                  <a:pt x="666" y="168"/>
                </a:lnTo>
                <a:lnTo>
                  <a:pt x="660" y="168"/>
                </a:lnTo>
                <a:lnTo>
                  <a:pt x="654" y="168"/>
                </a:lnTo>
                <a:lnTo>
                  <a:pt x="648" y="174"/>
                </a:lnTo>
                <a:lnTo>
                  <a:pt x="648" y="168"/>
                </a:lnTo>
                <a:lnTo>
                  <a:pt x="642" y="174"/>
                </a:lnTo>
                <a:lnTo>
                  <a:pt x="636" y="174"/>
                </a:lnTo>
                <a:lnTo>
                  <a:pt x="630" y="174"/>
                </a:lnTo>
                <a:lnTo>
                  <a:pt x="624" y="174"/>
                </a:lnTo>
                <a:lnTo>
                  <a:pt x="618" y="174"/>
                </a:lnTo>
                <a:lnTo>
                  <a:pt x="612" y="174"/>
                </a:lnTo>
                <a:lnTo>
                  <a:pt x="606" y="174"/>
                </a:lnTo>
                <a:lnTo>
                  <a:pt x="600" y="174"/>
                </a:lnTo>
                <a:lnTo>
                  <a:pt x="594" y="174"/>
                </a:lnTo>
                <a:lnTo>
                  <a:pt x="588" y="174"/>
                </a:lnTo>
                <a:lnTo>
                  <a:pt x="582" y="174"/>
                </a:lnTo>
                <a:lnTo>
                  <a:pt x="576" y="174"/>
                </a:lnTo>
                <a:lnTo>
                  <a:pt x="570" y="174"/>
                </a:lnTo>
                <a:lnTo>
                  <a:pt x="564" y="174"/>
                </a:lnTo>
                <a:lnTo>
                  <a:pt x="558" y="174"/>
                </a:lnTo>
                <a:lnTo>
                  <a:pt x="552" y="174"/>
                </a:lnTo>
                <a:lnTo>
                  <a:pt x="540" y="174"/>
                </a:lnTo>
                <a:lnTo>
                  <a:pt x="534" y="174"/>
                </a:lnTo>
                <a:lnTo>
                  <a:pt x="522" y="174"/>
                </a:lnTo>
                <a:lnTo>
                  <a:pt x="510" y="174"/>
                </a:lnTo>
                <a:lnTo>
                  <a:pt x="504" y="174"/>
                </a:lnTo>
                <a:lnTo>
                  <a:pt x="498" y="174"/>
                </a:lnTo>
                <a:lnTo>
                  <a:pt x="492" y="174"/>
                </a:lnTo>
                <a:lnTo>
                  <a:pt x="486" y="174"/>
                </a:lnTo>
                <a:lnTo>
                  <a:pt x="480" y="174"/>
                </a:lnTo>
                <a:lnTo>
                  <a:pt x="474" y="174"/>
                </a:lnTo>
                <a:lnTo>
                  <a:pt x="468" y="174"/>
                </a:lnTo>
                <a:lnTo>
                  <a:pt x="462" y="174"/>
                </a:lnTo>
                <a:lnTo>
                  <a:pt x="456" y="174"/>
                </a:lnTo>
                <a:lnTo>
                  <a:pt x="450" y="180"/>
                </a:lnTo>
                <a:lnTo>
                  <a:pt x="450" y="186"/>
                </a:lnTo>
                <a:lnTo>
                  <a:pt x="450" y="192"/>
                </a:lnTo>
                <a:lnTo>
                  <a:pt x="444" y="192"/>
                </a:lnTo>
                <a:lnTo>
                  <a:pt x="444" y="186"/>
                </a:lnTo>
                <a:lnTo>
                  <a:pt x="444" y="180"/>
                </a:lnTo>
                <a:lnTo>
                  <a:pt x="450" y="180"/>
                </a:lnTo>
                <a:lnTo>
                  <a:pt x="450" y="174"/>
                </a:lnTo>
                <a:lnTo>
                  <a:pt x="450" y="168"/>
                </a:lnTo>
                <a:lnTo>
                  <a:pt x="450" y="162"/>
                </a:lnTo>
                <a:lnTo>
                  <a:pt x="456" y="162"/>
                </a:lnTo>
                <a:lnTo>
                  <a:pt x="456" y="168"/>
                </a:lnTo>
                <a:lnTo>
                  <a:pt x="456" y="162"/>
                </a:lnTo>
                <a:lnTo>
                  <a:pt x="462" y="162"/>
                </a:lnTo>
                <a:lnTo>
                  <a:pt x="468" y="162"/>
                </a:lnTo>
                <a:lnTo>
                  <a:pt x="468" y="168"/>
                </a:lnTo>
                <a:lnTo>
                  <a:pt x="474" y="168"/>
                </a:lnTo>
                <a:lnTo>
                  <a:pt x="480" y="168"/>
                </a:lnTo>
                <a:lnTo>
                  <a:pt x="480" y="162"/>
                </a:lnTo>
                <a:lnTo>
                  <a:pt x="480" y="156"/>
                </a:lnTo>
                <a:lnTo>
                  <a:pt x="486" y="156"/>
                </a:lnTo>
                <a:lnTo>
                  <a:pt x="486" y="162"/>
                </a:lnTo>
                <a:lnTo>
                  <a:pt x="486" y="156"/>
                </a:lnTo>
                <a:lnTo>
                  <a:pt x="492" y="156"/>
                </a:lnTo>
                <a:lnTo>
                  <a:pt x="486" y="150"/>
                </a:lnTo>
                <a:lnTo>
                  <a:pt x="492" y="150"/>
                </a:lnTo>
                <a:lnTo>
                  <a:pt x="498" y="150"/>
                </a:lnTo>
                <a:lnTo>
                  <a:pt x="498" y="156"/>
                </a:lnTo>
                <a:lnTo>
                  <a:pt x="504" y="156"/>
                </a:lnTo>
                <a:lnTo>
                  <a:pt x="504" y="162"/>
                </a:lnTo>
                <a:lnTo>
                  <a:pt x="504" y="156"/>
                </a:lnTo>
                <a:lnTo>
                  <a:pt x="510" y="156"/>
                </a:lnTo>
                <a:lnTo>
                  <a:pt x="510" y="150"/>
                </a:lnTo>
                <a:lnTo>
                  <a:pt x="516" y="150"/>
                </a:lnTo>
                <a:lnTo>
                  <a:pt x="522" y="150"/>
                </a:lnTo>
                <a:lnTo>
                  <a:pt x="522" y="144"/>
                </a:lnTo>
                <a:lnTo>
                  <a:pt x="522" y="150"/>
                </a:lnTo>
                <a:lnTo>
                  <a:pt x="528" y="150"/>
                </a:lnTo>
                <a:lnTo>
                  <a:pt x="534" y="150"/>
                </a:lnTo>
                <a:lnTo>
                  <a:pt x="528" y="150"/>
                </a:lnTo>
                <a:lnTo>
                  <a:pt x="528" y="144"/>
                </a:lnTo>
                <a:lnTo>
                  <a:pt x="540" y="144"/>
                </a:lnTo>
                <a:lnTo>
                  <a:pt x="546" y="144"/>
                </a:lnTo>
                <a:lnTo>
                  <a:pt x="552" y="138"/>
                </a:lnTo>
                <a:lnTo>
                  <a:pt x="552" y="132"/>
                </a:lnTo>
                <a:lnTo>
                  <a:pt x="558" y="132"/>
                </a:lnTo>
                <a:lnTo>
                  <a:pt x="558" y="126"/>
                </a:lnTo>
                <a:lnTo>
                  <a:pt x="558" y="120"/>
                </a:lnTo>
                <a:lnTo>
                  <a:pt x="558" y="114"/>
                </a:lnTo>
                <a:lnTo>
                  <a:pt x="564" y="114"/>
                </a:lnTo>
                <a:lnTo>
                  <a:pt x="570" y="114"/>
                </a:lnTo>
                <a:lnTo>
                  <a:pt x="576" y="114"/>
                </a:lnTo>
                <a:lnTo>
                  <a:pt x="582" y="120"/>
                </a:lnTo>
                <a:lnTo>
                  <a:pt x="588" y="120"/>
                </a:lnTo>
                <a:lnTo>
                  <a:pt x="588" y="126"/>
                </a:lnTo>
                <a:lnTo>
                  <a:pt x="588" y="120"/>
                </a:lnTo>
                <a:lnTo>
                  <a:pt x="594" y="120"/>
                </a:lnTo>
                <a:lnTo>
                  <a:pt x="594" y="114"/>
                </a:lnTo>
                <a:lnTo>
                  <a:pt x="594" y="120"/>
                </a:lnTo>
                <a:lnTo>
                  <a:pt x="594" y="114"/>
                </a:lnTo>
                <a:lnTo>
                  <a:pt x="600" y="114"/>
                </a:lnTo>
                <a:lnTo>
                  <a:pt x="606" y="114"/>
                </a:lnTo>
                <a:lnTo>
                  <a:pt x="618" y="114"/>
                </a:lnTo>
                <a:lnTo>
                  <a:pt x="618" y="108"/>
                </a:lnTo>
                <a:lnTo>
                  <a:pt x="624" y="108"/>
                </a:lnTo>
                <a:lnTo>
                  <a:pt x="624" y="102"/>
                </a:lnTo>
                <a:lnTo>
                  <a:pt x="630" y="102"/>
                </a:lnTo>
                <a:lnTo>
                  <a:pt x="636" y="102"/>
                </a:lnTo>
                <a:lnTo>
                  <a:pt x="636" y="108"/>
                </a:lnTo>
                <a:lnTo>
                  <a:pt x="642" y="108"/>
                </a:lnTo>
                <a:lnTo>
                  <a:pt x="648" y="108"/>
                </a:lnTo>
                <a:lnTo>
                  <a:pt x="648" y="102"/>
                </a:lnTo>
                <a:lnTo>
                  <a:pt x="654" y="102"/>
                </a:lnTo>
                <a:lnTo>
                  <a:pt x="660" y="102"/>
                </a:lnTo>
                <a:lnTo>
                  <a:pt x="660" y="96"/>
                </a:lnTo>
                <a:lnTo>
                  <a:pt x="660" y="90"/>
                </a:lnTo>
                <a:lnTo>
                  <a:pt x="666" y="90"/>
                </a:lnTo>
                <a:lnTo>
                  <a:pt x="666" y="84"/>
                </a:lnTo>
                <a:lnTo>
                  <a:pt x="672" y="78"/>
                </a:lnTo>
                <a:lnTo>
                  <a:pt x="672" y="72"/>
                </a:lnTo>
                <a:lnTo>
                  <a:pt x="678" y="66"/>
                </a:lnTo>
                <a:lnTo>
                  <a:pt x="684" y="66"/>
                </a:lnTo>
                <a:lnTo>
                  <a:pt x="684" y="60"/>
                </a:lnTo>
                <a:lnTo>
                  <a:pt x="690" y="60"/>
                </a:lnTo>
                <a:lnTo>
                  <a:pt x="696" y="60"/>
                </a:lnTo>
                <a:lnTo>
                  <a:pt x="702" y="60"/>
                </a:lnTo>
                <a:lnTo>
                  <a:pt x="702" y="66"/>
                </a:lnTo>
                <a:lnTo>
                  <a:pt x="708" y="66"/>
                </a:lnTo>
                <a:lnTo>
                  <a:pt x="714" y="66"/>
                </a:lnTo>
                <a:lnTo>
                  <a:pt x="720" y="66"/>
                </a:lnTo>
                <a:lnTo>
                  <a:pt x="720" y="60"/>
                </a:lnTo>
                <a:lnTo>
                  <a:pt x="726" y="60"/>
                </a:lnTo>
                <a:lnTo>
                  <a:pt x="732" y="60"/>
                </a:lnTo>
                <a:lnTo>
                  <a:pt x="744" y="60"/>
                </a:lnTo>
                <a:lnTo>
                  <a:pt x="750" y="54"/>
                </a:lnTo>
                <a:lnTo>
                  <a:pt x="762" y="60"/>
                </a:lnTo>
                <a:lnTo>
                  <a:pt x="774" y="60"/>
                </a:lnTo>
                <a:lnTo>
                  <a:pt x="774" y="66"/>
                </a:lnTo>
                <a:lnTo>
                  <a:pt x="780" y="72"/>
                </a:lnTo>
                <a:lnTo>
                  <a:pt x="786" y="78"/>
                </a:lnTo>
                <a:lnTo>
                  <a:pt x="792" y="78"/>
                </a:lnTo>
                <a:lnTo>
                  <a:pt x="810" y="84"/>
                </a:lnTo>
                <a:lnTo>
                  <a:pt x="822" y="84"/>
                </a:lnTo>
                <a:lnTo>
                  <a:pt x="828" y="84"/>
                </a:lnTo>
                <a:lnTo>
                  <a:pt x="834" y="84"/>
                </a:lnTo>
                <a:lnTo>
                  <a:pt x="840" y="96"/>
                </a:lnTo>
                <a:lnTo>
                  <a:pt x="846" y="102"/>
                </a:lnTo>
                <a:lnTo>
                  <a:pt x="858" y="102"/>
                </a:lnTo>
                <a:lnTo>
                  <a:pt x="864" y="102"/>
                </a:lnTo>
                <a:lnTo>
                  <a:pt x="876" y="96"/>
                </a:lnTo>
                <a:lnTo>
                  <a:pt x="882" y="102"/>
                </a:lnTo>
                <a:lnTo>
                  <a:pt x="888" y="108"/>
                </a:lnTo>
                <a:lnTo>
                  <a:pt x="888" y="114"/>
                </a:lnTo>
                <a:lnTo>
                  <a:pt x="888" y="120"/>
                </a:lnTo>
                <a:lnTo>
                  <a:pt x="888" y="126"/>
                </a:lnTo>
                <a:lnTo>
                  <a:pt x="888" y="132"/>
                </a:lnTo>
                <a:lnTo>
                  <a:pt x="882" y="132"/>
                </a:lnTo>
                <a:lnTo>
                  <a:pt x="864" y="126"/>
                </a:lnTo>
                <a:lnTo>
                  <a:pt x="852" y="120"/>
                </a:lnTo>
                <a:lnTo>
                  <a:pt x="840" y="126"/>
                </a:lnTo>
                <a:lnTo>
                  <a:pt x="834" y="120"/>
                </a:lnTo>
                <a:lnTo>
                  <a:pt x="828" y="120"/>
                </a:lnTo>
                <a:lnTo>
                  <a:pt x="822" y="120"/>
                </a:lnTo>
                <a:lnTo>
                  <a:pt x="810" y="114"/>
                </a:lnTo>
                <a:lnTo>
                  <a:pt x="804" y="114"/>
                </a:lnTo>
                <a:lnTo>
                  <a:pt x="798" y="114"/>
                </a:lnTo>
                <a:lnTo>
                  <a:pt x="792" y="114"/>
                </a:lnTo>
                <a:lnTo>
                  <a:pt x="786" y="114"/>
                </a:lnTo>
                <a:lnTo>
                  <a:pt x="780" y="114"/>
                </a:lnTo>
                <a:lnTo>
                  <a:pt x="780" y="126"/>
                </a:lnTo>
                <a:lnTo>
                  <a:pt x="786" y="126"/>
                </a:lnTo>
                <a:lnTo>
                  <a:pt x="798" y="126"/>
                </a:lnTo>
                <a:lnTo>
                  <a:pt x="804" y="126"/>
                </a:lnTo>
                <a:lnTo>
                  <a:pt x="822" y="132"/>
                </a:lnTo>
                <a:lnTo>
                  <a:pt x="828" y="132"/>
                </a:lnTo>
                <a:lnTo>
                  <a:pt x="834" y="132"/>
                </a:lnTo>
                <a:lnTo>
                  <a:pt x="840" y="144"/>
                </a:lnTo>
                <a:lnTo>
                  <a:pt x="846" y="150"/>
                </a:lnTo>
                <a:lnTo>
                  <a:pt x="858" y="150"/>
                </a:lnTo>
                <a:lnTo>
                  <a:pt x="864" y="162"/>
                </a:lnTo>
                <a:lnTo>
                  <a:pt x="870" y="162"/>
                </a:lnTo>
                <a:lnTo>
                  <a:pt x="876" y="168"/>
                </a:lnTo>
                <a:lnTo>
                  <a:pt x="888" y="168"/>
                </a:lnTo>
                <a:lnTo>
                  <a:pt x="894" y="174"/>
                </a:lnTo>
                <a:lnTo>
                  <a:pt x="900" y="174"/>
                </a:lnTo>
                <a:lnTo>
                  <a:pt x="918" y="174"/>
                </a:lnTo>
                <a:lnTo>
                  <a:pt x="924" y="174"/>
                </a:lnTo>
                <a:lnTo>
                  <a:pt x="930" y="174"/>
                </a:lnTo>
                <a:lnTo>
                  <a:pt x="942" y="174"/>
                </a:lnTo>
                <a:lnTo>
                  <a:pt x="954" y="174"/>
                </a:lnTo>
                <a:lnTo>
                  <a:pt x="960" y="174"/>
                </a:lnTo>
                <a:lnTo>
                  <a:pt x="966" y="174"/>
                </a:lnTo>
                <a:lnTo>
                  <a:pt x="966" y="168"/>
                </a:lnTo>
                <a:lnTo>
                  <a:pt x="972" y="162"/>
                </a:lnTo>
                <a:lnTo>
                  <a:pt x="972" y="156"/>
                </a:lnTo>
                <a:close/>
                <a:moveTo>
                  <a:pt x="942" y="174"/>
                </a:moveTo>
                <a:lnTo>
                  <a:pt x="936" y="174"/>
                </a:lnTo>
                <a:lnTo>
                  <a:pt x="936" y="168"/>
                </a:lnTo>
                <a:lnTo>
                  <a:pt x="936" y="162"/>
                </a:lnTo>
                <a:lnTo>
                  <a:pt x="948" y="162"/>
                </a:lnTo>
                <a:lnTo>
                  <a:pt x="948" y="156"/>
                </a:lnTo>
                <a:lnTo>
                  <a:pt x="954" y="156"/>
                </a:lnTo>
                <a:lnTo>
                  <a:pt x="960" y="156"/>
                </a:lnTo>
                <a:lnTo>
                  <a:pt x="966" y="156"/>
                </a:lnTo>
                <a:lnTo>
                  <a:pt x="966" y="162"/>
                </a:lnTo>
                <a:lnTo>
                  <a:pt x="960" y="168"/>
                </a:lnTo>
                <a:lnTo>
                  <a:pt x="942" y="174"/>
                </a:lnTo>
                <a:close/>
                <a:moveTo>
                  <a:pt x="900" y="168"/>
                </a:moveTo>
                <a:lnTo>
                  <a:pt x="894" y="168"/>
                </a:lnTo>
                <a:lnTo>
                  <a:pt x="882" y="156"/>
                </a:lnTo>
                <a:lnTo>
                  <a:pt x="882" y="150"/>
                </a:lnTo>
                <a:lnTo>
                  <a:pt x="888" y="156"/>
                </a:lnTo>
                <a:lnTo>
                  <a:pt x="894" y="150"/>
                </a:lnTo>
                <a:lnTo>
                  <a:pt x="900" y="150"/>
                </a:lnTo>
                <a:lnTo>
                  <a:pt x="906" y="150"/>
                </a:lnTo>
                <a:lnTo>
                  <a:pt x="912" y="150"/>
                </a:lnTo>
                <a:lnTo>
                  <a:pt x="924" y="150"/>
                </a:lnTo>
                <a:lnTo>
                  <a:pt x="924" y="156"/>
                </a:lnTo>
                <a:lnTo>
                  <a:pt x="924" y="162"/>
                </a:lnTo>
                <a:lnTo>
                  <a:pt x="924" y="168"/>
                </a:lnTo>
                <a:lnTo>
                  <a:pt x="918" y="168"/>
                </a:lnTo>
                <a:lnTo>
                  <a:pt x="906" y="168"/>
                </a:lnTo>
                <a:lnTo>
                  <a:pt x="900" y="168"/>
                </a:lnTo>
                <a:close/>
                <a:moveTo>
                  <a:pt x="870" y="162"/>
                </a:moveTo>
                <a:lnTo>
                  <a:pt x="876" y="162"/>
                </a:lnTo>
                <a:lnTo>
                  <a:pt x="876" y="168"/>
                </a:lnTo>
                <a:lnTo>
                  <a:pt x="870" y="168"/>
                </a:lnTo>
                <a:lnTo>
                  <a:pt x="870" y="162"/>
                </a:lnTo>
                <a:close/>
                <a:moveTo>
                  <a:pt x="450" y="162"/>
                </a:moveTo>
                <a:lnTo>
                  <a:pt x="444" y="162"/>
                </a:lnTo>
                <a:lnTo>
                  <a:pt x="444" y="156"/>
                </a:lnTo>
                <a:lnTo>
                  <a:pt x="438" y="156"/>
                </a:lnTo>
                <a:lnTo>
                  <a:pt x="432" y="150"/>
                </a:lnTo>
                <a:lnTo>
                  <a:pt x="438" y="150"/>
                </a:lnTo>
                <a:lnTo>
                  <a:pt x="438" y="144"/>
                </a:lnTo>
                <a:lnTo>
                  <a:pt x="438" y="150"/>
                </a:lnTo>
                <a:lnTo>
                  <a:pt x="444" y="150"/>
                </a:lnTo>
                <a:lnTo>
                  <a:pt x="450" y="150"/>
                </a:lnTo>
                <a:lnTo>
                  <a:pt x="450" y="156"/>
                </a:lnTo>
                <a:lnTo>
                  <a:pt x="456" y="156"/>
                </a:lnTo>
                <a:lnTo>
                  <a:pt x="456" y="150"/>
                </a:lnTo>
                <a:lnTo>
                  <a:pt x="456" y="156"/>
                </a:lnTo>
                <a:lnTo>
                  <a:pt x="462" y="150"/>
                </a:lnTo>
                <a:lnTo>
                  <a:pt x="462" y="144"/>
                </a:lnTo>
                <a:lnTo>
                  <a:pt x="468" y="144"/>
                </a:lnTo>
                <a:lnTo>
                  <a:pt x="468" y="150"/>
                </a:lnTo>
                <a:lnTo>
                  <a:pt x="474" y="150"/>
                </a:lnTo>
                <a:lnTo>
                  <a:pt x="480" y="150"/>
                </a:lnTo>
                <a:lnTo>
                  <a:pt x="480" y="156"/>
                </a:lnTo>
                <a:lnTo>
                  <a:pt x="480" y="162"/>
                </a:lnTo>
                <a:lnTo>
                  <a:pt x="474" y="162"/>
                </a:lnTo>
                <a:lnTo>
                  <a:pt x="474" y="168"/>
                </a:lnTo>
                <a:lnTo>
                  <a:pt x="474" y="162"/>
                </a:lnTo>
                <a:lnTo>
                  <a:pt x="468" y="162"/>
                </a:lnTo>
                <a:lnTo>
                  <a:pt x="462" y="162"/>
                </a:lnTo>
                <a:lnTo>
                  <a:pt x="456" y="162"/>
                </a:lnTo>
                <a:lnTo>
                  <a:pt x="450" y="162"/>
                </a:lnTo>
                <a:close/>
              </a:path>
            </a:pathLst>
          </a:custGeom>
          <a:solidFill>
            <a:srgbClr val="FF9900"/>
          </a:solidFill>
          <a:ln w="9525">
            <a:solidFill>
              <a:schemeClr val="bg1"/>
            </a:solidFill>
            <a:round/>
            <a:headEnd/>
            <a:tailEnd/>
          </a:ln>
        </p:spPr>
        <p:txBody>
          <a:bodyPr/>
          <a:lstStyle/>
          <a:p>
            <a:endParaRPr lang="en-GB"/>
          </a:p>
        </p:txBody>
      </p:sp>
      <p:sp>
        <p:nvSpPr>
          <p:cNvPr id="17445" name="Freeform 32"/>
          <p:cNvSpPr>
            <a:spLocks/>
          </p:cNvSpPr>
          <p:nvPr/>
        </p:nvSpPr>
        <p:spPr bwMode="gray">
          <a:xfrm>
            <a:off x="1455738" y="3425825"/>
            <a:ext cx="1743075" cy="1122363"/>
          </a:xfrm>
          <a:custGeom>
            <a:avLst/>
            <a:gdLst>
              <a:gd name="T0" fmla="*/ 108100 w 2226"/>
              <a:gd name="T1" fmla="*/ 97573 h 1392"/>
              <a:gd name="T2" fmla="*/ 104184 w 2226"/>
              <a:gd name="T3" fmla="*/ 95961 h 1392"/>
              <a:gd name="T4" fmla="*/ 100267 w 2226"/>
              <a:gd name="T5" fmla="*/ 94348 h 1392"/>
              <a:gd name="T6" fmla="*/ 93217 w 2226"/>
              <a:gd name="T7" fmla="*/ 93541 h 1392"/>
              <a:gd name="T8" fmla="*/ 79117 w 2226"/>
              <a:gd name="T9" fmla="*/ 93541 h 1392"/>
              <a:gd name="T10" fmla="*/ 73634 w 2226"/>
              <a:gd name="T11" fmla="*/ 83865 h 1392"/>
              <a:gd name="T12" fmla="*/ 64234 w 2226"/>
              <a:gd name="T13" fmla="*/ 66931 h 1392"/>
              <a:gd name="T14" fmla="*/ 68150 w 2226"/>
              <a:gd name="T15" fmla="*/ 55641 h 1392"/>
              <a:gd name="T16" fmla="*/ 64234 w 2226"/>
              <a:gd name="T17" fmla="*/ 52416 h 1392"/>
              <a:gd name="T18" fmla="*/ 46217 w 2226"/>
              <a:gd name="T19" fmla="*/ 45964 h 1392"/>
              <a:gd name="T20" fmla="*/ 22717 w 2226"/>
              <a:gd name="T21" fmla="*/ 62092 h 1392"/>
              <a:gd name="T22" fmla="*/ 15667 w 2226"/>
              <a:gd name="T23" fmla="*/ 62899 h 1392"/>
              <a:gd name="T24" fmla="*/ 11750 w 2226"/>
              <a:gd name="T25" fmla="*/ 66124 h 1392"/>
              <a:gd name="T26" fmla="*/ 6267 w 2226"/>
              <a:gd name="T27" fmla="*/ 69350 h 1392"/>
              <a:gd name="T28" fmla="*/ 783 w 2226"/>
              <a:gd name="T29" fmla="*/ 70963 h 1392"/>
              <a:gd name="T30" fmla="*/ 0 w 2226"/>
              <a:gd name="T31" fmla="*/ 66124 h 1392"/>
              <a:gd name="T32" fmla="*/ 0 w 2226"/>
              <a:gd name="T33" fmla="*/ 61286 h 1392"/>
              <a:gd name="T34" fmla="*/ 1567 w 2226"/>
              <a:gd name="T35" fmla="*/ 56447 h 1392"/>
              <a:gd name="T36" fmla="*/ 2350 w 2226"/>
              <a:gd name="T37" fmla="*/ 52416 h 1392"/>
              <a:gd name="T38" fmla="*/ 1567 w 2226"/>
              <a:gd name="T39" fmla="*/ 50803 h 1392"/>
              <a:gd name="T40" fmla="*/ 7050 w 2226"/>
              <a:gd name="T41" fmla="*/ 48384 h 1392"/>
              <a:gd name="T42" fmla="*/ 13317 w 2226"/>
              <a:gd name="T43" fmla="*/ 47577 h 1392"/>
              <a:gd name="T44" fmla="*/ 17233 w 2226"/>
              <a:gd name="T45" fmla="*/ 41126 h 1392"/>
              <a:gd name="T46" fmla="*/ 18017 w 2226"/>
              <a:gd name="T47" fmla="*/ 34675 h 1392"/>
              <a:gd name="T48" fmla="*/ 21150 w 2226"/>
              <a:gd name="T49" fmla="*/ 27417 h 1392"/>
              <a:gd name="T50" fmla="*/ 23500 w 2226"/>
              <a:gd name="T51" fmla="*/ 21773 h 1392"/>
              <a:gd name="T52" fmla="*/ 25850 w 2226"/>
              <a:gd name="T53" fmla="*/ 17741 h 1392"/>
              <a:gd name="T54" fmla="*/ 32900 w 2226"/>
              <a:gd name="T55" fmla="*/ 13709 h 1392"/>
              <a:gd name="T56" fmla="*/ 36817 w 2226"/>
              <a:gd name="T57" fmla="*/ 11289 h 1392"/>
              <a:gd name="T58" fmla="*/ 38383 w 2226"/>
              <a:gd name="T59" fmla="*/ 4032 h 1392"/>
              <a:gd name="T60" fmla="*/ 41517 w 2226"/>
              <a:gd name="T61" fmla="*/ 0 h 1392"/>
              <a:gd name="T62" fmla="*/ 43083 w 2226"/>
              <a:gd name="T63" fmla="*/ 3226 h 1392"/>
              <a:gd name="T64" fmla="*/ 46217 w 2226"/>
              <a:gd name="T65" fmla="*/ 5645 h 1392"/>
              <a:gd name="T66" fmla="*/ 49350 w 2226"/>
              <a:gd name="T67" fmla="*/ 5645 h 1392"/>
              <a:gd name="T68" fmla="*/ 51700 w 2226"/>
              <a:gd name="T69" fmla="*/ 7258 h 1392"/>
              <a:gd name="T70" fmla="*/ 52484 w 2226"/>
              <a:gd name="T71" fmla="*/ 9677 h 1392"/>
              <a:gd name="T72" fmla="*/ 52484 w 2226"/>
              <a:gd name="T73" fmla="*/ 10483 h 1392"/>
              <a:gd name="T74" fmla="*/ 54834 w 2226"/>
              <a:gd name="T75" fmla="*/ 12096 h 1392"/>
              <a:gd name="T76" fmla="*/ 57967 w 2226"/>
              <a:gd name="T77" fmla="*/ 13709 h 1392"/>
              <a:gd name="T78" fmla="*/ 61100 w 2226"/>
              <a:gd name="T79" fmla="*/ 14515 h 1392"/>
              <a:gd name="T80" fmla="*/ 75984 w 2226"/>
              <a:gd name="T81" fmla="*/ 32256 h 1392"/>
              <a:gd name="T82" fmla="*/ 79900 w 2226"/>
              <a:gd name="T83" fmla="*/ 35481 h 1392"/>
              <a:gd name="T84" fmla="*/ 86167 w 2226"/>
              <a:gd name="T85" fmla="*/ 39513 h 1392"/>
              <a:gd name="T86" fmla="*/ 88517 w 2226"/>
              <a:gd name="T87" fmla="*/ 42739 h 1392"/>
              <a:gd name="T88" fmla="*/ 92434 w 2226"/>
              <a:gd name="T89" fmla="*/ 45964 h 1392"/>
              <a:gd name="T90" fmla="*/ 97134 w 2226"/>
              <a:gd name="T91" fmla="*/ 43545 h 1392"/>
              <a:gd name="T92" fmla="*/ 104184 w 2226"/>
              <a:gd name="T93" fmla="*/ 46771 h 1392"/>
              <a:gd name="T94" fmla="*/ 107317 w 2226"/>
              <a:gd name="T95" fmla="*/ 51609 h 1392"/>
              <a:gd name="T96" fmla="*/ 113584 w 2226"/>
              <a:gd name="T97" fmla="*/ 52416 h 1392"/>
              <a:gd name="T98" fmla="*/ 119067 w 2226"/>
              <a:gd name="T99" fmla="*/ 54028 h 1392"/>
              <a:gd name="T100" fmla="*/ 126117 w 2226"/>
              <a:gd name="T101" fmla="*/ 58060 h 1392"/>
              <a:gd name="T102" fmla="*/ 131601 w 2226"/>
              <a:gd name="T103" fmla="*/ 61286 h 1392"/>
              <a:gd name="T104" fmla="*/ 138651 w 2226"/>
              <a:gd name="T105" fmla="*/ 62899 h 1392"/>
              <a:gd name="T106" fmla="*/ 144134 w 2226"/>
              <a:gd name="T107" fmla="*/ 62899 h 1392"/>
              <a:gd name="T108" fmla="*/ 148834 w 2226"/>
              <a:gd name="T109" fmla="*/ 65318 h 1392"/>
              <a:gd name="T110" fmla="*/ 150401 w 2226"/>
              <a:gd name="T111" fmla="*/ 69350 h 1392"/>
              <a:gd name="T112" fmla="*/ 146484 w 2226"/>
              <a:gd name="T113" fmla="*/ 79833 h 1392"/>
              <a:gd name="T114" fmla="*/ 129251 w 2226"/>
              <a:gd name="T115" fmla="*/ 78220 h 1392"/>
              <a:gd name="T116" fmla="*/ 121417 w 2226"/>
              <a:gd name="T117" fmla="*/ 74188 h 1392"/>
              <a:gd name="T118" fmla="*/ 114367 w 2226"/>
              <a:gd name="T119" fmla="*/ 82252 h 1392"/>
              <a:gd name="T120" fmla="*/ 116717 w 2226"/>
              <a:gd name="T121" fmla="*/ 85478 h 1392"/>
              <a:gd name="T122" fmla="*/ 118284 w 2226"/>
              <a:gd name="T123" fmla="*/ 87090 h 1392"/>
              <a:gd name="T124" fmla="*/ 122984 w 2226"/>
              <a:gd name="T125" fmla="*/ 91122 h 13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1392"/>
              <a:gd name="T191" fmla="*/ 2226 w 2226"/>
              <a:gd name="T192" fmla="*/ 1392 h 13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1392">
                <a:moveTo>
                  <a:pt x="1782" y="1326"/>
                </a:moveTo>
                <a:lnTo>
                  <a:pt x="1776" y="1332"/>
                </a:lnTo>
                <a:lnTo>
                  <a:pt x="1692" y="1338"/>
                </a:lnTo>
                <a:lnTo>
                  <a:pt x="1680" y="1386"/>
                </a:lnTo>
                <a:lnTo>
                  <a:pt x="1674" y="1392"/>
                </a:lnTo>
                <a:lnTo>
                  <a:pt x="1638" y="1392"/>
                </a:lnTo>
                <a:lnTo>
                  <a:pt x="1620" y="1392"/>
                </a:lnTo>
                <a:lnTo>
                  <a:pt x="1614" y="1392"/>
                </a:lnTo>
                <a:lnTo>
                  <a:pt x="1608" y="1386"/>
                </a:lnTo>
                <a:lnTo>
                  <a:pt x="1584" y="1386"/>
                </a:lnTo>
                <a:lnTo>
                  <a:pt x="1578" y="1386"/>
                </a:lnTo>
                <a:lnTo>
                  <a:pt x="1572" y="1380"/>
                </a:lnTo>
                <a:lnTo>
                  <a:pt x="1578" y="1356"/>
                </a:lnTo>
                <a:lnTo>
                  <a:pt x="1572" y="1356"/>
                </a:lnTo>
                <a:lnTo>
                  <a:pt x="1560" y="1350"/>
                </a:lnTo>
                <a:lnTo>
                  <a:pt x="1554" y="1350"/>
                </a:lnTo>
                <a:lnTo>
                  <a:pt x="1542" y="1350"/>
                </a:lnTo>
                <a:lnTo>
                  <a:pt x="1530" y="1350"/>
                </a:lnTo>
                <a:lnTo>
                  <a:pt x="1524" y="1356"/>
                </a:lnTo>
                <a:lnTo>
                  <a:pt x="1524" y="1362"/>
                </a:lnTo>
                <a:lnTo>
                  <a:pt x="1512" y="1374"/>
                </a:lnTo>
                <a:lnTo>
                  <a:pt x="1506" y="1374"/>
                </a:lnTo>
                <a:lnTo>
                  <a:pt x="1500" y="1368"/>
                </a:lnTo>
                <a:lnTo>
                  <a:pt x="1500" y="1362"/>
                </a:lnTo>
                <a:lnTo>
                  <a:pt x="1488" y="1362"/>
                </a:lnTo>
                <a:lnTo>
                  <a:pt x="1482" y="1356"/>
                </a:lnTo>
                <a:lnTo>
                  <a:pt x="1482" y="1350"/>
                </a:lnTo>
                <a:lnTo>
                  <a:pt x="1476" y="1350"/>
                </a:lnTo>
                <a:lnTo>
                  <a:pt x="1470" y="1344"/>
                </a:lnTo>
                <a:lnTo>
                  <a:pt x="1464" y="1344"/>
                </a:lnTo>
                <a:lnTo>
                  <a:pt x="1452" y="1350"/>
                </a:lnTo>
                <a:lnTo>
                  <a:pt x="1452" y="1356"/>
                </a:lnTo>
                <a:lnTo>
                  <a:pt x="1440" y="1356"/>
                </a:lnTo>
                <a:lnTo>
                  <a:pt x="1434" y="1344"/>
                </a:lnTo>
                <a:lnTo>
                  <a:pt x="1422" y="1332"/>
                </a:lnTo>
                <a:lnTo>
                  <a:pt x="1416" y="1326"/>
                </a:lnTo>
                <a:lnTo>
                  <a:pt x="1404" y="1320"/>
                </a:lnTo>
                <a:lnTo>
                  <a:pt x="1404" y="1314"/>
                </a:lnTo>
                <a:lnTo>
                  <a:pt x="1374" y="1308"/>
                </a:lnTo>
                <a:lnTo>
                  <a:pt x="1368" y="1326"/>
                </a:lnTo>
                <a:lnTo>
                  <a:pt x="1344" y="1338"/>
                </a:lnTo>
                <a:lnTo>
                  <a:pt x="1326" y="1332"/>
                </a:lnTo>
                <a:lnTo>
                  <a:pt x="1302" y="1332"/>
                </a:lnTo>
                <a:lnTo>
                  <a:pt x="1278" y="1338"/>
                </a:lnTo>
                <a:lnTo>
                  <a:pt x="1236" y="1338"/>
                </a:lnTo>
                <a:lnTo>
                  <a:pt x="1224" y="1338"/>
                </a:lnTo>
                <a:lnTo>
                  <a:pt x="1224" y="1326"/>
                </a:lnTo>
                <a:lnTo>
                  <a:pt x="1206" y="1326"/>
                </a:lnTo>
                <a:lnTo>
                  <a:pt x="1170" y="1326"/>
                </a:lnTo>
                <a:lnTo>
                  <a:pt x="1152" y="1326"/>
                </a:lnTo>
                <a:lnTo>
                  <a:pt x="1140" y="1314"/>
                </a:lnTo>
                <a:lnTo>
                  <a:pt x="1134" y="1296"/>
                </a:lnTo>
                <a:lnTo>
                  <a:pt x="1134" y="1284"/>
                </a:lnTo>
                <a:lnTo>
                  <a:pt x="1128" y="1254"/>
                </a:lnTo>
                <a:lnTo>
                  <a:pt x="1128" y="1242"/>
                </a:lnTo>
                <a:lnTo>
                  <a:pt x="1122" y="1230"/>
                </a:lnTo>
                <a:lnTo>
                  <a:pt x="1104" y="1218"/>
                </a:lnTo>
                <a:lnTo>
                  <a:pt x="1104" y="1212"/>
                </a:lnTo>
                <a:lnTo>
                  <a:pt x="1092" y="1206"/>
                </a:lnTo>
                <a:lnTo>
                  <a:pt x="1080" y="1194"/>
                </a:lnTo>
                <a:lnTo>
                  <a:pt x="1068" y="1176"/>
                </a:lnTo>
                <a:lnTo>
                  <a:pt x="1050" y="1152"/>
                </a:lnTo>
                <a:lnTo>
                  <a:pt x="1020" y="1098"/>
                </a:lnTo>
                <a:lnTo>
                  <a:pt x="978" y="1026"/>
                </a:lnTo>
                <a:lnTo>
                  <a:pt x="978" y="1014"/>
                </a:lnTo>
                <a:lnTo>
                  <a:pt x="972" y="1014"/>
                </a:lnTo>
                <a:lnTo>
                  <a:pt x="972" y="1008"/>
                </a:lnTo>
                <a:lnTo>
                  <a:pt x="978" y="1002"/>
                </a:lnTo>
                <a:lnTo>
                  <a:pt x="960" y="966"/>
                </a:lnTo>
                <a:lnTo>
                  <a:pt x="948" y="954"/>
                </a:lnTo>
                <a:lnTo>
                  <a:pt x="948" y="936"/>
                </a:lnTo>
                <a:lnTo>
                  <a:pt x="936" y="900"/>
                </a:lnTo>
                <a:lnTo>
                  <a:pt x="942" y="876"/>
                </a:lnTo>
                <a:lnTo>
                  <a:pt x="942" y="834"/>
                </a:lnTo>
                <a:lnTo>
                  <a:pt x="960" y="828"/>
                </a:lnTo>
                <a:lnTo>
                  <a:pt x="966" y="816"/>
                </a:lnTo>
                <a:lnTo>
                  <a:pt x="972" y="810"/>
                </a:lnTo>
                <a:lnTo>
                  <a:pt x="978" y="804"/>
                </a:lnTo>
                <a:lnTo>
                  <a:pt x="996" y="798"/>
                </a:lnTo>
                <a:lnTo>
                  <a:pt x="996" y="792"/>
                </a:lnTo>
                <a:lnTo>
                  <a:pt x="1014" y="780"/>
                </a:lnTo>
                <a:lnTo>
                  <a:pt x="1026" y="768"/>
                </a:lnTo>
                <a:lnTo>
                  <a:pt x="1032" y="762"/>
                </a:lnTo>
                <a:lnTo>
                  <a:pt x="1026" y="756"/>
                </a:lnTo>
                <a:lnTo>
                  <a:pt x="1014" y="744"/>
                </a:lnTo>
                <a:lnTo>
                  <a:pt x="996" y="756"/>
                </a:lnTo>
                <a:lnTo>
                  <a:pt x="954" y="768"/>
                </a:lnTo>
                <a:lnTo>
                  <a:pt x="942" y="762"/>
                </a:lnTo>
                <a:lnTo>
                  <a:pt x="942" y="756"/>
                </a:lnTo>
                <a:lnTo>
                  <a:pt x="936" y="750"/>
                </a:lnTo>
                <a:lnTo>
                  <a:pt x="846" y="732"/>
                </a:lnTo>
                <a:lnTo>
                  <a:pt x="822" y="726"/>
                </a:lnTo>
                <a:lnTo>
                  <a:pt x="810" y="714"/>
                </a:lnTo>
                <a:lnTo>
                  <a:pt x="792" y="690"/>
                </a:lnTo>
                <a:lnTo>
                  <a:pt x="792" y="678"/>
                </a:lnTo>
                <a:lnTo>
                  <a:pt x="762" y="642"/>
                </a:lnTo>
                <a:lnTo>
                  <a:pt x="750" y="636"/>
                </a:lnTo>
                <a:lnTo>
                  <a:pt x="726" y="630"/>
                </a:lnTo>
                <a:lnTo>
                  <a:pt x="696" y="642"/>
                </a:lnTo>
                <a:lnTo>
                  <a:pt x="678" y="654"/>
                </a:lnTo>
                <a:lnTo>
                  <a:pt x="666" y="684"/>
                </a:lnTo>
                <a:lnTo>
                  <a:pt x="660" y="726"/>
                </a:lnTo>
                <a:lnTo>
                  <a:pt x="606" y="756"/>
                </a:lnTo>
                <a:lnTo>
                  <a:pt x="558" y="780"/>
                </a:lnTo>
                <a:lnTo>
                  <a:pt x="438" y="834"/>
                </a:lnTo>
                <a:lnTo>
                  <a:pt x="402" y="846"/>
                </a:lnTo>
                <a:lnTo>
                  <a:pt x="372" y="870"/>
                </a:lnTo>
                <a:lnTo>
                  <a:pt x="360" y="876"/>
                </a:lnTo>
                <a:lnTo>
                  <a:pt x="354" y="876"/>
                </a:lnTo>
                <a:lnTo>
                  <a:pt x="330" y="882"/>
                </a:lnTo>
                <a:lnTo>
                  <a:pt x="306" y="882"/>
                </a:lnTo>
                <a:lnTo>
                  <a:pt x="300" y="876"/>
                </a:lnTo>
                <a:lnTo>
                  <a:pt x="294" y="876"/>
                </a:lnTo>
                <a:lnTo>
                  <a:pt x="294" y="864"/>
                </a:lnTo>
                <a:lnTo>
                  <a:pt x="288" y="864"/>
                </a:lnTo>
                <a:lnTo>
                  <a:pt x="276" y="864"/>
                </a:lnTo>
                <a:lnTo>
                  <a:pt x="270" y="870"/>
                </a:lnTo>
                <a:lnTo>
                  <a:pt x="264" y="870"/>
                </a:lnTo>
                <a:lnTo>
                  <a:pt x="240" y="894"/>
                </a:lnTo>
                <a:lnTo>
                  <a:pt x="234" y="894"/>
                </a:lnTo>
                <a:lnTo>
                  <a:pt x="228" y="900"/>
                </a:lnTo>
                <a:lnTo>
                  <a:pt x="222" y="906"/>
                </a:lnTo>
                <a:lnTo>
                  <a:pt x="210" y="912"/>
                </a:lnTo>
                <a:lnTo>
                  <a:pt x="204" y="912"/>
                </a:lnTo>
                <a:lnTo>
                  <a:pt x="198" y="912"/>
                </a:lnTo>
                <a:lnTo>
                  <a:pt x="192" y="918"/>
                </a:lnTo>
                <a:lnTo>
                  <a:pt x="180" y="918"/>
                </a:lnTo>
                <a:lnTo>
                  <a:pt x="174" y="930"/>
                </a:lnTo>
                <a:lnTo>
                  <a:pt x="174" y="936"/>
                </a:lnTo>
                <a:lnTo>
                  <a:pt x="168" y="942"/>
                </a:lnTo>
                <a:lnTo>
                  <a:pt x="162" y="942"/>
                </a:lnTo>
                <a:lnTo>
                  <a:pt x="150" y="960"/>
                </a:lnTo>
                <a:lnTo>
                  <a:pt x="144" y="966"/>
                </a:lnTo>
                <a:lnTo>
                  <a:pt x="138" y="972"/>
                </a:lnTo>
                <a:lnTo>
                  <a:pt x="132" y="972"/>
                </a:lnTo>
                <a:lnTo>
                  <a:pt x="126" y="984"/>
                </a:lnTo>
                <a:lnTo>
                  <a:pt x="120" y="984"/>
                </a:lnTo>
                <a:lnTo>
                  <a:pt x="114" y="990"/>
                </a:lnTo>
                <a:lnTo>
                  <a:pt x="96" y="990"/>
                </a:lnTo>
                <a:lnTo>
                  <a:pt x="90" y="990"/>
                </a:lnTo>
                <a:lnTo>
                  <a:pt x="78" y="990"/>
                </a:lnTo>
                <a:lnTo>
                  <a:pt x="72" y="990"/>
                </a:lnTo>
                <a:lnTo>
                  <a:pt x="60" y="990"/>
                </a:lnTo>
                <a:lnTo>
                  <a:pt x="42" y="990"/>
                </a:lnTo>
                <a:lnTo>
                  <a:pt x="36" y="996"/>
                </a:lnTo>
                <a:lnTo>
                  <a:pt x="30" y="1002"/>
                </a:lnTo>
                <a:lnTo>
                  <a:pt x="24" y="1014"/>
                </a:lnTo>
                <a:lnTo>
                  <a:pt x="24" y="1020"/>
                </a:lnTo>
                <a:lnTo>
                  <a:pt x="18" y="1020"/>
                </a:lnTo>
                <a:lnTo>
                  <a:pt x="12" y="1014"/>
                </a:lnTo>
                <a:lnTo>
                  <a:pt x="12" y="1008"/>
                </a:lnTo>
                <a:lnTo>
                  <a:pt x="12" y="990"/>
                </a:lnTo>
                <a:lnTo>
                  <a:pt x="12" y="984"/>
                </a:lnTo>
                <a:lnTo>
                  <a:pt x="12" y="972"/>
                </a:lnTo>
                <a:lnTo>
                  <a:pt x="12" y="966"/>
                </a:lnTo>
                <a:lnTo>
                  <a:pt x="6" y="966"/>
                </a:lnTo>
                <a:lnTo>
                  <a:pt x="6" y="960"/>
                </a:lnTo>
                <a:lnTo>
                  <a:pt x="6" y="954"/>
                </a:lnTo>
                <a:lnTo>
                  <a:pt x="6" y="948"/>
                </a:lnTo>
                <a:lnTo>
                  <a:pt x="6" y="942"/>
                </a:lnTo>
                <a:lnTo>
                  <a:pt x="12" y="930"/>
                </a:lnTo>
                <a:lnTo>
                  <a:pt x="6" y="924"/>
                </a:lnTo>
                <a:lnTo>
                  <a:pt x="6" y="918"/>
                </a:lnTo>
                <a:lnTo>
                  <a:pt x="6" y="912"/>
                </a:lnTo>
                <a:lnTo>
                  <a:pt x="6" y="906"/>
                </a:lnTo>
                <a:lnTo>
                  <a:pt x="6" y="900"/>
                </a:lnTo>
                <a:lnTo>
                  <a:pt x="0" y="894"/>
                </a:lnTo>
                <a:lnTo>
                  <a:pt x="0" y="888"/>
                </a:lnTo>
                <a:lnTo>
                  <a:pt x="0" y="882"/>
                </a:lnTo>
                <a:lnTo>
                  <a:pt x="6" y="876"/>
                </a:lnTo>
                <a:lnTo>
                  <a:pt x="6" y="870"/>
                </a:lnTo>
                <a:lnTo>
                  <a:pt x="18" y="864"/>
                </a:lnTo>
                <a:lnTo>
                  <a:pt x="18" y="858"/>
                </a:lnTo>
                <a:lnTo>
                  <a:pt x="18" y="846"/>
                </a:lnTo>
                <a:lnTo>
                  <a:pt x="18" y="834"/>
                </a:lnTo>
                <a:lnTo>
                  <a:pt x="18" y="828"/>
                </a:lnTo>
                <a:lnTo>
                  <a:pt x="24" y="828"/>
                </a:lnTo>
                <a:lnTo>
                  <a:pt x="24" y="810"/>
                </a:lnTo>
                <a:lnTo>
                  <a:pt x="24" y="804"/>
                </a:lnTo>
                <a:lnTo>
                  <a:pt x="18" y="804"/>
                </a:lnTo>
                <a:lnTo>
                  <a:pt x="18" y="798"/>
                </a:lnTo>
                <a:lnTo>
                  <a:pt x="18" y="792"/>
                </a:lnTo>
                <a:lnTo>
                  <a:pt x="24" y="792"/>
                </a:lnTo>
                <a:lnTo>
                  <a:pt x="30" y="774"/>
                </a:lnTo>
                <a:lnTo>
                  <a:pt x="24" y="768"/>
                </a:lnTo>
                <a:lnTo>
                  <a:pt x="30" y="768"/>
                </a:lnTo>
                <a:lnTo>
                  <a:pt x="36" y="762"/>
                </a:lnTo>
                <a:lnTo>
                  <a:pt x="36" y="756"/>
                </a:lnTo>
                <a:lnTo>
                  <a:pt x="30" y="756"/>
                </a:lnTo>
                <a:lnTo>
                  <a:pt x="30" y="750"/>
                </a:lnTo>
                <a:lnTo>
                  <a:pt x="36" y="750"/>
                </a:lnTo>
                <a:lnTo>
                  <a:pt x="36" y="744"/>
                </a:lnTo>
                <a:lnTo>
                  <a:pt x="30" y="744"/>
                </a:lnTo>
                <a:lnTo>
                  <a:pt x="30" y="738"/>
                </a:lnTo>
                <a:lnTo>
                  <a:pt x="24" y="738"/>
                </a:lnTo>
                <a:lnTo>
                  <a:pt x="24" y="732"/>
                </a:lnTo>
                <a:lnTo>
                  <a:pt x="30" y="732"/>
                </a:lnTo>
                <a:lnTo>
                  <a:pt x="36" y="726"/>
                </a:lnTo>
                <a:lnTo>
                  <a:pt x="30" y="726"/>
                </a:lnTo>
                <a:lnTo>
                  <a:pt x="24" y="726"/>
                </a:lnTo>
                <a:lnTo>
                  <a:pt x="30" y="720"/>
                </a:lnTo>
                <a:lnTo>
                  <a:pt x="30" y="714"/>
                </a:lnTo>
                <a:lnTo>
                  <a:pt x="36" y="714"/>
                </a:lnTo>
                <a:lnTo>
                  <a:pt x="30" y="708"/>
                </a:lnTo>
                <a:lnTo>
                  <a:pt x="30" y="696"/>
                </a:lnTo>
                <a:lnTo>
                  <a:pt x="66" y="702"/>
                </a:lnTo>
                <a:lnTo>
                  <a:pt x="78" y="702"/>
                </a:lnTo>
                <a:lnTo>
                  <a:pt x="84" y="702"/>
                </a:lnTo>
                <a:lnTo>
                  <a:pt x="96" y="696"/>
                </a:lnTo>
                <a:lnTo>
                  <a:pt x="102" y="690"/>
                </a:lnTo>
                <a:lnTo>
                  <a:pt x="102" y="684"/>
                </a:lnTo>
                <a:lnTo>
                  <a:pt x="114" y="684"/>
                </a:lnTo>
                <a:lnTo>
                  <a:pt x="144" y="684"/>
                </a:lnTo>
                <a:lnTo>
                  <a:pt x="150" y="690"/>
                </a:lnTo>
                <a:lnTo>
                  <a:pt x="162" y="696"/>
                </a:lnTo>
                <a:lnTo>
                  <a:pt x="168" y="696"/>
                </a:lnTo>
                <a:lnTo>
                  <a:pt x="174" y="696"/>
                </a:lnTo>
                <a:lnTo>
                  <a:pt x="186" y="690"/>
                </a:lnTo>
                <a:lnTo>
                  <a:pt x="192" y="690"/>
                </a:lnTo>
                <a:lnTo>
                  <a:pt x="198" y="684"/>
                </a:lnTo>
                <a:lnTo>
                  <a:pt x="204" y="684"/>
                </a:lnTo>
                <a:lnTo>
                  <a:pt x="210" y="684"/>
                </a:lnTo>
                <a:lnTo>
                  <a:pt x="222" y="678"/>
                </a:lnTo>
                <a:lnTo>
                  <a:pt x="228" y="678"/>
                </a:lnTo>
                <a:lnTo>
                  <a:pt x="228" y="660"/>
                </a:lnTo>
                <a:lnTo>
                  <a:pt x="234" y="642"/>
                </a:lnTo>
                <a:lnTo>
                  <a:pt x="246" y="618"/>
                </a:lnTo>
                <a:lnTo>
                  <a:pt x="252" y="618"/>
                </a:lnTo>
                <a:lnTo>
                  <a:pt x="252" y="600"/>
                </a:lnTo>
                <a:lnTo>
                  <a:pt x="252" y="588"/>
                </a:lnTo>
                <a:lnTo>
                  <a:pt x="252" y="582"/>
                </a:lnTo>
                <a:lnTo>
                  <a:pt x="258" y="576"/>
                </a:lnTo>
                <a:lnTo>
                  <a:pt x="270" y="564"/>
                </a:lnTo>
                <a:lnTo>
                  <a:pt x="270" y="558"/>
                </a:lnTo>
                <a:lnTo>
                  <a:pt x="270" y="552"/>
                </a:lnTo>
                <a:lnTo>
                  <a:pt x="270" y="540"/>
                </a:lnTo>
                <a:lnTo>
                  <a:pt x="270" y="534"/>
                </a:lnTo>
                <a:lnTo>
                  <a:pt x="270" y="522"/>
                </a:lnTo>
                <a:lnTo>
                  <a:pt x="270" y="510"/>
                </a:lnTo>
                <a:lnTo>
                  <a:pt x="270" y="498"/>
                </a:lnTo>
                <a:lnTo>
                  <a:pt x="258" y="468"/>
                </a:lnTo>
                <a:lnTo>
                  <a:pt x="252" y="456"/>
                </a:lnTo>
                <a:lnTo>
                  <a:pt x="258" y="444"/>
                </a:lnTo>
                <a:lnTo>
                  <a:pt x="264" y="432"/>
                </a:lnTo>
                <a:lnTo>
                  <a:pt x="270" y="426"/>
                </a:lnTo>
                <a:lnTo>
                  <a:pt x="276" y="420"/>
                </a:lnTo>
                <a:lnTo>
                  <a:pt x="288" y="420"/>
                </a:lnTo>
                <a:lnTo>
                  <a:pt x="288" y="414"/>
                </a:lnTo>
                <a:lnTo>
                  <a:pt x="294" y="414"/>
                </a:lnTo>
                <a:lnTo>
                  <a:pt x="306" y="390"/>
                </a:lnTo>
                <a:lnTo>
                  <a:pt x="312" y="384"/>
                </a:lnTo>
                <a:lnTo>
                  <a:pt x="318" y="378"/>
                </a:lnTo>
                <a:lnTo>
                  <a:pt x="318" y="372"/>
                </a:lnTo>
                <a:lnTo>
                  <a:pt x="324" y="366"/>
                </a:lnTo>
                <a:lnTo>
                  <a:pt x="330" y="354"/>
                </a:lnTo>
                <a:lnTo>
                  <a:pt x="336" y="348"/>
                </a:lnTo>
                <a:lnTo>
                  <a:pt x="336" y="330"/>
                </a:lnTo>
                <a:lnTo>
                  <a:pt x="342" y="324"/>
                </a:lnTo>
                <a:lnTo>
                  <a:pt x="342" y="318"/>
                </a:lnTo>
                <a:lnTo>
                  <a:pt x="348" y="318"/>
                </a:lnTo>
                <a:lnTo>
                  <a:pt x="360" y="318"/>
                </a:lnTo>
                <a:lnTo>
                  <a:pt x="372" y="318"/>
                </a:lnTo>
                <a:lnTo>
                  <a:pt x="384" y="306"/>
                </a:lnTo>
                <a:lnTo>
                  <a:pt x="396" y="300"/>
                </a:lnTo>
                <a:lnTo>
                  <a:pt x="396" y="294"/>
                </a:lnTo>
                <a:lnTo>
                  <a:pt x="396" y="288"/>
                </a:lnTo>
                <a:lnTo>
                  <a:pt x="390" y="282"/>
                </a:lnTo>
                <a:lnTo>
                  <a:pt x="390" y="276"/>
                </a:lnTo>
                <a:lnTo>
                  <a:pt x="384" y="264"/>
                </a:lnTo>
                <a:lnTo>
                  <a:pt x="378" y="252"/>
                </a:lnTo>
                <a:lnTo>
                  <a:pt x="378" y="246"/>
                </a:lnTo>
                <a:lnTo>
                  <a:pt x="384" y="228"/>
                </a:lnTo>
                <a:lnTo>
                  <a:pt x="390" y="216"/>
                </a:lnTo>
                <a:lnTo>
                  <a:pt x="402" y="210"/>
                </a:lnTo>
                <a:lnTo>
                  <a:pt x="408" y="210"/>
                </a:lnTo>
                <a:lnTo>
                  <a:pt x="420" y="204"/>
                </a:lnTo>
                <a:lnTo>
                  <a:pt x="444" y="198"/>
                </a:lnTo>
                <a:lnTo>
                  <a:pt x="462" y="192"/>
                </a:lnTo>
                <a:lnTo>
                  <a:pt x="474" y="186"/>
                </a:lnTo>
                <a:lnTo>
                  <a:pt x="480" y="192"/>
                </a:lnTo>
                <a:lnTo>
                  <a:pt x="492" y="192"/>
                </a:lnTo>
                <a:lnTo>
                  <a:pt x="498" y="192"/>
                </a:lnTo>
                <a:lnTo>
                  <a:pt x="504" y="192"/>
                </a:lnTo>
                <a:lnTo>
                  <a:pt x="510" y="192"/>
                </a:lnTo>
                <a:lnTo>
                  <a:pt x="516" y="186"/>
                </a:lnTo>
                <a:lnTo>
                  <a:pt x="522" y="180"/>
                </a:lnTo>
                <a:lnTo>
                  <a:pt x="522" y="174"/>
                </a:lnTo>
                <a:lnTo>
                  <a:pt x="528" y="168"/>
                </a:lnTo>
                <a:lnTo>
                  <a:pt x="534" y="168"/>
                </a:lnTo>
                <a:lnTo>
                  <a:pt x="534" y="156"/>
                </a:lnTo>
                <a:lnTo>
                  <a:pt x="534" y="150"/>
                </a:lnTo>
                <a:lnTo>
                  <a:pt x="552" y="138"/>
                </a:lnTo>
                <a:lnTo>
                  <a:pt x="558" y="126"/>
                </a:lnTo>
                <a:lnTo>
                  <a:pt x="558" y="114"/>
                </a:lnTo>
                <a:lnTo>
                  <a:pt x="564" y="102"/>
                </a:lnTo>
                <a:lnTo>
                  <a:pt x="564" y="96"/>
                </a:lnTo>
                <a:lnTo>
                  <a:pt x="564" y="90"/>
                </a:lnTo>
                <a:lnTo>
                  <a:pt x="564" y="72"/>
                </a:lnTo>
                <a:lnTo>
                  <a:pt x="564" y="60"/>
                </a:lnTo>
                <a:lnTo>
                  <a:pt x="564" y="54"/>
                </a:lnTo>
                <a:lnTo>
                  <a:pt x="570" y="42"/>
                </a:lnTo>
                <a:lnTo>
                  <a:pt x="576" y="42"/>
                </a:lnTo>
                <a:lnTo>
                  <a:pt x="582" y="36"/>
                </a:lnTo>
                <a:lnTo>
                  <a:pt x="594" y="36"/>
                </a:lnTo>
                <a:lnTo>
                  <a:pt x="594" y="30"/>
                </a:lnTo>
                <a:lnTo>
                  <a:pt x="600" y="24"/>
                </a:lnTo>
                <a:lnTo>
                  <a:pt x="600" y="12"/>
                </a:lnTo>
                <a:lnTo>
                  <a:pt x="606" y="6"/>
                </a:lnTo>
                <a:lnTo>
                  <a:pt x="606" y="0"/>
                </a:lnTo>
                <a:lnTo>
                  <a:pt x="612" y="0"/>
                </a:lnTo>
                <a:lnTo>
                  <a:pt x="618" y="0"/>
                </a:lnTo>
                <a:lnTo>
                  <a:pt x="624" y="6"/>
                </a:lnTo>
                <a:lnTo>
                  <a:pt x="624" y="12"/>
                </a:lnTo>
                <a:lnTo>
                  <a:pt x="624" y="18"/>
                </a:lnTo>
                <a:lnTo>
                  <a:pt x="624" y="24"/>
                </a:lnTo>
                <a:lnTo>
                  <a:pt x="624" y="30"/>
                </a:lnTo>
                <a:lnTo>
                  <a:pt x="630" y="30"/>
                </a:lnTo>
                <a:lnTo>
                  <a:pt x="630" y="36"/>
                </a:lnTo>
                <a:lnTo>
                  <a:pt x="630" y="42"/>
                </a:lnTo>
                <a:lnTo>
                  <a:pt x="630" y="48"/>
                </a:lnTo>
                <a:lnTo>
                  <a:pt x="636" y="54"/>
                </a:lnTo>
                <a:lnTo>
                  <a:pt x="642" y="48"/>
                </a:lnTo>
                <a:lnTo>
                  <a:pt x="648" y="48"/>
                </a:lnTo>
                <a:lnTo>
                  <a:pt x="648" y="60"/>
                </a:lnTo>
                <a:lnTo>
                  <a:pt x="654" y="66"/>
                </a:lnTo>
                <a:lnTo>
                  <a:pt x="660" y="72"/>
                </a:lnTo>
                <a:lnTo>
                  <a:pt x="666" y="72"/>
                </a:lnTo>
                <a:lnTo>
                  <a:pt x="666" y="84"/>
                </a:lnTo>
                <a:lnTo>
                  <a:pt x="672" y="84"/>
                </a:lnTo>
                <a:lnTo>
                  <a:pt x="672" y="78"/>
                </a:lnTo>
                <a:lnTo>
                  <a:pt x="672" y="66"/>
                </a:lnTo>
                <a:lnTo>
                  <a:pt x="678" y="66"/>
                </a:lnTo>
                <a:lnTo>
                  <a:pt x="678" y="60"/>
                </a:lnTo>
                <a:lnTo>
                  <a:pt x="684" y="60"/>
                </a:lnTo>
                <a:lnTo>
                  <a:pt x="696" y="66"/>
                </a:lnTo>
                <a:lnTo>
                  <a:pt x="696" y="72"/>
                </a:lnTo>
                <a:lnTo>
                  <a:pt x="702" y="72"/>
                </a:lnTo>
                <a:lnTo>
                  <a:pt x="708" y="72"/>
                </a:lnTo>
                <a:lnTo>
                  <a:pt x="720" y="66"/>
                </a:lnTo>
                <a:lnTo>
                  <a:pt x="726" y="78"/>
                </a:lnTo>
                <a:lnTo>
                  <a:pt x="744" y="84"/>
                </a:lnTo>
                <a:lnTo>
                  <a:pt x="744" y="90"/>
                </a:lnTo>
                <a:lnTo>
                  <a:pt x="744" y="96"/>
                </a:lnTo>
                <a:lnTo>
                  <a:pt x="738" y="96"/>
                </a:lnTo>
                <a:lnTo>
                  <a:pt x="738" y="102"/>
                </a:lnTo>
                <a:lnTo>
                  <a:pt x="732" y="102"/>
                </a:lnTo>
                <a:lnTo>
                  <a:pt x="732" y="108"/>
                </a:lnTo>
                <a:lnTo>
                  <a:pt x="738" y="108"/>
                </a:lnTo>
                <a:lnTo>
                  <a:pt x="744" y="114"/>
                </a:lnTo>
                <a:lnTo>
                  <a:pt x="750" y="108"/>
                </a:lnTo>
                <a:lnTo>
                  <a:pt x="756" y="108"/>
                </a:lnTo>
                <a:lnTo>
                  <a:pt x="762" y="108"/>
                </a:lnTo>
                <a:lnTo>
                  <a:pt x="768" y="108"/>
                </a:lnTo>
                <a:lnTo>
                  <a:pt x="774" y="114"/>
                </a:lnTo>
                <a:lnTo>
                  <a:pt x="780" y="120"/>
                </a:lnTo>
                <a:lnTo>
                  <a:pt x="774" y="120"/>
                </a:lnTo>
                <a:lnTo>
                  <a:pt x="768" y="120"/>
                </a:lnTo>
                <a:lnTo>
                  <a:pt x="768" y="126"/>
                </a:lnTo>
                <a:lnTo>
                  <a:pt x="768" y="132"/>
                </a:lnTo>
                <a:lnTo>
                  <a:pt x="774" y="138"/>
                </a:lnTo>
                <a:lnTo>
                  <a:pt x="774" y="132"/>
                </a:lnTo>
                <a:lnTo>
                  <a:pt x="780" y="132"/>
                </a:lnTo>
                <a:lnTo>
                  <a:pt x="786" y="132"/>
                </a:lnTo>
                <a:lnTo>
                  <a:pt x="792" y="138"/>
                </a:lnTo>
                <a:lnTo>
                  <a:pt x="792" y="144"/>
                </a:lnTo>
                <a:lnTo>
                  <a:pt x="786" y="144"/>
                </a:lnTo>
                <a:lnTo>
                  <a:pt x="786" y="150"/>
                </a:lnTo>
                <a:lnTo>
                  <a:pt x="780" y="150"/>
                </a:lnTo>
                <a:lnTo>
                  <a:pt x="774" y="150"/>
                </a:lnTo>
                <a:lnTo>
                  <a:pt x="768" y="150"/>
                </a:lnTo>
                <a:lnTo>
                  <a:pt x="768" y="156"/>
                </a:lnTo>
                <a:lnTo>
                  <a:pt x="768" y="162"/>
                </a:lnTo>
                <a:lnTo>
                  <a:pt x="774" y="162"/>
                </a:lnTo>
                <a:lnTo>
                  <a:pt x="780" y="162"/>
                </a:lnTo>
                <a:lnTo>
                  <a:pt x="786" y="168"/>
                </a:lnTo>
                <a:lnTo>
                  <a:pt x="792" y="162"/>
                </a:lnTo>
                <a:lnTo>
                  <a:pt x="798" y="168"/>
                </a:lnTo>
                <a:lnTo>
                  <a:pt x="798" y="174"/>
                </a:lnTo>
                <a:lnTo>
                  <a:pt x="804" y="168"/>
                </a:lnTo>
                <a:lnTo>
                  <a:pt x="810" y="168"/>
                </a:lnTo>
                <a:lnTo>
                  <a:pt x="810" y="174"/>
                </a:lnTo>
                <a:lnTo>
                  <a:pt x="816" y="168"/>
                </a:lnTo>
                <a:lnTo>
                  <a:pt x="822" y="162"/>
                </a:lnTo>
                <a:lnTo>
                  <a:pt x="822" y="168"/>
                </a:lnTo>
                <a:lnTo>
                  <a:pt x="828" y="168"/>
                </a:lnTo>
                <a:lnTo>
                  <a:pt x="828" y="174"/>
                </a:lnTo>
                <a:lnTo>
                  <a:pt x="834" y="192"/>
                </a:lnTo>
                <a:lnTo>
                  <a:pt x="834" y="198"/>
                </a:lnTo>
                <a:lnTo>
                  <a:pt x="840" y="192"/>
                </a:lnTo>
                <a:lnTo>
                  <a:pt x="846" y="192"/>
                </a:lnTo>
                <a:lnTo>
                  <a:pt x="852" y="186"/>
                </a:lnTo>
                <a:lnTo>
                  <a:pt x="858" y="192"/>
                </a:lnTo>
                <a:lnTo>
                  <a:pt x="864" y="192"/>
                </a:lnTo>
                <a:lnTo>
                  <a:pt x="870" y="198"/>
                </a:lnTo>
                <a:lnTo>
                  <a:pt x="876" y="180"/>
                </a:lnTo>
                <a:lnTo>
                  <a:pt x="882" y="180"/>
                </a:lnTo>
                <a:lnTo>
                  <a:pt x="888" y="180"/>
                </a:lnTo>
                <a:lnTo>
                  <a:pt x="894" y="186"/>
                </a:lnTo>
                <a:lnTo>
                  <a:pt x="888" y="198"/>
                </a:lnTo>
                <a:lnTo>
                  <a:pt x="894" y="204"/>
                </a:lnTo>
                <a:lnTo>
                  <a:pt x="906" y="210"/>
                </a:lnTo>
                <a:lnTo>
                  <a:pt x="918" y="246"/>
                </a:lnTo>
                <a:lnTo>
                  <a:pt x="930" y="258"/>
                </a:lnTo>
                <a:lnTo>
                  <a:pt x="942" y="282"/>
                </a:lnTo>
                <a:lnTo>
                  <a:pt x="966" y="288"/>
                </a:lnTo>
                <a:lnTo>
                  <a:pt x="972" y="300"/>
                </a:lnTo>
                <a:lnTo>
                  <a:pt x="972" y="318"/>
                </a:lnTo>
                <a:lnTo>
                  <a:pt x="996" y="336"/>
                </a:lnTo>
                <a:lnTo>
                  <a:pt x="1050" y="390"/>
                </a:lnTo>
                <a:lnTo>
                  <a:pt x="1116" y="462"/>
                </a:lnTo>
                <a:lnTo>
                  <a:pt x="1122" y="468"/>
                </a:lnTo>
                <a:lnTo>
                  <a:pt x="1128" y="474"/>
                </a:lnTo>
                <a:lnTo>
                  <a:pt x="1140" y="474"/>
                </a:lnTo>
                <a:lnTo>
                  <a:pt x="1152" y="486"/>
                </a:lnTo>
                <a:lnTo>
                  <a:pt x="1152" y="492"/>
                </a:lnTo>
                <a:lnTo>
                  <a:pt x="1158" y="492"/>
                </a:lnTo>
                <a:lnTo>
                  <a:pt x="1164" y="492"/>
                </a:lnTo>
                <a:lnTo>
                  <a:pt x="1170" y="504"/>
                </a:lnTo>
                <a:lnTo>
                  <a:pt x="1176" y="504"/>
                </a:lnTo>
                <a:lnTo>
                  <a:pt x="1176" y="510"/>
                </a:lnTo>
                <a:lnTo>
                  <a:pt x="1200" y="516"/>
                </a:lnTo>
                <a:lnTo>
                  <a:pt x="1200" y="522"/>
                </a:lnTo>
                <a:lnTo>
                  <a:pt x="1212" y="534"/>
                </a:lnTo>
                <a:lnTo>
                  <a:pt x="1218" y="540"/>
                </a:lnTo>
                <a:lnTo>
                  <a:pt x="1224" y="552"/>
                </a:lnTo>
                <a:lnTo>
                  <a:pt x="1230" y="552"/>
                </a:lnTo>
                <a:lnTo>
                  <a:pt x="1242" y="552"/>
                </a:lnTo>
                <a:lnTo>
                  <a:pt x="1248" y="558"/>
                </a:lnTo>
                <a:lnTo>
                  <a:pt x="1254" y="558"/>
                </a:lnTo>
                <a:lnTo>
                  <a:pt x="1260" y="564"/>
                </a:lnTo>
                <a:lnTo>
                  <a:pt x="1266" y="564"/>
                </a:lnTo>
                <a:lnTo>
                  <a:pt x="1272" y="564"/>
                </a:lnTo>
                <a:lnTo>
                  <a:pt x="1284" y="564"/>
                </a:lnTo>
                <a:lnTo>
                  <a:pt x="1290" y="570"/>
                </a:lnTo>
                <a:lnTo>
                  <a:pt x="1296" y="576"/>
                </a:lnTo>
                <a:lnTo>
                  <a:pt x="1302" y="588"/>
                </a:lnTo>
                <a:lnTo>
                  <a:pt x="1296" y="594"/>
                </a:lnTo>
                <a:lnTo>
                  <a:pt x="1296" y="600"/>
                </a:lnTo>
                <a:lnTo>
                  <a:pt x="1296" y="606"/>
                </a:lnTo>
                <a:lnTo>
                  <a:pt x="1290" y="612"/>
                </a:lnTo>
                <a:lnTo>
                  <a:pt x="1290" y="624"/>
                </a:lnTo>
                <a:lnTo>
                  <a:pt x="1290" y="636"/>
                </a:lnTo>
                <a:lnTo>
                  <a:pt x="1296" y="642"/>
                </a:lnTo>
                <a:lnTo>
                  <a:pt x="1302" y="648"/>
                </a:lnTo>
                <a:lnTo>
                  <a:pt x="1308" y="654"/>
                </a:lnTo>
                <a:lnTo>
                  <a:pt x="1320" y="654"/>
                </a:lnTo>
                <a:lnTo>
                  <a:pt x="1326" y="660"/>
                </a:lnTo>
                <a:lnTo>
                  <a:pt x="1338" y="654"/>
                </a:lnTo>
                <a:lnTo>
                  <a:pt x="1344" y="654"/>
                </a:lnTo>
                <a:lnTo>
                  <a:pt x="1356" y="654"/>
                </a:lnTo>
                <a:lnTo>
                  <a:pt x="1362" y="648"/>
                </a:lnTo>
                <a:lnTo>
                  <a:pt x="1368" y="642"/>
                </a:lnTo>
                <a:lnTo>
                  <a:pt x="1374" y="636"/>
                </a:lnTo>
                <a:lnTo>
                  <a:pt x="1380" y="636"/>
                </a:lnTo>
                <a:lnTo>
                  <a:pt x="1392" y="636"/>
                </a:lnTo>
                <a:lnTo>
                  <a:pt x="1398" y="636"/>
                </a:lnTo>
                <a:lnTo>
                  <a:pt x="1404" y="636"/>
                </a:lnTo>
                <a:lnTo>
                  <a:pt x="1410" y="630"/>
                </a:lnTo>
                <a:lnTo>
                  <a:pt x="1410" y="624"/>
                </a:lnTo>
                <a:lnTo>
                  <a:pt x="1422" y="618"/>
                </a:lnTo>
                <a:lnTo>
                  <a:pt x="1428" y="618"/>
                </a:lnTo>
                <a:lnTo>
                  <a:pt x="1440" y="612"/>
                </a:lnTo>
                <a:lnTo>
                  <a:pt x="1446" y="612"/>
                </a:lnTo>
                <a:lnTo>
                  <a:pt x="1458" y="612"/>
                </a:lnTo>
                <a:lnTo>
                  <a:pt x="1470" y="624"/>
                </a:lnTo>
                <a:lnTo>
                  <a:pt x="1488" y="642"/>
                </a:lnTo>
                <a:lnTo>
                  <a:pt x="1500" y="648"/>
                </a:lnTo>
                <a:lnTo>
                  <a:pt x="1512" y="654"/>
                </a:lnTo>
                <a:lnTo>
                  <a:pt x="1518" y="660"/>
                </a:lnTo>
                <a:lnTo>
                  <a:pt x="1524" y="660"/>
                </a:lnTo>
                <a:lnTo>
                  <a:pt x="1530" y="660"/>
                </a:lnTo>
                <a:lnTo>
                  <a:pt x="1536" y="666"/>
                </a:lnTo>
                <a:lnTo>
                  <a:pt x="1542" y="672"/>
                </a:lnTo>
                <a:lnTo>
                  <a:pt x="1548" y="672"/>
                </a:lnTo>
                <a:lnTo>
                  <a:pt x="1554" y="684"/>
                </a:lnTo>
                <a:lnTo>
                  <a:pt x="1554" y="690"/>
                </a:lnTo>
                <a:lnTo>
                  <a:pt x="1566" y="702"/>
                </a:lnTo>
                <a:lnTo>
                  <a:pt x="1572" y="720"/>
                </a:lnTo>
                <a:lnTo>
                  <a:pt x="1572" y="726"/>
                </a:lnTo>
                <a:lnTo>
                  <a:pt x="1578" y="732"/>
                </a:lnTo>
                <a:lnTo>
                  <a:pt x="1584" y="738"/>
                </a:lnTo>
                <a:lnTo>
                  <a:pt x="1590" y="738"/>
                </a:lnTo>
                <a:lnTo>
                  <a:pt x="1596" y="738"/>
                </a:lnTo>
                <a:lnTo>
                  <a:pt x="1602" y="744"/>
                </a:lnTo>
                <a:lnTo>
                  <a:pt x="1608" y="744"/>
                </a:lnTo>
                <a:lnTo>
                  <a:pt x="1614" y="744"/>
                </a:lnTo>
                <a:lnTo>
                  <a:pt x="1626" y="744"/>
                </a:lnTo>
                <a:lnTo>
                  <a:pt x="1638" y="744"/>
                </a:lnTo>
                <a:lnTo>
                  <a:pt x="1650" y="744"/>
                </a:lnTo>
                <a:lnTo>
                  <a:pt x="1662" y="744"/>
                </a:lnTo>
                <a:lnTo>
                  <a:pt x="1668" y="744"/>
                </a:lnTo>
                <a:lnTo>
                  <a:pt x="1674" y="744"/>
                </a:lnTo>
                <a:lnTo>
                  <a:pt x="1686" y="744"/>
                </a:lnTo>
                <a:lnTo>
                  <a:pt x="1698" y="750"/>
                </a:lnTo>
                <a:lnTo>
                  <a:pt x="1704" y="750"/>
                </a:lnTo>
                <a:lnTo>
                  <a:pt x="1716" y="756"/>
                </a:lnTo>
                <a:lnTo>
                  <a:pt x="1722" y="756"/>
                </a:lnTo>
                <a:lnTo>
                  <a:pt x="1728" y="756"/>
                </a:lnTo>
                <a:lnTo>
                  <a:pt x="1734" y="762"/>
                </a:lnTo>
                <a:lnTo>
                  <a:pt x="1740" y="768"/>
                </a:lnTo>
                <a:lnTo>
                  <a:pt x="1758" y="780"/>
                </a:lnTo>
                <a:lnTo>
                  <a:pt x="1770" y="780"/>
                </a:lnTo>
                <a:lnTo>
                  <a:pt x="1776" y="780"/>
                </a:lnTo>
                <a:lnTo>
                  <a:pt x="1782" y="780"/>
                </a:lnTo>
                <a:lnTo>
                  <a:pt x="1800" y="798"/>
                </a:lnTo>
                <a:lnTo>
                  <a:pt x="1818" y="810"/>
                </a:lnTo>
                <a:lnTo>
                  <a:pt x="1830" y="816"/>
                </a:lnTo>
                <a:lnTo>
                  <a:pt x="1836" y="822"/>
                </a:lnTo>
                <a:lnTo>
                  <a:pt x="1836" y="828"/>
                </a:lnTo>
                <a:lnTo>
                  <a:pt x="1842" y="828"/>
                </a:lnTo>
                <a:lnTo>
                  <a:pt x="1848" y="834"/>
                </a:lnTo>
                <a:lnTo>
                  <a:pt x="1854" y="840"/>
                </a:lnTo>
                <a:lnTo>
                  <a:pt x="1860" y="846"/>
                </a:lnTo>
                <a:lnTo>
                  <a:pt x="1872" y="852"/>
                </a:lnTo>
                <a:lnTo>
                  <a:pt x="1884" y="852"/>
                </a:lnTo>
                <a:lnTo>
                  <a:pt x="1896" y="852"/>
                </a:lnTo>
                <a:lnTo>
                  <a:pt x="1902" y="846"/>
                </a:lnTo>
                <a:lnTo>
                  <a:pt x="1908" y="852"/>
                </a:lnTo>
                <a:lnTo>
                  <a:pt x="1920" y="858"/>
                </a:lnTo>
                <a:lnTo>
                  <a:pt x="1926" y="870"/>
                </a:lnTo>
                <a:lnTo>
                  <a:pt x="1938" y="888"/>
                </a:lnTo>
                <a:lnTo>
                  <a:pt x="1944" y="900"/>
                </a:lnTo>
                <a:lnTo>
                  <a:pt x="1950" y="900"/>
                </a:lnTo>
                <a:lnTo>
                  <a:pt x="1962" y="906"/>
                </a:lnTo>
                <a:lnTo>
                  <a:pt x="1968" y="906"/>
                </a:lnTo>
                <a:lnTo>
                  <a:pt x="1980" y="906"/>
                </a:lnTo>
                <a:lnTo>
                  <a:pt x="1998" y="906"/>
                </a:lnTo>
                <a:lnTo>
                  <a:pt x="2010" y="900"/>
                </a:lnTo>
                <a:lnTo>
                  <a:pt x="2022" y="900"/>
                </a:lnTo>
                <a:lnTo>
                  <a:pt x="2028" y="900"/>
                </a:lnTo>
                <a:lnTo>
                  <a:pt x="2034" y="906"/>
                </a:lnTo>
                <a:lnTo>
                  <a:pt x="2046" y="906"/>
                </a:lnTo>
                <a:lnTo>
                  <a:pt x="2052" y="900"/>
                </a:lnTo>
                <a:lnTo>
                  <a:pt x="2058" y="900"/>
                </a:lnTo>
                <a:lnTo>
                  <a:pt x="2064" y="900"/>
                </a:lnTo>
                <a:lnTo>
                  <a:pt x="2070" y="900"/>
                </a:lnTo>
                <a:lnTo>
                  <a:pt x="2076" y="900"/>
                </a:lnTo>
                <a:lnTo>
                  <a:pt x="2076" y="906"/>
                </a:lnTo>
                <a:lnTo>
                  <a:pt x="2088" y="906"/>
                </a:lnTo>
                <a:lnTo>
                  <a:pt x="2106" y="900"/>
                </a:lnTo>
                <a:lnTo>
                  <a:pt x="2118" y="900"/>
                </a:lnTo>
                <a:lnTo>
                  <a:pt x="2130" y="900"/>
                </a:lnTo>
                <a:lnTo>
                  <a:pt x="2142" y="900"/>
                </a:lnTo>
                <a:lnTo>
                  <a:pt x="2148" y="906"/>
                </a:lnTo>
                <a:lnTo>
                  <a:pt x="2154" y="906"/>
                </a:lnTo>
                <a:lnTo>
                  <a:pt x="2160" y="906"/>
                </a:lnTo>
                <a:lnTo>
                  <a:pt x="2166" y="906"/>
                </a:lnTo>
                <a:lnTo>
                  <a:pt x="2178" y="918"/>
                </a:lnTo>
                <a:lnTo>
                  <a:pt x="2178" y="924"/>
                </a:lnTo>
                <a:lnTo>
                  <a:pt x="2184" y="924"/>
                </a:lnTo>
                <a:lnTo>
                  <a:pt x="2190" y="924"/>
                </a:lnTo>
                <a:lnTo>
                  <a:pt x="2196" y="924"/>
                </a:lnTo>
                <a:lnTo>
                  <a:pt x="2202" y="918"/>
                </a:lnTo>
                <a:lnTo>
                  <a:pt x="2208" y="918"/>
                </a:lnTo>
                <a:lnTo>
                  <a:pt x="2214" y="918"/>
                </a:lnTo>
                <a:lnTo>
                  <a:pt x="2226" y="918"/>
                </a:lnTo>
                <a:lnTo>
                  <a:pt x="2220" y="948"/>
                </a:lnTo>
                <a:lnTo>
                  <a:pt x="2214" y="972"/>
                </a:lnTo>
                <a:lnTo>
                  <a:pt x="2214" y="984"/>
                </a:lnTo>
                <a:lnTo>
                  <a:pt x="2208" y="990"/>
                </a:lnTo>
                <a:lnTo>
                  <a:pt x="2208" y="996"/>
                </a:lnTo>
                <a:lnTo>
                  <a:pt x="2202" y="996"/>
                </a:lnTo>
                <a:lnTo>
                  <a:pt x="2196" y="996"/>
                </a:lnTo>
                <a:lnTo>
                  <a:pt x="2190" y="1008"/>
                </a:lnTo>
                <a:lnTo>
                  <a:pt x="2172" y="1074"/>
                </a:lnTo>
                <a:lnTo>
                  <a:pt x="2166" y="1092"/>
                </a:lnTo>
                <a:lnTo>
                  <a:pt x="2172" y="1110"/>
                </a:lnTo>
                <a:lnTo>
                  <a:pt x="2172" y="1122"/>
                </a:lnTo>
                <a:lnTo>
                  <a:pt x="2166" y="1134"/>
                </a:lnTo>
                <a:lnTo>
                  <a:pt x="2148" y="1140"/>
                </a:lnTo>
                <a:lnTo>
                  <a:pt x="2148" y="1134"/>
                </a:lnTo>
                <a:lnTo>
                  <a:pt x="2118" y="1140"/>
                </a:lnTo>
                <a:lnTo>
                  <a:pt x="2088" y="1134"/>
                </a:lnTo>
                <a:lnTo>
                  <a:pt x="2064" y="1122"/>
                </a:lnTo>
                <a:lnTo>
                  <a:pt x="2034" y="1122"/>
                </a:lnTo>
                <a:lnTo>
                  <a:pt x="2022" y="1128"/>
                </a:lnTo>
                <a:lnTo>
                  <a:pt x="1986" y="1128"/>
                </a:lnTo>
                <a:lnTo>
                  <a:pt x="1938" y="1122"/>
                </a:lnTo>
                <a:lnTo>
                  <a:pt x="1932" y="1116"/>
                </a:lnTo>
                <a:lnTo>
                  <a:pt x="1896" y="1110"/>
                </a:lnTo>
                <a:lnTo>
                  <a:pt x="1878" y="1104"/>
                </a:lnTo>
                <a:lnTo>
                  <a:pt x="1866" y="1098"/>
                </a:lnTo>
                <a:lnTo>
                  <a:pt x="1860" y="1098"/>
                </a:lnTo>
                <a:lnTo>
                  <a:pt x="1854" y="1092"/>
                </a:lnTo>
                <a:lnTo>
                  <a:pt x="1860" y="1092"/>
                </a:lnTo>
                <a:lnTo>
                  <a:pt x="1860" y="1086"/>
                </a:lnTo>
                <a:lnTo>
                  <a:pt x="1854" y="1086"/>
                </a:lnTo>
                <a:lnTo>
                  <a:pt x="1842" y="1080"/>
                </a:lnTo>
                <a:lnTo>
                  <a:pt x="1818" y="1062"/>
                </a:lnTo>
                <a:lnTo>
                  <a:pt x="1782" y="1056"/>
                </a:lnTo>
                <a:lnTo>
                  <a:pt x="1770" y="1068"/>
                </a:lnTo>
                <a:lnTo>
                  <a:pt x="1746" y="1098"/>
                </a:lnTo>
                <a:lnTo>
                  <a:pt x="1722" y="1104"/>
                </a:lnTo>
                <a:lnTo>
                  <a:pt x="1710" y="1122"/>
                </a:lnTo>
                <a:lnTo>
                  <a:pt x="1710" y="1128"/>
                </a:lnTo>
                <a:lnTo>
                  <a:pt x="1710" y="1140"/>
                </a:lnTo>
                <a:lnTo>
                  <a:pt x="1698" y="1146"/>
                </a:lnTo>
                <a:lnTo>
                  <a:pt x="1686" y="1152"/>
                </a:lnTo>
                <a:lnTo>
                  <a:pt x="1680" y="1164"/>
                </a:lnTo>
                <a:lnTo>
                  <a:pt x="1680" y="1170"/>
                </a:lnTo>
                <a:lnTo>
                  <a:pt x="1686" y="1170"/>
                </a:lnTo>
                <a:lnTo>
                  <a:pt x="1686" y="1176"/>
                </a:lnTo>
                <a:lnTo>
                  <a:pt x="1698" y="1188"/>
                </a:lnTo>
                <a:lnTo>
                  <a:pt x="1704" y="1188"/>
                </a:lnTo>
                <a:lnTo>
                  <a:pt x="1698" y="1194"/>
                </a:lnTo>
                <a:lnTo>
                  <a:pt x="1704" y="1194"/>
                </a:lnTo>
                <a:lnTo>
                  <a:pt x="1704" y="1200"/>
                </a:lnTo>
                <a:lnTo>
                  <a:pt x="1704" y="1206"/>
                </a:lnTo>
                <a:lnTo>
                  <a:pt x="1704" y="1212"/>
                </a:lnTo>
                <a:lnTo>
                  <a:pt x="1704" y="1218"/>
                </a:lnTo>
                <a:lnTo>
                  <a:pt x="1710" y="1218"/>
                </a:lnTo>
                <a:lnTo>
                  <a:pt x="1710" y="1212"/>
                </a:lnTo>
                <a:lnTo>
                  <a:pt x="1716" y="1212"/>
                </a:lnTo>
                <a:lnTo>
                  <a:pt x="1716" y="1218"/>
                </a:lnTo>
                <a:lnTo>
                  <a:pt x="1716" y="1224"/>
                </a:lnTo>
                <a:lnTo>
                  <a:pt x="1716" y="1230"/>
                </a:lnTo>
                <a:lnTo>
                  <a:pt x="1722" y="1236"/>
                </a:lnTo>
                <a:lnTo>
                  <a:pt x="1740" y="1230"/>
                </a:lnTo>
                <a:lnTo>
                  <a:pt x="1734" y="1236"/>
                </a:lnTo>
                <a:lnTo>
                  <a:pt x="1734" y="1242"/>
                </a:lnTo>
                <a:lnTo>
                  <a:pt x="1734" y="1248"/>
                </a:lnTo>
                <a:lnTo>
                  <a:pt x="1734" y="1254"/>
                </a:lnTo>
                <a:lnTo>
                  <a:pt x="1740" y="1260"/>
                </a:lnTo>
                <a:lnTo>
                  <a:pt x="1746" y="1266"/>
                </a:lnTo>
                <a:lnTo>
                  <a:pt x="1752" y="1266"/>
                </a:lnTo>
                <a:lnTo>
                  <a:pt x="1764" y="1266"/>
                </a:lnTo>
                <a:lnTo>
                  <a:pt x="1788" y="1260"/>
                </a:lnTo>
                <a:lnTo>
                  <a:pt x="1800" y="1260"/>
                </a:lnTo>
                <a:lnTo>
                  <a:pt x="1806" y="1272"/>
                </a:lnTo>
                <a:lnTo>
                  <a:pt x="1806" y="1296"/>
                </a:lnTo>
                <a:lnTo>
                  <a:pt x="1800" y="1308"/>
                </a:lnTo>
                <a:lnTo>
                  <a:pt x="1788" y="1308"/>
                </a:lnTo>
                <a:lnTo>
                  <a:pt x="1782" y="1326"/>
                </a:lnTo>
                <a:close/>
              </a:path>
            </a:pathLst>
          </a:custGeom>
          <a:solidFill>
            <a:srgbClr val="FF9900"/>
          </a:solidFill>
          <a:ln w="9525">
            <a:solidFill>
              <a:schemeClr val="bg1"/>
            </a:solidFill>
            <a:round/>
            <a:headEnd/>
            <a:tailEnd/>
          </a:ln>
        </p:spPr>
        <p:txBody>
          <a:bodyPr/>
          <a:lstStyle/>
          <a:p>
            <a:endParaRPr lang="en-GB"/>
          </a:p>
        </p:txBody>
      </p:sp>
      <p:sp>
        <p:nvSpPr>
          <p:cNvPr id="17446" name="Freeform 33"/>
          <p:cNvSpPr>
            <a:spLocks/>
          </p:cNvSpPr>
          <p:nvPr/>
        </p:nvSpPr>
        <p:spPr bwMode="gray">
          <a:xfrm>
            <a:off x="1884363" y="2803525"/>
            <a:ext cx="1900237" cy="1641475"/>
          </a:xfrm>
          <a:custGeom>
            <a:avLst/>
            <a:gdLst>
              <a:gd name="T0" fmla="*/ 138464 w 2430"/>
              <a:gd name="T1" fmla="*/ 136096 h 2040"/>
              <a:gd name="T2" fmla="*/ 136117 w 2430"/>
              <a:gd name="T3" fmla="*/ 139317 h 2040"/>
              <a:gd name="T4" fmla="*/ 132205 w 2430"/>
              <a:gd name="T5" fmla="*/ 137706 h 2040"/>
              <a:gd name="T6" fmla="*/ 125165 w 2430"/>
              <a:gd name="T7" fmla="*/ 131264 h 2040"/>
              <a:gd name="T8" fmla="*/ 120471 w 2430"/>
              <a:gd name="T9" fmla="*/ 119990 h 2040"/>
              <a:gd name="T10" fmla="*/ 112648 w 2430"/>
              <a:gd name="T11" fmla="*/ 118379 h 2040"/>
              <a:gd name="T12" fmla="*/ 104043 w 2430"/>
              <a:gd name="T13" fmla="*/ 117574 h 2040"/>
              <a:gd name="T14" fmla="*/ 94656 w 2430"/>
              <a:gd name="T15" fmla="*/ 116769 h 2040"/>
              <a:gd name="T16" fmla="*/ 86051 w 2430"/>
              <a:gd name="T17" fmla="*/ 110326 h 2040"/>
              <a:gd name="T18" fmla="*/ 75881 w 2430"/>
              <a:gd name="T19" fmla="*/ 105494 h 2040"/>
              <a:gd name="T20" fmla="*/ 68058 w 2430"/>
              <a:gd name="T21" fmla="*/ 100663 h 2040"/>
              <a:gd name="T22" fmla="*/ 58671 w 2430"/>
              <a:gd name="T23" fmla="*/ 98247 h 2040"/>
              <a:gd name="T24" fmla="*/ 50848 w 2430"/>
              <a:gd name="T25" fmla="*/ 98247 h 2040"/>
              <a:gd name="T26" fmla="*/ 46155 w 2430"/>
              <a:gd name="T27" fmla="*/ 92610 h 2040"/>
              <a:gd name="T28" fmla="*/ 39114 w 2430"/>
              <a:gd name="T29" fmla="*/ 86167 h 2040"/>
              <a:gd name="T30" fmla="*/ 21904 w 2430"/>
              <a:gd name="T31" fmla="*/ 67645 h 2040"/>
              <a:gd name="T32" fmla="*/ 17210 w 2430"/>
              <a:gd name="T33" fmla="*/ 66035 h 2040"/>
              <a:gd name="T34" fmla="*/ 15646 w 2430"/>
              <a:gd name="T35" fmla="*/ 63619 h 2040"/>
              <a:gd name="T36" fmla="*/ 12516 w 2430"/>
              <a:gd name="T37" fmla="*/ 61203 h 2040"/>
              <a:gd name="T38" fmla="*/ 8605 w 2430"/>
              <a:gd name="T39" fmla="*/ 59592 h 2040"/>
              <a:gd name="T40" fmla="*/ 5476 w 2430"/>
              <a:gd name="T41" fmla="*/ 55566 h 2040"/>
              <a:gd name="T42" fmla="*/ 0 w 2430"/>
              <a:gd name="T43" fmla="*/ 48318 h 2040"/>
              <a:gd name="T44" fmla="*/ 7823 w 2430"/>
              <a:gd name="T45" fmla="*/ 42681 h 2040"/>
              <a:gd name="T46" fmla="*/ 11734 w 2430"/>
              <a:gd name="T47" fmla="*/ 32212 h 2040"/>
              <a:gd name="T48" fmla="*/ 7041 w 2430"/>
              <a:gd name="T49" fmla="*/ 23354 h 2040"/>
              <a:gd name="T50" fmla="*/ 5476 w 2430"/>
              <a:gd name="T51" fmla="*/ 12885 h 2040"/>
              <a:gd name="T52" fmla="*/ 14081 w 2430"/>
              <a:gd name="T53" fmla="*/ 16911 h 2040"/>
              <a:gd name="T54" fmla="*/ 37549 w 2430"/>
              <a:gd name="T55" fmla="*/ 21743 h 2040"/>
              <a:gd name="T56" fmla="*/ 48501 w 2430"/>
              <a:gd name="T57" fmla="*/ 20133 h 2040"/>
              <a:gd name="T58" fmla="*/ 46155 w 2430"/>
              <a:gd name="T59" fmla="*/ 33823 h 2040"/>
              <a:gd name="T60" fmla="*/ 42243 w 2430"/>
              <a:gd name="T61" fmla="*/ 52345 h 2040"/>
              <a:gd name="T62" fmla="*/ 50848 w 2430"/>
              <a:gd name="T63" fmla="*/ 48318 h 2040"/>
              <a:gd name="T64" fmla="*/ 53195 w 2430"/>
              <a:gd name="T65" fmla="*/ 32212 h 2040"/>
              <a:gd name="T66" fmla="*/ 58671 w 2430"/>
              <a:gd name="T67" fmla="*/ 28991 h 2040"/>
              <a:gd name="T68" fmla="*/ 64929 w 2430"/>
              <a:gd name="T69" fmla="*/ 23354 h 2040"/>
              <a:gd name="T70" fmla="*/ 63365 w 2430"/>
              <a:gd name="T71" fmla="*/ 13690 h 2040"/>
              <a:gd name="T72" fmla="*/ 51630 w 2430"/>
              <a:gd name="T73" fmla="*/ 5637 h 2040"/>
              <a:gd name="T74" fmla="*/ 62582 w 2430"/>
              <a:gd name="T75" fmla="*/ 4027 h 2040"/>
              <a:gd name="T76" fmla="*/ 69623 w 2430"/>
              <a:gd name="T77" fmla="*/ 805 h 2040"/>
              <a:gd name="T78" fmla="*/ 79010 w 2430"/>
              <a:gd name="T79" fmla="*/ 8053 h 2040"/>
              <a:gd name="T80" fmla="*/ 80575 w 2430"/>
              <a:gd name="T81" fmla="*/ 14495 h 2040"/>
              <a:gd name="T82" fmla="*/ 86051 w 2430"/>
              <a:gd name="T83" fmla="*/ 18522 h 2040"/>
              <a:gd name="T84" fmla="*/ 94656 w 2430"/>
              <a:gd name="T85" fmla="*/ 16106 h 2040"/>
              <a:gd name="T86" fmla="*/ 100914 w 2430"/>
              <a:gd name="T87" fmla="*/ 12080 h 2040"/>
              <a:gd name="T88" fmla="*/ 111084 w 2430"/>
              <a:gd name="T89" fmla="*/ 18522 h 2040"/>
              <a:gd name="T90" fmla="*/ 110302 w 2430"/>
              <a:gd name="T91" fmla="*/ 24159 h 2040"/>
              <a:gd name="T92" fmla="*/ 109519 w 2430"/>
              <a:gd name="T93" fmla="*/ 30601 h 2040"/>
              <a:gd name="T94" fmla="*/ 108737 w 2430"/>
              <a:gd name="T95" fmla="*/ 37044 h 2040"/>
              <a:gd name="T96" fmla="*/ 114995 w 2430"/>
              <a:gd name="T97" fmla="*/ 43486 h 2040"/>
              <a:gd name="T98" fmla="*/ 118907 w 2430"/>
              <a:gd name="T99" fmla="*/ 40265 h 2040"/>
              <a:gd name="T100" fmla="*/ 124383 w 2430"/>
              <a:gd name="T101" fmla="*/ 34628 h 2040"/>
              <a:gd name="T102" fmla="*/ 136117 w 2430"/>
              <a:gd name="T103" fmla="*/ 33017 h 2040"/>
              <a:gd name="T104" fmla="*/ 148633 w 2430"/>
              <a:gd name="T105" fmla="*/ 45902 h 2040"/>
              <a:gd name="T106" fmla="*/ 146286 w 2430"/>
              <a:gd name="T107" fmla="*/ 53150 h 2040"/>
              <a:gd name="T108" fmla="*/ 143157 w 2430"/>
              <a:gd name="T109" fmla="*/ 57982 h 2040"/>
              <a:gd name="T110" fmla="*/ 151762 w 2430"/>
              <a:gd name="T111" fmla="*/ 58787 h 2040"/>
              <a:gd name="T112" fmla="*/ 158021 w 2430"/>
              <a:gd name="T113" fmla="*/ 59592 h 2040"/>
              <a:gd name="T114" fmla="*/ 159585 w 2430"/>
              <a:gd name="T115" fmla="*/ 71672 h 2040"/>
              <a:gd name="T116" fmla="*/ 162714 w 2430"/>
              <a:gd name="T117" fmla="*/ 79725 h 2040"/>
              <a:gd name="T118" fmla="*/ 158803 w 2430"/>
              <a:gd name="T119" fmla="*/ 82946 h 2040"/>
              <a:gd name="T120" fmla="*/ 163497 w 2430"/>
              <a:gd name="T121" fmla="*/ 89388 h 2040"/>
              <a:gd name="T122" fmla="*/ 159585 w 2430"/>
              <a:gd name="T123" fmla="*/ 99857 h 2040"/>
              <a:gd name="T124" fmla="*/ 148633 w 2430"/>
              <a:gd name="T125" fmla="*/ 94220 h 20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430"/>
              <a:gd name="T190" fmla="*/ 0 h 2040"/>
              <a:gd name="T191" fmla="*/ 2430 w 2430"/>
              <a:gd name="T192" fmla="*/ 2040 h 20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430" h="2040">
                <a:moveTo>
                  <a:pt x="2076" y="1896"/>
                </a:moveTo>
                <a:lnTo>
                  <a:pt x="2070" y="1896"/>
                </a:lnTo>
                <a:lnTo>
                  <a:pt x="2070" y="1902"/>
                </a:lnTo>
                <a:lnTo>
                  <a:pt x="2076" y="1902"/>
                </a:lnTo>
                <a:lnTo>
                  <a:pt x="2082" y="1902"/>
                </a:lnTo>
                <a:lnTo>
                  <a:pt x="2082" y="1908"/>
                </a:lnTo>
                <a:lnTo>
                  <a:pt x="2076" y="1908"/>
                </a:lnTo>
                <a:lnTo>
                  <a:pt x="2076" y="1914"/>
                </a:lnTo>
                <a:lnTo>
                  <a:pt x="2070" y="1920"/>
                </a:lnTo>
                <a:lnTo>
                  <a:pt x="2064" y="1932"/>
                </a:lnTo>
                <a:lnTo>
                  <a:pt x="2064" y="1938"/>
                </a:lnTo>
                <a:lnTo>
                  <a:pt x="2058" y="1938"/>
                </a:lnTo>
                <a:lnTo>
                  <a:pt x="2052" y="1944"/>
                </a:lnTo>
                <a:lnTo>
                  <a:pt x="2052" y="1950"/>
                </a:lnTo>
                <a:lnTo>
                  <a:pt x="2040" y="1944"/>
                </a:lnTo>
                <a:lnTo>
                  <a:pt x="2040" y="1950"/>
                </a:lnTo>
                <a:lnTo>
                  <a:pt x="2034" y="1956"/>
                </a:lnTo>
                <a:lnTo>
                  <a:pt x="2034" y="1962"/>
                </a:lnTo>
                <a:lnTo>
                  <a:pt x="2028" y="1962"/>
                </a:lnTo>
                <a:lnTo>
                  <a:pt x="2022" y="1962"/>
                </a:lnTo>
                <a:lnTo>
                  <a:pt x="2022" y="1968"/>
                </a:lnTo>
                <a:lnTo>
                  <a:pt x="2028" y="1974"/>
                </a:lnTo>
                <a:lnTo>
                  <a:pt x="2034" y="1980"/>
                </a:lnTo>
                <a:lnTo>
                  <a:pt x="2028" y="1986"/>
                </a:lnTo>
                <a:lnTo>
                  <a:pt x="2022" y="1992"/>
                </a:lnTo>
                <a:lnTo>
                  <a:pt x="2022" y="1986"/>
                </a:lnTo>
                <a:lnTo>
                  <a:pt x="2016" y="1986"/>
                </a:lnTo>
                <a:lnTo>
                  <a:pt x="2010" y="1980"/>
                </a:lnTo>
                <a:lnTo>
                  <a:pt x="2004" y="1980"/>
                </a:lnTo>
                <a:lnTo>
                  <a:pt x="2004" y="1986"/>
                </a:lnTo>
                <a:lnTo>
                  <a:pt x="2010" y="1992"/>
                </a:lnTo>
                <a:lnTo>
                  <a:pt x="2010" y="1998"/>
                </a:lnTo>
                <a:lnTo>
                  <a:pt x="2004" y="2004"/>
                </a:lnTo>
                <a:lnTo>
                  <a:pt x="1998" y="2004"/>
                </a:lnTo>
                <a:lnTo>
                  <a:pt x="1998" y="2022"/>
                </a:lnTo>
                <a:lnTo>
                  <a:pt x="1998" y="2028"/>
                </a:lnTo>
                <a:lnTo>
                  <a:pt x="1992" y="2034"/>
                </a:lnTo>
                <a:lnTo>
                  <a:pt x="1992" y="2040"/>
                </a:lnTo>
                <a:lnTo>
                  <a:pt x="1986" y="2040"/>
                </a:lnTo>
                <a:lnTo>
                  <a:pt x="1986" y="2034"/>
                </a:lnTo>
                <a:lnTo>
                  <a:pt x="1980" y="2028"/>
                </a:lnTo>
                <a:lnTo>
                  <a:pt x="1980" y="2022"/>
                </a:lnTo>
                <a:lnTo>
                  <a:pt x="1968" y="2016"/>
                </a:lnTo>
                <a:lnTo>
                  <a:pt x="1962" y="2010"/>
                </a:lnTo>
                <a:lnTo>
                  <a:pt x="1956" y="2004"/>
                </a:lnTo>
                <a:lnTo>
                  <a:pt x="1950" y="1992"/>
                </a:lnTo>
                <a:lnTo>
                  <a:pt x="1950" y="1986"/>
                </a:lnTo>
                <a:lnTo>
                  <a:pt x="1950" y="1974"/>
                </a:lnTo>
                <a:lnTo>
                  <a:pt x="1944" y="1974"/>
                </a:lnTo>
                <a:lnTo>
                  <a:pt x="1932" y="1962"/>
                </a:lnTo>
                <a:lnTo>
                  <a:pt x="1932" y="1956"/>
                </a:lnTo>
                <a:lnTo>
                  <a:pt x="1932" y="1950"/>
                </a:lnTo>
                <a:lnTo>
                  <a:pt x="1920" y="1944"/>
                </a:lnTo>
                <a:lnTo>
                  <a:pt x="1914" y="1944"/>
                </a:lnTo>
                <a:lnTo>
                  <a:pt x="1908" y="1938"/>
                </a:lnTo>
                <a:lnTo>
                  <a:pt x="1902" y="1926"/>
                </a:lnTo>
                <a:lnTo>
                  <a:pt x="1890" y="1914"/>
                </a:lnTo>
                <a:lnTo>
                  <a:pt x="1884" y="1914"/>
                </a:lnTo>
                <a:lnTo>
                  <a:pt x="1878" y="1908"/>
                </a:lnTo>
                <a:lnTo>
                  <a:pt x="1872" y="1902"/>
                </a:lnTo>
                <a:lnTo>
                  <a:pt x="1872" y="1896"/>
                </a:lnTo>
                <a:lnTo>
                  <a:pt x="1866" y="1890"/>
                </a:lnTo>
                <a:lnTo>
                  <a:pt x="1854" y="1884"/>
                </a:lnTo>
                <a:lnTo>
                  <a:pt x="1848" y="1884"/>
                </a:lnTo>
                <a:lnTo>
                  <a:pt x="1842" y="1872"/>
                </a:lnTo>
                <a:lnTo>
                  <a:pt x="1836" y="1872"/>
                </a:lnTo>
                <a:lnTo>
                  <a:pt x="1830" y="1866"/>
                </a:lnTo>
                <a:lnTo>
                  <a:pt x="1830" y="1854"/>
                </a:lnTo>
                <a:lnTo>
                  <a:pt x="1824" y="1848"/>
                </a:lnTo>
                <a:lnTo>
                  <a:pt x="1818" y="1830"/>
                </a:lnTo>
                <a:lnTo>
                  <a:pt x="1818" y="1818"/>
                </a:lnTo>
                <a:lnTo>
                  <a:pt x="1812" y="1800"/>
                </a:lnTo>
                <a:lnTo>
                  <a:pt x="1812" y="1788"/>
                </a:lnTo>
                <a:lnTo>
                  <a:pt x="1806" y="1776"/>
                </a:lnTo>
                <a:lnTo>
                  <a:pt x="1800" y="1764"/>
                </a:lnTo>
                <a:lnTo>
                  <a:pt x="1794" y="1758"/>
                </a:lnTo>
                <a:lnTo>
                  <a:pt x="1782" y="1740"/>
                </a:lnTo>
                <a:lnTo>
                  <a:pt x="1776" y="1728"/>
                </a:lnTo>
                <a:lnTo>
                  <a:pt x="1776" y="1722"/>
                </a:lnTo>
                <a:lnTo>
                  <a:pt x="1770" y="1722"/>
                </a:lnTo>
                <a:lnTo>
                  <a:pt x="1770" y="1716"/>
                </a:lnTo>
                <a:lnTo>
                  <a:pt x="1764" y="1716"/>
                </a:lnTo>
                <a:lnTo>
                  <a:pt x="1758" y="1710"/>
                </a:lnTo>
                <a:lnTo>
                  <a:pt x="1752" y="1704"/>
                </a:lnTo>
                <a:lnTo>
                  <a:pt x="1746" y="1704"/>
                </a:lnTo>
                <a:lnTo>
                  <a:pt x="1740" y="1704"/>
                </a:lnTo>
                <a:lnTo>
                  <a:pt x="1734" y="1704"/>
                </a:lnTo>
                <a:lnTo>
                  <a:pt x="1734" y="1698"/>
                </a:lnTo>
                <a:lnTo>
                  <a:pt x="1728" y="1692"/>
                </a:lnTo>
                <a:lnTo>
                  <a:pt x="1722" y="1686"/>
                </a:lnTo>
                <a:lnTo>
                  <a:pt x="1716" y="1686"/>
                </a:lnTo>
                <a:lnTo>
                  <a:pt x="1698" y="1686"/>
                </a:lnTo>
                <a:lnTo>
                  <a:pt x="1692" y="1692"/>
                </a:lnTo>
                <a:lnTo>
                  <a:pt x="1680" y="1692"/>
                </a:lnTo>
                <a:lnTo>
                  <a:pt x="1668" y="1692"/>
                </a:lnTo>
                <a:lnTo>
                  <a:pt x="1662" y="1692"/>
                </a:lnTo>
                <a:lnTo>
                  <a:pt x="1656" y="1692"/>
                </a:lnTo>
                <a:lnTo>
                  <a:pt x="1650" y="1698"/>
                </a:lnTo>
                <a:lnTo>
                  <a:pt x="1644" y="1698"/>
                </a:lnTo>
                <a:lnTo>
                  <a:pt x="1638" y="1698"/>
                </a:lnTo>
                <a:lnTo>
                  <a:pt x="1632" y="1698"/>
                </a:lnTo>
                <a:lnTo>
                  <a:pt x="1632" y="1692"/>
                </a:lnTo>
                <a:lnTo>
                  <a:pt x="1620" y="1680"/>
                </a:lnTo>
                <a:lnTo>
                  <a:pt x="1614" y="1680"/>
                </a:lnTo>
                <a:lnTo>
                  <a:pt x="1608" y="1680"/>
                </a:lnTo>
                <a:lnTo>
                  <a:pt x="1602" y="1680"/>
                </a:lnTo>
                <a:lnTo>
                  <a:pt x="1596" y="1674"/>
                </a:lnTo>
                <a:lnTo>
                  <a:pt x="1584" y="1674"/>
                </a:lnTo>
                <a:lnTo>
                  <a:pt x="1572" y="1674"/>
                </a:lnTo>
                <a:lnTo>
                  <a:pt x="1560" y="1674"/>
                </a:lnTo>
                <a:lnTo>
                  <a:pt x="1542" y="1680"/>
                </a:lnTo>
                <a:lnTo>
                  <a:pt x="1530" y="1680"/>
                </a:lnTo>
                <a:lnTo>
                  <a:pt x="1530" y="1674"/>
                </a:lnTo>
                <a:lnTo>
                  <a:pt x="1524" y="1674"/>
                </a:lnTo>
                <a:lnTo>
                  <a:pt x="1518" y="1674"/>
                </a:lnTo>
                <a:lnTo>
                  <a:pt x="1512" y="1674"/>
                </a:lnTo>
                <a:lnTo>
                  <a:pt x="1506" y="1674"/>
                </a:lnTo>
                <a:lnTo>
                  <a:pt x="1500" y="1680"/>
                </a:lnTo>
                <a:lnTo>
                  <a:pt x="1488" y="1680"/>
                </a:lnTo>
                <a:lnTo>
                  <a:pt x="1482" y="1674"/>
                </a:lnTo>
                <a:lnTo>
                  <a:pt x="1476" y="1674"/>
                </a:lnTo>
                <a:lnTo>
                  <a:pt x="1464" y="1674"/>
                </a:lnTo>
                <a:lnTo>
                  <a:pt x="1452" y="1680"/>
                </a:lnTo>
                <a:lnTo>
                  <a:pt x="1434" y="1680"/>
                </a:lnTo>
                <a:lnTo>
                  <a:pt x="1422" y="1680"/>
                </a:lnTo>
                <a:lnTo>
                  <a:pt x="1416" y="1680"/>
                </a:lnTo>
                <a:lnTo>
                  <a:pt x="1404" y="1674"/>
                </a:lnTo>
                <a:lnTo>
                  <a:pt x="1398" y="1674"/>
                </a:lnTo>
                <a:lnTo>
                  <a:pt x="1392" y="1662"/>
                </a:lnTo>
                <a:lnTo>
                  <a:pt x="1380" y="1644"/>
                </a:lnTo>
                <a:lnTo>
                  <a:pt x="1374" y="1632"/>
                </a:lnTo>
                <a:lnTo>
                  <a:pt x="1362" y="1626"/>
                </a:lnTo>
                <a:lnTo>
                  <a:pt x="1356" y="1620"/>
                </a:lnTo>
                <a:lnTo>
                  <a:pt x="1350" y="1626"/>
                </a:lnTo>
                <a:lnTo>
                  <a:pt x="1338" y="1626"/>
                </a:lnTo>
                <a:lnTo>
                  <a:pt x="1326" y="1626"/>
                </a:lnTo>
                <a:lnTo>
                  <a:pt x="1314" y="1620"/>
                </a:lnTo>
                <a:lnTo>
                  <a:pt x="1308" y="1614"/>
                </a:lnTo>
                <a:lnTo>
                  <a:pt x="1302" y="1608"/>
                </a:lnTo>
                <a:lnTo>
                  <a:pt x="1296" y="1602"/>
                </a:lnTo>
                <a:lnTo>
                  <a:pt x="1290" y="1602"/>
                </a:lnTo>
                <a:lnTo>
                  <a:pt x="1290" y="1596"/>
                </a:lnTo>
                <a:lnTo>
                  <a:pt x="1284" y="1590"/>
                </a:lnTo>
                <a:lnTo>
                  <a:pt x="1272" y="1584"/>
                </a:lnTo>
                <a:lnTo>
                  <a:pt x="1254" y="1572"/>
                </a:lnTo>
                <a:lnTo>
                  <a:pt x="1236" y="1554"/>
                </a:lnTo>
                <a:lnTo>
                  <a:pt x="1230" y="1554"/>
                </a:lnTo>
                <a:lnTo>
                  <a:pt x="1224" y="1554"/>
                </a:lnTo>
                <a:lnTo>
                  <a:pt x="1212" y="1554"/>
                </a:lnTo>
                <a:lnTo>
                  <a:pt x="1194" y="1542"/>
                </a:lnTo>
                <a:lnTo>
                  <a:pt x="1188" y="1536"/>
                </a:lnTo>
                <a:lnTo>
                  <a:pt x="1182" y="1530"/>
                </a:lnTo>
                <a:lnTo>
                  <a:pt x="1176" y="1530"/>
                </a:lnTo>
                <a:lnTo>
                  <a:pt x="1170" y="1530"/>
                </a:lnTo>
                <a:lnTo>
                  <a:pt x="1158" y="1524"/>
                </a:lnTo>
                <a:lnTo>
                  <a:pt x="1152" y="1524"/>
                </a:lnTo>
                <a:lnTo>
                  <a:pt x="1140" y="1518"/>
                </a:lnTo>
                <a:lnTo>
                  <a:pt x="1128" y="1518"/>
                </a:lnTo>
                <a:lnTo>
                  <a:pt x="1122" y="1518"/>
                </a:lnTo>
                <a:lnTo>
                  <a:pt x="1116" y="1518"/>
                </a:lnTo>
                <a:lnTo>
                  <a:pt x="1104" y="1518"/>
                </a:lnTo>
                <a:lnTo>
                  <a:pt x="1092" y="1518"/>
                </a:lnTo>
                <a:lnTo>
                  <a:pt x="1080" y="1518"/>
                </a:lnTo>
                <a:lnTo>
                  <a:pt x="1068" y="1518"/>
                </a:lnTo>
                <a:lnTo>
                  <a:pt x="1062" y="1518"/>
                </a:lnTo>
                <a:lnTo>
                  <a:pt x="1056" y="1518"/>
                </a:lnTo>
                <a:lnTo>
                  <a:pt x="1050" y="1512"/>
                </a:lnTo>
                <a:lnTo>
                  <a:pt x="1044" y="1512"/>
                </a:lnTo>
                <a:lnTo>
                  <a:pt x="1038" y="1512"/>
                </a:lnTo>
                <a:lnTo>
                  <a:pt x="1032" y="1506"/>
                </a:lnTo>
                <a:lnTo>
                  <a:pt x="1026" y="1500"/>
                </a:lnTo>
                <a:lnTo>
                  <a:pt x="1026" y="1494"/>
                </a:lnTo>
                <a:lnTo>
                  <a:pt x="1020" y="1476"/>
                </a:lnTo>
                <a:lnTo>
                  <a:pt x="1008" y="1464"/>
                </a:lnTo>
                <a:lnTo>
                  <a:pt x="1008" y="1458"/>
                </a:lnTo>
                <a:lnTo>
                  <a:pt x="1002" y="1446"/>
                </a:lnTo>
                <a:lnTo>
                  <a:pt x="996" y="1446"/>
                </a:lnTo>
                <a:lnTo>
                  <a:pt x="990" y="1440"/>
                </a:lnTo>
                <a:lnTo>
                  <a:pt x="984" y="1434"/>
                </a:lnTo>
                <a:lnTo>
                  <a:pt x="978" y="1434"/>
                </a:lnTo>
                <a:lnTo>
                  <a:pt x="972" y="1434"/>
                </a:lnTo>
                <a:lnTo>
                  <a:pt x="966" y="1428"/>
                </a:lnTo>
                <a:lnTo>
                  <a:pt x="954" y="1422"/>
                </a:lnTo>
                <a:lnTo>
                  <a:pt x="942" y="1416"/>
                </a:lnTo>
                <a:lnTo>
                  <a:pt x="924" y="1398"/>
                </a:lnTo>
                <a:lnTo>
                  <a:pt x="912" y="1386"/>
                </a:lnTo>
                <a:lnTo>
                  <a:pt x="900" y="1386"/>
                </a:lnTo>
                <a:lnTo>
                  <a:pt x="894" y="1386"/>
                </a:lnTo>
                <a:lnTo>
                  <a:pt x="882" y="1392"/>
                </a:lnTo>
                <a:lnTo>
                  <a:pt x="876" y="1392"/>
                </a:lnTo>
                <a:lnTo>
                  <a:pt x="864" y="1398"/>
                </a:lnTo>
                <a:lnTo>
                  <a:pt x="864" y="1404"/>
                </a:lnTo>
                <a:lnTo>
                  <a:pt x="858" y="1410"/>
                </a:lnTo>
                <a:lnTo>
                  <a:pt x="852" y="1410"/>
                </a:lnTo>
                <a:lnTo>
                  <a:pt x="846" y="1410"/>
                </a:lnTo>
                <a:lnTo>
                  <a:pt x="834" y="1410"/>
                </a:lnTo>
                <a:lnTo>
                  <a:pt x="828" y="1410"/>
                </a:lnTo>
                <a:lnTo>
                  <a:pt x="822" y="1416"/>
                </a:lnTo>
                <a:lnTo>
                  <a:pt x="816" y="1422"/>
                </a:lnTo>
                <a:lnTo>
                  <a:pt x="810" y="1428"/>
                </a:lnTo>
                <a:lnTo>
                  <a:pt x="798" y="1428"/>
                </a:lnTo>
                <a:lnTo>
                  <a:pt x="792" y="1428"/>
                </a:lnTo>
                <a:lnTo>
                  <a:pt x="780" y="1434"/>
                </a:lnTo>
                <a:lnTo>
                  <a:pt x="774" y="1428"/>
                </a:lnTo>
                <a:lnTo>
                  <a:pt x="762" y="1428"/>
                </a:lnTo>
                <a:lnTo>
                  <a:pt x="756" y="1422"/>
                </a:lnTo>
                <a:lnTo>
                  <a:pt x="750" y="1416"/>
                </a:lnTo>
                <a:lnTo>
                  <a:pt x="744" y="1410"/>
                </a:lnTo>
                <a:lnTo>
                  <a:pt x="744" y="1398"/>
                </a:lnTo>
                <a:lnTo>
                  <a:pt x="744" y="1386"/>
                </a:lnTo>
                <a:lnTo>
                  <a:pt x="750" y="1380"/>
                </a:lnTo>
                <a:lnTo>
                  <a:pt x="750" y="1374"/>
                </a:lnTo>
                <a:lnTo>
                  <a:pt x="750" y="1368"/>
                </a:lnTo>
                <a:lnTo>
                  <a:pt x="756" y="1362"/>
                </a:lnTo>
                <a:lnTo>
                  <a:pt x="750" y="1350"/>
                </a:lnTo>
                <a:lnTo>
                  <a:pt x="744" y="1344"/>
                </a:lnTo>
                <a:lnTo>
                  <a:pt x="738" y="1338"/>
                </a:lnTo>
                <a:lnTo>
                  <a:pt x="726" y="1338"/>
                </a:lnTo>
                <a:lnTo>
                  <a:pt x="720" y="1338"/>
                </a:lnTo>
                <a:lnTo>
                  <a:pt x="714" y="1338"/>
                </a:lnTo>
                <a:lnTo>
                  <a:pt x="708" y="1332"/>
                </a:lnTo>
                <a:lnTo>
                  <a:pt x="702" y="1332"/>
                </a:lnTo>
                <a:lnTo>
                  <a:pt x="696" y="1326"/>
                </a:lnTo>
                <a:lnTo>
                  <a:pt x="684" y="1326"/>
                </a:lnTo>
                <a:lnTo>
                  <a:pt x="678" y="1326"/>
                </a:lnTo>
                <a:lnTo>
                  <a:pt x="672" y="1314"/>
                </a:lnTo>
                <a:lnTo>
                  <a:pt x="666" y="1308"/>
                </a:lnTo>
                <a:lnTo>
                  <a:pt x="654" y="1296"/>
                </a:lnTo>
                <a:lnTo>
                  <a:pt x="654" y="1290"/>
                </a:lnTo>
                <a:lnTo>
                  <a:pt x="630" y="1284"/>
                </a:lnTo>
                <a:lnTo>
                  <a:pt x="630" y="1278"/>
                </a:lnTo>
                <a:lnTo>
                  <a:pt x="624" y="1278"/>
                </a:lnTo>
                <a:lnTo>
                  <a:pt x="618" y="1266"/>
                </a:lnTo>
                <a:lnTo>
                  <a:pt x="612" y="1266"/>
                </a:lnTo>
                <a:lnTo>
                  <a:pt x="606" y="1266"/>
                </a:lnTo>
                <a:lnTo>
                  <a:pt x="606" y="1260"/>
                </a:lnTo>
                <a:lnTo>
                  <a:pt x="594" y="1248"/>
                </a:lnTo>
                <a:lnTo>
                  <a:pt x="582" y="1248"/>
                </a:lnTo>
                <a:lnTo>
                  <a:pt x="576" y="1242"/>
                </a:lnTo>
                <a:lnTo>
                  <a:pt x="570" y="1236"/>
                </a:lnTo>
                <a:lnTo>
                  <a:pt x="504" y="1164"/>
                </a:lnTo>
                <a:lnTo>
                  <a:pt x="450" y="1110"/>
                </a:lnTo>
                <a:lnTo>
                  <a:pt x="426" y="1092"/>
                </a:lnTo>
                <a:lnTo>
                  <a:pt x="426" y="1074"/>
                </a:lnTo>
                <a:lnTo>
                  <a:pt x="420" y="1062"/>
                </a:lnTo>
                <a:lnTo>
                  <a:pt x="396" y="1056"/>
                </a:lnTo>
                <a:lnTo>
                  <a:pt x="384" y="1032"/>
                </a:lnTo>
                <a:lnTo>
                  <a:pt x="372" y="1020"/>
                </a:lnTo>
                <a:lnTo>
                  <a:pt x="360" y="984"/>
                </a:lnTo>
                <a:lnTo>
                  <a:pt x="348" y="978"/>
                </a:lnTo>
                <a:lnTo>
                  <a:pt x="342" y="972"/>
                </a:lnTo>
                <a:lnTo>
                  <a:pt x="348" y="960"/>
                </a:lnTo>
                <a:lnTo>
                  <a:pt x="342" y="954"/>
                </a:lnTo>
                <a:lnTo>
                  <a:pt x="336" y="954"/>
                </a:lnTo>
                <a:lnTo>
                  <a:pt x="330" y="954"/>
                </a:lnTo>
                <a:lnTo>
                  <a:pt x="324" y="972"/>
                </a:lnTo>
                <a:lnTo>
                  <a:pt x="318" y="966"/>
                </a:lnTo>
                <a:lnTo>
                  <a:pt x="312" y="966"/>
                </a:lnTo>
                <a:lnTo>
                  <a:pt x="306" y="960"/>
                </a:lnTo>
                <a:lnTo>
                  <a:pt x="300" y="966"/>
                </a:lnTo>
                <a:lnTo>
                  <a:pt x="294" y="966"/>
                </a:lnTo>
                <a:lnTo>
                  <a:pt x="288" y="972"/>
                </a:lnTo>
                <a:lnTo>
                  <a:pt x="288" y="966"/>
                </a:lnTo>
                <a:lnTo>
                  <a:pt x="282" y="948"/>
                </a:lnTo>
                <a:lnTo>
                  <a:pt x="282" y="942"/>
                </a:lnTo>
                <a:lnTo>
                  <a:pt x="276" y="942"/>
                </a:lnTo>
                <a:lnTo>
                  <a:pt x="276" y="936"/>
                </a:lnTo>
                <a:lnTo>
                  <a:pt x="270" y="942"/>
                </a:lnTo>
                <a:lnTo>
                  <a:pt x="264" y="948"/>
                </a:lnTo>
                <a:lnTo>
                  <a:pt x="264" y="942"/>
                </a:lnTo>
                <a:lnTo>
                  <a:pt x="258" y="942"/>
                </a:lnTo>
                <a:lnTo>
                  <a:pt x="252" y="948"/>
                </a:lnTo>
                <a:lnTo>
                  <a:pt x="252" y="942"/>
                </a:lnTo>
                <a:lnTo>
                  <a:pt x="246" y="936"/>
                </a:lnTo>
                <a:lnTo>
                  <a:pt x="240" y="942"/>
                </a:lnTo>
                <a:lnTo>
                  <a:pt x="234" y="936"/>
                </a:lnTo>
                <a:lnTo>
                  <a:pt x="228" y="936"/>
                </a:lnTo>
                <a:lnTo>
                  <a:pt x="222" y="936"/>
                </a:lnTo>
                <a:lnTo>
                  <a:pt x="222" y="930"/>
                </a:lnTo>
                <a:lnTo>
                  <a:pt x="222" y="924"/>
                </a:lnTo>
                <a:lnTo>
                  <a:pt x="228" y="924"/>
                </a:lnTo>
                <a:lnTo>
                  <a:pt x="234" y="924"/>
                </a:lnTo>
                <a:lnTo>
                  <a:pt x="240" y="924"/>
                </a:lnTo>
                <a:lnTo>
                  <a:pt x="240" y="918"/>
                </a:lnTo>
                <a:lnTo>
                  <a:pt x="246" y="918"/>
                </a:lnTo>
                <a:lnTo>
                  <a:pt x="246" y="912"/>
                </a:lnTo>
                <a:lnTo>
                  <a:pt x="240" y="906"/>
                </a:lnTo>
                <a:lnTo>
                  <a:pt x="234" y="906"/>
                </a:lnTo>
                <a:lnTo>
                  <a:pt x="228" y="906"/>
                </a:lnTo>
                <a:lnTo>
                  <a:pt x="228" y="912"/>
                </a:lnTo>
                <a:lnTo>
                  <a:pt x="222" y="906"/>
                </a:lnTo>
                <a:lnTo>
                  <a:pt x="222" y="900"/>
                </a:lnTo>
                <a:lnTo>
                  <a:pt x="222" y="894"/>
                </a:lnTo>
                <a:lnTo>
                  <a:pt x="228" y="894"/>
                </a:lnTo>
                <a:lnTo>
                  <a:pt x="234" y="894"/>
                </a:lnTo>
                <a:lnTo>
                  <a:pt x="228" y="888"/>
                </a:lnTo>
                <a:lnTo>
                  <a:pt x="222" y="882"/>
                </a:lnTo>
                <a:lnTo>
                  <a:pt x="216" y="882"/>
                </a:lnTo>
                <a:lnTo>
                  <a:pt x="210" y="882"/>
                </a:lnTo>
                <a:lnTo>
                  <a:pt x="204" y="882"/>
                </a:lnTo>
                <a:lnTo>
                  <a:pt x="198" y="888"/>
                </a:lnTo>
                <a:lnTo>
                  <a:pt x="192" y="882"/>
                </a:lnTo>
                <a:lnTo>
                  <a:pt x="186" y="882"/>
                </a:lnTo>
                <a:lnTo>
                  <a:pt x="186" y="876"/>
                </a:lnTo>
                <a:lnTo>
                  <a:pt x="192" y="876"/>
                </a:lnTo>
                <a:lnTo>
                  <a:pt x="192" y="870"/>
                </a:lnTo>
                <a:lnTo>
                  <a:pt x="198" y="870"/>
                </a:lnTo>
                <a:lnTo>
                  <a:pt x="198" y="864"/>
                </a:lnTo>
                <a:lnTo>
                  <a:pt x="198" y="858"/>
                </a:lnTo>
                <a:lnTo>
                  <a:pt x="180" y="852"/>
                </a:lnTo>
                <a:lnTo>
                  <a:pt x="174" y="840"/>
                </a:lnTo>
                <a:lnTo>
                  <a:pt x="162" y="846"/>
                </a:lnTo>
                <a:lnTo>
                  <a:pt x="156" y="846"/>
                </a:lnTo>
                <a:lnTo>
                  <a:pt x="150" y="846"/>
                </a:lnTo>
                <a:lnTo>
                  <a:pt x="150" y="840"/>
                </a:lnTo>
                <a:lnTo>
                  <a:pt x="138" y="834"/>
                </a:lnTo>
                <a:lnTo>
                  <a:pt x="132" y="834"/>
                </a:lnTo>
                <a:lnTo>
                  <a:pt x="132" y="840"/>
                </a:lnTo>
                <a:lnTo>
                  <a:pt x="126" y="840"/>
                </a:lnTo>
                <a:lnTo>
                  <a:pt x="126" y="852"/>
                </a:lnTo>
                <a:lnTo>
                  <a:pt x="126" y="858"/>
                </a:lnTo>
                <a:lnTo>
                  <a:pt x="120" y="858"/>
                </a:lnTo>
                <a:lnTo>
                  <a:pt x="120" y="846"/>
                </a:lnTo>
                <a:lnTo>
                  <a:pt x="114" y="846"/>
                </a:lnTo>
                <a:lnTo>
                  <a:pt x="108" y="840"/>
                </a:lnTo>
                <a:lnTo>
                  <a:pt x="102" y="834"/>
                </a:lnTo>
                <a:lnTo>
                  <a:pt x="102" y="822"/>
                </a:lnTo>
                <a:lnTo>
                  <a:pt x="96" y="822"/>
                </a:lnTo>
                <a:lnTo>
                  <a:pt x="90" y="828"/>
                </a:lnTo>
                <a:lnTo>
                  <a:pt x="84" y="822"/>
                </a:lnTo>
                <a:lnTo>
                  <a:pt x="84" y="816"/>
                </a:lnTo>
                <a:lnTo>
                  <a:pt x="84" y="810"/>
                </a:lnTo>
                <a:lnTo>
                  <a:pt x="84" y="804"/>
                </a:lnTo>
                <a:lnTo>
                  <a:pt x="78" y="804"/>
                </a:lnTo>
                <a:lnTo>
                  <a:pt x="78" y="798"/>
                </a:lnTo>
                <a:lnTo>
                  <a:pt x="78" y="792"/>
                </a:lnTo>
                <a:lnTo>
                  <a:pt x="78" y="786"/>
                </a:lnTo>
                <a:lnTo>
                  <a:pt x="78" y="780"/>
                </a:lnTo>
                <a:lnTo>
                  <a:pt x="72" y="774"/>
                </a:lnTo>
                <a:lnTo>
                  <a:pt x="66" y="774"/>
                </a:lnTo>
                <a:lnTo>
                  <a:pt x="60" y="774"/>
                </a:lnTo>
                <a:lnTo>
                  <a:pt x="60" y="768"/>
                </a:lnTo>
                <a:lnTo>
                  <a:pt x="60" y="762"/>
                </a:lnTo>
                <a:lnTo>
                  <a:pt x="54" y="756"/>
                </a:lnTo>
                <a:lnTo>
                  <a:pt x="42" y="756"/>
                </a:lnTo>
                <a:lnTo>
                  <a:pt x="36" y="756"/>
                </a:lnTo>
                <a:lnTo>
                  <a:pt x="24" y="738"/>
                </a:lnTo>
                <a:lnTo>
                  <a:pt x="18" y="732"/>
                </a:lnTo>
                <a:lnTo>
                  <a:pt x="6" y="720"/>
                </a:lnTo>
                <a:lnTo>
                  <a:pt x="6" y="714"/>
                </a:lnTo>
                <a:lnTo>
                  <a:pt x="0" y="702"/>
                </a:lnTo>
                <a:lnTo>
                  <a:pt x="0" y="696"/>
                </a:lnTo>
                <a:lnTo>
                  <a:pt x="12" y="666"/>
                </a:lnTo>
                <a:lnTo>
                  <a:pt x="18" y="648"/>
                </a:lnTo>
                <a:lnTo>
                  <a:pt x="24" y="636"/>
                </a:lnTo>
                <a:lnTo>
                  <a:pt x="30" y="630"/>
                </a:lnTo>
                <a:lnTo>
                  <a:pt x="30" y="624"/>
                </a:lnTo>
                <a:lnTo>
                  <a:pt x="30" y="612"/>
                </a:lnTo>
                <a:lnTo>
                  <a:pt x="30" y="606"/>
                </a:lnTo>
                <a:lnTo>
                  <a:pt x="30" y="600"/>
                </a:lnTo>
                <a:lnTo>
                  <a:pt x="36" y="594"/>
                </a:lnTo>
                <a:lnTo>
                  <a:pt x="48" y="594"/>
                </a:lnTo>
                <a:lnTo>
                  <a:pt x="66" y="582"/>
                </a:lnTo>
                <a:lnTo>
                  <a:pt x="72" y="588"/>
                </a:lnTo>
                <a:lnTo>
                  <a:pt x="84" y="594"/>
                </a:lnTo>
                <a:lnTo>
                  <a:pt x="90" y="600"/>
                </a:lnTo>
                <a:lnTo>
                  <a:pt x="102" y="606"/>
                </a:lnTo>
                <a:lnTo>
                  <a:pt x="114" y="606"/>
                </a:lnTo>
                <a:lnTo>
                  <a:pt x="114" y="612"/>
                </a:lnTo>
                <a:lnTo>
                  <a:pt x="120" y="612"/>
                </a:lnTo>
                <a:lnTo>
                  <a:pt x="126" y="618"/>
                </a:lnTo>
                <a:lnTo>
                  <a:pt x="138" y="594"/>
                </a:lnTo>
                <a:lnTo>
                  <a:pt x="138" y="582"/>
                </a:lnTo>
                <a:lnTo>
                  <a:pt x="138" y="570"/>
                </a:lnTo>
                <a:lnTo>
                  <a:pt x="138" y="564"/>
                </a:lnTo>
                <a:lnTo>
                  <a:pt x="138" y="552"/>
                </a:lnTo>
                <a:lnTo>
                  <a:pt x="144" y="540"/>
                </a:lnTo>
                <a:lnTo>
                  <a:pt x="150" y="528"/>
                </a:lnTo>
                <a:lnTo>
                  <a:pt x="156" y="510"/>
                </a:lnTo>
                <a:lnTo>
                  <a:pt x="168" y="498"/>
                </a:lnTo>
                <a:lnTo>
                  <a:pt x="168" y="492"/>
                </a:lnTo>
                <a:lnTo>
                  <a:pt x="168" y="486"/>
                </a:lnTo>
                <a:lnTo>
                  <a:pt x="168" y="480"/>
                </a:lnTo>
                <a:lnTo>
                  <a:pt x="168" y="462"/>
                </a:lnTo>
                <a:lnTo>
                  <a:pt x="168" y="450"/>
                </a:lnTo>
                <a:lnTo>
                  <a:pt x="168" y="444"/>
                </a:lnTo>
                <a:lnTo>
                  <a:pt x="162" y="432"/>
                </a:lnTo>
                <a:lnTo>
                  <a:pt x="162" y="426"/>
                </a:lnTo>
                <a:lnTo>
                  <a:pt x="156" y="420"/>
                </a:lnTo>
                <a:lnTo>
                  <a:pt x="144" y="414"/>
                </a:lnTo>
                <a:lnTo>
                  <a:pt x="132" y="402"/>
                </a:lnTo>
                <a:lnTo>
                  <a:pt x="126" y="390"/>
                </a:lnTo>
                <a:lnTo>
                  <a:pt x="120" y="384"/>
                </a:lnTo>
                <a:lnTo>
                  <a:pt x="120" y="372"/>
                </a:lnTo>
                <a:lnTo>
                  <a:pt x="114" y="360"/>
                </a:lnTo>
                <a:lnTo>
                  <a:pt x="108" y="360"/>
                </a:lnTo>
                <a:lnTo>
                  <a:pt x="108" y="354"/>
                </a:lnTo>
                <a:lnTo>
                  <a:pt x="102" y="348"/>
                </a:lnTo>
                <a:lnTo>
                  <a:pt x="102" y="342"/>
                </a:lnTo>
                <a:lnTo>
                  <a:pt x="108" y="330"/>
                </a:lnTo>
                <a:lnTo>
                  <a:pt x="114" y="312"/>
                </a:lnTo>
                <a:lnTo>
                  <a:pt x="114" y="300"/>
                </a:lnTo>
                <a:lnTo>
                  <a:pt x="120" y="288"/>
                </a:lnTo>
                <a:lnTo>
                  <a:pt x="120" y="282"/>
                </a:lnTo>
                <a:lnTo>
                  <a:pt x="114" y="270"/>
                </a:lnTo>
                <a:lnTo>
                  <a:pt x="114" y="258"/>
                </a:lnTo>
                <a:lnTo>
                  <a:pt x="108" y="234"/>
                </a:lnTo>
                <a:lnTo>
                  <a:pt x="108" y="228"/>
                </a:lnTo>
                <a:lnTo>
                  <a:pt x="96" y="222"/>
                </a:lnTo>
                <a:lnTo>
                  <a:pt x="90" y="222"/>
                </a:lnTo>
                <a:lnTo>
                  <a:pt x="84" y="222"/>
                </a:lnTo>
                <a:lnTo>
                  <a:pt x="84" y="216"/>
                </a:lnTo>
                <a:lnTo>
                  <a:pt x="84" y="210"/>
                </a:lnTo>
                <a:lnTo>
                  <a:pt x="90" y="198"/>
                </a:lnTo>
                <a:lnTo>
                  <a:pt x="90" y="192"/>
                </a:lnTo>
                <a:lnTo>
                  <a:pt x="84" y="186"/>
                </a:lnTo>
                <a:lnTo>
                  <a:pt x="84" y="180"/>
                </a:lnTo>
                <a:lnTo>
                  <a:pt x="108" y="174"/>
                </a:lnTo>
                <a:lnTo>
                  <a:pt x="132" y="186"/>
                </a:lnTo>
                <a:lnTo>
                  <a:pt x="138" y="192"/>
                </a:lnTo>
                <a:lnTo>
                  <a:pt x="144" y="198"/>
                </a:lnTo>
                <a:lnTo>
                  <a:pt x="144" y="204"/>
                </a:lnTo>
                <a:lnTo>
                  <a:pt x="150" y="204"/>
                </a:lnTo>
                <a:lnTo>
                  <a:pt x="156" y="204"/>
                </a:lnTo>
                <a:lnTo>
                  <a:pt x="162" y="198"/>
                </a:lnTo>
                <a:lnTo>
                  <a:pt x="168" y="198"/>
                </a:lnTo>
                <a:lnTo>
                  <a:pt x="174" y="204"/>
                </a:lnTo>
                <a:lnTo>
                  <a:pt x="180" y="216"/>
                </a:lnTo>
                <a:lnTo>
                  <a:pt x="186" y="228"/>
                </a:lnTo>
                <a:lnTo>
                  <a:pt x="192" y="234"/>
                </a:lnTo>
                <a:lnTo>
                  <a:pt x="198" y="234"/>
                </a:lnTo>
                <a:lnTo>
                  <a:pt x="204" y="240"/>
                </a:lnTo>
                <a:lnTo>
                  <a:pt x="210" y="240"/>
                </a:lnTo>
                <a:lnTo>
                  <a:pt x="216" y="240"/>
                </a:lnTo>
                <a:lnTo>
                  <a:pt x="222" y="240"/>
                </a:lnTo>
                <a:lnTo>
                  <a:pt x="228" y="246"/>
                </a:lnTo>
                <a:lnTo>
                  <a:pt x="234" y="246"/>
                </a:lnTo>
                <a:lnTo>
                  <a:pt x="240" y="246"/>
                </a:lnTo>
                <a:lnTo>
                  <a:pt x="252" y="252"/>
                </a:lnTo>
                <a:lnTo>
                  <a:pt x="330" y="246"/>
                </a:lnTo>
                <a:lnTo>
                  <a:pt x="360" y="228"/>
                </a:lnTo>
                <a:lnTo>
                  <a:pt x="396" y="228"/>
                </a:lnTo>
                <a:lnTo>
                  <a:pt x="402" y="240"/>
                </a:lnTo>
                <a:lnTo>
                  <a:pt x="432" y="240"/>
                </a:lnTo>
                <a:lnTo>
                  <a:pt x="450" y="258"/>
                </a:lnTo>
                <a:lnTo>
                  <a:pt x="468" y="258"/>
                </a:lnTo>
                <a:lnTo>
                  <a:pt x="474" y="294"/>
                </a:lnTo>
                <a:lnTo>
                  <a:pt x="558" y="318"/>
                </a:lnTo>
                <a:lnTo>
                  <a:pt x="588" y="318"/>
                </a:lnTo>
                <a:lnTo>
                  <a:pt x="588" y="312"/>
                </a:lnTo>
                <a:lnTo>
                  <a:pt x="594" y="306"/>
                </a:lnTo>
                <a:lnTo>
                  <a:pt x="600" y="306"/>
                </a:lnTo>
                <a:lnTo>
                  <a:pt x="612" y="300"/>
                </a:lnTo>
                <a:lnTo>
                  <a:pt x="618" y="300"/>
                </a:lnTo>
                <a:lnTo>
                  <a:pt x="630" y="300"/>
                </a:lnTo>
                <a:lnTo>
                  <a:pt x="642" y="306"/>
                </a:lnTo>
                <a:lnTo>
                  <a:pt x="660" y="306"/>
                </a:lnTo>
                <a:lnTo>
                  <a:pt x="666" y="306"/>
                </a:lnTo>
                <a:lnTo>
                  <a:pt x="672" y="306"/>
                </a:lnTo>
                <a:lnTo>
                  <a:pt x="684" y="300"/>
                </a:lnTo>
                <a:lnTo>
                  <a:pt x="696" y="294"/>
                </a:lnTo>
                <a:lnTo>
                  <a:pt x="702" y="288"/>
                </a:lnTo>
                <a:lnTo>
                  <a:pt x="714" y="282"/>
                </a:lnTo>
                <a:lnTo>
                  <a:pt x="714" y="288"/>
                </a:lnTo>
                <a:lnTo>
                  <a:pt x="726" y="300"/>
                </a:lnTo>
                <a:lnTo>
                  <a:pt x="732" y="306"/>
                </a:lnTo>
                <a:lnTo>
                  <a:pt x="732" y="318"/>
                </a:lnTo>
                <a:lnTo>
                  <a:pt x="732" y="330"/>
                </a:lnTo>
                <a:lnTo>
                  <a:pt x="726" y="342"/>
                </a:lnTo>
                <a:lnTo>
                  <a:pt x="720" y="354"/>
                </a:lnTo>
                <a:lnTo>
                  <a:pt x="720" y="360"/>
                </a:lnTo>
                <a:lnTo>
                  <a:pt x="714" y="372"/>
                </a:lnTo>
                <a:lnTo>
                  <a:pt x="714" y="378"/>
                </a:lnTo>
                <a:lnTo>
                  <a:pt x="714" y="408"/>
                </a:lnTo>
                <a:lnTo>
                  <a:pt x="708" y="420"/>
                </a:lnTo>
                <a:lnTo>
                  <a:pt x="714" y="432"/>
                </a:lnTo>
                <a:lnTo>
                  <a:pt x="708" y="450"/>
                </a:lnTo>
                <a:lnTo>
                  <a:pt x="708" y="468"/>
                </a:lnTo>
                <a:lnTo>
                  <a:pt x="696" y="480"/>
                </a:lnTo>
                <a:lnTo>
                  <a:pt x="684" y="486"/>
                </a:lnTo>
                <a:lnTo>
                  <a:pt x="672" y="492"/>
                </a:lnTo>
                <a:lnTo>
                  <a:pt x="660" y="498"/>
                </a:lnTo>
                <a:lnTo>
                  <a:pt x="654" y="510"/>
                </a:lnTo>
                <a:lnTo>
                  <a:pt x="648" y="516"/>
                </a:lnTo>
                <a:lnTo>
                  <a:pt x="642" y="522"/>
                </a:lnTo>
                <a:lnTo>
                  <a:pt x="630" y="522"/>
                </a:lnTo>
                <a:lnTo>
                  <a:pt x="624" y="528"/>
                </a:lnTo>
                <a:lnTo>
                  <a:pt x="618" y="540"/>
                </a:lnTo>
                <a:lnTo>
                  <a:pt x="618" y="558"/>
                </a:lnTo>
                <a:lnTo>
                  <a:pt x="612" y="576"/>
                </a:lnTo>
                <a:lnTo>
                  <a:pt x="612" y="684"/>
                </a:lnTo>
                <a:lnTo>
                  <a:pt x="618" y="696"/>
                </a:lnTo>
                <a:lnTo>
                  <a:pt x="636" y="696"/>
                </a:lnTo>
                <a:lnTo>
                  <a:pt x="636" y="720"/>
                </a:lnTo>
                <a:lnTo>
                  <a:pt x="636" y="732"/>
                </a:lnTo>
                <a:lnTo>
                  <a:pt x="618" y="750"/>
                </a:lnTo>
                <a:lnTo>
                  <a:pt x="606" y="762"/>
                </a:lnTo>
                <a:lnTo>
                  <a:pt x="600" y="774"/>
                </a:lnTo>
                <a:lnTo>
                  <a:pt x="594" y="798"/>
                </a:lnTo>
                <a:lnTo>
                  <a:pt x="606" y="798"/>
                </a:lnTo>
                <a:lnTo>
                  <a:pt x="660" y="792"/>
                </a:lnTo>
                <a:lnTo>
                  <a:pt x="696" y="798"/>
                </a:lnTo>
                <a:lnTo>
                  <a:pt x="720" y="798"/>
                </a:lnTo>
                <a:lnTo>
                  <a:pt x="720" y="786"/>
                </a:lnTo>
                <a:lnTo>
                  <a:pt x="720" y="774"/>
                </a:lnTo>
                <a:lnTo>
                  <a:pt x="702" y="762"/>
                </a:lnTo>
                <a:lnTo>
                  <a:pt x="702" y="750"/>
                </a:lnTo>
                <a:lnTo>
                  <a:pt x="702" y="726"/>
                </a:lnTo>
                <a:lnTo>
                  <a:pt x="714" y="714"/>
                </a:lnTo>
                <a:lnTo>
                  <a:pt x="720" y="702"/>
                </a:lnTo>
                <a:lnTo>
                  <a:pt x="720" y="696"/>
                </a:lnTo>
                <a:lnTo>
                  <a:pt x="744" y="690"/>
                </a:lnTo>
                <a:lnTo>
                  <a:pt x="744" y="696"/>
                </a:lnTo>
                <a:lnTo>
                  <a:pt x="756" y="696"/>
                </a:lnTo>
                <a:lnTo>
                  <a:pt x="762" y="690"/>
                </a:lnTo>
                <a:lnTo>
                  <a:pt x="768" y="690"/>
                </a:lnTo>
                <a:lnTo>
                  <a:pt x="774" y="696"/>
                </a:lnTo>
                <a:lnTo>
                  <a:pt x="780" y="696"/>
                </a:lnTo>
                <a:lnTo>
                  <a:pt x="786" y="696"/>
                </a:lnTo>
                <a:lnTo>
                  <a:pt x="804" y="684"/>
                </a:lnTo>
                <a:lnTo>
                  <a:pt x="810" y="684"/>
                </a:lnTo>
                <a:lnTo>
                  <a:pt x="810" y="654"/>
                </a:lnTo>
                <a:lnTo>
                  <a:pt x="816" y="588"/>
                </a:lnTo>
                <a:lnTo>
                  <a:pt x="804" y="582"/>
                </a:lnTo>
                <a:lnTo>
                  <a:pt x="798" y="552"/>
                </a:lnTo>
                <a:lnTo>
                  <a:pt x="798" y="480"/>
                </a:lnTo>
                <a:lnTo>
                  <a:pt x="780" y="468"/>
                </a:lnTo>
                <a:lnTo>
                  <a:pt x="780" y="462"/>
                </a:lnTo>
                <a:lnTo>
                  <a:pt x="774" y="450"/>
                </a:lnTo>
                <a:lnTo>
                  <a:pt x="762" y="444"/>
                </a:lnTo>
                <a:lnTo>
                  <a:pt x="762" y="438"/>
                </a:lnTo>
                <a:lnTo>
                  <a:pt x="768" y="432"/>
                </a:lnTo>
                <a:lnTo>
                  <a:pt x="774" y="426"/>
                </a:lnTo>
                <a:lnTo>
                  <a:pt x="780" y="426"/>
                </a:lnTo>
                <a:lnTo>
                  <a:pt x="780" y="414"/>
                </a:lnTo>
                <a:lnTo>
                  <a:pt x="834" y="414"/>
                </a:lnTo>
                <a:lnTo>
                  <a:pt x="834" y="426"/>
                </a:lnTo>
                <a:lnTo>
                  <a:pt x="840" y="432"/>
                </a:lnTo>
                <a:lnTo>
                  <a:pt x="846" y="432"/>
                </a:lnTo>
                <a:lnTo>
                  <a:pt x="852" y="432"/>
                </a:lnTo>
                <a:lnTo>
                  <a:pt x="858" y="432"/>
                </a:lnTo>
                <a:lnTo>
                  <a:pt x="870" y="432"/>
                </a:lnTo>
                <a:lnTo>
                  <a:pt x="870" y="426"/>
                </a:lnTo>
                <a:lnTo>
                  <a:pt x="870" y="420"/>
                </a:lnTo>
                <a:lnTo>
                  <a:pt x="876" y="420"/>
                </a:lnTo>
                <a:lnTo>
                  <a:pt x="882" y="420"/>
                </a:lnTo>
                <a:lnTo>
                  <a:pt x="894" y="414"/>
                </a:lnTo>
                <a:lnTo>
                  <a:pt x="900" y="414"/>
                </a:lnTo>
                <a:lnTo>
                  <a:pt x="906" y="408"/>
                </a:lnTo>
                <a:lnTo>
                  <a:pt x="918" y="408"/>
                </a:lnTo>
                <a:lnTo>
                  <a:pt x="924" y="402"/>
                </a:lnTo>
                <a:lnTo>
                  <a:pt x="930" y="384"/>
                </a:lnTo>
                <a:lnTo>
                  <a:pt x="948" y="396"/>
                </a:lnTo>
                <a:lnTo>
                  <a:pt x="954" y="384"/>
                </a:lnTo>
                <a:lnTo>
                  <a:pt x="960" y="384"/>
                </a:lnTo>
                <a:lnTo>
                  <a:pt x="972" y="384"/>
                </a:lnTo>
                <a:lnTo>
                  <a:pt x="978" y="378"/>
                </a:lnTo>
                <a:lnTo>
                  <a:pt x="972" y="366"/>
                </a:lnTo>
                <a:lnTo>
                  <a:pt x="966" y="342"/>
                </a:lnTo>
                <a:lnTo>
                  <a:pt x="960" y="330"/>
                </a:lnTo>
                <a:lnTo>
                  <a:pt x="942" y="324"/>
                </a:lnTo>
                <a:lnTo>
                  <a:pt x="936" y="318"/>
                </a:lnTo>
                <a:lnTo>
                  <a:pt x="936" y="294"/>
                </a:lnTo>
                <a:lnTo>
                  <a:pt x="942" y="294"/>
                </a:lnTo>
                <a:lnTo>
                  <a:pt x="942" y="288"/>
                </a:lnTo>
                <a:lnTo>
                  <a:pt x="954" y="288"/>
                </a:lnTo>
                <a:lnTo>
                  <a:pt x="954" y="282"/>
                </a:lnTo>
                <a:lnTo>
                  <a:pt x="954" y="276"/>
                </a:lnTo>
                <a:lnTo>
                  <a:pt x="960" y="276"/>
                </a:lnTo>
                <a:lnTo>
                  <a:pt x="966" y="276"/>
                </a:lnTo>
                <a:lnTo>
                  <a:pt x="960" y="258"/>
                </a:lnTo>
                <a:lnTo>
                  <a:pt x="954" y="240"/>
                </a:lnTo>
                <a:lnTo>
                  <a:pt x="948" y="204"/>
                </a:lnTo>
                <a:lnTo>
                  <a:pt x="954" y="204"/>
                </a:lnTo>
                <a:lnTo>
                  <a:pt x="960" y="198"/>
                </a:lnTo>
                <a:lnTo>
                  <a:pt x="930" y="192"/>
                </a:lnTo>
                <a:lnTo>
                  <a:pt x="930" y="186"/>
                </a:lnTo>
                <a:lnTo>
                  <a:pt x="900" y="186"/>
                </a:lnTo>
                <a:lnTo>
                  <a:pt x="876" y="180"/>
                </a:lnTo>
                <a:lnTo>
                  <a:pt x="858" y="180"/>
                </a:lnTo>
                <a:lnTo>
                  <a:pt x="852" y="168"/>
                </a:lnTo>
                <a:lnTo>
                  <a:pt x="834" y="156"/>
                </a:lnTo>
                <a:lnTo>
                  <a:pt x="822" y="156"/>
                </a:lnTo>
                <a:lnTo>
                  <a:pt x="804" y="156"/>
                </a:lnTo>
                <a:lnTo>
                  <a:pt x="804" y="150"/>
                </a:lnTo>
                <a:lnTo>
                  <a:pt x="792" y="144"/>
                </a:lnTo>
                <a:lnTo>
                  <a:pt x="762" y="138"/>
                </a:lnTo>
                <a:lnTo>
                  <a:pt x="768" y="120"/>
                </a:lnTo>
                <a:lnTo>
                  <a:pt x="756" y="120"/>
                </a:lnTo>
                <a:lnTo>
                  <a:pt x="744" y="108"/>
                </a:lnTo>
                <a:lnTo>
                  <a:pt x="744" y="96"/>
                </a:lnTo>
                <a:lnTo>
                  <a:pt x="762" y="84"/>
                </a:lnTo>
                <a:lnTo>
                  <a:pt x="768" y="84"/>
                </a:lnTo>
                <a:lnTo>
                  <a:pt x="768" y="72"/>
                </a:lnTo>
                <a:lnTo>
                  <a:pt x="780" y="66"/>
                </a:lnTo>
                <a:lnTo>
                  <a:pt x="798" y="54"/>
                </a:lnTo>
                <a:lnTo>
                  <a:pt x="792" y="54"/>
                </a:lnTo>
                <a:lnTo>
                  <a:pt x="798" y="36"/>
                </a:lnTo>
                <a:lnTo>
                  <a:pt x="804" y="36"/>
                </a:lnTo>
                <a:lnTo>
                  <a:pt x="816" y="30"/>
                </a:lnTo>
                <a:lnTo>
                  <a:pt x="828" y="30"/>
                </a:lnTo>
                <a:lnTo>
                  <a:pt x="846" y="12"/>
                </a:lnTo>
                <a:lnTo>
                  <a:pt x="876" y="0"/>
                </a:lnTo>
                <a:lnTo>
                  <a:pt x="882" y="6"/>
                </a:lnTo>
                <a:lnTo>
                  <a:pt x="900" y="6"/>
                </a:lnTo>
                <a:lnTo>
                  <a:pt x="912" y="36"/>
                </a:lnTo>
                <a:lnTo>
                  <a:pt x="918" y="42"/>
                </a:lnTo>
                <a:lnTo>
                  <a:pt x="924" y="54"/>
                </a:lnTo>
                <a:lnTo>
                  <a:pt x="930" y="54"/>
                </a:lnTo>
                <a:lnTo>
                  <a:pt x="930" y="78"/>
                </a:lnTo>
                <a:lnTo>
                  <a:pt x="954" y="72"/>
                </a:lnTo>
                <a:lnTo>
                  <a:pt x="954" y="60"/>
                </a:lnTo>
                <a:lnTo>
                  <a:pt x="966" y="66"/>
                </a:lnTo>
                <a:lnTo>
                  <a:pt x="966" y="78"/>
                </a:lnTo>
                <a:lnTo>
                  <a:pt x="960" y="84"/>
                </a:lnTo>
                <a:lnTo>
                  <a:pt x="954" y="102"/>
                </a:lnTo>
                <a:lnTo>
                  <a:pt x="972" y="102"/>
                </a:lnTo>
                <a:lnTo>
                  <a:pt x="978" y="84"/>
                </a:lnTo>
                <a:lnTo>
                  <a:pt x="984" y="72"/>
                </a:lnTo>
                <a:lnTo>
                  <a:pt x="990" y="72"/>
                </a:lnTo>
                <a:lnTo>
                  <a:pt x="996" y="18"/>
                </a:lnTo>
                <a:lnTo>
                  <a:pt x="990" y="12"/>
                </a:lnTo>
                <a:lnTo>
                  <a:pt x="1014" y="12"/>
                </a:lnTo>
                <a:lnTo>
                  <a:pt x="1026" y="12"/>
                </a:lnTo>
                <a:lnTo>
                  <a:pt x="1026" y="24"/>
                </a:lnTo>
                <a:lnTo>
                  <a:pt x="1050" y="24"/>
                </a:lnTo>
                <a:lnTo>
                  <a:pt x="1050" y="36"/>
                </a:lnTo>
                <a:lnTo>
                  <a:pt x="1062" y="66"/>
                </a:lnTo>
                <a:lnTo>
                  <a:pt x="1074" y="66"/>
                </a:lnTo>
                <a:lnTo>
                  <a:pt x="1080" y="60"/>
                </a:lnTo>
                <a:lnTo>
                  <a:pt x="1074" y="24"/>
                </a:lnTo>
                <a:lnTo>
                  <a:pt x="1086" y="18"/>
                </a:lnTo>
                <a:lnTo>
                  <a:pt x="1086" y="12"/>
                </a:lnTo>
                <a:lnTo>
                  <a:pt x="1104" y="6"/>
                </a:lnTo>
                <a:lnTo>
                  <a:pt x="1122" y="0"/>
                </a:lnTo>
                <a:lnTo>
                  <a:pt x="1134" y="6"/>
                </a:lnTo>
                <a:lnTo>
                  <a:pt x="1134" y="42"/>
                </a:lnTo>
                <a:lnTo>
                  <a:pt x="1140" y="72"/>
                </a:lnTo>
                <a:lnTo>
                  <a:pt x="1158" y="114"/>
                </a:lnTo>
                <a:lnTo>
                  <a:pt x="1170" y="114"/>
                </a:lnTo>
                <a:lnTo>
                  <a:pt x="1170" y="126"/>
                </a:lnTo>
                <a:lnTo>
                  <a:pt x="1182" y="126"/>
                </a:lnTo>
                <a:lnTo>
                  <a:pt x="1182" y="138"/>
                </a:lnTo>
                <a:lnTo>
                  <a:pt x="1194" y="144"/>
                </a:lnTo>
                <a:lnTo>
                  <a:pt x="1194" y="156"/>
                </a:lnTo>
                <a:lnTo>
                  <a:pt x="1188" y="156"/>
                </a:lnTo>
                <a:lnTo>
                  <a:pt x="1194" y="162"/>
                </a:lnTo>
                <a:lnTo>
                  <a:pt x="1194" y="168"/>
                </a:lnTo>
                <a:lnTo>
                  <a:pt x="1188" y="168"/>
                </a:lnTo>
                <a:lnTo>
                  <a:pt x="1188" y="174"/>
                </a:lnTo>
                <a:lnTo>
                  <a:pt x="1188" y="180"/>
                </a:lnTo>
                <a:lnTo>
                  <a:pt x="1182" y="180"/>
                </a:lnTo>
                <a:lnTo>
                  <a:pt x="1188" y="186"/>
                </a:lnTo>
                <a:lnTo>
                  <a:pt x="1188" y="192"/>
                </a:lnTo>
                <a:lnTo>
                  <a:pt x="1182" y="198"/>
                </a:lnTo>
                <a:lnTo>
                  <a:pt x="1182" y="204"/>
                </a:lnTo>
                <a:lnTo>
                  <a:pt x="1182" y="210"/>
                </a:lnTo>
                <a:lnTo>
                  <a:pt x="1188" y="210"/>
                </a:lnTo>
                <a:lnTo>
                  <a:pt x="1182" y="210"/>
                </a:lnTo>
                <a:lnTo>
                  <a:pt x="1182" y="216"/>
                </a:lnTo>
                <a:lnTo>
                  <a:pt x="1182" y="222"/>
                </a:lnTo>
                <a:lnTo>
                  <a:pt x="1194" y="264"/>
                </a:lnTo>
                <a:lnTo>
                  <a:pt x="1200" y="264"/>
                </a:lnTo>
                <a:lnTo>
                  <a:pt x="1212" y="264"/>
                </a:lnTo>
                <a:lnTo>
                  <a:pt x="1212" y="258"/>
                </a:lnTo>
                <a:lnTo>
                  <a:pt x="1224" y="258"/>
                </a:lnTo>
                <a:lnTo>
                  <a:pt x="1248" y="252"/>
                </a:lnTo>
                <a:lnTo>
                  <a:pt x="1248" y="264"/>
                </a:lnTo>
                <a:lnTo>
                  <a:pt x="1254" y="264"/>
                </a:lnTo>
                <a:lnTo>
                  <a:pt x="1254" y="270"/>
                </a:lnTo>
                <a:lnTo>
                  <a:pt x="1260" y="270"/>
                </a:lnTo>
                <a:lnTo>
                  <a:pt x="1266" y="270"/>
                </a:lnTo>
                <a:lnTo>
                  <a:pt x="1272" y="270"/>
                </a:lnTo>
                <a:lnTo>
                  <a:pt x="1272" y="264"/>
                </a:lnTo>
                <a:lnTo>
                  <a:pt x="1272" y="258"/>
                </a:lnTo>
                <a:lnTo>
                  <a:pt x="1278" y="258"/>
                </a:lnTo>
                <a:lnTo>
                  <a:pt x="1278" y="252"/>
                </a:lnTo>
                <a:lnTo>
                  <a:pt x="1290" y="252"/>
                </a:lnTo>
                <a:lnTo>
                  <a:pt x="1296" y="246"/>
                </a:lnTo>
                <a:lnTo>
                  <a:pt x="1308" y="246"/>
                </a:lnTo>
                <a:lnTo>
                  <a:pt x="1308" y="240"/>
                </a:lnTo>
                <a:lnTo>
                  <a:pt x="1320" y="240"/>
                </a:lnTo>
                <a:lnTo>
                  <a:pt x="1326" y="246"/>
                </a:lnTo>
                <a:lnTo>
                  <a:pt x="1338" y="246"/>
                </a:lnTo>
                <a:lnTo>
                  <a:pt x="1338" y="240"/>
                </a:lnTo>
                <a:lnTo>
                  <a:pt x="1350" y="240"/>
                </a:lnTo>
                <a:lnTo>
                  <a:pt x="1386" y="234"/>
                </a:lnTo>
                <a:lnTo>
                  <a:pt x="1398" y="228"/>
                </a:lnTo>
                <a:lnTo>
                  <a:pt x="1404" y="216"/>
                </a:lnTo>
                <a:lnTo>
                  <a:pt x="1416" y="204"/>
                </a:lnTo>
                <a:lnTo>
                  <a:pt x="1434" y="192"/>
                </a:lnTo>
                <a:lnTo>
                  <a:pt x="1446" y="198"/>
                </a:lnTo>
                <a:lnTo>
                  <a:pt x="1446" y="204"/>
                </a:lnTo>
                <a:lnTo>
                  <a:pt x="1452" y="210"/>
                </a:lnTo>
                <a:lnTo>
                  <a:pt x="1464" y="222"/>
                </a:lnTo>
                <a:lnTo>
                  <a:pt x="1464" y="228"/>
                </a:lnTo>
                <a:lnTo>
                  <a:pt x="1464" y="234"/>
                </a:lnTo>
                <a:lnTo>
                  <a:pt x="1470" y="240"/>
                </a:lnTo>
                <a:lnTo>
                  <a:pt x="1476" y="228"/>
                </a:lnTo>
                <a:lnTo>
                  <a:pt x="1476" y="222"/>
                </a:lnTo>
                <a:lnTo>
                  <a:pt x="1482" y="210"/>
                </a:lnTo>
                <a:lnTo>
                  <a:pt x="1488" y="192"/>
                </a:lnTo>
                <a:lnTo>
                  <a:pt x="1488" y="186"/>
                </a:lnTo>
                <a:lnTo>
                  <a:pt x="1488" y="180"/>
                </a:lnTo>
                <a:lnTo>
                  <a:pt x="1500" y="180"/>
                </a:lnTo>
                <a:lnTo>
                  <a:pt x="1500" y="174"/>
                </a:lnTo>
                <a:lnTo>
                  <a:pt x="1518" y="162"/>
                </a:lnTo>
                <a:lnTo>
                  <a:pt x="1536" y="150"/>
                </a:lnTo>
                <a:lnTo>
                  <a:pt x="1554" y="168"/>
                </a:lnTo>
                <a:lnTo>
                  <a:pt x="1572" y="180"/>
                </a:lnTo>
                <a:lnTo>
                  <a:pt x="1596" y="216"/>
                </a:lnTo>
                <a:lnTo>
                  <a:pt x="1602" y="216"/>
                </a:lnTo>
                <a:lnTo>
                  <a:pt x="1614" y="228"/>
                </a:lnTo>
                <a:lnTo>
                  <a:pt x="1614" y="234"/>
                </a:lnTo>
                <a:lnTo>
                  <a:pt x="1620" y="240"/>
                </a:lnTo>
                <a:lnTo>
                  <a:pt x="1620" y="246"/>
                </a:lnTo>
                <a:lnTo>
                  <a:pt x="1626" y="252"/>
                </a:lnTo>
                <a:lnTo>
                  <a:pt x="1632" y="258"/>
                </a:lnTo>
                <a:lnTo>
                  <a:pt x="1632" y="264"/>
                </a:lnTo>
                <a:lnTo>
                  <a:pt x="1638" y="264"/>
                </a:lnTo>
                <a:lnTo>
                  <a:pt x="1638" y="270"/>
                </a:lnTo>
                <a:lnTo>
                  <a:pt x="1638" y="276"/>
                </a:lnTo>
                <a:lnTo>
                  <a:pt x="1638" y="282"/>
                </a:lnTo>
                <a:lnTo>
                  <a:pt x="1644" y="288"/>
                </a:lnTo>
                <a:lnTo>
                  <a:pt x="1644" y="294"/>
                </a:lnTo>
                <a:lnTo>
                  <a:pt x="1644" y="300"/>
                </a:lnTo>
                <a:lnTo>
                  <a:pt x="1644" y="306"/>
                </a:lnTo>
                <a:lnTo>
                  <a:pt x="1650" y="306"/>
                </a:lnTo>
                <a:lnTo>
                  <a:pt x="1650" y="312"/>
                </a:lnTo>
                <a:lnTo>
                  <a:pt x="1650" y="318"/>
                </a:lnTo>
                <a:lnTo>
                  <a:pt x="1650" y="324"/>
                </a:lnTo>
                <a:lnTo>
                  <a:pt x="1644" y="330"/>
                </a:lnTo>
                <a:lnTo>
                  <a:pt x="1626" y="330"/>
                </a:lnTo>
                <a:lnTo>
                  <a:pt x="1626" y="336"/>
                </a:lnTo>
                <a:lnTo>
                  <a:pt x="1626" y="342"/>
                </a:lnTo>
                <a:lnTo>
                  <a:pt x="1626" y="348"/>
                </a:lnTo>
                <a:lnTo>
                  <a:pt x="1620" y="354"/>
                </a:lnTo>
                <a:lnTo>
                  <a:pt x="1614" y="354"/>
                </a:lnTo>
                <a:lnTo>
                  <a:pt x="1614" y="360"/>
                </a:lnTo>
                <a:lnTo>
                  <a:pt x="1614" y="372"/>
                </a:lnTo>
                <a:lnTo>
                  <a:pt x="1608" y="378"/>
                </a:lnTo>
                <a:lnTo>
                  <a:pt x="1608" y="384"/>
                </a:lnTo>
                <a:lnTo>
                  <a:pt x="1614" y="390"/>
                </a:lnTo>
                <a:lnTo>
                  <a:pt x="1614" y="396"/>
                </a:lnTo>
                <a:lnTo>
                  <a:pt x="1614" y="402"/>
                </a:lnTo>
                <a:lnTo>
                  <a:pt x="1614" y="408"/>
                </a:lnTo>
                <a:lnTo>
                  <a:pt x="1614" y="414"/>
                </a:lnTo>
                <a:lnTo>
                  <a:pt x="1602" y="420"/>
                </a:lnTo>
                <a:lnTo>
                  <a:pt x="1602" y="426"/>
                </a:lnTo>
                <a:lnTo>
                  <a:pt x="1608" y="432"/>
                </a:lnTo>
                <a:lnTo>
                  <a:pt x="1614" y="426"/>
                </a:lnTo>
                <a:lnTo>
                  <a:pt x="1620" y="438"/>
                </a:lnTo>
                <a:lnTo>
                  <a:pt x="1626" y="438"/>
                </a:lnTo>
                <a:lnTo>
                  <a:pt x="1632" y="444"/>
                </a:lnTo>
                <a:lnTo>
                  <a:pt x="1626" y="456"/>
                </a:lnTo>
                <a:lnTo>
                  <a:pt x="1626" y="468"/>
                </a:lnTo>
                <a:lnTo>
                  <a:pt x="1620" y="474"/>
                </a:lnTo>
                <a:lnTo>
                  <a:pt x="1614" y="474"/>
                </a:lnTo>
                <a:lnTo>
                  <a:pt x="1614" y="486"/>
                </a:lnTo>
                <a:lnTo>
                  <a:pt x="1614" y="492"/>
                </a:lnTo>
                <a:lnTo>
                  <a:pt x="1620" y="492"/>
                </a:lnTo>
                <a:lnTo>
                  <a:pt x="1626" y="498"/>
                </a:lnTo>
                <a:lnTo>
                  <a:pt x="1626" y="504"/>
                </a:lnTo>
                <a:lnTo>
                  <a:pt x="1626" y="510"/>
                </a:lnTo>
                <a:lnTo>
                  <a:pt x="1620" y="516"/>
                </a:lnTo>
                <a:lnTo>
                  <a:pt x="1620" y="522"/>
                </a:lnTo>
                <a:lnTo>
                  <a:pt x="1614" y="522"/>
                </a:lnTo>
                <a:lnTo>
                  <a:pt x="1608" y="528"/>
                </a:lnTo>
                <a:lnTo>
                  <a:pt x="1602" y="522"/>
                </a:lnTo>
                <a:lnTo>
                  <a:pt x="1602" y="528"/>
                </a:lnTo>
                <a:lnTo>
                  <a:pt x="1602" y="540"/>
                </a:lnTo>
                <a:lnTo>
                  <a:pt x="1602" y="558"/>
                </a:lnTo>
                <a:lnTo>
                  <a:pt x="1602" y="564"/>
                </a:lnTo>
                <a:lnTo>
                  <a:pt x="1602" y="570"/>
                </a:lnTo>
                <a:lnTo>
                  <a:pt x="1602" y="576"/>
                </a:lnTo>
                <a:lnTo>
                  <a:pt x="1596" y="576"/>
                </a:lnTo>
                <a:lnTo>
                  <a:pt x="1632" y="582"/>
                </a:lnTo>
                <a:lnTo>
                  <a:pt x="1644" y="618"/>
                </a:lnTo>
                <a:lnTo>
                  <a:pt x="1650" y="648"/>
                </a:lnTo>
                <a:lnTo>
                  <a:pt x="1662" y="636"/>
                </a:lnTo>
                <a:lnTo>
                  <a:pt x="1668" y="636"/>
                </a:lnTo>
                <a:lnTo>
                  <a:pt x="1674" y="636"/>
                </a:lnTo>
                <a:lnTo>
                  <a:pt x="1680" y="630"/>
                </a:lnTo>
                <a:lnTo>
                  <a:pt x="1686" y="630"/>
                </a:lnTo>
                <a:lnTo>
                  <a:pt x="1692" y="630"/>
                </a:lnTo>
                <a:lnTo>
                  <a:pt x="1698" y="630"/>
                </a:lnTo>
                <a:lnTo>
                  <a:pt x="1704" y="630"/>
                </a:lnTo>
                <a:lnTo>
                  <a:pt x="1704" y="624"/>
                </a:lnTo>
                <a:lnTo>
                  <a:pt x="1710" y="624"/>
                </a:lnTo>
                <a:lnTo>
                  <a:pt x="1716" y="624"/>
                </a:lnTo>
                <a:lnTo>
                  <a:pt x="1722" y="624"/>
                </a:lnTo>
                <a:lnTo>
                  <a:pt x="1728" y="624"/>
                </a:lnTo>
                <a:lnTo>
                  <a:pt x="1722" y="618"/>
                </a:lnTo>
                <a:lnTo>
                  <a:pt x="1728" y="606"/>
                </a:lnTo>
                <a:lnTo>
                  <a:pt x="1734" y="606"/>
                </a:lnTo>
                <a:lnTo>
                  <a:pt x="1740" y="600"/>
                </a:lnTo>
                <a:lnTo>
                  <a:pt x="1746" y="594"/>
                </a:lnTo>
                <a:lnTo>
                  <a:pt x="1752" y="588"/>
                </a:lnTo>
                <a:lnTo>
                  <a:pt x="1752" y="582"/>
                </a:lnTo>
                <a:lnTo>
                  <a:pt x="1758" y="576"/>
                </a:lnTo>
                <a:lnTo>
                  <a:pt x="1764" y="576"/>
                </a:lnTo>
                <a:lnTo>
                  <a:pt x="1770" y="570"/>
                </a:lnTo>
                <a:lnTo>
                  <a:pt x="1776" y="564"/>
                </a:lnTo>
                <a:lnTo>
                  <a:pt x="1788" y="558"/>
                </a:lnTo>
                <a:lnTo>
                  <a:pt x="1788" y="546"/>
                </a:lnTo>
                <a:lnTo>
                  <a:pt x="1788" y="540"/>
                </a:lnTo>
                <a:lnTo>
                  <a:pt x="1794" y="540"/>
                </a:lnTo>
                <a:lnTo>
                  <a:pt x="1788" y="534"/>
                </a:lnTo>
                <a:lnTo>
                  <a:pt x="1788" y="528"/>
                </a:lnTo>
                <a:lnTo>
                  <a:pt x="1794" y="516"/>
                </a:lnTo>
                <a:lnTo>
                  <a:pt x="1800" y="510"/>
                </a:lnTo>
                <a:lnTo>
                  <a:pt x="1812" y="510"/>
                </a:lnTo>
                <a:lnTo>
                  <a:pt x="1818" y="504"/>
                </a:lnTo>
                <a:lnTo>
                  <a:pt x="1824" y="504"/>
                </a:lnTo>
                <a:lnTo>
                  <a:pt x="1830" y="498"/>
                </a:lnTo>
                <a:lnTo>
                  <a:pt x="1836" y="498"/>
                </a:lnTo>
                <a:lnTo>
                  <a:pt x="1848" y="492"/>
                </a:lnTo>
                <a:lnTo>
                  <a:pt x="1848" y="480"/>
                </a:lnTo>
                <a:lnTo>
                  <a:pt x="1854" y="480"/>
                </a:lnTo>
                <a:lnTo>
                  <a:pt x="1890" y="504"/>
                </a:lnTo>
                <a:lnTo>
                  <a:pt x="1908" y="534"/>
                </a:lnTo>
                <a:lnTo>
                  <a:pt x="1902" y="534"/>
                </a:lnTo>
                <a:lnTo>
                  <a:pt x="1920" y="528"/>
                </a:lnTo>
                <a:lnTo>
                  <a:pt x="1920" y="516"/>
                </a:lnTo>
                <a:lnTo>
                  <a:pt x="1944" y="516"/>
                </a:lnTo>
                <a:lnTo>
                  <a:pt x="2004" y="516"/>
                </a:lnTo>
                <a:lnTo>
                  <a:pt x="2010" y="510"/>
                </a:lnTo>
                <a:lnTo>
                  <a:pt x="2004" y="510"/>
                </a:lnTo>
                <a:lnTo>
                  <a:pt x="2010" y="498"/>
                </a:lnTo>
                <a:lnTo>
                  <a:pt x="2004" y="486"/>
                </a:lnTo>
                <a:lnTo>
                  <a:pt x="2004" y="480"/>
                </a:lnTo>
                <a:lnTo>
                  <a:pt x="2004" y="474"/>
                </a:lnTo>
                <a:lnTo>
                  <a:pt x="2004" y="462"/>
                </a:lnTo>
                <a:lnTo>
                  <a:pt x="2004" y="456"/>
                </a:lnTo>
                <a:lnTo>
                  <a:pt x="2058" y="462"/>
                </a:lnTo>
                <a:lnTo>
                  <a:pt x="2076" y="474"/>
                </a:lnTo>
                <a:lnTo>
                  <a:pt x="2082" y="522"/>
                </a:lnTo>
                <a:lnTo>
                  <a:pt x="2088" y="516"/>
                </a:lnTo>
                <a:lnTo>
                  <a:pt x="2094" y="522"/>
                </a:lnTo>
                <a:lnTo>
                  <a:pt x="2100" y="528"/>
                </a:lnTo>
                <a:lnTo>
                  <a:pt x="2130" y="540"/>
                </a:lnTo>
                <a:lnTo>
                  <a:pt x="2160" y="564"/>
                </a:lnTo>
                <a:lnTo>
                  <a:pt x="2166" y="600"/>
                </a:lnTo>
                <a:lnTo>
                  <a:pt x="2160" y="618"/>
                </a:lnTo>
                <a:lnTo>
                  <a:pt x="2142" y="636"/>
                </a:lnTo>
                <a:lnTo>
                  <a:pt x="2148" y="648"/>
                </a:lnTo>
                <a:lnTo>
                  <a:pt x="2154" y="660"/>
                </a:lnTo>
                <a:lnTo>
                  <a:pt x="2196" y="654"/>
                </a:lnTo>
                <a:lnTo>
                  <a:pt x="2214" y="660"/>
                </a:lnTo>
                <a:lnTo>
                  <a:pt x="2214" y="666"/>
                </a:lnTo>
                <a:lnTo>
                  <a:pt x="2220" y="672"/>
                </a:lnTo>
                <a:lnTo>
                  <a:pt x="2214" y="678"/>
                </a:lnTo>
                <a:lnTo>
                  <a:pt x="2214" y="684"/>
                </a:lnTo>
                <a:lnTo>
                  <a:pt x="2214" y="690"/>
                </a:lnTo>
                <a:lnTo>
                  <a:pt x="2208" y="690"/>
                </a:lnTo>
                <a:lnTo>
                  <a:pt x="2202" y="696"/>
                </a:lnTo>
                <a:lnTo>
                  <a:pt x="2196" y="702"/>
                </a:lnTo>
                <a:lnTo>
                  <a:pt x="2190" y="708"/>
                </a:lnTo>
                <a:lnTo>
                  <a:pt x="2190" y="720"/>
                </a:lnTo>
                <a:lnTo>
                  <a:pt x="2184" y="720"/>
                </a:lnTo>
                <a:lnTo>
                  <a:pt x="2178" y="726"/>
                </a:lnTo>
                <a:lnTo>
                  <a:pt x="2166" y="732"/>
                </a:lnTo>
                <a:lnTo>
                  <a:pt x="2160" y="744"/>
                </a:lnTo>
                <a:lnTo>
                  <a:pt x="2154" y="756"/>
                </a:lnTo>
                <a:lnTo>
                  <a:pt x="2148" y="762"/>
                </a:lnTo>
                <a:lnTo>
                  <a:pt x="2124" y="762"/>
                </a:lnTo>
                <a:lnTo>
                  <a:pt x="2124" y="768"/>
                </a:lnTo>
                <a:lnTo>
                  <a:pt x="2118" y="768"/>
                </a:lnTo>
                <a:lnTo>
                  <a:pt x="2124" y="774"/>
                </a:lnTo>
                <a:lnTo>
                  <a:pt x="2118" y="774"/>
                </a:lnTo>
                <a:lnTo>
                  <a:pt x="2112" y="774"/>
                </a:lnTo>
                <a:lnTo>
                  <a:pt x="2106" y="780"/>
                </a:lnTo>
                <a:lnTo>
                  <a:pt x="2112" y="786"/>
                </a:lnTo>
                <a:lnTo>
                  <a:pt x="2106" y="792"/>
                </a:lnTo>
                <a:lnTo>
                  <a:pt x="2106" y="798"/>
                </a:lnTo>
                <a:lnTo>
                  <a:pt x="2106" y="810"/>
                </a:lnTo>
                <a:lnTo>
                  <a:pt x="2112" y="828"/>
                </a:lnTo>
                <a:lnTo>
                  <a:pt x="2112" y="834"/>
                </a:lnTo>
                <a:lnTo>
                  <a:pt x="2112" y="840"/>
                </a:lnTo>
                <a:lnTo>
                  <a:pt x="2112" y="834"/>
                </a:lnTo>
                <a:lnTo>
                  <a:pt x="2124" y="834"/>
                </a:lnTo>
                <a:lnTo>
                  <a:pt x="2130" y="834"/>
                </a:lnTo>
                <a:lnTo>
                  <a:pt x="2136" y="840"/>
                </a:lnTo>
                <a:lnTo>
                  <a:pt x="2142" y="840"/>
                </a:lnTo>
                <a:lnTo>
                  <a:pt x="2154" y="852"/>
                </a:lnTo>
                <a:lnTo>
                  <a:pt x="2160" y="852"/>
                </a:lnTo>
                <a:lnTo>
                  <a:pt x="2172" y="846"/>
                </a:lnTo>
                <a:lnTo>
                  <a:pt x="2178" y="846"/>
                </a:lnTo>
                <a:lnTo>
                  <a:pt x="2184" y="846"/>
                </a:lnTo>
                <a:lnTo>
                  <a:pt x="2190" y="846"/>
                </a:lnTo>
                <a:lnTo>
                  <a:pt x="2196" y="852"/>
                </a:lnTo>
                <a:lnTo>
                  <a:pt x="2196" y="858"/>
                </a:lnTo>
                <a:lnTo>
                  <a:pt x="2202" y="852"/>
                </a:lnTo>
                <a:lnTo>
                  <a:pt x="2208" y="846"/>
                </a:lnTo>
                <a:lnTo>
                  <a:pt x="2214" y="846"/>
                </a:lnTo>
                <a:lnTo>
                  <a:pt x="2226" y="846"/>
                </a:lnTo>
                <a:lnTo>
                  <a:pt x="2232" y="852"/>
                </a:lnTo>
                <a:lnTo>
                  <a:pt x="2238" y="852"/>
                </a:lnTo>
                <a:lnTo>
                  <a:pt x="2244" y="858"/>
                </a:lnTo>
                <a:lnTo>
                  <a:pt x="2250" y="858"/>
                </a:lnTo>
                <a:lnTo>
                  <a:pt x="2256" y="858"/>
                </a:lnTo>
                <a:lnTo>
                  <a:pt x="2262" y="858"/>
                </a:lnTo>
                <a:lnTo>
                  <a:pt x="2268" y="852"/>
                </a:lnTo>
                <a:lnTo>
                  <a:pt x="2274" y="852"/>
                </a:lnTo>
                <a:lnTo>
                  <a:pt x="2280" y="852"/>
                </a:lnTo>
                <a:lnTo>
                  <a:pt x="2286" y="852"/>
                </a:lnTo>
                <a:lnTo>
                  <a:pt x="2298" y="858"/>
                </a:lnTo>
                <a:lnTo>
                  <a:pt x="2304" y="858"/>
                </a:lnTo>
                <a:lnTo>
                  <a:pt x="2310" y="858"/>
                </a:lnTo>
                <a:lnTo>
                  <a:pt x="2316" y="852"/>
                </a:lnTo>
                <a:lnTo>
                  <a:pt x="2322" y="858"/>
                </a:lnTo>
                <a:lnTo>
                  <a:pt x="2328" y="858"/>
                </a:lnTo>
                <a:lnTo>
                  <a:pt x="2328" y="852"/>
                </a:lnTo>
                <a:lnTo>
                  <a:pt x="2364" y="858"/>
                </a:lnTo>
                <a:lnTo>
                  <a:pt x="2376" y="876"/>
                </a:lnTo>
                <a:lnTo>
                  <a:pt x="2382" y="936"/>
                </a:lnTo>
                <a:lnTo>
                  <a:pt x="2388" y="966"/>
                </a:lnTo>
                <a:lnTo>
                  <a:pt x="2382" y="972"/>
                </a:lnTo>
                <a:lnTo>
                  <a:pt x="2382" y="978"/>
                </a:lnTo>
                <a:lnTo>
                  <a:pt x="2382" y="984"/>
                </a:lnTo>
                <a:lnTo>
                  <a:pt x="2388" y="990"/>
                </a:lnTo>
                <a:lnTo>
                  <a:pt x="2382" y="990"/>
                </a:lnTo>
                <a:lnTo>
                  <a:pt x="2382" y="996"/>
                </a:lnTo>
                <a:lnTo>
                  <a:pt x="2376" y="996"/>
                </a:lnTo>
                <a:lnTo>
                  <a:pt x="2376" y="1020"/>
                </a:lnTo>
                <a:lnTo>
                  <a:pt x="2370" y="1032"/>
                </a:lnTo>
                <a:lnTo>
                  <a:pt x="2352" y="1032"/>
                </a:lnTo>
                <a:lnTo>
                  <a:pt x="2346" y="1020"/>
                </a:lnTo>
                <a:lnTo>
                  <a:pt x="2328" y="1032"/>
                </a:lnTo>
                <a:lnTo>
                  <a:pt x="2316" y="1038"/>
                </a:lnTo>
                <a:lnTo>
                  <a:pt x="2328" y="1044"/>
                </a:lnTo>
                <a:lnTo>
                  <a:pt x="2340" y="1056"/>
                </a:lnTo>
                <a:lnTo>
                  <a:pt x="2376" y="1062"/>
                </a:lnTo>
                <a:lnTo>
                  <a:pt x="2376" y="1068"/>
                </a:lnTo>
                <a:lnTo>
                  <a:pt x="2382" y="1086"/>
                </a:lnTo>
                <a:lnTo>
                  <a:pt x="2376" y="1086"/>
                </a:lnTo>
                <a:lnTo>
                  <a:pt x="2370" y="1086"/>
                </a:lnTo>
                <a:lnTo>
                  <a:pt x="2364" y="1086"/>
                </a:lnTo>
                <a:lnTo>
                  <a:pt x="2364" y="1098"/>
                </a:lnTo>
                <a:lnTo>
                  <a:pt x="2388" y="1104"/>
                </a:lnTo>
                <a:lnTo>
                  <a:pt x="2400" y="1122"/>
                </a:lnTo>
                <a:lnTo>
                  <a:pt x="2400" y="1134"/>
                </a:lnTo>
                <a:lnTo>
                  <a:pt x="2400" y="1146"/>
                </a:lnTo>
                <a:lnTo>
                  <a:pt x="2394" y="1146"/>
                </a:lnTo>
                <a:lnTo>
                  <a:pt x="2394" y="1152"/>
                </a:lnTo>
                <a:lnTo>
                  <a:pt x="2388" y="1152"/>
                </a:lnTo>
                <a:lnTo>
                  <a:pt x="2388" y="1146"/>
                </a:lnTo>
                <a:lnTo>
                  <a:pt x="2382" y="1152"/>
                </a:lnTo>
                <a:lnTo>
                  <a:pt x="2376" y="1152"/>
                </a:lnTo>
                <a:lnTo>
                  <a:pt x="2370" y="1158"/>
                </a:lnTo>
                <a:lnTo>
                  <a:pt x="2370" y="1164"/>
                </a:lnTo>
                <a:lnTo>
                  <a:pt x="2364" y="1170"/>
                </a:lnTo>
                <a:lnTo>
                  <a:pt x="2370" y="1170"/>
                </a:lnTo>
                <a:lnTo>
                  <a:pt x="2376" y="1170"/>
                </a:lnTo>
                <a:lnTo>
                  <a:pt x="2370" y="1176"/>
                </a:lnTo>
                <a:lnTo>
                  <a:pt x="2364" y="1176"/>
                </a:lnTo>
                <a:lnTo>
                  <a:pt x="2358" y="1182"/>
                </a:lnTo>
                <a:lnTo>
                  <a:pt x="2352" y="1182"/>
                </a:lnTo>
                <a:lnTo>
                  <a:pt x="2346" y="1188"/>
                </a:lnTo>
                <a:lnTo>
                  <a:pt x="2340" y="1182"/>
                </a:lnTo>
                <a:lnTo>
                  <a:pt x="2334" y="1182"/>
                </a:lnTo>
                <a:lnTo>
                  <a:pt x="2334" y="1188"/>
                </a:lnTo>
                <a:lnTo>
                  <a:pt x="2328" y="1194"/>
                </a:lnTo>
                <a:lnTo>
                  <a:pt x="2328" y="1200"/>
                </a:lnTo>
                <a:lnTo>
                  <a:pt x="2322" y="1224"/>
                </a:lnTo>
                <a:lnTo>
                  <a:pt x="2328" y="1230"/>
                </a:lnTo>
                <a:lnTo>
                  <a:pt x="2358" y="1230"/>
                </a:lnTo>
                <a:lnTo>
                  <a:pt x="2358" y="1242"/>
                </a:lnTo>
                <a:lnTo>
                  <a:pt x="2358" y="1254"/>
                </a:lnTo>
                <a:lnTo>
                  <a:pt x="2346" y="1254"/>
                </a:lnTo>
                <a:lnTo>
                  <a:pt x="2346" y="1278"/>
                </a:lnTo>
                <a:lnTo>
                  <a:pt x="2358" y="1278"/>
                </a:lnTo>
                <a:lnTo>
                  <a:pt x="2358" y="1284"/>
                </a:lnTo>
                <a:lnTo>
                  <a:pt x="2376" y="1284"/>
                </a:lnTo>
                <a:lnTo>
                  <a:pt x="2388" y="1278"/>
                </a:lnTo>
                <a:lnTo>
                  <a:pt x="2406" y="1278"/>
                </a:lnTo>
                <a:lnTo>
                  <a:pt x="2430" y="1284"/>
                </a:lnTo>
                <a:lnTo>
                  <a:pt x="2430" y="1302"/>
                </a:lnTo>
                <a:lnTo>
                  <a:pt x="2430" y="1314"/>
                </a:lnTo>
                <a:lnTo>
                  <a:pt x="2424" y="1326"/>
                </a:lnTo>
                <a:lnTo>
                  <a:pt x="2412" y="1326"/>
                </a:lnTo>
                <a:lnTo>
                  <a:pt x="2412" y="1344"/>
                </a:lnTo>
                <a:lnTo>
                  <a:pt x="2406" y="1344"/>
                </a:lnTo>
                <a:lnTo>
                  <a:pt x="2400" y="1362"/>
                </a:lnTo>
                <a:lnTo>
                  <a:pt x="2394" y="1368"/>
                </a:lnTo>
                <a:lnTo>
                  <a:pt x="2388" y="1374"/>
                </a:lnTo>
                <a:lnTo>
                  <a:pt x="2382" y="1380"/>
                </a:lnTo>
                <a:lnTo>
                  <a:pt x="2376" y="1386"/>
                </a:lnTo>
                <a:lnTo>
                  <a:pt x="2376" y="1392"/>
                </a:lnTo>
                <a:lnTo>
                  <a:pt x="2370" y="1404"/>
                </a:lnTo>
                <a:lnTo>
                  <a:pt x="2364" y="1416"/>
                </a:lnTo>
                <a:lnTo>
                  <a:pt x="2346" y="1434"/>
                </a:lnTo>
                <a:lnTo>
                  <a:pt x="2328" y="1440"/>
                </a:lnTo>
                <a:lnTo>
                  <a:pt x="2328" y="1446"/>
                </a:lnTo>
                <a:lnTo>
                  <a:pt x="2322" y="1452"/>
                </a:lnTo>
                <a:lnTo>
                  <a:pt x="2316" y="1452"/>
                </a:lnTo>
                <a:lnTo>
                  <a:pt x="2304" y="1446"/>
                </a:lnTo>
                <a:lnTo>
                  <a:pt x="2298" y="1446"/>
                </a:lnTo>
                <a:lnTo>
                  <a:pt x="2298" y="1434"/>
                </a:lnTo>
                <a:lnTo>
                  <a:pt x="2292" y="1434"/>
                </a:lnTo>
                <a:lnTo>
                  <a:pt x="2286" y="1428"/>
                </a:lnTo>
                <a:lnTo>
                  <a:pt x="2274" y="1416"/>
                </a:lnTo>
                <a:lnTo>
                  <a:pt x="2256" y="1404"/>
                </a:lnTo>
                <a:lnTo>
                  <a:pt x="2244" y="1386"/>
                </a:lnTo>
                <a:lnTo>
                  <a:pt x="2220" y="1368"/>
                </a:lnTo>
                <a:lnTo>
                  <a:pt x="2208" y="1362"/>
                </a:lnTo>
                <a:lnTo>
                  <a:pt x="2202" y="1350"/>
                </a:lnTo>
                <a:lnTo>
                  <a:pt x="2196" y="1350"/>
                </a:lnTo>
                <a:lnTo>
                  <a:pt x="2190" y="1356"/>
                </a:lnTo>
                <a:lnTo>
                  <a:pt x="2184" y="1356"/>
                </a:lnTo>
                <a:lnTo>
                  <a:pt x="2094" y="1350"/>
                </a:lnTo>
                <a:lnTo>
                  <a:pt x="2058" y="1350"/>
                </a:lnTo>
                <a:lnTo>
                  <a:pt x="2034" y="1890"/>
                </a:lnTo>
                <a:lnTo>
                  <a:pt x="2064" y="1890"/>
                </a:lnTo>
                <a:lnTo>
                  <a:pt x="2070" y="1896"/>
                </a:lnTo>
                <a:lnTo>
                  <a:pt x="2076" y="1896"/>
                </a:lnTo>
                <a:close/>
              </a:path>
            </a:pathLst>
          </a:custGeom>
          <a:solidFill>
            <a:srgbClr val="CD202C"/>
          </a:solidFill>
          <a:ln w="9525">
            <a:solidFill>
              <a:schemeClr val="bg1"/>
            </a:solidFill>
            <a:round/>
            <a:headEnd/>
            <a:tailEnd/>
          </a:ln>
        </p:spPr>
        <p:txBody>
          <a:bodyPr/>
          <a:lstStyle/>
          <a:p>
            <a:endParaRPr lang="en-GB"/>
          </a:p>
        </p:txBody>
      </p:sp>
      <p:sp>
        <p:nvSpPr>
          <p:cNvPr id="17447" name="Freeform 34"/>
          <p:cNvSpPr>
            <a:spLocks/>
          </p:cNvSpPr>
          <p:nvPr/>
        </p:nvSpPr>
        <p:spPr bwMode="gray">
          <a:xfrm>
            <a:off x="2154238" y="1501775"/>
            <a:ext cx="1330325" cy="1179513"/>
          </a:xfrm>
          <a:custGeom>
            <a:avLst/>
            <a:gdLst>
              <a:gd name="T0" fmla="*/ 112034 w 1698"/>
              <a:gd name="T1" fmla="*/ 34626 h 1464"/>
              <a:gd name="T2" fmla="*/ 102633 w 1698"/>
              <a:gd name="T3" fmla="*/ 35431 h 1464"/>
              <a:gd name="T4" fmla="*/ 98715 w 1698"/>
              <a:gd name="T5" fmla="*/ 33016 h 1464"/>
              <a:gd name="T6" fmla="*/ 93231 w 1698"/>
              <a:gd name="T7" fmla="*/ 36237 h 1464"/>
              <a:gd name="T8" fmla="*/ 86963 w 1698"/>
              <a:gd name="T9" fmla="*/ 37042 h 1464"/>
              <a:gd name="T10" fmla="*/ 83830 w 1698"/>
              <a:gd name="T11" fmla="*/ 40263 h 1464"/>
              <a:gd name="T12" fmla="*/ 83830 w 1698"/>
              <a:gd name="T13" fmla="*/ 48315 h 1464"/>
              <a:gd name="T14" fmla="*/ 81479 w 1698"/>
              <a:gd name="T15" fmla="*/ 49926 h 1464"/>
              <a:gd name="T16" fmla="*/ 75995 w 1698"/>
              <a:gd name="T17" fmla="*/ 47510 h 1464"/>
              <a:gd name="T18" fmla="*/ 72078 w 1698"/>
              <a:gd name="T19" fmla="*/ 47510 h 1464"/>
              <a:gd name="T20" fmla="*/ 70511 w 1698"/>
              <a:gd name="T21" fmla="*/ 49926 h 1464"/>
              <a:gd name="T22" fmla="*/ 72861 w 1698"/>
              <a:gd name="T23" fmla="*/ 62005 h 1464"/>
              <a:gd name="T24" fmla="*/ 66594 w 1698"/>
              <a:gd name="T25" fmla="*/ 70863 h 1464"/>
              <a:gd name="T26" fmla="*/ 54842 w 1698"/>
              <a:gd name="T27" fmla="*/ 71668 h 1464"/>
              <a:gd name="T28" fmla="*/ 50925 w 1698"/>
              <a:gd name="T29" fmla="*/ 70863 h 1464"/>
              <a:gd name="T30" fmla="*/ 39173 w 1698"/>
              <a:gd name="T31" fmla="*/ 70863 h 1464"/>
              <a:gd name="T32" fmla="*/ 37606 w 1698"/>
              <a:gd name="T33" fmla="*/ 86162 h 1464"/>
              <a:gd name="T34" fmla="*/ 36822 w 1698"/>
              <a:gd name="T35" fmla="*/ 96631 h 1464"/>
              <a:gd name="T36" fmla="*/ 33689 w 1698"/>
              <a:gd name="T37" fmla="*/ 97436 h 1464"/>
              <a:gd name="T38" fmla="*/ 31338 w 1698"/>
              <a:gd name="T39" fmla="*/ 96631 h 1464"/>
              <a:gd name="T40" fmla="*/ 27421 w 1698"/>
              <a:gd name="T41" fmla="*/ 98241 h 1464"/>
              <a:gd name="T42" fmla="*/ 22720 w 1698"/>
              <a:gd name="T43" fmla="*/ 99046 h 1464"/>
              <a:gd name="T44" fmla="*/ 18803 w 1698"/>
              <a:gd name="T45" fmla="*/ 100657 h 1464"/>
              <a:gd name="T46" fmla="*/ 15669 w 1698"/>
              <a:gd name="T47" fmla="*/ 100657 h 1464"/>
              <a:gd name="T48" fmla="*/ 14102 w 1698"/>
              <a:gd name="T49" fmla="*/ 98241 h 1464"/>
              <a:gd name="T50" fmla="*/ 20370 w 1698"/>
              <a:gd name="T51" fmla="*/ 86968 h 1464"/>
              <a:gd name="T52" fmla="*/ 18803 w 1698"/>
              <a:gd name="T53" fmla="*/ 71668 h 1464"/>
              <a:gd name="T54" fmla="*/ 21937 w 1698"/>
              <a:gd name="T55" fmla="*/ 68447 h 1464"/>
              <a:gd name="T56" fmla="*/ 25071 w 1698"/>
              <a:gd name="T57" fmla="*/ 64420 h 1464"/>
              <a:gd name="T58" fmla="*/ 28204 w 1698"/>
              <a:gd name="T59" fmla="*/ 69252 h 1464"/>
              <a:gd name="T60" fmla="*/ 30555 w 1698"/>
              <a:gd name="T61" fmla="*/ 64420 h 1464"/>
              <a:gd name="T62" fmla="*/ 32122 w 1698"/>
              <a:gd name="T63" fmla="*/ 58784 h 1464"/>
              <a:gd name="T64" fmla="*/ 29771 w 1698"/>
              <a:gd name="T65" fmla="*/ 51536 h 1464"/>
              <a:gd name="T66" fmla="*/ 30555 w 1698"/>
              <a:gd name="T67" fmla="*/ 47510 h 1464"/>
              <a:gd name="T68" fmla="*/ 25071 w 1698"/>
              <a:gd name="T69" fmla="*/ 43484 h 1464"/>
              <a:gd name="T70" fmla="*/ 25071 w 1698"/>
              <a:gd name="T71" fmla="*/ 36237 h 1464"/>
              <a:gd name="T72" fmla="*/ 24287 w 1698"/>
              <a:gd name="T73" fmla="*/ 33016 h 1464"/>
              <a:gd name="T74" fmla="*/ 18803 w 1698"/>
              <a:gd name="T75" fmla="*/ 34626 h 1464"/>
              <a:gd name="T76" fmla="*/ 13319 w 1698"/>
              <a:gd name="T77" fmla="*/ 32210 h 1464"/>
              <a:gd name="T78" fmla="*/ 8618 w 1698"/>
              <a:gd name="T79" fmla="*/ 30600 h 1464"/>
              <a:gd name="T80" fmla="*/ 1567 w 1698"/>
              <a:gd name="T81" fmla="*/ 28989 h 1464"/>
              <a:gd name="T82" fmla="*/ 0 w 1698"/>
              <a:gd name="T83" fmla="*/ 19326 h 1464"/>
              <a:gd name="T84" fmla="*/ 8618 w 1698"/>
              <a:gd name="T85" fmla="*/ 14495 h 1464"/>
              <a:gd name="T86" fmla="*/ 14886 w 1698"/>
              <a:gd name="T87" fmla="*/ 8053 h 1464"/>
              <a:gd name="T88" fmla="*/ 21937 w 1698"/>
              <a:gd name="T89" fmla="*/ 7247 h 1464"/>
              <a:gd name="T90" fmla="*/ 31338 w 1698"/>
              <a:gd name="T91" fmla="*/ 4832 h 1464"/>
              <a:gd name="T92" fmla="*/ 38389 w 1698"/>
              <a:gd name="T93" fmla="*/ 6442 h 1464"/>
              <a:gd name="T94" fmla="*/ 43873 w 1698"/>
              <a:gd name="T95" fmla="*/ 6442 h 1464"/>
              <a:gd name="T96" fmla="*/ 50141 w 1698"/>
              <a:gd name="T97" fmla="*/ 5637 h 1464"/>
              <a:gd name="T98" fmla="*/ 57976 w 1698"/>
              <a:gd name="T99" fmla="*/ 805 h 1464"/>
              <a:gd name="T100" fmla="*/ 65027 w 1698"/>
              <a:gd name="T101" fmla="*/ 2416 h 1464"/>
              <a:gd name="T102" fmla="*/ 77562 w 1698"/>
              <a:gd name="T103" fmla="*/ 7247 h 1464"/>
              <a:gd name="T104" fmla="*/ 87747 w 1698"/>
              <a:gd name="T105" fmla="*/ 11274 h 1464"/>
              <a:gd name="T106" fmla="*/ 93231 w 1698"/>
              <a:gd name="T107" fmla="*/ 9663 h 1464"/>
              <a:gd name="T108" fmla="*/ 100282 w 1698"/>
              <a:gd name="T109" fmla="*/ 13689 h 1464"/>
              <a:gd name="T110" fmla="*/ 110467 w 1698"/>
              <a:gd name="T111" fmla="*/ 23352 h 1464"/>
              <a:gd name="T112" fmla="*/ 113601 w 1698"/>
              <a:gd name="T113" fmla="*/ 28184 h 14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98"/>
              <a:gd name="T172" fmla="*/ 0 h 1464"/>
              <a:gd name="T173" fmla="*/ 1698 w 1698"/>
              <a:gd name="T174" fmla="*/ 1464 h 14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98" h="1464">
                <a:moveTo>
                  <a:pt x="1698" y="462"/>
                </a:moveTo>
                <a:lnTo>
                  <a:pt x="1686" y="468"/>
                </a:lnTo>
                <a:lnTo>
                  <a:pt x="1680" y="474"/>
                </a:lnTo>
                <a:lnTo>
                  <a:pt x="1674" y="480"/>
                </a:lnTo>
                <a:lnTo>
                  <a:pt x="1668" y="480"/>
                </a:lnTo>
                <a:lnTo>
                  <a:pt x="1662" y="486"/>
                </a:lnTo>
                <a:lnTo>
                  <a:pt x="1656" y="492"/>
                </a:lnTo>
                <a:lnTo>
                  <a:pt x="1644" y="498"/>
                </a:lnTo>
                <a:lnTo>
                  <a:pt x="1626" y="504"/>
                </a:lnTo>
                <a:lnTo>
                  <a:pt x="1614" y="510"/>
                </a:lnTo>
                <a:lnTo>
                  <a:pt x="1602" y="516"/>
                </a:lnTo>
                <a:lnTo>
                  <a:pt x="1590" y="516"/>
                </a:lnTo>
                <a:lnTo>
                  <a:pt x="1590" y="522"/>
                </a:lnTo>
                <a:lnTo>
                  <a:pt x="1566" y="522"/>
                </a:lnTo>
                <a:lnTo>
                  <a:pt x="1506" y="510"/>
                </a:lnTo>
                <a:lnTo>
                  <a:pt x="1500" y="510"/>
                </a:lnTo>
                <a:lnTo>
                  <a:pt x="1488" y="504"/>
                </a:lnTo>
                <a:lnTo>
                  <a:pt x="1482" y="498"/>
                </a:lnTo>
                <a:lnTo>
                  <a:pt x="1476" y="498"/>
                </a:lnTo>
                <a:lnTo>
                  <a:pt x="1476" y="492"/>
                </a:lnTo>
                <a:lnTo>
                  <a:pt x="1470" y="492"/>
                </a:lnTo>
                <a:lnTo>
                  <a:pt x="1464" y="486"/>
                </a:lnTo>
                <a:lnTo>
                  <a:pt x="1452" y="486"/>
                </a:lnTo>
                <a:lnTo>
                  <a:pt x="1446" y="474"/>
                </a:lnTo>
                <a:lnTo>
                  <a:pt x="1434" y="468"/>
                </a:lnTo>
                <a:lnTo>
                  <a:pt x="1416" y="468"/>
                </a:lnTo>
                <a:lnTo>
                  <a:pt x="1392" y="468"/>
                </a:lnTo>
                <a:lnTo>
                  <a:pt x="1374" y="474"/>
                </a:lnTo>
                <a:lnTo>
                  <a:pt x="1368" y="474"/>
                </a:lnTo>
                <a:lnTo>
                  <a:pt x="1368" y="486"/>
                </a:lnTo>
                <a:lnTo>
                  <a:pt x="1368" y="498"/>
                </a:lnTo>
                <a:lnTo>
                  <a:pt x="1368" y="522"/>
                </a:lnTo>
                <a:lnTo>
                  <a:pt x="1368" y="534"/>
                </a:lnTo>
                <a:lnTo>
                  <a:pt x="1362" y="546"/>
                </a:lnTo>
                <a:lnTo>
                  <a:pt x="1356" y="546"/>
                </a:lnTo>
                <a:lnTo>
                  <a:pt x="1344" y="540"/>
                </a:lnTo>
                <a:lnTo>
                  <a:pt x="1338" y="534"/>
                </a:lnTo>
                <a:lnTo>
                  <a:pt x="1308" y="522"/>
                </a:lnTo>
                <a:lnTo>
                  <a:pt x="1296" y="522"/>
                </a:lnTo>
                <a:lnTo>
                  <a:pt x="1278" y="528"/>
                </a:lnTo>
                <a:lnTo>
                  <a:pt x="1260" y="534"/>
                </a:lnTo>
                <a:lnTo>
                  <a:pt x="1242" y="546"/>
                </a:lnTo>
                <a:lnTo>
                  <a:pt x="1236" y="552"/>
                </a:lnTo>
                <a:lnTo>
                  <a:pt x="1224" y="558"/>
                </a:lnTo>
                <a:lnTo>
                  <a:pt x="1218" y="558"/>
                </a:lnTo>
                <a:lnTo>
                  <a:pt x="1218" y="564"/>
                </a:lnTo>
                <a:lnTo>
                  <a:pt x="1224" y="570"/>
                </a:lnTo>
                <a:lnTo>
                  <a:pt x="1224" y="582"/>
                </a:lnTo>
                <a:lnTo>
                  <a:pt x="1224" y="594"/>
                </a:lnTo>
                <a:lnTo>
                  <a:pt x="1212" y="618"/>
                </a:lnTo>
                <a:lnTo>
                  <a:pt x="1212" y="624"/>
                </a:lnTo>
                <a:lnTo>
                  <a:pt x="1212" y="630"/>
                </a:lnTo>
                <a:lnTo>
                  <a:pt x="1212" y="636"/>
                </a:lnTo>
                <a:lnTo>
                  <a:pt x="1218" y="654"/>
                </a:lnTo>
                <a:lnTo>
                  <a:pt x="1224" y="672"/>
                </a:lnTo>
                <a:lnTo>
                  <a:pt x="1230" y="696"/>
                </a:lnTo>
                <a:lnTo>
                  <a:pt x="1236" y="708"/>
                </a:lnTo>
                <a:lnTo>
                  <a:pt x="1236" y="714"/>
                </a:lnTo>
                <a:lnTo>
                  <a:pt x="1236" y="720"/>
                </a:lnTo>
                <a:lnTo>
                  <a:pt x="1218" y="726"/>
                </a:lnTo>
                <a:lnTo>
                  <a:pt x="1212" y="726"/>
                </a:lnTo>
                <a:lnTo>
                  <a:pt x="1206" y="726"/>
                </a:lnTo>
                <a:lnTo>
                  <a:pt x="1194" y="720"/>
                </a:lnTo>
                <a:lnTo>
                  <a:pt x="1194" y="714"/>
                </a:lnTo>
                <a:lnTo>
                  <a:pt x="1176" y="714"/>
                </a:lnTo>
                <a:lnTo>
                  <a:pt x="1164" y="708"/>
                </a:lnTo>
                <a:lnTo>
                  <a:pt x="1158" y="708"/>
                </a:lnTo>
                <a:lnTo>
                  <a:pt x="1140" y="702"/>
                </a:lnTo>
                <a:lnTo>
                  <a:pt x="1134" y="696"/>
                </a:lnTo>
                <a:lnTo>
                  <a:pt x="1128" y="690"/>
                </a:lnTo>
                <a:lnTo>
                  <a:pt x="1116" y="678"/>
                </a:lnTo>
                <a:lnTo>
                  <a:pt x="1110" y="678"/>
                </a:lnTo>
                <a:lnTo>
                  <a:pt x="1104" y="672"/>
                </a:lnTo>
                <a:lnTo>
                  <a:pt x="1092" y="672"/>
                </a:lnTo>
                <a:lnTo>
                  <a:pt x="1086" y="672"/>
                </a:lnTo>
                <a:lnTo>
                  <a:pt x="1080" y="672"/>
                </a:lnTo>
                <a:lnTo>
                  <a:pt x="1074" y="672"/>
                </a:lnTo>
                <a:lnTo>
                  <a:pt x="1068" y="672"/>
                </a:lnTo>
                <a:lnTo>
                  <a:pt x="1062" y="678"/>
                </a:lnTo>
                <a:lnTo>
                  <a:pt x="1056" y="678"/>
                </a:lnTo>
                <a:lnTo>
                  <a:pt x="1056" y="684"/>
                </a:lnTo>
                <a:lnTo>
                  <a:pt x="1056" y="690"/>
                </a:lnTo>
                <a:lnTo>
                  <a:pt x="1050" y="690"/>
                </a:lnTo>
                <a:lnTo>
                  <a:pt x="1044" y="696"/>
                </a:lnTo>
                <a:lnTo>
                  <a:pt x="1032" y="708"/>
                </a:lnTo>
                <a:lnTo>
                  <a:pt x="1026" y="708"/>
                </a:lnTo>
                <a:lnTo>
                  <a:pt x="1032" y="714"/>
                </a:lnTo>
                <a:lnTo>
                  <a:pt x="1026" y="720"/>
                </a:lnTo>
                <a:lnTo>
                  <a:pt x="1020" y="720"/>
                </a:lnTo>
                <a:lnTo>
                  <a:pt x="1014" y="732"/>
                </a:lnTo>
                <a:lnTo>
                  <a:pt x="1014" y="744"/>
                </a:lnTo>
                <a:lnTo>
                  <a:pt x="1038" y="810"/>
                </a:lnTo>
                <a:lnTo>
                  <a:pt x="1050" y="834"/>
                </a:lnTo>
                <a:lnTo>
                  <a:pt x="1056" y="858"/>
                </a:lnTo>
                <a:lnTo>
                  <a:pt x="1062" y="876"/>
                </a:lnTo>
                <a:lnTo>
                  <a:pt x="1068" y="882"/>
                </a:lnTo>
                <a:lnTo>
                  <a:pt x="1062" y="972"/>
                </a:lnTo>
                <a:lnTo>
                  <a:pt x="1056" y="972"/>
                </a:lnTo>
                <a:lnTo>
                  <a:pt x="1050" y="996"/>
                </a:lnTo>
                <a:lnTo>
                  <a:pt x="1044" y="1014"/>
                </a:lnTo>
                <a:lnTo>
                  <a:pt x="1008" y="1014"/>
                </a:lnTo>
                <a:lnTo>
                  <a:pt x="1008" y="1008"/>
                </a:lnTo>
                <a:lnTo>
                  <a:pt x="990" y="1008"/>
                </a:lnTo>
                <a:lnTo>
                  <a:pt x="972" y="1014"/>
                </a:lnTo>
                <a:lnTo>
                  <a:pt x="948" y="1020"/>
                </a:lnTo>
                <a:lnTo>
                  <a:pt x="918" y="1026"/>
                </a:lnTo>
                <a:lnTo>
                  <a:pt x="840" y="1032"/>
                </a:lnTo>
                <a:lnTo>
                  <a:pt x="834" y="1032"/>
                </a:lnTo>
                <a:lnTo>
                  <a:pt x="834" y="1026"/>
                </a:lnTo>
                <a:lnTo>
                  <a:pt x="822" y="1026"/>
                </a:lnTo>
                <a:lnTo>
                  <a:pt x="816" y="1032"/>
                </a:lnTo>
                <a:lnTo>
                  <a:pt x="804" y="1032"/>
                </a:lnTo>
                <a:lnTo>
                  <a:pt x="798" y="1026"/>
                </a:lnTo>
                <a:lnTo>
                  <a:pt x="780" y="1026"/>
                </a:lnTo>
                <a:lnTo>
                  <a:pt x="762" y="1026"/>
                </a:lnTo>
                <a:lnTo>
                  <a:pt x="756" y="1026"/>
                </a:lnTo>
                <a:lnTo>
                  <a:pt x="750" y="1026"/>
                </a:lnTo>
                <a:lnTo>
                  <a:pt x="756" y="1020"/>
                </a:lnTo>
                <a:lnTo>
                  <a:pt x="750" y="1020"/>
                </a:lnTo>
                <a:lnTo>
                  <a:pt x="744" y="1014"/>
                </a:lnTo>
                <a:lnTo>
                  <a:pt x="684" y="1020"/>
                </a:lnTo>
                <a:lnTo>
                  <a:pt x="648" y="1020"/>
                </a:lnTo>
                <a:lnTo>
                  <a:pt x="630" y="1020"/>
                </a:lnTo>
                <a:lnTo>
                  <a:pt x="618" y="1020"/>
                </a:lnTo>
                <a:lnTo>
                  <a:pt x="606" y="1014"/>
                </a:lnTo>
                <a:lnTo>
                  <a:pt x="582" y="1014"/>
                </a:lnTo>
                <a:lnTo>
                  <a:pt x="576" y="1014"/>
                </a:lnTo>
                <a:lnTo>
                  <a:pt x="570" y="1014"/>
                </a:lnTo>
                <a:lnTo>
                  <a:pt x="564" y="1020"/>
                </a:lnTo>
                <a:lnTo>
                  <a:pt x="558" y="1026"/>
                </a:lnTo>
                <a:lnTo>
                  <a:pt x="552" y="1032"/>
                </a:lnTo>
                <a:lnTo>
                  <a:pt x="552" y="1038"/>
                </a:lnTo>
                <a:lnTo>
                  <a:pt x="558" y="1194"/>
                </a:lnTo>
                <a:lnTo>
                  <a:pt x="558" y="1206"/>
                </a:lnTo>
                <a:lnTo>
                  <a:pt x="552" y="1218"/>
                </a:lnTo>
                <a:lnTo>
                  <a:pt x="552" y="1236"/>
                </a:lnTo>
                <a:lnTo>
                  <a:pt x="546" y="1272"/>
                </a:lnTo>
                <a:lnTo>
                  <a:pt x="546" y="1308"/>
                </a:lnTo>
                <a:lnTo>
                  <a:pt x="540" y="1332"/>
                </a:lnTo>
                <a:lnTo>
                  <a:pt x="546" y="1356"/>
                </a:lnTo>
                <a:lnTo>
                  <a:pt x="546" y="1362"/>
                </a:lnTo>
                <a:lnTo>
                  <a:pt x="546" y="1374"/>
                </a:lnTo>
                <a:lnTo>
                  <a:pt x="546" y="1380"/>
                </a:lnTo>
                <a:lnTo>
                  <a:pt x="540" y="1380"/>
                </a:lnTo>
                <a:lnTo>
                  <a:pt x="522" y="1380"/>
                </a:lnTo>
                <a:lnTo>
                  <a:pt x="516" y="1380"/>
                </a:lnTo>
                <a:lnTo>
                  <a:pt x="516" y="1386"/>
                </a:lnTo>
                <a:lnTo>
                  <a:pt x="516" y="1392"/>
                </a:lnTo>
                <a:lnTo>
                  <a:pt x="510" y="1392"/>
                </a:lnTo>
                <a:lnTo>
                  <a:pt x="504" y="1386"/>
                </a:lnTo>
                <a:lnTo>
                  <a:pt x="498" y="1392"/>
                </a:lnTo>
                <a:lnTo>
                  <a:pt x="492" y="1398"/>
                </a:lnTo>
                <a:lnTo>
                  <a:pt x="486" y="1398"/>
                </a:lnTo>
                <a:lnTo>
                  <a:pt x="486" y="1392"/>
                </a:lnTo>
                <a:lnTo>
                  <a:pt x="486" y="1380"/>
                </a:lnTo>
                <a:lnTo>
                  <a:pt x="486" y="1374"/>
                </a:lnTo>
                <a:lnTo>
                  <a:pt x="480" y="1374"/>
                </a:lnTo>
                <a:lnTo>
                  <a:pt x="474" y="1374"/>
                </a:lnTo>
                <a:lnTo>
                  <a:pt x="468" y="1380"/>
                </a:lnTo>
                <a:lnTo>
                  <a:pt x="462" y="1380"/>
                </a:lnTo>
                <a:lnTo>
                  <a:pt x="456" y="1380"/>
                </a:lnTo>
                <a:lnTo>
                  <a:pt x="450" y="1386"/>
                </a:lnTo>
                <a:lnTo>
                  <a:pt x="444" y="1386"/>
                </a:lnTo>
                <a:lnTo>
                  <a:pt x="444" y="1392"/>
                </a:lnTo>
                <a:lnTo>
                  <a:pt x="432" y="1398"/>
                </a:lnTo>
                <a:lnTo>
                  <a:pt x="426" y="1404"/>
                </a:lnTo>
                <a:lnTo>
                  <a:pt x="420" y="1404"/>
                </a:lnTo>
                <a:lnTo>
                  <a:pt x="408" y="1404"/>
                </a:lnTo>
                <a:lnTo>
                  <a:pt x="378" y="1410"/>
                </a:lnTo>
                <a:lnTo>
                  <a:pt x="372" y="1410"/>
                </a:lnTo>
                <a:lnTo>
                  <a:pt x="360" y="1410"/>
                </a:lnTo>
                <a:lnTo>
                  <a:pt x="354" y="1416"/>
                </a:lnTo>
                <a:lnTo>
                  <a:pt x="348" y="1416"/>
                </a:lnTo>
                <a:lnTo>
                  <a:pt x="342" y="1410"/>
                </a:lnTo>
                <a:lnTo>
                  <a:pt x="336" y="1410"/>
                </a:lnTo>
                <a:lnTo>
                  <a:pt x="336" y="1416"/>
                </a:lnTo>
                <a:lnTo>
                  <a:pt x="330" y="1422"/>
                </a:lnTo>
                <a:lnTo>
                  <a:pt x="324" y="1422"/>
                </a:lnTo>
                <a:lnTo>
                  <a:pt x="318" y="1422"/>
                </a:lnTo>
                <a:lnTo>
                  <a:pt x="312" y="1428"/>
                </a:lnTo>
                <a:lnTo>
                  <a:pt x="312" y="1434"/>
                </a:lnTo>
                <a:lnTo>
                  <a:pt x="300" y="1428"/>
                </a:lnTo>
                <a:lnTo>
                  <a:pt x="288" y="1434"/>
                </a:lnTo>
                <a:lnTo>
                  <a:pt x="282" y="1440"/>
                </a:lnTo>
                <a:lnTo>
                  <a:pt x="282" y="1446"/>
                </a:lnTo>
                <a:lnTo>
                  <a:pt x="276" y="1446"/>
                </a:lnTo>
                <a:lnTo>
                  <a:pt x="276" y="1452"/>
                </a:lnTo>
                <a:lnTo>
                  <a:pt x="270" y="1452"/>
                </a:lnTo>
                <a:lnTo>
                  <a:pt x="258" y="1464"/>
                </a:lnTo>
                <a:lnTo>
                  <a:pt x="240" y="1458"/>
                </a:lnTo>
                <a:lnTo>
                  <a:pt x="234" y="1452"/>
                </a:lnTo>
                <a:lnTo>
                  <a:pt x="234" y="1446"/>
                </a:lnTo>
                <a:lnTo>
                  <a:pt x="228" y="1446"/>
                </a:lnTo>
                <a:lnTo>
                  <a:pt x="222" y="1440"/>
                </a:lnTo>
                <a:lnTo>
                  <a:pt x="216" y="1440"/>
                </a:lnTo>
                <a:lnTo>
                  <a:pt x="210" y="1428"/>
                </a:lnTo>
                <a:lnTo>
                  <a:pt x="210" y="1422"/>
                </a:lnTo>
                <a:lnTo>
                  <a:pt x="198" y="1416"/>
                </a:lnTo>
                <a:lnTo>
                  <a:pt x="204" y="1410"/>
                </a:lnTo>
                <a:lnTo>
                  <a:pt x="210" y="1404"/>
                </a:lnTo>
                <a:lnTo>
                  <a:pt x="210" y="1398"/>
                </a:lnTo>
                <a:lnTo>
                  <a:pt x="252" y="1368"/>
                </a:lnTo>
                <a:lnTo>
                  <a:pt x="276" y="1350"/>
                </a:lnTo>
                <a:lnTo>
                  <a:pt x="300" y="1338"/>
                </a:lnTo>
                <a:lnTo>
                  <a:pt x="294" y="1314"/>
                </a:lnTo>
                <a:lnTo>
                  <a:pt x="288" y="1308"/>
                </a:lnTo>
                <a:lnTo>
                  <a:pt x="300" y="1266"/>
                </a:lnTo>
                <a:lnTo>
                  <a:pt x="300" y="1242"/>
                </a:lnTo>
                <a:lnTo>
                  <a:pt x="300" y="1206"/>
                </a:lnTo>
                <a:lnTo>
                  <a:pt x="300" y="1164"/>
                </a:lnTo>
                <a:lnTo>
                  <a:pt x="294" y="1134"/>
                </a:lnTo>
                <a:lnTo>
                  <a:pt x="282" y="1086"/>
                </a:lnTo>
                <a:lnTo>
                  <a:pt x="276" y="1074"/>
                </a:lnTo>
                <a:lnTo>
                  <a:pt x="276" y="1056"/>
                </a:lnTo>
                <a:lnTo>
                  <a:pt x="270" y="1038"/>
                </a:lnTo>
                <a:lnTo>
                  <a:pt x="270" y="1020"/>
                </a:lnTo>
                <a:lnTo>
                  <a:pt x="282" y="1020"/>
                </a:lnTo>
                <a:lnTo>
                  <a:pt x="282" y="1014"/>
                </a:lnTo>
                <a:lnTo>
                  <a:pt x="288" y="1008"/>
                </a:lnTo>
                <a:lnTo>
                  <a:pt x="294" y="1002"/>
                </a:lnTo>
                <a:lnTo>
                  <a:pt x="306" y="996"/>
                </a:lnTo>
                <a:lnTo>
                  <a:pt x="312" y="990"/>
                </a:lnTo>
                <a:lnTo>
                  <a:pt x="318" y="990"/>
                </a:lnTo>
                <a:lnTo>
                  <a:pt x="324" y="984"/>
                </a:lnTo>
                <a:lnTo>
                  <a:pt x="324" y="978"/>
                </a:lnTo>
                <a:lnTo>
                  <a:pt x="324" y="972"/>
                </a:lnTo>
                <a:lnTo>
                  <a:pt x="324" y="954"/>
                </a:lnTo>
                <a:lnTo>
                  <a:pt x="336" y="948"/>
                </a:lnTo>
                <a:lnTo>
                  <a:pt x="342" y="936"/>
                </a:lnTo>
                <a:lnTo>
                  <a:pt x="348" y="924"/>
                </a:lnTo>
                <a:lnTo>
                  <a:pt x="354" y="924"/>
                </a:lnTo>
                <a:lnTo>
                  <a:pt x="372" y="924"/>
                </a:lnTo>
                <a:lnTo>
                  <a:pt x="372" y="930"/>
                </a:lnTo>
                <a:lnTo>
                  <a:pt x="378" y="930"/>
                </a:lnTo>
                <a:lnTo>
                  <a:pt x="378" y="936"/>
                </a:lnTo>
                <a:lnTo>
                  <a:pt x="384" y="936"/>
                </a:lnTo>
                <a:lnTo>
                  <a:pt x="384" y="942"/>
                </a:lnTo>
                <a:lnTo>
                  <a:pt x="402" y="942"/>
                </a:lnTo>
                <a:lnTo>
                  <a:pt x="402" y="996"/>
                </a:lnTo>
                <a:lnTo>
                  <a:pt x="414" y="996"/>
                </a:lnTo>
                <a:lnTo>
                  <a:pt x="420" y="996"/>
                </a:lnTo>
                <a:lnTo>
                  <a:pt x="426" y="996"/>
                </a:lnTo>
                <a:lnTo>
                  <a:pt x="432" y="996"/>
                </a:lnTo>
                <a:lnTo>
                  <a:pt x="438" y="996"/>
                </a:lnTo>
                <a:lnTo>
                  <a:pt x="438" y="942"/>
                </a:lnTo>
                <a:lnTo>
                  <a:pt x="444" y="930"/>
                </a:lnTo>
                <a:lnTo>
                  <a:pt x="444" y="924"/>
                </a:lnTo>
                <a:lnTo>
                  <a:pt x="444" y="918"/>
                </a:lnTo>
                <a:lnTo>
                  <a:pt x="462" y="918"/>
                </a:lnTo>
                <a:lnTo>
                  <a:pt x="474" y="906"/>
                </a:lnTo>
                <a:lnTo>
                  <a:pt x="480" y="900"/>
                </a:lnTo>
                <a:lnTo>
                  <a:pt x="486" y="888"/>
                </a:lnTo>
                <a:lnTo>
                  <a:pt x="492" y="876"/>
                </a:lnTo>
                <a:lnTo>
                  <a:pt x="492" y="858"/>
                </a:lnTo>
                <a:lnTo>
                  <a:pt x="480" y="858"/>
                </a:lnTo>
                <a:lnTo>
                  <a:pt x="474" y="840"/>
                </a:lnTo>
                <a:lnTo>
                  <a:pt x="450" y="834"/>
                </a:lnTo>
                <a:lnTo>
                  <a:pt x="438" y="816"/>
                </a:lnTo>
                <a:lnTo>
                  <a:pt x="432" y="792"/>
                </a:lnTo>
                <a:lnTo>
                  <a:pt x="432" y="786"/>
                </a:lnTo>
                <a:lnTo>
                  <a:pt x="432" y="774"/>
                </a:lnTo>
                <a:lnTo>
                  <a:pt x="432" y="762"/>
                </a:lnTo>
                <a:lnTo>
                  <a:pt x="438" y="750"/>
                </a:lnTo>
                <a:lnTo>
                  <a:pt x="438" y="738"/>
                </a:lnTo>
                <a:lnTo>
                  <a:pt x="444" y="732"/>
                </a:lnTo>
                <a:lnTo>
                  <a:pt x="450" y="732"/>
                </a:lnTo>
                <a:lnTo>
                  <a:pt x="456" y="732"/>
                </a:lnTo>
                <a:lnTo>
                  <a:pt x="456" y="726"/>
                </a:lnTo>
                <a:lnTo>
                  <a:pt x="456" y="714"/>
                </a:lnTo>
                <a:lnTo>
                  <a:pt x="450" y="702"/>
                </a:lnTo>
                <a:lnTo>
                  <a:pt x="450" y="696"/>
                </a:lnTo>
                <a:lnTo>
                  <a:pt x="444" y="684"/>
                </a:lnTo>
                <a:lnTo>
                  <a:pt x="438" y="666"/>
                </a:lnTo>
                <a:lnTo>
                  <a:pt x="426" y="666"/>
                </a:lnTo>
                <a:lnTo>
                  <a:pt x="432" y="666"/>
                </a:lnTo>
                <a:lnTo>
                  <a:pt x="420" y="666"/>
                </a:lnTo>
                <a:lnTo>
                  <a:pt x="414" y="660"/>
                </a:lnTo>
                <a:lnTo>
                  <a:pt x="396" y="654"/>
                </a:lnTo>
                <a:lnTo>
                  <a:pt x="384" y="642"/>
                </a:lnTo>
                <a:lnTo>
                  <a:pt x="366" y="624"/>
                </a:lnTo>
                <a:lnTo>
                  <a:pt x="354" y="606"/>
                </a:lnTo>
                <a:lnTo>
                  <a:pt x="342" y="588"/>
                </a:lnTo>
                <a:lnTo>
                  <a:pt x="342" y="582"/>
                </a:lnTo>
                <a:lnTo>
                  <a:pt x="360" y="564"/>
                </a:lnTo>
                <a:lnTo>
                  <a:pt x="372" y="540"/>
                </a:lnTo>
                <a:lnTo>
                  <a:pt x="366" y="528"/>
                </a:lnTo>
                <a:lnTo>
                  <a:pt x="366" y="522"/>
                </a:lnTo>
                <a:lnTo>
                  <a:pt x="372" y="516"/>
                </a:lnTo>
                <a:lnTo>
                  <a:pt x="384" y="504"/>
                </a:lnTo>
                <a:lnTo>
                  <a:pt x="378" y="492"/>
                </a:lnTo>
                <a:lnTo>
                  <a:pt x="378" y="486"/>
                </a:lnTo>
                <a:lnTo>
                  <a:pt x="378" y="480"/>
                </a:lnTo>
                <a:lnTo>
                  <a:pt x="378" y="474"/>
                </a:lnTo>
                <a:lnTo>
                  <a:pt x="378" y="468"/>
                </a:lnTo>
                <a:lnTo>
                  <a:pt x="366" y="468"/>
                </a:lnTo>
                <a:lnTo>
                  <a:pt x="360" y="474"/>
                </a:lnTo>
                <a:lnTo>
                  <a:pt x="354" y="480"/>
                </a:lnTo>
                <a:lnTo>
                  <a:pt x="348" y="486"/>
                </a:lnTo>
                <a:lnTo>
                  <a:pt x="348" y="492"/>
                </a:lnTo>
                <a:lnTo>
                  <a:pt x="336" y="510"/>
                </a:lnTo>
                <a:lnTo>
                  <a:pt x="300" y="516"/>
                </a:lnTo>
                <a:lnTo>
                  <a:pt x="300" y="510"/>
                </a:lnTo>
                <a:lnTo>
                  <a:pt x="282" y="504"/>
                </a:lnTo>
                <a:lnTo>
                  <a:pt x="282" y="498"/>
                </a:lnTo>
                <a:lnTo>
                  <a:pt x="264" y="486"/>
                </a:lnTo>
                <a:lnTo>
                  <a:pt x="258" y="492"/>
                </a:lnTo>
                <a:lnTo>
                  <a:pt x="234" y="492"/>
                </a:lnTo>
                <a:lnTo>
                  <a:pt x="222" y="486"/>
                </a:lnTo>
                <a:lnTo>
                  <a:pt x="204" y="480"/>
                </a:lnTo>
                <a:lnTo>
                  <a:pt x="198" y="474"/>
                </a:lnTo>
                <a:lnTo>
                  <a:pt x="192" y="474"/>
                </a:lnTo>
                <a:lnTo>
                  <a:pt x="192" y="462"/>
                </a:lnTo>
                <a:lnTo>
                  <a:pt x="186" y="462"/>
                </a:lnTo>
                <a:lnTo>
                  <a:pt x="180" y="468"/>
                </a:lnTo>
                <a:lnTo>
                  <a:pt x="150" y="450"/>
                </a:lnTo>
                <a:lnTo>
                  <a:pt x="144" y="438"/>
                </a:lnTo>
                <a:lnTo>
                  <a:pt x="138" y="438"/>
                </a:lnTo>
                <a:lnTo>
                  <a:pt x="132" y="432"/>
                </a:lnTo>
                <a:lnTo>
                  <a:pt x="126" y="432"/>
                </a:lnTo>
                <a:lnTo>
                  <a:pt x="120" y="432"/>
                </a:lnTo>
                <a:lnTo>
                  <a:pt x="102" y="426"/>
                </a:lnTo>
                <a:lnTo>
                  <a:pt x="96" y="420"/>
                </a:lnTo>
                <a:lnTo>
                  <a:pt x="90" y="414"/>
                </a:lnTo>
                <a:lnTo>
                  <a:pt x="84" y="414"/>
                </a:lnTo>
                <a:lnTo>
                  <a:pt x="72" y="414"/>
                </a:lnTo>
                <a:lnTo>
                  <a:pt x="60" y="414"/>
                </a:lnTo>
                <a:lnTo>
                  <a:pt x="30" y="414"/>
                </a:lnTo>
                <a:lnTo>
                  <a:pt x="24" y="414"/>
                </a:lnTo>
                <a:lnTo>
                  <a:pt x="12" y="414"/>
                </a:lnTo>
                <a:lnTo>
                  <a:pt x="0" y="420"/>
                </a:lnTo>
                <a:lnTo>
                  <a:pt x="0" y="360"/>
                </a:lnTo>
                <a:lnTo>
                  <a:pt x="0" y="354"/>
                </a:lnTo>
                <a:lnTo>
                  <a:pt x="0" y="336"/>
                </a:lnTo>
                <a:lnTo>
                  <a:pt x="0" y="288"/>
                </a:lnTo>
                <a:lnTo>
                  <a:pt x="0" y="282"/>
                </a:lnTo>
                <a:lnTo>
                  <a:pt x="0" y="276"/>
                </a:lnTo>
                <a:lnTo>
                  <a:pt x="0" y="270"/>
                </a:lnTo>
                <a:lnTo>
                  <a:pt x="30" y="270"/>
                </a:lnTo>
                <a:lnTo>
                  <a:pt x="42" y="270"/>
                </a:lnTo>
                <a:lnTo>
                  <a:pt x="54" y="264"/>
                </a:lnTo>
                <a:lnTo>
                  <a:pt x="78" y="240"/>
                </a:lnTo>
                <a:lnTo>
                  <a:pt x="102" y="216"/>
                </a:lnTo>
                <a:lnTo>
                  <a:pt x="114" y="210"/>
                </a:lnTo>
                <a:lnTo>
                  <a:pt x="120" y="204"/>
                </a:lnTo>
                <a:lnTo>
                  <a:pt x="126" y="198"/>
                </a:lnTo>
                <a:lnTo>
                  <a:pt x="138" y="186"/>
                </a:lnTo>
                <a:lnTo>
                  <a:pt x="174" y="156"/>
                </a:lnTo>
                <a:lnTo>
                  <a:pt x="180" y="150"/>
                </a:lnTo>
                <a:lnTo>
                  <a:pt x="192" y="138"/>
                </a:lnTo>
                <a:lnTo>
                  <a:pt x="210" y="126"/>
                </a:lnTo>
                <a:lnTo>
                  <a:pt x="216" y="120"/>
                </a:lnTo>
                <a:lnTo>
                  <a:pt x="222" y="120"/>
                </a:lnTo>
                <a:lnTo>
                  <a:pt x="258" y="114"/>
                </a:lnTo>
                <a:lnTo>
                  <a:pt x="270" y="108"/>
                </a:lnTo>
                <a:lnTo>
                  <a:pt x="282" y="108"/>
                </a:lnTo>
                <a:lnTo>
                  <a:pt x="288" y="108"/>
                </a:lnTo>
                <a:lnTo>
                  <a:pt x="294" y="108"/>
                </a:lnTo>
                <a:lnTo>
                  <a:pt x="300" y="102"/>
                </a:lnTo>
                <a:lnTo>
                  <a:pt x="312" y="102"/>
                </a:lnTo>
                <a:lnTo>
                  <a:pt x="318" y="102"/>
                </a:lnTo>
                <a:lnTo>
                  <a:pt x="348" y="96"/>
                </a:lnTo>
                <a:lnTo>
                  <a:pt x="366" y="90"/>
                </a:lnTo>
                <a:lnTo>
                  <a:pt x="384" y="90"/>
                </a:lnTo>
                <a:lnTo>
                  <a:pt x="390" y="90"/>
                </a:lnTo>
                <a:lnTo>
                  <a:pt x="396" y="84"/>
                </a:lnTo>
                <a:lnTo>
                  <a:pt x="408" y="84"/>
                </a:lnTo>
                <a:lnTo>
                  <a:pt x="420" y="84"/>
                </a:lnTo>
                <a:lnTo>
                  <a:pt x="462" y="72"/>
                </a:lnTo>
                <a:lnTo>
                  <a:pt x="474" y="72"/>
                </a:lnTo>
                <a:lnTo>
                  <a:pt x="474" y="78"/>
                </a:lnTo>
                <a:lnTo>
                  <a:pt x="492" y="90"/>
                </a:lnTo>
                <a:lnTo>
                  <a:pt x="498" y="90"/>
                </a:lnTo>
                <a:lnTo>
                  <a:pt x="522" y="96"/>
                </a:lnTo>
                <a:lnTo>
                  <a:pt x="540" y="96"/>
                </a:lnTo>
                <a:lnTo>
                  <a:pt x="546" y="96"/>
                </a:lnTo>
                <a:lnTo>
                  <a:pt x="558" y="96"/>
                </a:lnTo>
                <a:lnTo>
                  <a:pt x="564" y="96"/>
                </a:lnTo>
                <a:lnTo>
                  <a:pt x="576" y="96"/>
                </a:lnTo>
                <a:lnTo>
                  <a:pt x="588" y="96"/>
                </a:lnTo>
                <a:lnTo>
                  <a:pt x="612" y="90"/>
                </a:lnTo>
                <a:lnTo>
                  <a:pt x="624" y="90"/>
                </a:lnTo>
                <a:lnTo>
                  <a:pt x="636" y="90"/>
                </a:lnTo>
                <a:lnTo>
                  <a:pt x="642" y="90"/>
                </a:lnTo>
                <a:lnTo>
                  <a:pt x="648" y="96"/>
                </a:lnTo>
                <a:lnTo>
                  <a:pt x="660" y="96"/>
                </a:lnTo>
                <a:lnTo>
                  <a:pt x="666" y="96"/>
                </a:lnTo>
                <a:lnTo>
                  <a:pt x="672" y="96"/>
                </a:lnTo>
                <a:lnTo>
                  <a:pt x="684" y="96"/>
                </a:lnTo>
                <a:lnTo>
                  <a:pt x="708" y="96"/>
                </a:lnTo>
                <a:lnTo>
                  <a:pt x="714" y="96"/>
                </a:lnTo>
                <a:lnTo>
                  <a:pt x="726" y="96"/>
                </a:lnTo>
                <a:lnTo>
                  <a:pt x="738" y="84"/>
                </a:lnTo>
                <a:lnTo>
                  <a:pt x="744" y="78"/>
                </a:lnTo>
                <a:lnTo>
                  <a:pt x="756" y="66"/>
                </a:lnTo>
                <a:lnTo>
                  <a:pt x="774" y="42"/>
                </a:lnTo>
                <a:lnTo>
                  <a:pt x="780" y="30"/>
                </a:lnTo>
                <a:lnTo>
                  <a:pt x="816" y="24"/>
                </a:lnTo>
                <a:lnTo>
                  <a:pt x="840" y="18"/>
                </a:lnTo>
                <a:lnTo>
                  <a:pt x="840" y="12"/>
                </a:lnTo>
                <a:lnTo>
                  <a:pt x="846" y="12"/>
                </a:lnTo>
                <a:lnTo>
                  <a:pt x="852" y="12"/>
                </a:lnTo>
                <a:lnTo>
                  <a:pt x="864" y="6"/>
                </a:lnTo>
                <a:lnTo>
                  <a:pt x="870" y="6"/>
                </a:lnTo>
                <a:lnTo>
                  <a:pt x="894" y="0"/>
                </a:lnTo>
                <a:lnTo>
                  <a:pt x="900" y="6"/>
                </a:lnTo>
                <a:lnTo>
                  <a:pt x="930" y="18"/>
                </a:lnTo>
                <a:lnTo>
                  <a:pt x="942" y="24"/>
                </a:lnTo>
                <a:lnTo>
                  <a:pt x="954" y="30"/>
                </a:lnTo>
                <a:lnTo>
                  <a:pt x="1026" y="60"/>
                </a:lnTo>
                <a:lnTo>
                  <a:pt x="1032" y="60"/>
                </a:lnTo>
                <a:lnTo>
                  <a:pt x="1038" y="66"/>
                </a:lnTo>
                <a:lnTo>
                  <a:pt x="1068" y="72"/>
                </a:lnTo>
                <a:lnTo>
                  <a:pt x="1098" y="84"/>
                </a:lnTo>
                <a:lnTo>
                  <a:pt x="1122" y="90"/>
                </a:lnTo>
                <a:lnTo>
                  <a:pt x="1122" y="96"/>
                </a:lnTo>
                <a:lnTo>
                  <a:pt x="1140" y="102"/>
                </a:lnTo>
                <a:lnTo>
                  <a:pt x="1182" y="114"/>
                </a:lnTo>
                <a:lnTo>
                  <a:pt x="1188" y="114"/>
                </a:lnTo>
                <a:lnTo>
                  <a:pt x="1200" y="120"/>
                </a:lnTo>
                <a:lnTo>
                  <a:pt x="1212" y="126"/>
                </a:lnTo>
                <a:lnTo>
                  <a:pt x="1224" y="126"/>
                </a:lnTo>
                <a:lnTo>
                  <a:pt x="1248" y="138"/>
                </a:lnTo>
                <a:lnTo>
                  <a:pt x="1272" y="150"/>
                </a:lnTo>
                <a:lnTo>
                  <a:pt x="1284" y="156"/>
                </a:lnTo>
                <a:lnTo>
                  <a:pt x="1290" y="162"/>
                </a:lnTo>
                <a:lnTo>
                  <a:pt x="1296" y="162"/>
                </a:lnTo>
                <a:lnTo>
                  <a:pt x="1308" y="156"/>
                </a:lnTo>
                <a:lnTo>
                  <a:pt x="1320" y="150"/>
                </a:lnTo>
                <a:lnTo>
                  <a:pt x="1326" y="150"/>
                </a:lnTo>
                <a:lnTo>
                  <a:pt x="1338" y="144"/>
                </a:lnTo>
                <a:lnTo>
                  <a:pt x="1362" y="144"/>
                </a:lnTo>
                <a:lnTo>
                  <a:pt x="1368" y="144"/>
                </a:lnTo>
                <a:lnTo>
                  <a:pt x="1374" y="144"/>
                </a:lnTo>
                <a:lnTo>
                  <a:pt x="1386" y="150"/>
                </a:lnTo>
                <a:lnTo>
                  <a:pt x="1392" y="150"/>
                </a:lnTo>
                <a:lnTo>
                  <a:pt x="1398" y="150"/>
                </a:lnTo>
                <a:lnTo>
                  <a:pt x="1416" y="162"/>
                </a:lnTo>
                <a:lnTo>
                  <a:pt x="1458" y="186"/>
                </a:lnTo>
                <a:lnTo>
                  <a:pt x="1464" y="186"/>
                </a:lnTo>
                <a:lnTo>
                  <a:pt x="1470" y="192"/>
                </a:lnTo>
                <a:lnTo>
                  <a:pt x="1482" y="204"/>
                </a:lnTo>
                <a:lnTo>
                  <a:pt x="1512" y="234"/>
                </a:lnTo>
                <a:lnTo>
                  <a:pt x="1554" y="276"/>
                </a:lnTo>
                <a:lnTo>
                  <a:pt x="1560" y="276"/>
                </a:lnTo>
                <a:lnTo>
                  <a:pt x="1566" y="282"/>
                </a:lnTo>
                <a:lnTo>
                  <a:pt x="1578" y="294"/>
                </a:lnTo>
                <a:lnTo>
                  <a:pt x="1602" y="318"/>
                </a:lnTo>
                <a:lnTo>
                  <a:pt x="1614" y="330"/>
                </a:lnTo>
                <a:lnTo>
                  <a:pt x="1620" y="336"/>
                </a:lnTo>
                <a:lnTo>
                  <a:pt x="1626" y="342"/>
                </a:lnTo>
                <a:lnTo>
                  <a:pt x="1632" y="354"/>
                </a:lnTo>
                <a:lnTo>
                  <a:pt x="1644" y="366"/>
                </a:lnTo>
                <a:lnTo>
                  <a:pt x="1650" y="378"/>
                </a:lnTo>
                <a:lnTo>
                  <a:pt x="1650" y="384"/>
                </a:lnTo>
                <a:lnTo>
                  <a:pt x="1656" y="384"/>
                </a:lnTo>
                <a:lnTo>
                  <a:pt x="1662" y="402"/>
                </a:lnTo>
                <a:lnTo>
                  <a:pt x="1668" y="408"/>
                </a:lnTo>
                <a:lnTo>
                  <a:pt x="1674" y="426"/>
                </a:lnTo>
                <a:lnTo>
                  <a:pt x="1686" y="438"/>
                </a:lnTo>
                <a:lnTo>
                  <a:pt x="1698" y="462"/>
                </a:lnTo>
                <a:close/>
              </a:path>
            </a:pathLst>
          </a:custGeom>
          <a:solidFill>
            <a:srgbClr val="CD202C"/>
          </a:solidFill>
          <a:ln w="9525">
            <a:solidFill>
              <a:schemeClr val="bg1"/>
            </a:solidFill>
            <a:round/>
            <a:headEnd/>
            <a:tailEnd/>
          </a:ln>
        </p:spPr>
        <p:txBody>
          <a:bodyPr/>
          <a:lstStyle/>
          <a:p>
            <a:endParaRPr lang="en-GB"/>
          </a:p>
        </p:txBody>
      </p:sp>
      <p:sp>
        <p:nvSpPr>
          <p:cNvPr id="17448" name="Freeform 35"/>
          <p:cNvSpPr>
            <a:spLocks/>
          </p:cNvSpPr>
          <p:nvPr/>
        </p:nvSpPr>
        <p:spPr bwMode="gray">
          <a:xfrm>
            <a:off x="1836738" y="1836738"/>
            <a:ext cx="1282700" cy="1608137"/>
          </a:xfrm>
          <a:custGeom>
            <a:avLst/>
            <a:gdLst>
              <a:gd name="T0" fmla="*/ 3132 w 1638"/>
              <a:gd name="T1" fmla="*/ 89347 h 1998"/>
              <a:gd name="T2" fmla="*/ 4698 w 1638"/>
              <a:gd name="T3" fmla="*/ 70029 h 1998"/>
              <a:gd name="T4" fmla="*/ 7830 w 1638"/>
              <a:gd name="T5" fmla="*/ 64394 h 1998"/>
              <a:gd name="T6" fmla="*/ 7830 w 1638"/>
              <a:gd name="T7" fmla="*/ 57150 h 1998"/>
              <a:gd name="T8" fmla="*/ 7047 w 1638"/>
              <a:gd name="T9" fmla="*/ 45076 h 1998"/>
              <a:gd name="T10" fmla="*/ 6264 w 1638"/>
              <a:gd name="T11" fmla="*/ 32197 h 1998"/>
              <a:gd name="T12" fmla="*/ 15661 w 1638"/>
              <a:gd name="T13" fmla="*/ 24148 h 1998"/>
              <a:gd name="T14" fmla="*/ 23491 w 1638"/>
              <a:gd name="T15" fmla="*/ 15294 h 1998"/>
              <a:gd name="T16" fmla="*/ 27406 w 1638"/>
              <a:gd name="T17" fmla="*/ 1610 h 1998"/>
              <a:gd name="T18" fmla="*/ 36802 w 1638"/>
              <a:gd name="T19" fmla="*/ 1610 h 1998"/>
              <a:gd name="T20" fmla="*/ 43850 w 1638"/>
              <a:gd name="T21" fmla="*/ 5634 h 1998"/>
              <a:gd name="T22" fmla="*/ 52463 w 1638"/>
              <a:gd name="T23" fmla="*/ 4025 h 1998"/>
              <a:gd name="T24" fmla="*/ 50897 w 1638"/>
              <a:gd name="T25" fmla="*/ 12074 h 1998"/>
              <a:gd name="T26" fmla="*/ 57944 w 1638"/>
              <a:gd name="T27" fmla="*/ 19318 h 1998"/>
              <a:gd name="T28" fmla="*/ 57161 w 1638"/>
              <a:gd name="T29" fmla="*/ 26563 h 1998"/>
              <a:gd name="T30" fmla="*/ 57944 w 1638"/>
              <a:gd name="T31" fmla="*/ 35417 h 1998"/>
              <a:gd name="T32" fmla="*/ 53246 w 1638"/>
              <a:gd name="T33" fmla="*/ 36222 h 1998"/>
              <a:gd name="T34" fmla="*/ 49331 w 1638"/>
              <a:gd name="T35" fmla="*/ 40246 h 1998"/>
              <a:gd name="T36" fmla="*/ 47765 w 1638"/>
              <a:gd name="T37" fmla="*/ 49906 h 1998"/>
              <a:gd name="T38" fmla="*/ 41501 w 1638"/>
              <a:gd name="T39" fmla="*/ 69224 h 1998"/>
              <a:gd name="T40" fmla="*/ 46199 w 1638"/>
              <a:gd name="T41" fmla="*/ 72444 h 1998"/>
              <a:gd name="T42" fmla="*/ 50897 w 1638"/>
              <a:gd name="T43" fmla="*/ 69224 h 1998"/>
              <a:gd name="T44" fmla="*/ 57944 w 1638"/>
              <a:gd name="T45" fmla="*/ 67614 h 1998"/>
              <a:gd name="T46" fmla="*/ 61860 w 1638"/>
              <a:gd name="T47" fmla="*/ 68419 h 1998"/>
              <a:gd name="T48" fmla="*/ 65775 w 1638"/>
              <a:gd name="T49" fmla="*/ 67614 h 1998"/>
              <a:gd name="T50" fmla="*/ 71256 w 1638"/>
              <a:gd name="T51" fmla="*/ 67614 h 1998"/>
              <a:gd name="T52" fmla="*/ 73605 w 1638"/>
              <a:gd name="T53" fmla="*/ 65199 h 1998"/>
              <a:gd name="T54" fmla="*/ 78303 w 1638"/>
              <a:gd name="T55" fmla="*/ 65199 h 1998"/>
              <a:gd name="T56" fmla="*/ 79869 w 1638"/>
              <a:gd name="T57" fmla="*/ 67614 h 1998"/>
              <a:gd name="T58" fmla="*/ 84567 w 1638"/>
              <a:gd name="T59" fmla="*/ 68419 h 1998"/>
              <a:gd name="T60" fmla="*/ 88483 w 1638"/>
              <a:gd name="T61" fmla="*/ 70834 h 1998"/>
              <a:gd name="T62" fmla="*/ 90832 w 1638"/>
              <a:gd name="T63" fmla="*/ 70834 h 1998"/>
              <a:gd name="T64" fmla="*/ 96313 w 1638"/>
              <a:gd name="T65" fmla="*/ 70029 h 1998"/>
              <a:gd name="T66" fmla="*/ 100228 w 1638"/>
              <a:gd name="T67" fmla="*/ 69224 h 1998"/>
              <a:gd name="T68" fmla="*/ 103360 w 1638"/>
              <a:gd name="T69" fmla="*/ 72444 h 1998"/>
              <a:gd name="T70" fmla="*/ 108058 w 1638"/>
              <a:gd name="T71" fmla="*/ 77273 h 1998"/>
              <a:gd name="T72" fmla="*/ 108058 w 1638"/>
              <a:gd name="T73" fmla="*/ 88542 h 1998"/>
              <a:gd name="T74" fmla="*/ 107275 w 1638"/>
              <a:gd name="T75" fmla="*/ 94982 h 1998"/>
              <a:gd name="T76" fmla="*/ 104143 w 1638"/>
              <a:gd name="T77" fmla="*/ 99811 h 1998"/>
              <a:gd name="T78" fmla="*/ 95530 w 1638"/>
              <a:gd name="T79" fmla="*/ 100616 h 1998"/>
              <a:gd name="T80" fmla="*/ 90832 w 1638"/>
              <a:gd name="T81" fmla="*/ 102226 h 1998"/>
              <a:gd name="T82" fmla="*/ 84567 w 1638"/>
              <a:gd name="T83" fmla="*/ 99006 h 1998"/>
              <a:gd name="T84" fmla="*/ 85350 w 1638"/>
              <a:gd name="T85" fmla="*/ 95786 h 1998"/>
              <a:gd name="T86" fmla="*/ 81435 w 1638"/>
              <a:gd name="T87" fmla="*/ 83713 h 1998"/>
              <a:gd name="T88" fmla="*/ 73605 w 1638"/>
              <a:gd name="T89" fmla="*/ 84517 h 1998"/>
              <a:gd name="T90" fmla="*/ 68907 w 1638"/>
              <a:gd name="T91" fmla="*/ 87737 h 1998"/>
              <a:gd name="T92" fmla="*/ 59510 w 1638"/>
              <a:gd name="T93" fmla="*/ 86127 h 1998"/>
              <a:gd name="T94" fmla="*/ 56378 w 1638"/>
              <a:gd name="T95" fmla="*/ 91762 h 1998"/>
              <a:gd name="T96" fmla="*/ 67341 w 1638"/>
              <a:gd name="T97" fmla="*/ 97396 h 1998"/>
              <a:gd name="T98" fmla="*/ 68124 w 1638"/>
              <a:gd name="T99" fmla="*/ 103836 h 1998"/>
              <a:gd name="T100" fmla="*/ 67341 w 1638"/>
              <a:gd name="T101" fmla="*/ 110275 h 1998"/>
              <a:gd name="T102" fmla="*/ 61860 w 1638"/>
              <a:gd name="T103" fmla="*/ 113495 h 1998"/>
              <a:gd name="T104" fmla="*/ 57161 w 1638"/>
              <a:gd name="T105" fmla="*/ 115910 h 1998"/>
              <a:gd name="T106" fmla="*/ 56378 w 1638"/>
              <a:gd name="T107" fmla="*/ 132008 h 1998"/>
              <a:gd name="T108" fmla="*/ 53246 w 1638"/>
              <a:gd name="T109" fmla="*/ 138448 h 1998"/>
              <a:gd name="T110" fmla="*/ 46199 w 1638"/>
              <a:gd name="T111" fmla="*/ 132008 h 1998"/>
              <a:gd name="T112" fmla="*/ 50897 w 1638"/>
              <a:gd name="T113" fmla="*/ 117520 h 1998"/>
              <a:gd name="T114" fmla="*/ 54029 w 1638"/>
              <a:gd name="T115" fmla="*/ 107056 h 1998"/>
              <a:gd name="T116" fmla="*/ 47765 w 1638"/>
              <a:gd name="T117" fmla="*/ 105446 h 1998"/>
              <a:gd name="T118" fmla="*/ 33670 w 1638"/>
              <a:gd name="T119" fmla="*/ 100616 h 1998"/>
              <a:gd name="T120" fmla="*/ 18010 w 1638"/>
              <a:gd name="T121" fmla="*/ 100616 h 1998"/>
              <a:gd name="T122" fmla="*/ 13312 w 1638"/>
              <a:gd name="T123" fmla="*/ 97396 h 19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38"/>
              <a:gd name="T187" fmla="*/ 0 h 1998"/>
              <a:gd name="T188" fmla="*/ 1638 w 1638"/>
              <a:gd name="T189" fmla="*/ 1998 h 19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38" h="1998">
                <a:moveTo>
                  <a:pt x="144" y="1380"/>
                </a:moveTo>
                <a:lnTo>
                  <a:pt x="150" y="1368"/>
                </a:lnTo>
                <a:lnTo>
                  <a:pt x="150" y="1362"/>
                </a:lnTo>
                <a:lnTo>
                  <a:pt x="150" y="1356"/>
                </a:lnTo>
                <a:lnTo>
                  <a:pt x="144" y="1356"/>
                </a:lnTo>
                <a:lnTo>
                  <a:pt x="138" y="1356"/>
                </a:lnTo>
                <a:lnTo>
                  <a:pt x="126" y="1356"/>
                </a:lnTo>
                <a:lnTo>
                  <a:pt x="114" y="1344"/>
                </a:lnTo>
                <a:lnTo>
                  <a:pt x="84" y="1320"/>
                </a:lnTo>
                <a:lnTo>
                  <a:pt x="54" y="1296"/>
                </a:lnTo>
                <a:lnTo>
                  <a:pt x="48" y="1290"/>
                </a:lnTo>
                <a:lnTo>
                  <a:pt x="42" y="1278"/>
                </a:lnTo>
                <a:lnTo>
                  <a:pt x="30" y="1272"/>
                </a:lnTo>
                <a:lnTo>
                  <a:pt x="0" y="1248"/>
                </a:lnTo>
                <a:lnTo>
                  <a:pt x="6" y="1230"/>
                </a:lnTo>
                <a:lnTo>
                  <a:pt x="12" y="1194"/>
                </a:lnTo>
                <a:lnTo>
                  <a:pt x="18" y="1170"/>
                </a:lnTo>
                <a:lnTo>
                  <a:pt x="30" y="1134"/>
                </a:lnTo>
                <a:lnTo>
                  <a:pt x="36" y="1086"/>
                </a:lnTo>
                <a:lnTo>
                  <a:pt x="42" y="1050"/>
                </a:lnTo>
                <a:lnTo>
                  <a:pt x="48" y="1044"/>
                </a:lnTo>
                <a:lnTo>
                  <a:pt x="54" y="1026"/>
                </a:lnTo>
                <a:lnTo>
                  <a:pt x="60" y="1014"/>
                </a:lnTo>
                <a:lnTo>
                  <a:pt x="66" y="1002"/>
                </a:lnTo>
                <a:lnTo>
                  <a:pt x="66" y="996"/>
                </a:lnTo>
                <a:lnTo>
                  <a:pt x="72" y="996"/>
                </a:lnTo>
                <a:lnTo>
                  <a:pt x="72" y="990"/>
                </a:lnTo>
                <a:lnTo>
                  <a:pt x="78" y="990"/>
                </a:lnTo>
                <a:lnTo>
                  <a:pt x="90" y="978"/>
                </a:lnTo>
                <a:lnTo>
                  <a:pt x="96" y="966"/>
                </a:lnTo>
                <a:lnTo>
                  <a:pt x="102" y="966"/>
                </a:lnTo>
                <a:lnTo>
                  <a:pt x="114" y="954"/>
                </a:lnTo>
                <a:lnTo>
                  <a:pt x="120" y="954"/>
                </a:lnTo>
                <a:lnTo>
                  <a:pt x="120" y="948"/>
                </a:lnTo>
                <a:lnTo>
                  <a:pt x="114" y="930"/>
                </a:lnTo>
                <a:lnTo>
                  <a:pt x="114" y="924"/>
                </a:lnTo>
                <a:lnTo>
                  <a:pt x="108" y="918"/>
                </a:lnTo>
                <a:lnTo>
                  <a:pt x="102" y="912"/>
                </a:lnTo>
                <a:lnTo>
                  <a:pt x="90" y="906"/>
                </a:lnTo>
                <a:lnTo>
                  <a:pt x="84" y="900"/>
                </a:lnTo>
                <a:lnTo>
                  <a:pt x="84" y="888"/>
                </a:lnTo>
                <a:lnTo>
                  <a:pt x="84" y="882"/>
                </a:lnTo>
                <a:lnTo>
                  <a:pt x="78" y="858"/>
                </a:lnTo>
                <a:lnTo>
                  <a:pt x="78" y="852"/>
                </a:lnTo>
                <a:lnTo>
                  <a:pt x="84" y="846"/>
                </a:lnTo>
                <a:lnTo>
                  <a:pt x="84" y="840"/>
                </a:lnTo>
                <a:lnTo>
                  <a:pt x="96" y="828"/>
                </a:lnTo>
                <a:lnTo>
                  <a:pt x="114" y="816"/>
                </a:lnTo>
                <a:lnTo>
                  <a:pt x="114" y="810"/>
                </a:lnTo>
                <a:lnTo>
                  <a:pt x="114" y="804"/>
                </a:lnTo>
                <a:lnTo>
                  <a:pt x="108" y="780"/>
                </a:lnTo>
                <a:lnTo>
                  <a:pt x="96" y="756"/>
                </a:lnTo>
                <a:lnTo>
                  <a:pt x="96" y="750"/>
                </a:lnTo>
                <a:lnTo>
                  <a:pt x="90" y="720"/>
                </a:lnTo>
                <a:lnTo>
                  <a:pt x="90" y="708"/>
                </a:lnTo>
                <a:lnTo>
                  <a:pt x="90" y="690"/>
                </a:lnTo>
                <a:lnTo>
                  <a:pt x="96" y="672"/>
                </a:lnTo>
                <a:lnTo>
                  <a:pt x="90" y="666"/>
                </a:lnTo>
                <a:lnTo>
                  <a:pt x="96" y="666"/>
                </a:lnTo>
                <a:lnTo>
                  <a:pt x="102" y="642"/>
                </a:lnTo>
                <a:lnTo>
                  <a:pt x="108" y="624"/>
                </a:lnTo>
                <a:lnTo>
                  <a:pt x="102" y="618"/>
                </a:lnTo>
                <a:lnTo>
                  <a:pt x="102" y="588"/>
                </a:lnTo>
                <a:lnTo>
                  <a:pt x="102" y="564"/>
                </a:lnTo>
                <a:lnTo>
                  <a:pt x="102" y="546"/>
                </a:lnTo>
                <a:lnTo>
                  <a:pt x="102" y="522"/>
                </a:lnTo>
                <a:lnTo>
                  <a:pt x="96" y="522"/>
                </a:lnTo>
                <a:lnTo>
                  <a:pt x="96" y="510"/>
                </a:lnTo>
                <a:lnTo>
                  <a:pt x="96" y="498"/>
                </a:lnTo>
                <a:lnTo>
                  <a:pt x="96" y="486"/>
                </a:lnTo>
                <a:lnTo>
                  <a:pt x="96" y="474"/>
                </a:lnTo>
                <a:lnTo>
                  <a:pt x="96" y="462"/>
                </a:lnTo>
                <a:lnTo>
                  <a:pt x="114" y="450"/>
                </a:lnTo>
                <a:lnTo>
                  <a:pt x="126" y="438"/>
                </a:lnTo>
                <a:lnTo>
                  <a:pt x="132" y="432"/>
                </a:lnTo>
                <a:lnTo>
                  <a:pt x="144" y="426"/>
                </a:lnTo>
                <a:lnTo>
                  <a:pt x="144" y="420"/>
                </a:lnTo>
                <a:lnTo>
                  <a:pt x="156" y="414"/>
                </a:lnTo>
                <a:lnTo>
                  <a:pt x="162" y="408"/>
                </a:lnTo>
                <a:lnTo>
                  <a:pt x="180" y="396"/>
                </a:lnTo>
                <a:lnTo>
                  <a:pt x="210" y="372"/>
                </a:lnTo>
                <a:lnTo>
                  <a:pt x="210" y="366"/>
                </a:lnTo>
                <a:lnTo>
                  <a:pt x="216" y="360"/>
                </a:lnTo>
                <a:lnTo>
                  <a:pt x="234" y="348"/>
                </a:lnTo>
                <a:lnTo>
                  <a:pt x="240" y="348"/>
                </a:lnTo>
                <a:lnTo>
                  <a:pt x="246" y="342"/>
                </a:lnTo>
                <a:lnTo>
                  <a:pt x="276" y="318"/>
                </a:lnTo>
                <a:lnTo>
                  <a:pt x="282" y="312"/>
                </a:lnTo>
                <a:lnTo>
                  <a:pt x="288" y="306"/>
                </a:lnTo>
                <a:lnTo>
                  <a:pt x="300" y="288"/>
                </a:lnTo>
                <a:lnTo>
                  <a:pt x="306" y="276"/>
                </a:lnTo>
                <a:lnTo>
                  <a:pt x="324" y="246"/>
                </a:lnTo>
                <a:lnTo>
                  <a:pt x="330" y="240"/>
                </a:lnTo>
                <a:lnTo>
                  <a:pt x="336" y="234"/>
                </a:lnTo>
                <a:lnTo>
                  <a:pt x="342" y="228"/>
                </a:lnTo>
                <a:lnTo>
                  <a:pt x="342" y="216"/>
                </a:lnTo>
                <a:lnTo>
                  <a:pt x="354" y="204"/>
                </a:lnTo>
                <a:lnTo>
                  <a:pt x="360" y="204"/>
                </a:lnTo>
                <a:lnTo>
                  <a:pt x="366" y="186"/>
                </a:lnTo>
                <a:lnTo>
                  <a:pt x="384" y="162"/>
                </a:lnTo>
                <a:lnTo>
                  <a:pt x="390" y="144"/>
                </a:lnTo>
                <a:lnTo>
                  <a:pt x="396" y="114"/>
                </a:lnTo>
                <a:lnTo>
                  <a:pt x="396" y="102"/>
                </a:lnTo>
                <a:lnTo>
                  <a:pt x="402" y="90"/>
                </a:lnTo>
                <a:lnTo>
                  <a:pt x="408" y="66"/>
                </a:lnTo>
                <a:lnTo>
                  <a:pt x="408" y="60"/>
                </a:lnTo>
                <a:lnTo>
                  <a:pt x="408" y="36"/>
                </a:lnTo>
                <a:lnTo>
                  <a:pt x="408" y="24"/>
                </a:lnTo>
                <a:lnTo>
                  <a:pt x="408" y="6"/>
                </a:lnTo>
                <a:lnTo>
                  <a:pt x="420" y="0"/>
                </a:lnTo>
                <a:lnTo>
                  <a:pt x="432" y="0"/>
                </a:lnTo>
                <a:lnTo>
                  <a:pt x="438" y="0"/>
                </a:lnTo>
                <a:lnTo>
                  <a:pt x="468" y="0"/>
                </a:lnTo>
                <a:lnTo>
                  <a:pt x="480" y="0"/>
                </a:lnTo>
                <a:lnTo>
                  <a:pt x="492" y="0"/>
                </a:lnTo>
                <a:lnTo>
                  <a:pt x="498" y="0"/>
                </a:lnTo>
                <a:lnTo>
                  <a:pt x="504" y="6"/>
                </a:lnTo>
                <a:lnTo>
                  <a:pt x="510" y="12"/>
                </a:lnTo>
                <a:lnTo>
                  <a:pt x="528" y="18"/>
                </a:lnTo>
                <a:lnTo>
                  <a:pt x="534" y="18"/>
                </a:lnTo>
                <a:lnTo>
                  <a:pt x="540" y="18"/>
                </a:lnTo>
                <a:lnTo>
                  <a:pt x="546" y="24"/>
                </a:lnTo>
                <a:lnTo>
                  <a:pt x="552" y="24"/>
                </a:lnTo>
                <a:lnTo>
                  <a:pt x="558" y="36"/>
                </a:lnTo>
                <a:lnTo>
                  <a:pt x="588" y="54"/>
                </a:lnTo>
                <a:lnTo>
                  <a:pt x="594" y="48"/>
                </a:lnTo>
                <a:lnTo>
                  <a:pt x="600" y="48"/>
                </a:lnTo>
                <a:lnTo>
                  <a:pt x="600" y="60"/>
                </a:lnTo>
                <a:lnTo>
                  <a:pt x="606" y="60"/>
                </a:lnTo>
                <a:lnTo>
                  <a:pt x="612" y="66"/>
                </a:lnTo>
                <a:lnTo>
                  <a:pt x="630" y="72"/>
                </a:lnTo>
                <a:lnTo>
                  <a:pt x="642" y="78"/>
                </a:lnTo>
                <a:lnTo>
                  <a:pt x="666" y="78"/>
                </a:lnTo>
                <a:lnTo>
                  <a:pt x="672" y="72"/>
                </a:lnTo>
                <a:lnTo>
                  <a:pt x="690" y="84"/>
                </a:lnTo>
                <a:lnTo>
                  <a:pt x="690" y="90"/>
                </a:lnTo>
                <a:lnTo>
                  <a:pt x="708" y="96"/>
                </a:lnTo>
                <a:lnTo>
                  <a:pt x="708" y="102"/>
                </a:lnTo>
                <a:lnTo>
                  <a:pt x="744" y="96"/>
                </a:lnTo>
                <a:lnTo>
                  <a:pt x="756" y="78"/>
                </a:lnTo>
                <a:lnTo>
                  <a:pt x="756" y="72"/>
                </a:lnTo>
                <a:lnTo>
                  <a:pt x="762" y="66"/>
                </a:lnTo>
                <a:lnTo>
                  <a:pt x="768" y="60"/>
                </a:lnTo>
                <a:lnTo>
                  <a:pt x="774" y="54"/>
                </a:lnTo>
                <a:lnTo>
                  <a:pt x="786" y="54"/>
                </a:lnTo>
                <a:lnTo>
                  <a:pt x="786" y="60"/>
                </a:lnTo>
                <a:lnTo>
                  <a:pt x="786" y="66"/>
                </a:lnTo>
                <a:lnTo>
                  <a:pt x="786" y="72"/>
                </a:lnTo>
                <a:lnTo>
                  <a:pt x="786" y="78"/>
                </a:lnTo>
                <a:lnTo>
                  <a:pt x="792" y="90"/>
                </a:lnTo>
                <a:lnTo>
                  <a:pt x="780" y="102"/>
                </a:lnTo>
                <a:lnTo>
                  <a:pt x="774" y="108"/>
                </a:lnTo>
                <a:lnTo>
                  <a:pt x="774" y="114"/>
                </a:lnTo>
                <a:lnTo>
                  <a:pt x="780" y="126"/>
                </a:lnTo>
                <a:lnTo>
                  <a:pt x="768" y="150"/>
                </a:lnTo>
                <a:lnTo>
                  <a:pt x="750" y="168"/>
                </a:lnTo>
                <a:lnTo>
                  <a:pt x="750" y="174"/>
                </a:lnTo>
                <a:lnTo>
                  <a:pt x="762" y="192"/>
                </a:lnTo>
                <a:lnTo>
                  <a:pt x="774" y="210"/>
                </a:lnTo>
                <a:lnTo>
                  <a:pt x="792" y="228"/>
                </a:lnTo>
                <a:lnTo>
                  <a:pt x="804" y="240"/>
                </a:lnTo>
                <a:lnTo>
                  <a:pt x="822" y="246"/>
                </a:lnTo>
                <a:lnTo>
                  <a:pt x="828" y="252"/>
                </a:lnTo>
                <a:lnTo>
                  <a:pt x="840" y="252"/>
                </a:lnTo>
                <a:lnTo>
                  <a:pt x="834" y="252"/>
                </a:lnTo>
                <a:lnTo>
                  <a:pt x="846" y="252"/>
                </a:lnTo>
                <a:lnTo>
                  <a:pt x="852" y="270"/>
                </a:lnTo>
                <a:lnTo>
                  <a:pt x="858" y="282"/>
                </a:lnTo>
                <a:lnTo>
                  <a:pt x="858" y="288"/>
                </a:lnTo>
                <a:lnTo>
                  <a:pt x="864" y="300"/>
                </a:lnTo>
                <a:lnTo>
                  <a:pt x="864" y="312"/>
                </a:lnTo>
                <a:lnTo>
                  <a:pt x="864" y="318"/>
                </a:lnTo>
                <a:lnTo>
                  <a:pt x="858" y="318"/>
                </a:lnTo>
                <a:lnTo>
                  <a:pt x="852" y="318"/>
                </a:lnTo>
                <a:lnTo>
                  <a:pt x="846" y="324"/>
                </a:lnTo>
                <a:lnTo>
                  <a:pt x="846" y="336"/>
                </a:lnTo>
                <a:lnTo>
                  <a:pt x="840" y="348"/>
                </a:lnTo>
                <a:lnTo>
                  <a:pt x="840" y="360"/>
                </a:lnTo>
                <a:lnTo>
                  <a:pt x="840" y="372"/>
                </a:lnTo>
                <a:lnTo>
                  <a:pt x="840" y="378"/>
                </a:lnTo>
                <a:lnTo>
                  <a:pt x="846" y="402"/>
                </a:lnTo>
                <a:lnTo>
                  <a:pt x="858" y="420"/>
                </a:lnTo>
                <a:lnTo>
                  <a:pt x="882" y="426"/>
                </a:lnTo>
                <a:lnTo>
                  <a:pt x="888" y="444"/>
                </a:lnTo>
                <a:lnTo>
                  <a:pt x="900" y="444"/>
                </a:lnTo>
                <a:lnTo>
                  <a:pt x="900" y="462"/>
                </a:lnTo>
                <a:lnTo>
                  <a:pt x="894" y="474"/>
                </a:lnTo>
                <a:lnTo>
                  <a:pt x="888" y="486"/>
                </a:lnTo>
                <a:lnTo>
                  <a:pt x="882" y="492"/>
                </a:lnTo>
                <a:lnTo>
                  <a:pt x="870" y="504"/>
                </a:lnTo>
                <a:lnTo>
                  <a:pt x="852" y="504"/>
                </a:lnTo>
                <a:lnTo>
                  <a:pt x="852" y="510"/>
                </a:lnTo>
                <a:lnTo>
                  <a:pt x="852" y="516"/>
                </a:lnTo>
                <a:lnTo>
                  <a:pt x="846" y="528"/>
                </a:lnTo>
                <a:lnTo>
                  <a:pt x="846" y="582"/>
                </a:lnTo>
                <a:lnTo>
                  <a:pt x="840" y="582"/>
                </a:lnTo>
                <a:lnTo>
                  <a:pt x="834" y="582"/>
                </a:lnTo>
                <a:lnTo>
                  <a:pt x="828" y="582"/>
                </a:lnTo>
                <a:lnTo>
                  <a:pt x="822" y="582"/>
                </a:lnTo>
                <a:lnTo>
                  <a:pt x="810" y="582"/>
                </a:lnTo>
                <a:lnTo>
                  <a:pt x="810" y="528"/>
                </a:lnTo>
                <a:lnTo>
                  <a:pt x="792" y="528"/>
                </a:lnTo>
                <a:lnTo>
                  <a:pt x="792" y="522"/>
                </a:lnTo>
                <a:lnTo>
                  <a:pt x="786" y="522"/>
                </a:lnTo>
                <a:lnTo>
                  <a:pt x="786" y="516"/>
                </a:lnTo>
                <a:lnTo>
                  <a:pt x="780" y="516"/>
                </a:lnTo>
                <a:lnTo>
                  <a:pt x="780" y="510"/>
                </a:lnTo>
                <a:lnTo>
                  <a:pt x="762" y="510"/>
                </a:lnTo>
                <a:lnTo>
                  <a:pt x="756" y="510"/>
                </a:lnTo>
                <a:lnTo>
                  <a:pt x="750" y="522"/>
                </a:lnTo>
                <a:lnTo>
                  <a:pt x="744" y="534"/>
                </a:lnTo>
                <a:lnTo>
                  <a:pt x="732" y="540"/>
                </a:lnTo>
                <a:lnTo>
                  <a:pt x="732" y="558"/>
                </a:lnTo>
                <a:lnTo>
                  <a:pt x="732" y="564"/>
                </a:lnTo>
                <a:lnTo>
                  <a:pt x="732" y="570"/>
                </a:lnTo>
                <a:lnTo>
                  <a:pt x="726" y="576"/>
                </a:lnTo>
                <a:lnTo>
                  <a:pt x="720" y="576"/>
                </a:lnTo>
                <a:lnTo>
                  <a:pt x="714" y="582"/>
                </a:lnTo>
                <a:lnTo>
                  <a:pt x="702" y="588"/>
                </a:lnTo>
                <a:lnTo>
                  <a:pt x="696" y="594"/>
                </a:lnTo>
                <a:lnTo>
                  <a:pt x="690" y="600"/>
                </a:lnTo>
                <a:lnTo>
                  <a:pt x="690" y="606"/>
                </a:lnTo>
                <a:lnTo>
                  <a:pt x="678" y="606"/>
                </a:lnTo>
                <a:lnTo>
                  <a:pt x="678" y="624"/>
                </a:lnTo>
                <a:lnTo>
                  <a:pt x="684" y="642"/>
                </a:lnTo>
                <a:lnTo>
                  <a:pt x="684" y="660"/>
                </a:lnTo>
                <a:lnTo>
                  <a:pt x="690" y="672"/>
                </a:lnTo>
                <a:lnTo>
                  <a:pt x="702" y="720"/>
                </a:lnTo>
                <a:lnTo>
                  <a:pt x="708" y="750"/>
                </a:lnTo>
                <a:lnTo>
                  <a:pt x="708" y="792"/>
                </a:lnTo>
                <a:lnTo>
                  <a:pt x="708" y="828"/>
                </a:lnTo>
                <a:lnTo>
                  <a:pt x="708" y="852"/>
                </a:lnTo>
                <a:lnTo>
                  <a:pt x="696" y="894"/>
                </a:lnTo>
                <a:lnTo>
                  <a:pt x="702" y="900"/>
                </a:lnTo>
                <a:lnTo>
                  <a:pt x="708" y="924"/>
                </a:lnTo>
                <a:lnTo>
                  <a:pt x="684" y="936"/>
                </a:lnTo>
                <a:lnTo>
                  <a:pt x="660" y="954"/>
                </a:lnTo>
                <a:lnTo>
                  <a:pt x="618" y="984"/>
                </a:lnTo>
                <a:lnTo>
                  <a:pt x="618" y="990"/>
                </a:lnTo>
                <a:lnTo>
                  <a:pt x="612" y="996"/>
                </a:lnTo>
                <a:lnTo>
                  <a:pt x="606" y="1002"/>
                </a:lnTo>
                <a:lnTo>
                  <a:pt x="618" y="1008"/>
                </a:lnTo>
                <a:lnTo>
                  <a:pt x="618" y="1014"/>
                </a:lnTo>
                <a:lnTo>
                  <a:pt x="624" y="1026"/>
                </a:lnTo>
                <a:lnTo>
                  <a:pt x="630" y="1026"/>
                </a:lnTo>
                <a:lnTo>
                  <a:pt x="636" y="1032"/>
                </a:lnTo>
                <a:lnTo>
                  <a:pt x="642" y="1032"/>
                </a:lnTo>
                <a:lnTo>
                  <a:pt x="642" y="1038"/>
                </a:lnTo>
                <a:lnTo>
                  <a:pt x="648" y="1044"/>
                </a:lnTo>
                <a:lnTo>
                  <a:pt x="666" y="1050"/>
                </a:lnTo>
                <a:lnTo>
                  <a:pt x="678" y="1038"/>
                </a:lnTo>
                <a:lnTo>
                  <a:pt x="684" y="1038"/>
                </a:lnTo>
                <a:lnTo>
                  <a:pt x="684" y="1032"/>
                </a:lnTo>
                <a:lnTo>
                  <a:pt x="690" y="1032"/>
                </a:lnTo>
                <a:lnTo>
                  <a:pt x="690" y="1026"/>
                </a:lnTo>
                <a:lnTo>
                  <a:pt x="696" y="1020"/>
                </a:lnTo>
                <a:lnTo>
                  <a:pt x="708" y="1014"/>
                </a:lnTo>
                <a:lnTo>
                  <a:pt x="720" y="1020"/>
                </a:lnTo>
                <a:lnTo>
                  <a:pt x="720" y="1014"/>
                </a:lnTo>
                <a:lnTo>
                  <a:pt x="726" y="1008"/>
                </a:lnTo>
                <a:lnTo>
                  <a:pt x="732" y="1008"/>
                </a:lnTo>
                <a:lnTo>
                  <a:pt x="738" y="1008"/>
                </a:lnTo>
                <a:lnTo>
                  <a:pt x="744" y="1002"/>
                </a:lnTo>
                <a:lnTo>
                  <a:pt x="744" y="996"/>
                </a:lnTo>
                <a:lnTo>
                  <a:pt x="750" y="996"/>
                </a:lnTo>
                <a:lnTo>
                  <a:pt x="756" y="1002"/>
                </a:lnTo>
                <a:lnTo>
                  <a:pt x="762" y="1002"/>
                </a:lnTo>
                <a:lnTo>
                  <a:pt x="768" y="996"/>
                </a:lnTo>
                <a:lnTo>
                  <a:pt x="780" y="996"/>
                </a:lnTo>
                <a:lnTo>
                  <a:pt x="786" y="996"/>
                </a:lnTo>
                <a:lnTo>
                  <a:pt x="816" y="990"/>
                </a:lnTo>
                <a:lnTo>
                  <a:pt x="828" y="990"/>
                </a:lnTo>
                <a:lnTo>
                  <a:pt x="834" y="990"/>
                </a:lnTo>
                <a:lnTo>
                  <a:pt x="840" y="984"/>
                </a:lnTo>
                <a:lnTo>
                  <a:pt x="852" y="978"/>
                </a:lnTo>
                <a:lnTo>
                  <a:pt x="852" y="972"/>
                </a:lnTo>
                <a:lnTo>
                  <a:pt x="858" y="972"/>
                </a:lnTo>
                <a:lnTo>
                  <a:pt x="864" y="966"/>
                </a:lnTo>
                <a:lnTo>
                  <a:pt x="870" y="966"/>
                </a:lnTo>
                <a:lnTo>
                  <a:pt x="876" y="966"/>
                </a:lnTo>
                <a:lnTo>
                  <a:pt x="882" y="960"/>
                </a:lnTo>
                <a:lnTo>
                  <a:pt x="888" y="960"/>
                </a:lnTo>
                <a:lnTo>
                  <a:pt x="894" y="960"/>
                </a:lnTo>
                <a:lnTo>
                  <a:pt x="894" y="966"/>
                </a:lnTo>
                <a:lnTo>
                  <a:pt x="894" y="978"/>
                </a:lnTo>
                <a:lnTo>
                  <a:pt x="894" y="984"/>
                </a:lnTo>
                <a:lnTo>
                  <a:pt x="900" y="984"/>
                </a:lnTo>
                <a:lnTo>
                  <a:pt x="906" y="978"/>
                </a:lnTo>
                <a:lnTo>
                  <a:pt x="912" y="972"/>
                </a:lnTo>
                <a:lnTo>
                  <a:pt x="918" y="978"/>
                </a:lnTo>
                <a:lnTo>
                  <a:pt x="924" y="978"/>
                </a:lnTo>
                <a:lnTo>
                  <a:pt x="924" y="972"/>
                </a:lnTo>
                <a:lnTo>
                  <a:pt x="924" y="966"/>
                </a:lnTo>
                <a:lnTo>
                  <a:pt x="930" y="966"/>
                </a:lnTo>
                <a:lnTo>
                  <a:pt x="948" y="966"/>
                </a:lnTo>
                <a:lnTo>
                  <a:pt x="954" y="966"/>
                </a:lnTo>
                <a:lnTo>
                  <a:pt x="954" y="960"/>
                </a:lnTo>
                <a:lnTo>
                  <a:pt x="960" y="960"/>
                </a:lnTo>
                <a:lnTo>
                  <a:pt x="966" y="960"/>
                </a:lnTo>
                <a:lnTo>
                  <a:pt x="966" y="966"/>
                </a:lnTo>
                <a:lnTo>
                  <a:pt x="978" y="972"/>
                </a:lnTo>
                <a:lnTo>
                  <a:pt x="978" y="978"/>
                </a:lnTo>
                <a:lnTo>
                  <a:pt x="978" y="984"/>
                </a:lnTo>
                <a:lnTo>
                  <a:pt x="984" y="978"/>
                </a:lnTo>
                <a:lnTo>
                  <a:pt x="990" y="978"/>
                </a:lnTo>
                <a:lnTo>
                  <a:pt x="996" y="984"/>
                </a:lnTo>
                <a:lnTo>
                  <a:pt x="1002" y="990"/>
                </a:lnTo>
                <a:lnTo>
                  <a:pt x="1008" y="972"/>
                </a:lnTo>
                <a:lnTo>
                  <a:pt x="1026" y="972"/>
                </a:lnTo>
                <a:lnTo>
                  <a:pt x="1032" y="972"/>
                </a:lnTo>
                <a:lnTo>
                  <a:pt x="1038" y="972"/>
                </a:lnTo>
                <a:lnTo>
                  <a:pt x="1050" y="972"/>
                </a:lnTo>
                <a:lnTo>
                  <a:pt x="1056" y="972"/>
                </a:lnTo>
                <a:lnTo>
                  <a:pt x="1062" y="966"/>
                </a:lnTo>
                <a:lnTo>
                  <a:pt x="1074" y="966"/>
                </a:lnTo>
                <a:lnTo>
                  <a:pt x="1074" y="960"/>
                </a:lnTo>
                <a:lnTo>
                  <a:pt x="1080" y="954"/>
                </a:lnTo>
                <a:lnTo>
                  <a:pt x="1080" y="948"/>
                </a:lnTo>
                <a:lnTo>
                  <a:pt x="1074" y="948"/>
                </a:lnTo>
                <a:lnTo>
                  <a:pt x="1068" y="948"/>
                </a:lnTo>
                <a:lnTo>
                  <a:pt x="1062" y="942"/>
                </a:lnTo>
                <a:lnTo>
                  <a:pt x="1068" y="936"/>
                </a:lnTo>
                <a:lnTo>
                  <a:pt x="1074" y="936"/>
                </a:lnTo>
                <a:lnTo>
                  <a:pt x="1080" y="936"/>
                </a:lnTo>
                <a:lnTo>
                  <a:pt x="1086" y="942"/>
                </a:lnTo>
                <a:lnTo>
                  <a:pt x="1092" y="942"/>
                </a:lnTo>
                <a:lnTo>
                  <a:pt x="1098" y="948"/>
                </a:lnTo>
                <a:lnTo>
                  <a:pt x="1104" y="954"/>
                </a:lnTo>
                <a:lnTo>
                  <a:pt x="1110" y="954"/>
                </a:lnTo>
                <a:lnTo>
                  <a:pt x="1116" y="948"/>
                </a:lnTo>
                <a:lnTo>
                  <a:pt x="1122" y="942"/>
                </a:lnTo>
                <a:lnTo>
                  <a:pt x="1128" y="942"/>
                </a:lnTo>
                <a:lnTo>
                  <a:pt x="1134" y="942"/>
                </a:lnTo>
                <a:lnTo>
                  <a:pt x="1140" y="948"/>
                </a:lnTo>
                <a:lnTo>
                  <a:pt x="1146" y="942"/>
                </a:lnTo>
                <a:lnTo>
                  <a:pt x="1152" y="942"/>
                </a:lnTo>
                <a:lnTo>
                  <a:pt x="1152" y="930"/>
                </a:lnTo>
                <a:lnTo>
                  <a:pt x="1164" y="936"/>
                </a:lnTo>
                <a:lnTo>
                  <a:pt x="1158" y="942"/>
                </a:lnTo>
                <a:lnTo>
                  <a:pt x="1158" y="948"/>
                </a:lnTo>
                <a:lnTo>
                  <a:pt x="1146" y="954"/>
                </a:lnTo>
                <a:lnTo>
                  <a:pt x="1152" y="954"/>
                </a:lnTo>
                <a:lnTo>
                  <a:pt x="1158" y="954"/>
                </a:lnTo>
                <a:lnTo>
                  <a:pt x="1158" y="948"/>
                </a:lnTo>
                <a:lnTo>
                  <a:pt x="1164" y="948"/>
                </a:lnTo>
                <a:lnTo>
                  <a:pt x="1170" y="948"/>
                </a:lnTo>
                <a:lnTo>
                  <a:pt x="1176" y="954"/>
                </a:lnTo>
                <a:lnTo>
                  <a:pt x="1176" y="966"/>
                </a:lnTo>
                <a:lnTo>
                  <a:pt x="1182" y="972"/>
                </a:lnTo>
                <a:lnTo>
                  <a:pt x="1188" y="972"/>
                </a:lnTo>
                <a:lnTo>
                  <a:pt x="1182" y="984"/>
                </a:lnTo>
                <a:lnTo>
                  <a:pt x="1188" y="984"/>
                </a:lnTo>
                <a:lnTo>
                  <a:pt x="1194" y="984"/>
                </a:lnTo>
                <a:lnTo>
                  <a:pt x="1200" y="984"/>
                </a:lnTo>
                <a:lnTo>
                  <a:pt x="1212" y="984"/>
                </a:lnTo>
                <a:lnTo>
                  <a:pt x="1218" y="990"/>
                </a:lnTo>
                <a:lnTo>
                  <a:pt x="1224" y="990"/>
                </a:lnTo>
                <a:lnTo>
                  <a:pt x="1224" y="984"/>
                </a:lnTo>
                <a:lnTo>
                  <a:pt x="1230" y="990"/>
                </a:lnTo>
                <a:lnTo>
                  <a:pt x="1236" y="984"/>
                </a:lnTo>
                <a:lnTo>
                  <a:pt x="1242" y="984"/>
                </a:lnTo>
                <a:lnTo>
                  <a:pt x="1248" y="990"/>
                </a:lnTo>
                <a:lnTo>
                  <a:pt x="1254" y="990"/>
                </a:lnTo>
                <a:lnTo>
                  <a:pt x="1254" y="996"/>
                </a:lnTo>
                <a:lnTo>
                  <a:pt x="1254" y="1002"/>
                </a:lnTo>
                <a:lnTo>
                  <a:pt x="1254" y="1008"/>
                </a:lnTo>
                <a:lnTo>
                  <a:pt x="1260" y="1014"/>
                </a:lnTo>
                <a:lnTo>
                  <a:pt x="1266" y="1014"/>
                </a:lnTo>
                <a:lnTo>
                  <a:pt x="1272" y="1014"/>
                </a:lnTo>
                <a:lnTo>
                  <a:pt x="1278" y="1020"/>
                </a:lnTo>
                <a:lnTo>
                  <a:pt x="1284" y="1020"/>
                </a:lnTo>
                <a:lnTo>
                  <a:pt x="1290" y="1014"/>
                </a:lnTo>
                <a:lnTo>
                  <a:pt x="1290" y="1008"/>
                </a:lnTo>
                <a:lnTo>
                  <a:pt x="1296" y="1008"/>
                </a:lnTo>
                <a:lnTo>
                  <a:pt x="1302" y="1014"/>
                </a:lnTo>
                <a:lnTo>
                  <a:pt x="1308" y="1014"/>
                </a:lnTo>
                <a:lnTo>
                  <a:pt x="1314" y="1008"/>
                </a:lnTo>
                <a:lnTo>
                  <a:pt x="1320" y="1008"/>
                </a:lnTo>
                <a:lnTo>
                  <a:pt x="1320" y="1002"/>
                </a:lnTo>
                <a:lnTo>
                  <a:pt x="1320" y="996"/>
                </a:lnTo>
                <a:lnTo>
                  <a:pt x="1332" y="1002"/>
                </a:lnTo>
                <a:lnTo>
                  <a:pt x="1332" y="1008"/>
                </a:lnTo>
                <a:lnTo>
                  <a:pt x="1326" y="1014"/>
                </a:lnTo>
                <a:lnTo>
                  <a:pt x="1332" y="1014"/>
                </a:lnTo>
                <a:lnTo>
                  <a:pt x="1338" y="1014"/>
                </a:lnTo>
                <a:lnTo>
                  <a:pt x="1338" y="1008"/>
                </a:lnTo>
                <a:lnTo>
                  <a:pt x="1344" y="1008"/>
                </a:lnTo>
                <a:lnTo>
                  <a:pt x="1350" y="1008"/>
                </a:lnTo>
                <a:lnTo>
                  <a:pt x="1356" y="1014"/>
                </a:lnTo>
                <a:lnTo>
                  <a:pt x="1356" y="1008"/>
                </a:lnTo>
                <a:lnTo>
                  <a:pt x="1362" y="1014"/>
                </a:lnTo>
                <a:lnTo>
                  <a:pt x="1392" y="1014"/>
                </a:lnTo>
                <a:lnTo>
                  <a:pt x="1398" y="1014"/>
                </a:lnTo>
                <a:lnTo>
                  <a:pt x="1404" y="1008"/>
                </a:lnTo>
                <a:lnTo>
                  <a:pt x="1404" y="1014"/>
                </a:lnTo>
                <a:lnTo>
                  <a:pt x="1410" y="1008"/>
                </a:lnTo>
                <a:lnTo>
                  <a:pt x="1416" y="1008"/>
                </a:lnTo>
                <a:lnTo>
                  <a:pt x="1422" y="1002"/>
                </a:lnTo>
                <a:lnTo>
                  <a:pt x="1428" y="1002"/>
                </a:lnTo>
                <a:lnTo>
                  <a:pt x="1428" y="996"/>
                </a:lnTo>
                <a:lnTo>
                  <a:pt x="1428" y="990"/>
                </a:lnTo>
                <a:lnTo>
                  <a:pt x="1440" y="1002"/>
                </a:lnTo>
                <a:lnTo>
                  <a:pt x="1446" y="1002"/>
                </a:lnTo>
                <a:lnTo>
                  <a:pt x="1452" y="1002"/>
                </a:lnTo>
                <a:lnTo>
                  <a:pt x="1446" y="996"/>
                </a:lnTo>
                <a:lnTo>
                  <a:pt x="1452" y="996"/>
                </a:lnTo>
                <a:lnTo>
                  <a:pt x="1458" y="996"/>
                </a:lnTo>
                <a:lnTo>
                  <a:pt x="1464" y="996"/>
                </a:lnTo>
                <a:lnTo>
                  <a:pt x="1464" y="1002"/>
                </a:lnTo>
                <a:lnTo>
                  <a:pt x="1476" y="1014"/>
                </a:lnTo>
                <a:lnTo>
                  <a:pt x="1476" y="1008"/>
                </a:lnTo>
                <a:lnTo>
                  <a:pt x="1482" y="1008"/>
                </a:lnTo>
                <a:lnTo>
                  <a:pt x="1488" y="1020"/>
                </a:lnTo>
                <a:lnTo>
                  <a:pt x="1494" y="1020"/>
                </a:lnTo>
                <a:lnTo>
                  <a:pt x="1500" y="1014"/>
                </a:lnTo>
                <a:lnTo>
                  <a:pt x="1500" y="1020"/>
                </a:lnTo>
                <a:lnTo>
                  <a:pt x="1506" y="1026"/>
                </a:lnTo>
                <a:lnTo>
                  <a:pt x="1512" y="1032"/>
                </a:lnTo>
                <a:lnTo>
                  <a:pt x="1518" y="1032"/>
                </a:lnTo>
                <a:lnTo>
                  <a:pt x="1518" y="1038"/>
                </a:lnTo>
                <a:lnTo>
                  <a:pt x="1518" y="1044"/>
                </a:lnTo>
                <a:lnTo>
                  <a:pt x="1524" y="1044"/>
                </a:lnTo>
                <a:lnTo>
                  <a:pt x="1524" y="1050"/>
                </a:lnTo>
                <a:lnTo>
                  <a:pt x="1530" y="1056"/>
                </a:lnTo>
                <a:lnTo>
                  <a:pt x="1548" y="1062"/>
                </a:lnTo>
                <a:lnTo>
                  <a:pt x="1560" y="1074"/>
                </a:lnTo>
                <a:lnTo>
                  <a:pt x="1560" y="1080"/>
                </a:lnTo>
                <a:lnTo>
                  <a:pt x="1560" y="1086"/>
                </a:lnTo>
                <a:lnTo>
                  <a:pt x="1566" y="1086"/>
                </a:lnTo>
                <a:lnTo>
                  <a:pt x="1572" y="1098"/>
                </a:lnTo>
                <a:lnTo>
                  <a:pt x="1572" y="1104"/>
                </a:lnTo>
                <a:lnTo>
                  <a:pt x="1584" y="1110"/>
                </a:lnTo>
                <a:lnTo>
                  <a:pt x="1590" y="1116"/>
                </a:lnTo>
                <a:lnTo>
                  <a:pt x="1596" y="1116"/>
                </a:lnTo>
                <a:lnTo>
                  <a:pt x="1608" y="1122"/>
                </a:lnTo>
                <a:lnTo>
                  <a:pt x="1620" y="1140"/>
                </a:lnTo>
                <a:lnTo>
                  <a:pt x="1626" y="1158"/>
                </a:lnTo>
                <a:lnTo>
                  <a:pt x="1638" y="1200"/>
                </a:lnTo>
                <a:lnTo>
                  <a:pt x="1638" y="1218"/>
                </a:lnTo>
                <a:lnTo>
                  <a:pt x="1620" y="1230"/>
                </a:lnTo>
                <a:lnTo>
                  <a:pt x="1554" y="1230"/>
                </a:lnTo>
                <a:lnTo>
                  <a:pt x="1560" y="1248"/>
                </a:lnTo>
                <a:lnTo>
                  <a:pt x="1584" y="1260"/>
                </a:lnTo>
                <a:lnTo>
                  <a:pt x="1584" y="1266"/>
                </a:lnTo>
                <a:lnTo>
                  <a:pt x="1578" y="1272"/>
                </a:lnTo>
                <a:lnTo>
                  <a:pt x="1572" y="1272"/>
                </a:lnTo>
                <a:lnTo>
                  <a:pt x="1566" y="1278"/>
                </a:lnTo>
                <a:lnTo>
                  <a:pt x="1566" y="1284"/>
                </a:lnTo>
                <a:lnTo>
                  <a:pt x="1560" y="1290"/>
                </a:lnTo>
                <a:lnTo>
                  <a:pt x="1554" y="1290"/>
                </a:lnTo>
                <a:lnTo>
                  <a:pt x="1554" y="1296"/>
                </a:lnTo>
                <a:lnTo>
                  <a:pt x="1554" y="1302"/>
                </a:lnTo>
                <a:lnTo>
                  <a:pt x="1560" y="1332"/>
                </a:lnTo>
                <a:lnTo>
                  <a:pt x="1566" y="1356"/>
                </a:lnTo>
                <a:lnTo>
                  <a:pt x="1572" y="1356"/>
                </a:lnTo>
                <a:lnTo>
                  <a:pt x="1572" y="1362"/>
                </a:lnTo>
                <a:lnTo>
                  <a:pt x="1578" y="1362"/>
                </a:lnTo>
                <a:lnTo>
                  <a:pt x="1560" y="1374"/>
                </a:lnTo>
                <a:lnTo>
                  <a:pt x="1560" y="1380"/>
                </a:lnTo>
                <a:lnTo>
                  <a:pt x="1548" y="1380"/>
                </a:lnTo>
                <a:lnTo>
                  <a:pt x="1548" y="1386"/>
                </a:lnTo>
                <a:lnTo>
                  <a:pt x="1548" y="1392"/>
                </a:lnTo>
                <a:lnTo>
                  <a:pt x="1542" y="1410"/>
                </a:lnTo>
                <a:lnTo>
                  <a:pt x="1536" y="1422"/>
                </a:lnTo>
                <a:lnTo>
                  <a:pt x="1536" y="1428"/>
                </a:lnTo>
                <a:lnTo>
                  <a:pt x="1530" y="1440"/>
                </a:lnTo>
                <a:lnTo>
                  <a:pt x="1524" y="1434"/>
                </a:lnTo>
                <a:lnTo>
                  <a:pt x="1524" y="1428"/>
                </a:lnTo>
                <a:lnTo>
                  <a:pt x="1524" y="1422"/>
                </a:lnTo>
                <a:lnTo>
                  <a:pt x="1512" y="1410"/>
                </a:lnTo>
                <a:lnTo>
                  <a:pt x="1506" y="1404"/>
                </a:lnTo>
                <a:lnTo>
                  <a:pt x="1506" y="1398"/>
                </a:lnTo>
                <a:lnTo>
                  <a:pt x="1494" y="1392"/>
                </a:lnTo>
                <a:lnTo>
                  <a:pt x="1476" y="1404"/>
                </a:lnTo>
                <a:lnTo>
                  <a:pt x="1464" y="1416"/>
                </a:lnTo>
                <a:lnTo>
                  <a:pt x="1458" y="1428"/>
                </a:lnTo>
                <a:lnTo>
                  <a:pt x="1446" y="1434"/>
                </a:lnTo>
                <a:lnTo>
                  <a:pt x="1410" y="1440"/>
                </a:lnTo>
                <a:lnTo>
                  <a:pt x="1398" y="1440"/>
                </a:lnTo>
                <a:lnTo>
                  <a:pt x="1398" y="1446"/>
                </a:lnTo>
                <a:lnTo>
                  <a:pt x="1386" y="1446"/>
                </a:lnTo>
                <a:lnTo>
                  <a:pt x="1380" y="1440"/>
                </a:lnTo>
                <a:lnTo>
                  <a:pt x="1368" y="1440"/>
                </a:lnTo>
                <a:lnTo>
                  <a:pt x="1368" y="1446"/>
                </a:lnTo>
                <a:lnTo>
                  <a:pt x="1356" y="1446"/>
                </a:lnTo>
                <a:lnTo>
                  <a:pt x="1350" y="1452"/>
                </a:lnTo>
                <a:lnTo>
                  <a:pt x="1338" y="1452"/>
                </a:lnTo>
                <a:lnTo>
                  <a:pt x="1338" y="1458"/>
                </a:lnTo>
                <a:lnTo>
                  <a:pt x="1332" y="1458"/>
                </a:lnTo>
                <a:lnTo>
                  <a:pt x="1332" y="1464"/>
                </a:lnTo>
                <a:lnTo>
                  <a:pt x="1332" y="1470"/>
                </a:lnTo>
                <a:lnTo>
                  <a:pt x="1326" y="1470"/>
                </a:lnTo>
                <a:lnTo>
                  <a:pt x="1320" y="1470"/>
                </a:lnTo>
                <a:lnTo>
                  <a:pt x="1314" y="1470"/>
                </a:lnTo>
                <a:lnTo>
                  <a:pt x="1314" y="1464"/>
                </a:lnTo>
                <a:lnTo>
                  <a:pt x="1308" y="1464"/>
                </a:lnTo>
                <a:lnTo>
                  <a:pt x="1308" y="1452"/>
                </a:lnTo>
                <a:lnTo>
                  <a:pt x="1284" y="1458"/>
                </a:lnTo>
                <a:lnTo>
                  <a:pt x="1272" y="1458"/>
                </a:lnTo>
                <a:lnTo>
                  <a:pt x="1272" y="1464"/>
                </a:lnTo>
                <a:lnTo>
                  <a:pt x="1260" y="1464"/>
                </a:lnTo>
                <a:lnTo>
                  <a:pt x="1254" y="1464"/>
                </a:lnTo>
                <a:lnTo>
                  <a:pt x="1242" y="1422"/>
                </a:lnTo>
                <a:lnTo>
                  <a:pt x="1242" y="1416"/>
                </a:lnTo>
                <a:lnTo>
                  <a:pt x="1242" y="1410"/>
                </a:lnTo>
                <a:lnTo>
                  <a:pt x="1248" y="1410"/>
                </a:lnTo>
                <a:lnTo>
                  <a:pt x="1242" y="1410"/>
                </a:lnTo>
                <a:lnTo>
                  <a:pt x="1242" y="1404"/>
                </a:lnTo>
                <a:lnTo>
                  <a:pt x="1242" y="1398"/>
                </a:lnTo>
                <a:lnTo>
                  <a:pt x="1248" y="1392"/>
                </a:lnTo>
                <a:lnTo>
                  <a:pt x="1248" y="1386"/>
                </a:lnTo>
                <a:lnTo>
                  <a:pt x="1242" y="1380"/>
                </a:lnTo>
                <a:lnTo>
                  <a:pt x="1248" y="1380"/>
                </a:lnTo>
                <a:lnTo>
                  <a:pt x="1248" y="1374"/>
                </a:lnTo>
                <a:lnTo>
                  <a:pt x="1248" y="1368"/>
                </a:lnTo>
                <a:lnTo>
                  <a:pt x="1254" y="1368"/>
                </a:lnTo>
                <a:lnTo>
                  <a:pt x="1254" y="1362"/>
                </a:lnTo>
                <a:lnTo>
                  <a:pt x="1248" y="1356"/>
                </a:lnTo>
                <a:lnTo>
                  <a:pt x="1254" y="1356"/>
                </a:lnTo>
                <a:lnTo>
                  <a:pt x="1254" y="1344"/>
                </a:lnTo>
                <a:lnTo>
                  <a:pt x="1242" y="1338"/>
                </a:lnTo>
                <a:lnTo>
                  <a:pt x="1242" y="1326"/>
                </a:lnTo>
                <a:lnTo>
                  <a:pt x="1230" y="1326"/>
                </a:lnTo>
                <a:lnTo>
                  <a:pt x="1230" y="1314"/>
                </a:lnTo>
                <a:lnTo>
                  <a:pt x="1218" y="1314"/>
                </a:lnTo>
                <a:lnTo>
                  <a:pt x="1200" y="1272"/>
                </a:lnTo>
                <a:lnTo>
                  <a:pt x="1194" y="1242"/>
                </a:lnTo>
                <a:lnTo>
                  <a:pt x="1194" y="1206"/>
                </a:lnTo>
                <a:lnTo>
                  <a:pt x="1182" y="1200"/>
                </a:lnTo>
                <a:lnTo>
                  <a:pt x="1164" y="1206"/>
                </a:lnTo>
                <a:lnTo>
                  <a:pt x="1146" y="1212"/>
                </a:lnTo>
                <a:lnTo>
                  <a:pt x="1146" y="1218"/>
                </a:lnTo>
                <a:lnTo>
                  <a:pt x="1134" y="1224"/>
                </a:lnTo>
                <a:lnTo>
                  <a:pt x="1140" y="1260"/>
                </a:lnTo>
                <a:lnTo>
                  <a:pt x="1134" y="1266"/>
                </a:lnTo>
                <a:lnTo>
                  <a:pt x="1122" y="1266"/>
                </a:lnTo>
                <a:lnTo>
                  <a:pt x="1110" y="1236"/>
                </a:lnTo>
                <a:lnTo>
                  <a:pt x="1110" y="1224"/>
                </a:lnTo>
                <a:lnTo>
                  <a:pt x="1086" y="1224"/>
                </a:lnTo>
                <a:lnTo>
                  <a:pt x="1086" y="1212"/>
                </a:lnTo>
                <a:lnTo>
                  <a:pt x="1074" y="1212"/>
                </a:lnTo>
                <a:lnTo>
                  <a:pt x="1050" y="1212"/>
                </a:lnTo>
                <a:lnTo>
                  <a:pt x="1056" y="1218"/>
                </a:lnTo>
                <a:lnTo>
                  <a:pt x="1050" y="1272"/>
                </a:lnTo>
                <a:lnTo>
                  <a:pt x="1044" y="1272"/>
                </a:lnTo>
                <a:lnTo>
                  <a:pt x="1038" y="1284"/>
                </a:lnTo>
                <a:lnTo>
                  <a:pt x="1032" y="1302"/>
                </a:lnTo>
                <a:lnTo>
                  <a:pt x="1014" y="1302"/>
                </a:lnTo>
                <a:lnTo>
                  <a:pt x="1020" y="1284"/>
                </a:lnTo>
                <a:lnTo>
                  <a:pt x="1026" y="1278"/>
                </a:lnTo>
                <a:lnTo>
                  <a:pt x="1026" y="1266"/>
                </a:lnTo>
                <a:lnTo>
                  <a:pt x="1014" y="1260"/>
                </a:lnTo>
                <a:lnTo>
                  <a:pt x="1014" y="1272"/>
                </a:lnTo>
                <a:lnTo>
                  <a:pt x="990" y="1278"/>
                </a:lnTo>
                <a:lnTo>
                  <a:pt x="990" y="1254"/>
                </a:lnTo>
                <a:lnTo>
                  <a:pt x="984" y="1254"/>
                </a:lnTo>
                <a:lnTo>
                  <a:pt x="978" y="1242"/>
                </a:lnTo>
                <a:lnTo>
                  <a:pt x="972" y="1236"/>
                </a:lnTo>
                <a:lnTo>
                  <a:pt x="960" y="1206"/>
                </a:lnTo>
                <a:lnTo>
                  <a:pt x="942" y="1206"/>
                </a:lnTo>
                <a:lnTo>
                  <a:pt x="936" y="1200"/>
                </a:lnTo>
                <a:lnTo>
                  <a:pt x="906" y="1212"/>
                </a:lnTo>
                <a:lnTo>
                  <a:pt x="888" y="1230"/>
                </a:lnTo>
                <a:lnTo>
                  <a:pt x="876" y="1230"/>
                </a:lnTo>
                <a:lnTo>
                  <a:pt x="864" y="1236"/>
                </a:lnTo>
                <a:lnTo>
                  <a:pt x="858" y="1236"/>
                </a:lnTo>
                <a:lnTo>
                  <a:pt x="852" y="1254"/>
                </a:lnTo>
                <a:lnTo>
                  <a:pt x="858" y="1254"/>
                </a:lnTo>
                <a:lnTo>
                  <a:pt x="840" y="1266"/>
                </a:lnTo>
                <a:lnTo>
                  <a:pt x="828" y="1272"/>
                </a:lnTo>
                <a:lnTo>
                  <a:pt x="828" y="1284"/>
                </a:lnTo>
                <a:lnTo>
                  <a:pt x="822" y="1284"/>
                </a:lnTo>
                <a:lnTo>
                  <a:pt x="804" y="1296"/>
                </a:lnTo>
                <a:lnTo>
                  <a:pt x="804" y="1308"/>
                </a:lnTo>
                <a:lnTo>
                  <a:pt x="816" y="1320"/>
                </a:lnTo>
                <a:lnTo>
                  <a:pt x="828" y="1320"/>
                </a:lnTo>
                <a:lnTo>
                  <a:pt x="822" y="1338"/>
                </a:lnTo>
                <a:lnTo>
                  <a:pt x="852" y="1344"/>
                </a:lnTo>
                <a:lnTo>
                  <a:pt x="864" y="1350"/>
                </a:lnTo>
                <a:lnTo>
                  <a:pt x="864" y="1356"/>
                </a:lnTo>
                <a:lnTo>
                  <a:pt x="882" y="1356"/>
                </a:lnTo>
                <a:lnTo>
                  <a:pt x="894" y="1356"/>
                </a:lnTo>
                <a:lnTo>
                  <a:pt x="912" y="1368"/>
                </a:lnTo>
                <a:lnTo>
                  <a:pt x="918" y="1380"/>
                </a:lnTo>
                <a:lnTo>
                  <a:pt x="936" y="1380"/>
                </a:lnTo>
                <a:lnTo>
                  <a:pt x="960" y="1386"/>
                </a:lnTo>
                <a:lnTo>
                  <a:pt x="990" y="1386"/>
                </a:lnTo>
                <a:lnTo>
                  <a:pt x="990" y="1392"/>
                </a:lnTo>
                <a:lnTo>
                  <a:pt x="1020" y="1398"/>
                </a:lnTo>
                <a:lnTo>
                  <a:pt x="1014" y="1404"/>
                </a:lnTo>
                <a:lnTo>
                  <a:pt x="1008" y="1404"/>
                </a:lnTo>
                <a:lnTo>
                  <a:pt x="1014" y="1440"/>
                </a:lnTo>
                <a:lnTo>
                  <a:pt x="1020" y="1458"/>
                </a:lnTo>
                <a:lnTo>
                  <a:pt x="1026" y="1476"/>
                </a:lnTo>
                <a:lnTo>
                  <a:pt x="1020" y="1476"/>
                </a:lnTo>
                <a:lnTo>
                  <a:pt x="1014" y="1476"/>
                </a:lnTo>
                <a:lnTo>
                  <a:pt x="1014" y="1482"/>
                </a:lnTo>
                <a:lnTo>
                  <a:pt x="1014" y="1488"/>
                </a:lnTo>
                <a:lnTo>
                  <a:pt x="1002" y="1488"/>
                </a:lnTo>
                <a:lnTo>
                  <a:pt x="1002" y="1494"/>
                </a:lnTo>
                <a:lnTo>
                  <a:pt x="996" y="1494"/>
                </a:lnTo>
                <a:lnTo>
                  <a:pt x="996" y="1518"/>
                </a:lnTo>
                <a:lnTo>
                  <a:pt x="1002" y="1524"/>
                </a:lnTo>
                <a:lnTo>
                  <a:pt x="1020" y="1530"/>
                </a:lnTo>
                <a:lnTo>
                  <a:pt x="1026" y="1542"/>
                </a:lnTo>
                <a:lnTo>
                  <a:pt x="1032" y="1566"/>
                </a:lnTo>
                <a:lnTo>
                  <a:pt x="1038" y="1578"/>
                </a:lnTo>
                <a:lnTo>
                  <a:pt x="1032" y="1584"/>
                </a:lnTo>
                <a:lnTo>
                  <a:pt x="1020" y="1584"/>
                </a:lnTo>
                <a:lnTo>
                  <a:pt x="1014" y="1584"/>
                </a:lnTo>
                <a:lnTo>
                  <a:pt x="1008" y="1596"/>
                </a:lnTo>
                <a:lnTo>
                  <a:pt x="990" y="1584"/>
                </a:lnTo>
                <a:lnTo>
                  <a:pt x="984" y="1602"/>
                </a:lnTo>
                <a:lnTo>
                  <a:pt x="978" y="1608"/>
                </a:lnTo>
                <a:lnTo>
                  <a:pt x="966" y="1608"/>
                </a:lnTo>
                <a:lnTo>
                  <a:pt x="960" y="1614"/>
                </a:lnTo>
                <a:lnTo>
                  <a:pt x="954" y="1614"/>
                </a:lnTo>
                <a:lnTo>
                  <a:pt x="942" y="1620"/>
                </a:lnTo>
                <a:lnTo>
                  <a:pt x="936" y="1620"/>
                </a:lnTo>
                <a:lnTo>
                  <a:pt x="930" y="1620"/>
                </a:lnTo>
                <a:lnTo>
                  <a:pt x="930" y="1626"/>
                </a:lnTo>
                <a:lnTo>
                  <a:pt x="930" y="1632"/>
                </a:lnTo>
                <a:lnTo>
                  <a:pt x="918" y="1632"/>
                </a:lnTo>
                <a:lnTo>
                  <a:pt x="912" y="1632"/>
                </a:lnTo>
                <a:lnTo>
                  <a:pt x="906" y="1632"/>
                </a:lnTo>
                <a:lnTo>
                  <a:pt x="900" y="1632"/>
                </a:lnTo>
                <a:lnTo>
                  <a:pt x="894" y="1626"/>
                </a:lnTo>
                <a:lnTo>
                  <a:pt x="894" y="1614"/>
                </a:lnTo>
                <a:lnTo>
                  <a:pt x="840" y="1614"/>
                </a:lnTo>
                <a:lnTo>
                  <a:pt x="840" y="1626"/>
                </a:lnTo>
                <a:lnTo>
                  <a:pt x="834" y="1626"/>
                </a:lnTo>
                <a:lnTo>
                  <a:pt x="828" y="1632"/>
                </a:lnTo>
                <a:lnTo>
                  <a:pt x="822" y="1638"/>
                </a:lnTo>
                <a:lnTo>
                  <a:pt x="822" y="1644"/>
                </a:lnTo>
                <a:lnTo>
                  <a:pt x="834" y="1650"/>
                </a:lnTo>
                <a:lnTo>
                  <a:pt x="840" y="1662"/>
                </a:lnTo>
                <a:lnTo>
                  <a:pt x="840" y="1668"/>
                </a:lnTo>
                <a:lnTo>
                  <a:pt x="858" y="1680"/>
                </a:lnTo>
                <a:lnTo>
                  <a:pt x="858" y="1752"/>
                </a:lnTo>
                <a:lnTo>
                  <a:pt x="864" y="1782"/>
                </a:lnTo>
                <a:lnTo>
                  <a:pt x="876" y="1788"/>
                </a:lnTo>
                <a:lnTo>
                  <a:pt x="870" y="1854"/>
                </a:lnTo>
                <a:lnTo>
                  <a:pt x="870" y="1884"/>
                </a:lnTo>
                <a:lnTo>
                  <a:pt x="864" y="1884"/>
                </a:lnTo>
                <a:lnTo>
                  <a:pt x="846" y="1896"/>
                </a:lnTo>
                <a:lnTo>
                  <a:pt x="840" y="1896"/>
                </a:lnTo>
                <a:lnTo>
                  <a:pt x="834" y="1896"/>
                </a:lnTo>
                <a:lnTo>
                  <a:pt x="828" y="1890"/>
                </a:lnTo>
                <a:lnTo>
                  <a:pt x="822" y="1890"/>
                </a:lnTo>
                <a:lnTo>
                  <a:pt x="816" y="1896"/>
                </a:lnTo>
                <a:lnTo>
                  <a:pt x="804" y="1896"/>
                </a:lnTo>
                <a:lnTo>
                  <a:pt x="804" y="1890"/>
                </a:lnTo>
                <a:lnTo>
                  <a:pt x="780" y="1896"/>
                </a:lnTo>
                <a:lnTo>
                  <a:pt x="780" y="1902"/>
                </a:lnTo>
                <a:lnTo>
                  <a:pt x="774" y="1914"/>
                </a:lnTo>
                <a:lnTo>
                  <a:pt x="762" y="1926"/>
                </a:lnTo>
                <a:lnTo>
                  <a:pt x="762" y="1950"/>
                </a:lnTo>
                <a:lnTo>
                  <a:pt x="762" y="1962"/>
                </a:lnTo>
                <a:lnTo>
                  <a:pt x="780" y="1974"/>
                </a:lnTo>
                <a:lnTo>
                  <a:pt x="780" y="1986"/>
                </a:lnTo>
                <a:lnTo>
                  <a:pt x="780" y="1998"/>
                </a:lnTo>
                <a:lnTo>
                  <a:pt x="756" y="1998"/>
                </a:lnTo>
                <a:lnTo>
                  <a:pt x="720" y="1992"/>
                </a:lnTo>
                <a:lnTo>
                  <a:pt x="666" y="1998"/>
                </a:lnTo>
                <a:lnTo>
                  <a:pt x="654" y="1998"/>
                </a:lnTo>
                <a:lnTo>
                  <a:pt x="660" y="1974"/>
                </a:lnTo>
                <a:lnTo>
                  <a:pt x="666" y="1962"/>
                </a:lnTo>
                <a:lnTo>
                  <a:pt x="678" y="1950"/>
                </a:lnTo>
                <a:lnTo>
                  <a:pt x="696" y="1932"/>
                </a:lnTo>
                <a:lnTo>
                  <a:pt x="696" y="1920"/>
                </a:lnTo>
                <a:lnTo>
                  <a:pt x="696" y="1896"/>
                </a:lnTo>
                <a:lnTo>
                  <a:pt x="678" y="1896"/>
                </a:lnTo>
                <a:lnTo>
                  <a:pt x="672" y="1884"/>
                </a:lnTo>
                <a:lnTo>
                  <a:pt x="672" y="1776"/>
                </a:lnTo>
                <a:lnTo>
                  <a:pt x="678" y="1758"/>
                </a:lnTo>
                <a:lnTo>
                  <a:pt x="678" y="1740"/>
                </a:lnTo>
                <a:lnTo>
                  <a:pt x="684" y="1728"/>
                </a:lnTo>
                <a:lnTo>
                  <a:pt x="690" y="1722"/>
                </a:lnTo>
                <a:lnTo>
                  <a:pt x="702" y="1722"/>
                </a:lnTo>
                <a:lnTo>
                  <a:pt x="708" y="1716"/>
                </a:lnTo>
                <a:lnTo>
                  <a:pt x="714" y="1710"/>
                </a:lnTo>
                <a:lnTo>
                  <a:pt x="720" y="1698"/>
                </a:lnTo>
                <a:lnTo>
                  <a:pt x="732" y="1692"/>
                </a:lnTo>
                <a:lnTo>
                  <a:pt x="744" y="1686"/>
                </a:lnTo>
                <a:lnTo>
                  <a:pt x="756" y="1680"/>
                </a:lnTo>
                <a:lnTo>
                  <a:pt x="768" y="1668"/>
                </a:lnTo>
                <a:lnTo>
                  <a:pt x="768" y="1650"/>
                </a:lnTo>
                <a:lnTo>
                  <a:pt x="774" y="1632"/>
                </a:lnTo>
                <a:lnTo>
                  <a:pt x="768" y="1620"/>
                </a:lnTo>
                <a:lnTo>
                  <a:pt x="774" y="1608"/>
                </a:lnTo>
                <a:lnTo>
                  <a:pt x="774" y="1578"/>
                </a:lnTo>
                <a:lnTo>
                  <a:pt x="774" y="1572"/>
                </a:lnTo>
                <a:lnTo>
                  <a:pt x="780" y="1560"/>
                </a:lnTo>
                <a:lnTo>
                  <a:pt x="780" y="1554"/>
                </a:lnTo>
                <a:lnTo>
                  <a:pt x="786" y="1542"/>
                </a:lnTo>
                <a:lnTo>
                  <a:pt x="792" y="1530"/>
                </a:lnTo>
                <a:lnTo>
                  <a:pt x="792" y="1518"/>
                </a:lnTo>
                <a:lnTo>
                  <a:pt x="792" y="1506"/>
                </a:lnTo>
                <a:lnTo>
                  <a:pt x="786" y="1500"/>
                </a:lnTo>
                <a:lnTo>
                  <a:pt x="774" y="1488"/>
                </a:lnTo>
                <a:lnTo>
                  <a:pt x="774" y="1482"/>
                </a:lnTo>
                <a:lnTo>
                  <a:pt x="762" y="1488"/>
                </a:lnTo>
                <a:lnTo>
                  <a:pt x="756" y="1494"/>
                </a:lnTo>
                <a:lnTo>
                  <a:pt x="744" y="1500"/>
                </a:lnTo>
                <a:lnTo>
                  <a:pt x="732" y="1506"/>
                </a:lnTo>
                <a:lnTo>
                  <a:pt x="726" y="1506"/>
                </a:lnTo>
                <a:lnTo>
                  <a:pt x="720" y="1506"/>
                </a:lnTo>
                <a:lnTo>
                  <a:pt x="702" y="1506"/>
                </a:lnTo>
                <a:lnTo>
                  <a:pt x="690" y="1500"/>
                </a:lnTo>
                <a:lnTo>
                  <a:pt x="678" y="1500"/>
                </a:lnTo>
                <a:lnTo>
                  <a:pt x="672" y="1500"/>
                </a:lnTo>
                <a:lnTo>
                  <a:pt x="660" y="1506"/>
                </a:lnTo>
                <a:lnTo>
                  <a:pt x="654" y="1506"/>
                </a:lnTo>
                <a:lnTo>
                  <a:pt x="648" y="1512"/>
                </a:lnTo>
                <a:lnTo>
                  <a:pt x="648" y="1518"/>
                </a:lnTo>
                <a:lnTo>
                  <a:pt x="618" y="1518"/>
                </a:lnTo>
                <a:lnTo>
                  <a:pt x="534" y="1494"/>
                </a:lnTo>
                <a:lnTo>
                  <a:pt x="528" y="1458"/>
                </a:lnTo>
                <a:lnTo>
                  <a:pt x="510" y="1458"/>
                </a:lnTo>
                <a:lnTo>
                  <a:pt x="492" y="1440"/>
                </a:lnTo>
                <a:lnTo>
                  <a:pt x="462" y="1440"/>
                </a:lnTo>
                <a:lnTo>
                  <a:pt x="456" y="1428"/>
                </a:lnTo>
                <a:lnTo>
                  <a:pt x="420" y="1428"/>
                </a:lnTo>
                <a:lnTo>
                  <a:pt x="390" y="1446"/>
                </a:lnTo>
                <a:lnTo>
                  <a:pt x="312" y="1452"/>
                </a:lnTo>
                <a:lnTo>
                  <a:pt x="300" y="1446"/>
                </a:lnTo>
                <a:lnTo>
                  <a:pt x="294" y="1446"/>
                </a:lnTo>
                <a:lnTo>
                  <a:pt x="288" y="1446"/>
                </a:lnTo>
                <a:lnTo>
                  <a:pt x="282" y="1440"/>
                </a:lnTo>
                <a:lnTo>
                  <a:pt x="276" y="1440"/>
                </a:lnTo>
                <a:lnTo>
                  <a:pt x="270" y="1440"/>
                </a:lnTo>
                <a:lnTo>
                  <a:pt x="264" y="1440"/>
                </a:lnTo>
                <a:lnTo>
                  <a:pt x="258" y="1434"/>
                </a:lnTo>
                <a:lnTo>
                  <a:pt x="252" y="1434"/>
                </a:lnTo>
                <a:lnTo>
                  <a:pt x="246" y="1428"/>
                </a:lnTo>
                <a:lnTo>
                  <a:pt x="240" y="1416"/>
                </a:lnTo>
                <a:lnTo>
                  <a:pt x="234" y="1404"/>
                </a:lnTo>
                <a:lnTo>
                  <a:pt x="228" y="1398"/>
                </a:lnTo>
                <a:lnTo>
                  <a:pt x="222" y="1398"/>
                </a:lnTo>
                <a:lnTo>
                  <a:pt x="216" y="1404"/>
                </a:lnTo>
                <a:lnTo>
                  <a:pt x="210" y="1404"/>
                </a:lnTo>
                <a:lnTo>
                  <a:pt x="204" y="1404"/>
                </a:lnTo>
                <a:lnTo>
                  <a:pt x="204" y="1398"/>
                </a:lnTo>
                <a:lnTo>
                  <a:pt x="198" y="1392"/>
                </a:lnTo>
                <a:lnTo>
                  <a:pt x="192" y="1386"/>
                </a:lnTo>
                <a:lnTo>
                  <a:pt x="168" y="1374"/>
                </a:lnTo>
                <a:lnTo>
                  <a:pt x="144" y="138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49" name="Freeform 36"/>
          <p:cNvSpPr>
            <a:spLocks/>
          </p:cNvSpPr>
          <p:nvPr/>
        </p:nvSpPr>
        <p:spPr bwMode="gray">
          <a:xfrm>
            <a:off x="2576513" y="1874838"/>
            <a:ext cx="1128712" cy="1190625"/>
          </a:xfrm>
          <a:custGeom>
            <a:avLst/>
            <a:gdLst>
              <a:gd name="T0" fmla="*/ 79964 w 1440"/>
              <a:gd name="T1" fmla="*/ 83835 h 1476"/>
              <a:gd name="T2" fmla="*/ 77612 w 1440"/>
              <a:gd name="T3" fmla="*/ 87059 h 1476"/>
              <a:gd name="T4" fmla="*/ 76828 w 1440"/>
              <a:gd name="T5" fmla="*/ 90284 h 1476"/>
              <a:gd name="T6" fmla="*/ 75260 w 1440"/>
              <a:gd name="T7" fmla="*/ 93508 h 1476"/>
              <a:gd name="T8" fmla="*/ 71341 w 1440"/>
              <a:gd name="T9" fmla="*/ 95120 h 1476"/>
              <a:gd name="T10" fmla="*/ 68205 w 1440"/>
              <a:gd name="T11" fmla="*/ 96733 h 1476"/>
              <a:gd name="T12" fmla="*/ 58797 w 1440"/>
              <a:gd name="T13" fmla="*/ 96733 h 1476"/>
              <a:gd name="T14" fmla="*/ 56445 w 1440"/>
              <a:gd name="T15" fmla="*/ 99151 h 1476"/>
              <a:gd name="T16" fmla="*/ 54093 w 1440"/>
              <a:gd name="T17" fmla="*/ 103182 h 1476"/>
              <a:gd name="T18" fmla="*/ 52525 w 1440"/>
              <a:gd name="T19" fmla="*/ 102375 h 1476"/>
              <a:gd name="T20" fmla="*/ 51741 w 1440"/>
              <a:gd name="T21" fmla="*/ 99151 h 1476"/>
              <a:gd name="T22" fmla="*/ 49390 w 1440"/>
              <a:gd name="T23" fmla="*/ 95927 h 1476"/>
              <a:gd name="T24" fmla="*/ 42334 w 1440"/>
              <a:gd name="T25" fmla="*/ 91896 h 1476"/>
              <a:gd name="T26" fmla="*/ 43118 w 1440"/>
              <a:gd name="T27" fmla="*/ 85447 h 1476"/>
              <a:gd name="T28" fmla="*/ 47038 w 1440"/>
              <a:gd name="T29" fmla="*/ 80611 h 1476"/>
              <a:gd name="T30" fmla="*/ 43118 w 1440"/>
              <a:gd name="T31" fmla="*/ 73356 h 1476"/>
              <a:gd name="T32" fmla="*/ 39982 w 1440"/>
              <a:gd name="T33" fmla="*/ 69325 h 1476"/>
              <a:gd name="T34" fmla="*/ 36846 w 1440"/>
              <a:gd name="T35" fmla="*/ 68519 h 1476"/>
              <a:gd name="T36" fmla="*/ 34494 w 1440"/>
              <a:gd name="T37" fmla="*/ 66101 h 1476"/>
              <a:gd name="T38" fmla="*/ 32142 w 1440"/>
              <a:gd name="T39" fmla="*/ 66907 h 1476"/>
              <a:gd name="T40" fmla="*/ 28223 w 1440"/>
              <a:gd name="T41" fmla="*/ 66907 h 1476"/>
              <a:gd name="T42" fmla="*/ 25871 w 1440"/>
              <a:gd name="T43" fmla="*/ 66907 h 1476"/>
              <a:gd name="T44" fmla="*/ 23519 w 1440"/>
              <a:gd name="T45" fmla="*/ 66907 h 1476"/>
              <a:gd name="T46" fmla="*/ 21167 w 1440"/>
              <a:gd name="T47" fmla="*/ 66907 h 1476"/>
              <a:gd name="T48" fmla="*/ 18815 w 1440"/>
              <a:gd name="T49" fmla="*/ 66101 h 1476"/>
              <a:gd name="T50" fmla="*/ 16463 w 1440"/>
              <a:gd name="T51" fmla="*/ 64488 h 1476"/>
              <a:gd name="T52" fmla="*/ 14111 w 1440"/>
              <a:gd name="T53" fmla="*/ 63682 h 1476"/>
              <a:gd name="T54" fmla="*/ 13327 w 1440"/>
              <a:gd name="T55" fmla="*/ 62876 h 1476"/>
              <a:gd name="T56" fmla="*/ 9408 w 1440"/>
              <a:gd name="T57" fmla="*/ 62876 h 1476"/>
              <a:gd name="T58" fmla="*/ 9408 w 1440"/>
              <a:gd name="T59" fmla="*/ 62876 h 1476"/>
              <a:gd name="T60" fmla="*/ 5488 w 1440"/>
              <a:gd name="T61" fmla="*/ 64488 h 1476"/>
              <a:gd name="T62" fmla="*/ 2352 w 1440"/>
              <a:gd name="T63" fmla="*/ 65295 h 1476"/>
              <a:gd name="T64" fmla="*/ 0 w 1440"/>
              <a:gd name="T65" fmla="*/ 61264 h 1476"/>
              <a:gd name="T66" fmla="*/ 784 w 1440"/>
              <a:gd name="T67" fmla="*/ 40305 h 1476"/>
              <a:gd name="T68" fmla="*/ 6272 w 1440"/>
              <a:gd name="T69" fmla="*/ 38693 h 1476"/>
              <a:gd name="T70" fmla="*/ 15679 w 1440"/>
              <a:gd name="T71" fmla="*/ 39499 h 1476"/>
              <a:gd name="T72" fmla="*/ 20383 w 1440"/>
              <a:gd name="T73" fmla="*/ 40305 h 1476"/>
              <a:gd name="T74" fmla="*/ 34494 w 1440"/>
              <a:gd name="T75" fmla="*/ 37887 h 1476"/>
              <a:gd name="T76" fmla="*/ 32142 w 1440"/>
              <a:gd name="T77" fmla="*/ 19347 h 1476"/>
              <a:gd name="T78" fmla="*/ 34494 w 1440"/>
              <a:gd name="T79" fmla="*/ 16122 h 1476"/>
              <a:gd name="T80" fmla="*/ 36846 w 1440"/>
              <a:gd name="T81" fmla="*/ 14510 h 1476"/>
              <a:gd name="T82" fmla="*/ 42334 w 1440"/>
              <a:gd name="T83" fmla="*/ 16928 h 1476"/>
              <a:gd name="T84" fmla="*/ 47822 w 1440"/>
              <a:gd name="T85" fmla="*/ 18540 h 1476"/>
              <a:gd name="T86" fmla="*/ 46254 w 1440"/>
              <a:gd name="T87" fmla="*/ 11285 h 1476"/>
              <a:gd name="T88" fmla="*/ 47822 w 1440"/>
              <a:gd name="T89" fmla="*/ 6449 h 1476"/>
              <a:gd name="T90" fmla="*/ 55661 w 1440"/>
              <a:gd name="T91" fmla="*/ 5643 h 1476"/>
              <a:gd name="T92" fmla="*/ 58797 w 1440"/>
              <a:gd name="T93" fmla="*/ 0 h 1476"/>
              <a:gd name="T94" fmla="*/ 64285 w 1440"/>
              <a:gd name="T95" fmla="*/ 2418 h 1476"/>
              <a:gd name="T96" fmla="*/ 72908 w 1440"/>
              <a:gd name="T97" fmla="*/ 4031 h 1476"/>
              <a:gd name="T98" fmla="*/ 78396 w 1440"/>
              <a:gd name="T99" fmla="*/ 806 h 1476"/>
              <a:gd name="T100" fmla="*/ 81532 w 1440"/>
              <a:gd name="T101" fmla="*/ 3224 h 1476"/>
              <a:gd name="T102" fmla="*/ 86236 w 1440"/>
              <a:gd name="T103" fmla="*/ 8061 h 1476"/>
              <a:gd name="T104" fmla="*/ 90156 w 1440"/>
              <a:gd name="T105" fmla="*/ 18540 h 1476"/>
              <a:gd name="T106" fmla="*/ 91724 w 1440"/>
              <a:gd name="T107" fmla="*/ 33856 h 1476"/>
              <a:gd name="T108" fmla="*/ 94859 w 1440"/>
              <a:gd name="T109" fmla="*/ 41917 h 1476"/>
              <a:gd name="T110" fmla="*/ 92507 w 1440"/>
              <a:gd name="T111" fmla="*/ 49979 h 1476"/>
              <a:gd name="T112" fmla="*/ 97211 w 1440"/>
              <a:gd name="T113" fmla="*/ 53203 h 1476"/>
              <a:gd name="T114" fmla="*/ 94859 w 1440"/>
              <a:gd name="T115" fmla="*/ 57234 h 1476"/>
              <a:gd name="T116" fmla="*/ 90156 w 1440"/>
              <a:gd name="T117" fmla="*/ 61264 h 1476"/>
              <a:gd name="T118" fmla="*/ 85452 w 1440"/>
              <a:gd name="T119" fmla="*/ 61264 h 1476"/>
              <a:gd name="T120" fmla="*/ 82316 w 1440"/>
              <a:gd name="T121" fmla="*/ 69325 h 1476"/>
              <a:gd name="T122" fmla="*/ 83884 w 1440"/>
              <a:gd name="T123" fmla="*/ 78192 h 14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0"/>
              <a:gd name="T187" fmla="*/ 0 h 1476"/>
              <a:gd name="T188" fmla="*/ 1440 w 1440"/>
              <a:gd name="T189" fmla="*/ 1476 h 147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0" h="1476">
                <a:moveTo>
                  <a:pt x="1212" y="1164"/>
                </a:moveTo>
                <a:lnTo>
                  <a:pt x="1206" y="1170"/>
                </a:lnTo>
                <a:lnTo>
                  <a:pt x="1200" y="1176"/>
                </a:lnTo>
                <a:lnTo>
                  <a:pt x="1194" y="1176"/>
                </a:lnTo>
                <a:lnTo>
                  <a:pt x="1188" y="1188"/>
                </a:lnTo>
                <a:lnTo>
                  <a:pt x="1182" y="1194"/>
                </a:lnTo>
                <a:lnTo>
                  <a:pt x="1176" y="1194"/>
                </a:lnTo>
                <a:lnTo>
                  <a:pt x="1170" y="1194"/>
                </a:lnTo>
                <a:lnTo>
                  <a:pt x="1170" y="1200"/>
                </a:lnTo>
                <a:lnTo>
                  <a:pt x="1164" y="1206"/>
                </a:lnTo>
                <a:lnTo>
                  <a:pt x="1158" y="1206"/>
                </a:lnTo>
                <a:lnTo>
                  <a:pt x="1152" y="1212"/>
                </a:lnTo>
                <a:lnTo>
                  <a:pt x="1146" y="1212"/>
                </a:lnTo>
                <a:lnTo>
                  <a:pt x="1140" y="1224"/>
                </a:lnTo>
                <a:lnTo>
                  <a:pt x="1134" y="1230"/>
                </a:lnTo>
                <a:lnTo>
                  <a:pt x="1128" y="1236"/>
                </a:lnTo>
                <a:lnTo>
                  <a:pt x="1128" y="1242"/>
                </a:lnTo>
                <a:lnTo>
                  <a:pt x="1128" y="1254"/>
                </a:lnTo>
                <a:lnTo>
                  <a:pt x="1128" y="1260"/>
                </a:lnTo>
                <a:lnTo>
                  <a:pt x="1122" y="1260"/>
                </a:lnTo>
                <a:lnTo>
                  <a:pt x="1122" y="1266"/>
                </a:lnTo>
                <a:lnTo>
                  <a:pt x="1128" y="1278"/>
                </a:lnTo>
                <a:lnTo>
                  <a:pt x="1122" y="1278"/>
                </a:lnTo>
                <a:lnTo>
                  <a:pt x="1122" y="1284"/>
                </a:lnTo>
                <a:lnTo>
                  <a:pt x="1128" y="1290"/>
                </a:lnTo>
                <a:lnTo>
                  <a:pt x="1122" y="1296"/>
                </a:lnTo>
                <a:lnTo>
                  <a:pt x="1122" y="1302"/>
                </a:lnTo>
                <a:lnTo>
                  <a:pt x="1116" y="1302"/>
                </a:lnTo>
                <a:lnTo>
                  <a:pt x="1110" y="1314"/>
                </a:lnTo>
                <a:lnTo>
                  <a:pt x="1110" y="1320"/>
                </a:lnTo>
                <a:lnTo>
                  <a:pt x="1110" y="1326"/>
                </a:lnTo>
                <a:lnTo>
                  <a:pt x="1098" y="1332"/>
                </a:lnTo>
                <a:lnTo>
                  <a:pt x="1092" y="1338"/>
                </a:lnTo>
                <a:lnTo>
                  <a:pt x="1092" y="1344"/>
                </a:lnTo>
                <a:lnTo>
                  <a:pt x="1086" y="1350"/>
                </a:lnTo>
                <a:lnTo>
                  <a:pt x="1080" y="1350"/>
                </a:lnTo>
                <a:lnTo>
                  <a:pt x="1074" y="1350"/>
                </a:lnTo>
                <a:lnTo>
                  <a:pt x="1068" y="1356"/>
                </a:lnTo>
                <a:lnTo>
                  <a:pt x="1062" y="1356"/>
                </a:lnTo>
                <a:lnTo>
                  <a:pt x="1044" y="1356"/>
                </a:lnTo>
                <a:lnTo>
                  <a:pt x="1038" y="1362"/>
                </a:lnTo>
                <a:lnTo>
                  <a:pt x="1032" y="1368"/>
                </a:lnTo>
                <a:lnTo>
                  <a:pt x="1026" y="1368"/>
                </a:lnTo>
                <a:lnTo>
                  <a:pt x="1020" y="1374"/>
                </a:lnTo>
                <a:lnTo>
                  <a:pt x="1008" y="1374"/>
                </a:lnTo>
                <a:lnTo>
                  <a:pt x="1002" y="1374"/>
                </a:lnTo>
                <a:lnTo>
                  <a:pt x="996" y="1368"/>
                </a:lnTo>
                <a:lnTo>
                  <a:pt x="990" y="1374"/>
                </a:lnTo>
                <a:lnTo>
                  <a:pt x="978" y="1380"/>
                </a:lnTo>
                <a:lnTo>
                  <a:pt x="972" y="1380"/>
                </a:lnTo>
                <a:lnTo>
                  <a:pt x="954" y="1368"/>
                </a:lnTo>
                <a:lnTo>
                  <a:pt x="930" y="1368"/>
                </a:lnTo>
                <a:lnTo>
                  <a:pt x="918" y="1368"/>
                </a:lnTo>
                <a:lnTo>
                  <a:pt x="906" y="1368"/>
                </a:lnTo>
                <a:lnTo>
                  <a:pt x="894" y="1368"/>
                </a:lnTo>
                <a:lnTo>
                  <a:pt x="864" y="1374"/>
                </a:lnTo>
                <a:lnTo>
                  <a:pt x="852" y="1374"/>
                </a:lnTo>
                <a:lnTo>
                  <a:pt x="846" y="1386"/>
                </a:lnTo>
                <a:lnTo>
                  <a:pt x="846" y="1392"/>
                </a:lnTo>
                <a:lnTo>
                  <a:pt x="840" y="1398"/>
                </a:lnTo>
                <a:lnTo>
                  <a:pt x="840" y="1404"/>
                </a:lnTo>
                <a:lnTo>
                  <a:pt x="834" y="1416"/>
                </a:lnTo>
                <a:lnTo>
                  <a:pt x="828" y="1416"/>
                </a:lnTo>
                <a:lnTo>
                  <a:pt x="828" y="1410"/>
                </a:lnTo>
                <a:lnTo>
                  <a:pt x="822" y="1416"/>
                </a:lnTo>
                <a:lnTo>
                  <a:pt x="816" y="1422"/>
                </a:lnTo>
                <a:lnTo>
                  <a:pt x="804" y="1428"/>
                </a:lnTo>
                <a:lnTo>
                  <a:pt x="804" y="1434"/>
                </a:lnTo>
                <a:lnTo>
                  <a:pt x="804" y="1440"/>
                </a:lnTo>
                <a:lnTo>
                  <a:pt x="798" y="1446"/>
                </a:lnTo>
                <a:lnTo>
                  <a:pt x="798" y="1458"/>
                </a:lnTo>
                <a:lnTo>
                  <a:pt x="792" y="1464"/>
                </a:lnTo>
                <a:lnTo>
                  <a:pt x="786" y="1476"/>
                </a:lnTo>
                <a:lnTo>
                  <a:pt x="780" y="1470"/>
                </a:lnTo>
                <a:lnTo>
                  <a:pt x="774" y="1470"/>
                </a:lnTo>
                <a:lnTo>
                  <a:pt x="768" y="1470"/>
                </a:lnTo>
                <a:lnTo>
                  <a:pt x="762" y="1476"/>
                </a:lnTo>
                <a:lnTo>
                  <a:pt x="762" y="1470"/>
                </a:lnTo>
                <a:lnTo>
                  <a:pt x="762" y="1464"/>
                </a:lnTo>
                <a:lnTo>
                  <a:pt x="762" y="1458"/>
                </a:lnTo>
                <a:lnTo>
                  <a:pt x="756" y="1458"/>
                </a:lnTo>
                <a:lnTo>
                  <a:pt x="756" y="1452"/>
                </a:lnTo>
                <a:lnTo>
                  <a:pt x="756" y="1446"/>
                </a:lnTo>
                <a:lnTo>
                  <a:pt x="756" y="1440"/>
                </a:lnTo>
                <a:lnTo>
                  <a:pt x="750" y="1434"/>
                </a:lnTo>
                <a:lnTo>
                  <a:pt x="750" y="1428"/>
                </a:lnTo>
                <a:lnTo>
                  <a:pt x="750" y="1422"/>
                </a:lnTo>
                <a:lnTo>
                  <a:pt x="750" y="1416"/>
                </a:lnTo>
                <a:lnTo>
                  <a:pt x="744" y="1416"/>
                </a:lnTo>
                <a:lnTo>
                  <a:pt x="744" y="1410"/>
                </a:lnTo>
                <a:lnTo>
                  <a:pt x="738" y="1404"/>
                </a:lnTo>
                <a:lnTo>
                  <a:pt x="732" y="1398"/>
                </a:lnTo>
                <a:lnTo>
                  <a:pt x="732" y="1392"/>
                </a:lnTo>
                <a:lnTo>
                  <a:pt x="726" y="1386"/>
                </a:lnTo>
                <a:lnTo>
                  <a:pt x="726" y="1380"/>
                </a:lnTo>
                <a:lnTo>
                  <a:pt x="714" y="1368"/>
                </a:lnTo>
                <a:lnTo>
                  <a:pt x="708" y="1368"/>
                </a:lnTo>
                <a:lnTo>
                  <a:pt x="684" y="1332"/>
                </a:lnTo>
                <a:lnTo>
                  <a:pt x="666" y="1320"/>
                </a:lnTo>
                <a:lnTo>
                  <a:pt x="648" y="1302"/>
                </a:lnTo>
                <a:lnTo>
                  <a:pt x="630" y="1314"/>
                </a:lnTo>
                <a:lnTo>
                  <a:pt x="624" y="1314"/>
                </a:lnTo>
                <a:lnTo>
                  <a:pt x="624" y="1308"/>
                </a:lnTo>
                <a:lnTo>
                  <a:pt x="618" y="1308"/>
                </a:lnTo>
                <a:lnTo>
                  <a:pt x="612" y="1284"/>
                </a:lnTo>
                <a:lnTo>
                  <a:pt x="606" y="1254"/>
                </a:lnTo>
                <a:lnTo>
                  <a:pt x="606" y="1248"/>
                </a:lnTo>
                <a:lnTo>
                  <a:pt x="606" y="1242"/>
                </a:lnTo>
                <a:lnTo>
                  <a:pt x="612" y="1242"/>
                </a:lnTo>
                <a:lnTo>
                  <a:pt x="618" y="1236"/>
                </a:lnTo>
                <a:lnTo>
                  <a:pt x="618" y="1230"/>
                </a:lnTo>
                <a:lnTo>
                  <a:pt x="624" y="1224"/>
                </a:lnTo>
                <a:lnTo>
                  <a:pt x="630" y="1224"/>
                </a:lnTo>
                <a:lnTo>
                  <a:pt x="636" y="1218"/>
                </a:lnTo>
                <a:lnTo>
                  <a:pt x="636" y="1212"/>
                </a:lnTo>
                <a:lnTo>
                  <a:pt x="612" y="1200"/>
                </a:lnTo>
                <a:lnTo>
                  <a:pt x="606" y="1182"/>
                </a:lnTo>
                <a:lnTo>
                  <a:pt x="672" y="1182"/>
                </a:lnTo>
                <a:lnTo>
                  <a:pt x="690" y="1170"/>
                </a:lnTo>
                <a:lnTo>
                  <a:pt x="690" y="1152"/>
                </a:lnTo>
                <a:lnTo>
                  <a:pt x="678" y="1110"/>
                </a:lnTo>
                <a:lnTo>
                  <a:pt x="672" y="1092"/>
                </a:lnTo>
                <a:lnTo>
                  <a:pt x="660" y="1074"/>
                </a:lnTo>
                <a:lnTo>
                  <a:pt x="648" y="1068"/>
                </a:lnTo>
                <a:lnTo>
                  <a:pt x="642" y="1068"/>
                </a:lnTo>
                <a:lnTo>
                  <a:pt x="636" y="1062"/>
                </a:lnTo>
                <a:lnTo>
                  <a:pt x="624" y="1056"/>
                </a:lnTo>
                <a:lnTo>
                  <a:pt x="624" y="1050"/>
                </a:lnTo>
                <a:lnTo>
                  <a:pt x="618" y="1038"/>
                </a:lnTo>
                <a:lnTo>
                  <a:pt x="612" y="1038"/>
                </a:lnTo>
                <a:lnTo>
                  <a:pt x="612" y="1032"/>
                </a:lnTo>
                <a:lnTo>
                  <a:pt x="612" y="1026"/>
                </a:lnTo>
                <a:lnTo>
                  <a:pt x="600" y="1014"/>
                </a:lnTo>
                <a:lnTo>
                  <a:pt x="582" y="1008"/>
                </a:lnTo>
                <a:lnTo>
                  <a:pt x="576" y="1002"/>
                </a:lnTo>
                <a:lnTo>
                  <a:pt x="576" y="996"/>
                </a:lnTo>
                <a:lnTo>
                  <a:pt x="570" y="996"/>
                </a:lnTo>
                <a:lnTo>
                  <a:pt x="570" y="990"/>
                </a:lnTo>
                <a:lnTo>
                  <a:pt x="570" y="984"/>
                </a:lnTo>
                <a:lnTo>
                  <a:pt x="564" y="984"/>
                </a:lnTo>
                <a:lnTo>
                  <a:pt x="558" y="978"/>
                </a:lnTo>
                <a:lnTo>
                  <a:pt x="552" y="972"/>
                </a:lnTo>
                <a:lnTo>
                  <a:pt x="552" y="966"/>
                </a:lnTo>
                <a:lnTo>
                  <a:pt x="546" y="972"/>
                </a:lnTo>
                <a:lnTo>
                  <a:pt x="540" y="972"/>
                </a:lnTo>
                <a:lnTo>
                  <a:pt x="534" y="960"/>
                </a:lnTo>
                <a:lnTo>
                  <a:pt x="528" y="960"/>
                </a:lnTo>
                <a:lnTo>
                  <a:pt x="528" y="966"/>
                </a:lnTo>
                <a:lnTo>
                  <a:pt x="516" y="954"/>
                </a:lnTo>
                <a:lnTo>
                  <a:pt x="516" y="948"/>
                </a:lnTo>
                <a:lnTo>
                  <a:pt x="510" y="948"/>
                </a:lnTo>
                <a:lnTo>
                  <a:pt x="504" y="948"/>
                </a:lnTo>
                <a:lnTo>
                  <a:pt x="498" y="948"/>
                </a:lnTo>
                <a:lnTo>
                  <a:pt x="504" y="954"/>
                </a:lnTo>
                <a:lnTo>
                  <a:pt x="498" y="954"/>
                </a:lnTo>
                <a:lnTo>
                  <a:pt x="492" y="954"/>
                </a:lnTo>
                <a:lnTo>
                  <a:pt x="480" y="942"/>
                </a:lnTo>
                <a:lnTo>
                  <a:pt x="480" y="948"/>
                </a:lnTo>
                <a:lnTo>
                  <a:pt x="480" y="954"/>
                </a:lnTo>
                <a:lnTo>
                  <a:pt x="474" y="954"/>
                </a:lnTo>
                <a:lnTo>
                  <a:pt x="468" y="960"/>
                </a:lnTo>
                <a:lnTo>
                  <a:pt x="462" y="960"/>
                </a:lnTo>
                <a:lnTo>
                  <a:pt x="456" y="966"/>
                </a:lnTo>
                <a:lnTo>
                  <a:pt x="456" y="960"/>
                </a:lnTo>
                <a:lnTo>
                  <a:pt x="450" y="966"/>
                </a:lnTo>
                <a:lnTo>
                  <a:pt x="444" y="966"/>
                </a:lnTo>
                <a:lnTo>
                  <a:pt x="414" y="966"/>
                </a:lnTo>
                <a:lnTo>
                  <a:pt x="408" y="960"/>
                </a:lnTo>
                <a:lnTo>
                  <a:pt x="408" y="966"/>
                </a:lnTo>
                <a:lnTo>
                  <a:pt x="402" y="960"/>
                </a:lnTo>
                <a:lnTo>
                  <a:pt x="396" y="960"/>
                </a:lnTo>
                <a:lnTo>
                  <a:pt x="390" y="960"/>
                </a:lnTo>
                <a:lnTo>
                  <a:pt x="390" y="966"/>
                </a:lnTo>
                <a:lnTo>
                  <a:pt x="384" y="966"/>
                </a:lnTo>
                <a:lnTo>
                  <a:pt x="378" y="966"/>
                </a:lnTo>
                <a:lnTo>
                  <a:pt x="384" y="960"/>
                </a:lnTo>
                <a:lnTo>
                  <a:pt x="384" y="954"/>
                </a:lnTo>
                <a:lnTo>
                  <a:pt x="372" y="948"/>
                </a:lnTo>
                <a:lnTo>
                  <a:pt x="372" y="954"/>
                </a:lnTo>
                <a:lnTo>
                  <a:pt x="372" y="960"/>
                </a:lnTo>
                <a:lnTo>
                  <a:pt x="366" y="960"/>
                </a:lnTo>
                <a:lnTo>
                  <a:pt x="360" y="966"/>
                </a:lnTo>
                <a:lnTo>
                  <a:pt x="354" y="966"/>
                </a:lnTo>
                <a:lnTo>
                  <a:pt x="348" y="960"/>
                </a:lnTo>
                <a:lnTo>
                  <a:pt x="342" y="960"/>
                </a:lnTo>
                <a:lnTo>
                  <a:pt x="342" y="966"/>
                </a:lnTo>
                <a:lnTo>
                  <a:pt x="336" y="972"/>
                </a:lnTo>
                <a:lnTo>
                  <a:pt x="330" y="972"/>
                </a:lnTo>
                <a:lnTo>
                  <a:pt x="324" y="966"/>
                </a:lnTo>
                <a:lnTo>
                  <a:pt x="318" y="966"/>
                </a:lnTo>
                <a:lnTo>
                  <a:pt x="312" y="966"/>
                </a:lnTo>
                <a:lnTo>
                  <a:pt x="306" y="960"/>
                </a:lnTo>
                <a:lnTo>
                  <a:pt x="306" y="954"/>
                </a:lnTo>
                <a:lnTo>
                  <a:pt x="306" y="948"/>
                </a:lnTo>
                <a:lnTo>
                  <a:pt x="306" y="942"/>
                </a:lnTo>
                <a:lnTo>
                  <a:pt x="300" y="942"/>
                </a:lnTo>
                <a:lnTo>
                  <a:pt x="294" y="936"/>
                </a:lnTo>
                <a:lnTo>
                  <a:pt x="288" y="936"/>
                </a:lnTo>
                <a:lnTo>
                  <a:pt x="282" y="942"/>
                </a:lnTo>
                <a:lnTo>
                  <a:pt x="276" y="936"/>
                </a:lnTo>
                <a:lnTo>
                  <a:pt x="276" y="942"/>
                </a:lnTo>
                <a:lnTo>
                  <a:pt x="270" y="942"/>
                </a:lnTo>
                <a:lnTo>
                  <a:pt x="264" y="936"/>
                </a:lnTo>
                <a:lnTo>
                  <a:pt x="252" y="936"/>
                </a:lnTo>
                <a:lnTo>
                  <a:pt x="246" y="936"/>
                </a:lnTo>
                <a:lnTo>
                  <a:pt x="240" y="936"/>
                </a:lnTo>
                <a:lnTo>
                  <a:pt x="234" y="936"/>
                </a:lnTo>
                <a:lnTo>
                  <a:pt x="240" y="924"/>
                </a:lnTo>
                <a:lnTo>
                  <a:pt x="234" y="924"/>
                </a:lnTo>
                <a:lnTo>
                  <a:pt x="228" y="918"/>
                </a:lnTo>
                <a:lnTo>
                  <a:pt x="228" y="906"/>
                </a:lnTo>
                <a:lnTo>
                  <a:pt x="222" y="900"/>
                </a:lnTo>
                <a:lnTo>
                  <a:pt x="216" y="900"/>
                </a:lnTo>
                <a:lnTo>
                  <a:pt x="210" y="900"/>
                </a:lnTo>
                <a:lnTo>
                  <a:pt x="210" y="906"/>
                </a:lnTo>
                <a:lnTo>
                  <a:pt x="204" y="906"/>
                </a:lnTo>
                <a:lnTo>
                  <a:pt x="198" y="906"/>
                </a:lnTo>
                <a:lnTo>
                  <a:pt x="210" y="900"/>
                </a:lnTo>
                <a:lnTo>
                  <a:pt x="210" y="894"/>
                </a:lnTo>
                <a:lnTo>
                  <a:pt x="216" y="888"/>
                </a:lnTo>
                <a:lnTo>
                  <a:pt x="204" y="882"/>
                </a:lnTo>
                <a:lnTo>
                  <a:pt x="204" y="894"/>
                </a:lnTo>
                <a:lnTo>
                  <a:pt x="198" y="894"/>
                </a:lnTo>
                <a:lnTo>
                  <a:pt x="192" y="900"/>
                </a:lnTo>
                <a:lnTo>
                  <a:pt x="186" y="894"/>
                </a:lnTo>
                <a:lnTo>
                  <a:pt x="180" y="894"/>
                </a:lnTo>
                <a:lnTo>
                  <a:pt x="174" y="894"/>
                </a:lnTo>
                <a:lnTo>
                  <a:pt x="168" y="900"/>
                </a:lnTo>
                <a:lnTo>
                  <a:pt x="162" y="906"/>
                </a:lnTo>
                <a:lnTo>
                  <a:pt x="156" y="906"/>
                </a:lnTo>
                <a:lnTo>
                  <a:pt x="150" y="900"/>
                </a:lnTo>
                <a:lnTo>
                  <a:pt x="144" y="894"/>
                </a:lnTo>
                <a:lnTo>
                  <a:pt x="138" y="894"/>
                </a:lnTo>
                <a:lnTo>
                  <a:pt x="132" y="888"/>
                </a:lnTo>
                <a:lnTo>
                  <a:pt x="126" y="888"/>
                </a:lnTo>
                <a:lnTo>
                  <a:pt x="120" y="888"/>
                </a:lnTo>
                <a:lnTo>
                  <a:pt x="114" y="894"/>
                </a:lnTo>
                <a:lnTo>
                  <a:pt x="120" y="900"/>
                </a:lnTo>
                <a:lnTo>
                  <a:pt x="126" y="900"/>
                </a:lnTo>
                <a:lnTo>
                  <a:pt x="132" y="900"/>
                </a:lnTo>
                <a:lnTo>
                  <a:pt x="132" y="906"/>
                </a:lnTo>
                <a:lnTo>
                  <a:pt x="126" y="912"/>
                </a:lnTo>
                <a:lnTo>
                  <a:pt x="126" y="918"/>
                </a:lnTo>
                <a:lnTo>
                  <a:pt x="114" y="918"/>
                </a:lnTo>
                <a:lnTo>
                  <a:pt x="108" y="924"/>
                </a:lnTo>
                <a:lnTo>
                  <a:pt x="102" y="924"/>
                </a:lnTo>
                <a:lnTo>
                  <a:pt x="90" y="924"/>
                </a:lnTo>
                <a:lnTo>
                  <a:pt x="84" y="924"/>
                </a:lnTo>
                <a:lnTo>
                  <a:pt x="78" y="924"/>
                </a:lnTo>
                <a:lnTo>
                  <a:pt x="60" y="924"/>
                </a:lnTo>
                <a:lnTo>
                  <a:pt x="54" y="942"/>
                </a:lnTo>
                <a:lnTo>
                  <a:pt x="48" y="936"/>
                </a:lnTo>
                <a:lnTo>
                  <a:pt x="42" y="930"/>
                </a:lnTo>
                <a:lnTo>
                  <a:pt x="36" y="930"/>
                </a:lnTo>
                <a:lnTo>
                  <a:pt x="30" y="936"/>
                </a:lnTo>
                <a:lnTo>
                  <a:pt x="30" y="930"/>
                </a:lnTo>
                <a:lnTo>
                  <a:pt x="30" y="924"/>
                </a:lnTo>
                <a:lnTo>
                  <a:pt x="18" y="918"/>
                </a:lnTo>
                <a:lnTo>
                  <a:pt x="18" y="912"/>
                </a:lnTo>
                <a:lnTo>
                  <a:pt x="12" y="912"/>
                </a:lnTo>
                <a:lnTo>
                  <a:pt x="6" y="912"/>
                </a:lnTo>
                <a:lnTo>
                  <a:pt x="6" y="900"/>
                </a:lnTo>
                <a:lnTo>
                  <a:pt x="6" y="894"/>
                </a:lnTo>
                <a:lnTo>
                  <a:pt x="0" y="870"/>
                </a:lnTo>
                <a:lnTo>
                  <a:pt x="6" y="846"/>
                </a:lnTo>
                <a:lnTo>
                  <a:pt x="6" y="810"/>
                </a:lnTo>
                <a:lnTo>
                  <a:pt x="12" y="774"/>
                </a:lnTo>
                <a:lnTo>
                  <a:pt x="12" y="756"/>
                </a:lnTo>
                <a:lnTo>
                  <a:pt x="18" y="744"/>
                </a:lnTo>
                <a:lnTo>
                  <a:pt x="18" y="732"/>
                </a:lnTo>
                <a:lnTo>
                  <a:pt x="12" y="576"/>
                </a:lnTo>
                <a:lnTo>
                  <a:pt x="12" y="570"/>
                </a:lnTo>
                <a:lnTo>
                  <a:pt x="18" y="564"/>
                </a:lnTo>
                <a:lnTo>
                  <a:pt x="24" y="558"/>
                </a:lnTo>
                <a:lnTo>
                  <a:pt x="30" y="552"/>
                </a:lnTo>
                <a:lnTo>
                  <a:pt x="36" y="552"/>
                </a:lnTo>
                <a:lnTo>
                  <a:pt x="42" y="552"/>
                </a:lnTo>
                <a:lnTo>
                  <a:pt x="66" y="552"/>
                </a:lnTo>
                <a:lnTo>
                  <a:pt x="78" y="558"/>
                </a:lnTo>
                <a:lnTo>
                  <a:pt x="90" y="558"/>
                </a:lnTo>
                <a:lnTo>
                  <a:pt x="108" y="558"/>
                </a:lnTo>
                <a:lnTo>
                  <a:pt x="144" y="558"/>
                </a:lnTo>
                <a:lnTo>
                  <a:pt x="204" y="552"/>
                </a:lnTo>
                <a:lnTo>
                  <a:pt x="210" y="558"/>
                </a:lnTo>
                <a:lnTo>
                  <a:pt x="216" y="558"/>
                </a:lnTo>
                <a:lnTo>
                  <a:pt x="210" y="564"/>
                </a:lnTo>
                <a:lnTo>
                  <a:pt x="216" y="564"/>
                </a:lnTo>
                <a:lnTo>
                  <a:pt x="222" y="564"/>
                </a:lnTo>
                <a:lnTo>
                  <a:pt x="240" y="564"/>
                </a:lnTo>
                <a:lnTo>
                  <a:pt x="258" y="564"/>
                </a:lnTo>
                <a:lnTo>
                  <a:pt x="264" y="570"/>
                </a:lnTo>
                <a:lnTo>
                  <a:pt x="276" y="570"/>
                </a:lnTo>
                <a:lnTo>
                  <a:pt x="282" y="564"/>
                </a:lnTo>
                <a:lnTo>
                  <a:pt x="294" y="564"/>
                </a:lnTo>
                <a:lnTo>
                  <a:pt x="294" y="570"/>
                </a:lnTo>
                <a:lnTo>
                  <a:pt x="300" y="570"/>
                </a:lnTo>
                <a:lnTo>
                  <a:pt x="378" y="564"/>
                </a:lnTo>
                <a:lnTo>
                  <a:pt x="408" y="558"/>
                </a:lnTo>
                <a:lnTo>
                  <a:pt x="432" y="552"/>
                </a:lnTo>
                <a:lnTo>
                  <a:pt x="450" y="546"/>
                </a:lnTo>
                <a:lnTo>
                  <a:pt x="468" y="546"/>
                </a:lnTo>
                <a:lnTo>
                  <a:pt x="468" y="552"/>
                </a:lnTo>
                <a:lnTo>
                  <a:pt x="504" y="552"/>
                </a:lnTo>
                <a:lnTo>
                  <a:pt x="510" y="534"/>
                </a:lnTo>
                <a:lnTo>
                  <a:pt x="516" y="510"/>
                </a:lnTo>
                <a:lnTo>
                  <a:pt x="522" y="510"/>
                </a:lnTo>
                <a:lnTo>
                  <a:pt x="528" y="420"/>
                </a:lnTo>
                <a:lnTo>
                  <a:pt x="522" y="414"/>
                </a:lnTo>
                <a:lnTo>
                  <a:pt x="516" y="396"/>
                </a:lnTo>
                <a:lnTo>
                  <a:pt x="510" y="372"/>
                </a:lnTo>
                <a:lnTo>
                  <a:pt x="498" y="348"/>
                </a:lnTo>
                <a:lnTo>
                  <a:pt x="474" y="282"/>
                </a:lnTo>
                <a:lnTo>
                  <a:pt x="474" y="270"/>
                </a:lnTo>
                <a:lnTo>
                  <a:pt x="480" y="258"/>
                </a:lnTo>
                <a:lnTo>
                  <a:pt x="486" y="258"/>
                </a:lnTo>
                <a:lnTo>
                  <a:pt x="492" y="252"/>
                </a:lnTo>
                <a:lnTo>
                  <a:pt x="486" y="246"/>
                </a:lnTo>
                <a:lnTo>
                  <a:pt x="492" y="246"/>
                </a:lnTo>
                <a:lnTo>
                  <a:pt x="504" y="234"/>
                </a:lnTo>
                <a:lnTo>
                  <a:pt x="510" y="228"/>
                </a:lnTo>
                <a:lnTo>
                  <a:pt x="516" y="228"/>
                </a:lnTo>
                <a:lnTo>
                  <a:pt x="516" y="222"/>
                </a:lnTo>
                <a:lnTo>
                  <a:pt x="516" y="216"/>
                </a:lnTo>
                <a:lnTo>
                  <a:pt x="522" y="216"/>
                </a:lnTo>
                <a:lnTo>
                  <a:pt x="528" y="210"/>
                </a:lnTo>
                <a:lnTo>
                  <a:pt x="534" y="210"/>
                </a:lnTo>
                <a:lnTo>
                  <a:pt x="540" y="210"/>
                </a:lnTo>
                <a:lnTo>
                  <a:pt x="546" y="210"/>
                </a:lnTo>
                <a:lnTo>
                  <a:pt x="552" y="210"/>
                </a:lnTo>
                <a:lnTo>
                  <a:pt x="564" y="210"/>
                </a:lnTo>
                <a:lnTo>
                  <a:pt x="570" y="216"/>
                </a:lnTo>
                <a:lnTo>
                  <a:pt x="576" y="216"/>
                </a:lnTo>
                <a:lnTo>
                  <a:pt x="588" y="228"/>
                </a:lnTo>
                <a:lnTo>
                  <a:pt x="594" y="234"/>
                </a:lnTo>
                <a:lnTo>
                  <a:pt x="600" y="240"/>
                </a:lnTo>
                <a:lnTo>
                  <a:pt x="618" y="246"/>
                </a:lnTo>
                <a:lnTo>
                  <a:pt x="624" y="246"/>
                </a:lnTo>
                <a:lnTo>
                  <a:pt x="636" y="252"/>
                </a:lnTo>
                <a:lnTo>
                  <a:pt x="654" y="252"/>
                </a:lnTo>
                <a:lnTo>
                  <a:pt x="654" y="258"/>
                </a:lnTo>
                <a:lnTo>
                  <a:pt x="666" y="264"/>
                </a:lnTo>
                <a:lnTo>
                  <a:pt x="672" y="264"/>
                </a:lnTo>
                <a:lnTo>
                  <a:pt x="678" y="264"/>
                </a:lnTo>
                <a:lnTo>
                  <a:pt x="696" y="258"/>
                </a:lnTo>
                <a:lnTo>
                  <a:pt x="696" y="252"/>
                </a:lnTo>
                <a:lnTo>
                  <a:pt x="696" y="246"/>
                </a:lnTo>
                <a:lnTo>
                  <a:pt x="690" y="234"/>
                </a:lnTo>
                <a:lnTo>
                  <a:pt x="684" y="210"/>
                </a:lnTo>
                <a:lnTo>
                  <a:pt x="678" y="192"/>
                </a:lnTo>
                <a:lnTo>
                  <a:pt x="672" y="174"/>
                </a:lnTo>
                <a:lnTo>
                  <a:pt x="672" y="168"/>
                </a:lnTo>
                <a:lnTo>
                  <a:pt x="672" y="162"/>
                </a:lnTo>
                <a:lnTo>
                  <a:pt x="672" y="156"/>
                </a:lnTo>
                <a:lnTo>
                  <a:pt x="684" y="132"/>
                </a:lnTo>
                <a:lnTo>
                  <a:pt x="684" y="120"/>
                </a:lnTo>
                <a:lnTo>
                  <a:pt x="684" y="108"/>
                </a:lnTo>
                <a:lnTo>
                  <a:pt x="678" y="102"/>
                </a:lnTo>
                <a:lnTo>
                  <a:pt x="678" y="96"/>
                </a:lnTo>
                <a:lnTo>
                  <a:pt x="684" y="96"/>
                </a:lnTo>
                <a:lnTo>
                  <a:pt x="696" y="90"/>
                </a:lnTo>
                <a:lnTo>
                  <a:pt x="702" y="84"/>
                </a:lnTo>
                <a:lnTo>
                  <a:pt x="720" y="72"/>
                </a:lnTo>
                <a:lnTo>
                  <a:pt x="738" y="66"/>
                </a:lnTo>
                <a:lnTo>
                  <a:pt x="756" y="60"/>
                </a:lnTo>
                <a:lnTo>
                  <a:pt x="768" y="60"/>
                </a:lnTo>
                <a:lnTo>
                  <a:pt x="798" y="72"/>
                </a:lnTo>
                <a:lnTo>
                  <a:pt x="804" y="78"/>
                </a:lnTo>
                <a:lnTo>
                  <a:pt x="816" y="84"/>
                </a:lnTo>
                <a:lnTo>
                  <a:pt x="822" y="84"/>
                </a:lnTo>
                <a:lnTo>
                  <a:pt x="828" y="72"/>
                </a:lnTo>
                <a:lnTo>
                  <a:pt x="828" y="60"/>
                </a:lnTo>
                <a:lnTo>
                  <a:pt x="828" y="36"/>
                </a:lnTo>
                <a:lnTo>
                  <a:pt x="828" y="24"/>
                </a:lnTo>
                <a:lnTo>
                  <a:pt x="828" y="12"/>
                </a:lnTo>
                <a:lnTo>
                  <a:pt x="834" y="12"/>
                </a:lnTo>
                <a:lnTo>
                  <a:pt x="852" y="6"/>
                </a:lnTo>
                <a:lnTo>
                  <a:pt x="876" y="6"/>
                </a:lnTo>
                <a:lnTo>
                  <a:pt x="894" y="6"/>
                </a:lnTo>
                <a:lnTo>
                  <a:pt x="906" y="12"/>
                </a:lnTo>
                <a:lnTo>
                  <a:pt x="912" y="24"/>
                </a:lnTo>
                <a:lnTo>
                  <a:pt x="924" y="24"/>
                </a:lnTo>
                <a:lnTo>
                  <a:pt x="930" y="30"/>
                </a:lnTo>
                <a:lnTo>
                  <a:pt x="936" y="30"/>
                </a:lnTo>
                <a:lnTo>
                  <a:pt x="936" y="36"/>
                </a:lnTo>
                <a:lnTo>
                  <a:pt x="942" y="36"/>
                </a:lnTo>
                <a:lnTo>
                  <a:pt x="948" y="42"/>
                </a:lnTo>
                <a:lnTo>
                  <a:pt x="960" y="48"/>
                </a:lnTo>
                <a:lnTo>
                  <a:pt x="966" y="48"/>
                </a:lnTo>
                <a:lnTo>
                  <a:pt x="1026" y="60"/>
                </a:lnTo>
                <a:lnTo>
                  <a:pt x="1050" y="60"/>
                </a:lnTo>
                <a:lnTo>
                  <a:pt x="1050" y="54"/>
                </a:lnTo>
                <a:lnTo>
                  <a:pt x="1062" y="54"/>
                </a:lnTo>
                <a:lnTo>
                  <a:pt x="1074" y="48"/>
                </a:lnTo>
                <a:lnTo>
                  <a:pt x="1086" y="42"/>
                </a:lnTo>
                <a:lnTo>
                  <a:pt x="1104" y="36"/>
                </a:lnTo>
                <a:lnTo>
                  <a:pt x="1116" y="30"/>
                </a:lnTo>
                <a:lnTo>
                  <a:pt x="1122" y="24"/>
                </a:lnTo>
                <a:lnTo>
                  <a:pt x="1128" y="18"/>
                </a:lnTo>
                <a:lnTo>
                  <a:pt x="1134" y="18"/>
                </a:lnTo>
                <a:lnTo>
                  <a:pt x="1140" y="12"/>
                </a:lnTo>
                <a:lnTo>
                  <a:pt x="1146" y="6"/>
                </a:lnTo>
                <a:lnTo>
                  <a:pt x="1158" y="0"/>
                </a:lnTo>
                <a:lnTo>
                  <a:pt x="1158" y="6"/>
                </a:lnTo>
                <a:lnTo>
                  <a:pt x="1164" y="6"/>
                </a:lnTo>
                <a:lnTo>
                  <a:pt x="1164" y="12"/>
                </a:lnTo>
                <a:lnTo>
                  <a:pt x="1170" y="24"/>
                </a:lnTo>
                <a:lnTo>
                  <a:pt x="1176" y="36"/>
                </a:lnTo>
                <a:lnTo>
                  <a:pt x="1188" y="42"/>
                </a:lnTo>
                <a:lnTo>
                  <a:pt x="1200" y="54"/>
                </a:lnTo>
                <a:lnTo>
                  <a:pt x="1224" y="84"/>
                </a:lnTo>
                <a:lnTo>
                  <a:pt x="1224" y="90"/>
                </a:lnTo>
                <a:lnTo>
                  <a:pt x="1236" y="96"/>
                </a:lnTo>
                <a:lnTo>
                  <a:pt x="1236" y="108"/>
                </a:lnTo>
                <a:lnTo>
                  <a:pt x="1248" y="114"/>
                </a:lnTo>
                <a:lnTo>
                  <a:pt x="1254" y="114"/>
                </a:lnTo>
                <a:lnTo>
                  <a:pt x="1260" y="114"/>
                </a:lnTo>
                <a:lnTo>
                  <a:pt x="1296" y="114"/>
                </a:lnTo>
                <a:lnTo>
                  <a:pt x="1302" y="114"/>
                </a:lnTo>
                <a:lnTo>
                  <a:pt x="1320" y="108"/>
                </a:lnTo>
                <a:lnTo>
                  <a:pt x="1326" y="108"/>
                </a:lnTo>
                <a:lnTo>
                  <a:pt x="1326" y="138"/>
                </a:lnTo>
                <a:lnTo>
                  <a:pt x="1326" y="210"/>
                </a:lnTo>
                <a:lnTo>
                  <a:pt x="1320" y="252"/>
                </a:lnTo>
                <a:lnTo>
                  <a:pt x="1320" y="270"/>
                </a:lnTo>
                <a:lnTo>
                  <a:pt x="1320" y="288"/>
                </a:lnTo>
                <a:lnTo>
                  <a:pt x="1320" y="318"/>
                </a:lnTo>
                <a:lnTo>
                  <a:pt x="1326" y="354"/>
                </a:lnTo>
                <a:lnTo>
                  <a:pt x="1326" y="372"/>
                </a:lnTo>
                <a:lnTo>
                  <a:pt x="1332" y="420"/>
                </a:lnTo>
                <a:lnTo>
                  <a:pt x="1332" y="450"/>
                </a:lnTo>
                <a:lnTo>
                  <a:pt x="1338" y="480"/>
                </a:lnTo>
                <a:lnTo>
                  <a:pt x="1344" y="486"/>
                </a:lnTo>
                <a:lnTo>
                  <a:pt x="1338" y="492"/>
                </a:lnTo>
                <a:lnTo>
                  <a:pt x="1344" y="492"/>
                </a:lnTo>
                <a:lnTo>
                  <a:pt x="1344" y="498"/>
                </a:lnTo>
                <a:lnTo>
                  <a:pt x="1350" y="498"/>
                </a:lnTo>
                <a:lnTo>
                  <a:pt x="1350" y="522"/>
                </a:lnTo>
                <a:lnTo>
                  <a:pt x="1362" y="564"/>
                </a:lnTo>
                <a:lnTo>
                  <a:pt x="1368" y="582"/>
                </a:lnTo>
                <a:lnTo>
                  <a:pt x="1380" y="600"/>
                </a:lnTo>
                <a:lnTo>
                  <a:pt x="1386" y="636"/>
                </a:lnTo>
                <a:lnTo>
                  <a:pt x="1380" y="660"/>
                </a:lnTo>
                <a:lnTo>
                  <a:pt x="1380" y="678"/>
                </a:lnTo>
                <a:lnTo>
                  <a:pt x="1380" y="684"/>
                </a:lnTo>
                <a:lnTo>
                  <a:pt x="1374" y="684"/>
                </a:lnTo>
                <a:lnTo>
                  <a:pt x="1368" y="690"/>
                </a:lnTo>
                <a:lnTo>
                  <a:pt x="1356" y="702"/>
                </a:lnTo>
                <a:lnTo>
                  <a:pt x="1350" y="708"/>
                </a:lnTo>
                <a:lnTo>
                  <a:pt x="1356" y="714"/>
                </a:lnTo>
                <a:lnTo>
                  <a:pt x="1368" y="726"/>
                </a:lnTo>
                <a:lnTo>
                  <a:pt x="1380" y="738"/>
                </a:lnTo>
                <a:lnTo>
                  <a:pt x="1386" y="744"/>
                </a:lnTo>
                <a:lnTo>
                  <a:pt x="1392" y="744"/>
                </a:lnTo>
                <a:lnTo>
                  <a:pt x="1410" y="750"/>
                </a:lnTo>
                <a:lnTo>
                  <a:pt x="1416" y="756"/>
                </a:lnTo>
                <a:lnTo>
                  <a:pt x="1422" y="756"/>
                </a:lnTo>
                <a:lnTo>
                  <a:pt x="1422" y="762"/>
                </a:lnTo>
                <a:lnTo>
                  <a:pt x="1428" y="774"/>
                </a:lnTo>
                <a:lnTo>
                  <a:pt x="1428" y="780"/>
                </a:lnTo>
                <a:lnTo>
                  <a:pt x="1434" y="780"/>
                </a:lnTo>
                <a:lnTo>
                  <a:pt x="1440" y="798"/>
                </a:lnTo>
                <a:lnTo>
                  <a:pt x="1422" y="816"/>
                </a:lnTo>
                <a:lnTo>
                  <a:pt x="1386" y="810"/>
                </a:lnTo>
                <a:lnTo>
                  <a:pt x="1380" y="816"/>
                </a:lnTo>
                <a:lnTo>
                  <a:pt x="1374" y="840"/>
                </a:lnTo>
                <a:lnTo>
                  <a:pt x="1350" y="852"/>
                </a:lnTo>
                <a:lnTo>
                  <a:pt x="1350" y="858"/>
                </a:lnTo>
                <a:lnTo>
                  <a:pt x="1350" y="864"/>
                </a:lnTo>
                <a:lnTo>
                  <a:pt x="1344" y="864"/>
                </a:lnTo>
                <a:lnTo>
                  <a:pt x="1338" y="870"/>
                </a:lnTo>
                <a:lnTo>
                  <a:pt x="1332" y="876"/>
                </a:lnTo>
                <a:lnTo>
                  <a:pt x="1314" y="876"/>
                </a:lnTo>
                <a:lnTo>
                  <a:pt x="1314" y="870"/>
                </a:lnTo>
                <a:lnTo>
                  <a:pt x="1308" y="870"/>
                </a:lnTo>
                <a:lnTo>
                  <a:pt x="1302" y="864"/>
                </a:lnTo>
                <a:lnTo>
                  <a:pt x="1296" y="864"/>
                </a:lnTo>
                <a:lnTo>
                  <a:pt x="1284" y="870"/>
                </a:lnTo>
                <a:lnTo>
                  <a:pt x="1266" y="870"/>
                </a:lnTo>
                <a:lnTo>
                  <a:pt x="1260" y="870"/>
                </a:lnTo>
                <a:lnTo>
                  <a:pt x="1248" y="876"/>
                </a:lnTo>
                <a:lnTo>
                  <a:pt x="1236" y="876"/>
                </a:lnTo>
                <a:lnTo>
                  <a:pt x="1230" y="882"/>
                </a:lnTo>
                <a:lnTo>
                  <a:pt x="1224" y="894"/>
                </a:lnTo>
                <a:lnTo>
                  <a:pt x="1218" y="918"/>
                </a:lnTo>
                <a:lnTo>
                  <a:pt x="1218" y="930"/>
                </a:lnTo>
                <a:lnTo>
                  <a:pt x="1218" y="942"/>
                </a:lnTo>
                <a:lnTo>
                  <a:pt x="1212" y="948"/>
                </a:lnTo>
                <a:lnTo>
                  <a:pt x="1200" y="984"/>
                </a:lnTo>
                <a:lnTo>
                  <a:pt x="1194" y="1008"/>
                </a:lnTo>
                <a:lnTo>
                  <a:pt x="1218" y="1038"/>
                </a:lnTo>
                <a:lnTo>
                  <a:pt x="1224" y="1044"/>
                </a:lnTo>
                <a:lnTo>
                  <a:pt x="1224" y="1062"/>
                </a:lnTo>
                <a:lnTo>
                  <a:pt x="1236" y="1080"/>
                </a:lnTo>
                <a:lnTo>
                  <a:pt x="1236" y="1086"/>
                </a:lnTo>
                <a:lnTo>
                  <a:pt x="1230" y="1092"/>
                </a:lnTo>
                <a:lnTo>
                  <a:pt x="1224" y="1110"/>
                </a:lnTo>
                <a:lnTo>
                  <a:pt x="1218" y="1122"/>
                </a:lnTo>
                <a:lnTo>
                  <a:pt x="1224" y="1140"/>
                </a:lnTo>
                <a:lnTo>
                  <a:pt x="1218" y="1146"/>
                </a:lnTo>
                <a:lnTo>
                  <a:pt x="1218" y="1152"/>
                </a:lnTo>
                <a:lnTo>
                  <a:pt x="1212" y="116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50" name="Freeform 37"/>
          <p:cNvSpPr>
            <a:spLocks/>
          </p:cNvSpPr>
          <p:nvPr/>
        </p:nvSpPr>
        <p:spPr bwMode="gray">
          <a:xfrm>
            <a:off x="3513138" y="1787525"/>
            <a:ext cx="1093787" cy="1149350"/>
          </a:xfrm>
          <a:custGeom>
            <a:avLst/>
            <a:gdLst>
              <a:gd name="T0" fmla="*/ 58668 w 1398"/>
              <a:gd name="T1" fmla="*/ 38648 h 1428"/>
              <a:gd name="T2" fmla="*/ 53192 w 1398"/>
              <a:gd name="T3" fmla="*/ 43479 h 1428"/>
              <a:gd name="T4" fmla="*/ 44588 w 1398"/>
              <a:gd name="T5" fmla="*/ 47505 h 1428"/>
              <a:gd name="T6" fmla="*/ 43023 w 1398"/>
              <a:gd name="T7" fmla="*/ 54752 h 1428"/>
              <a:gd name="T8" fmla="*/ 43023 w 1398"/>
              <a:gd name="T9" fmla="*/ 61998 h 1428"/>
              <a:gd name="T10" fmla="*/ 44588 w 1398"/>
              <a:gd name="T11" fmla="*/ 65219 h 1428"/>
              <a:gd name="T12" fmla="*/ 43805 w 1398"/>
              <a:gd name="T13" fmla="*/ 69245 h 1428"/>
              <a:gd name="T14" fmla="*/ 44588 w 1398"/>
              <a:gd name="T15" fmla="*/ 71660 h 1428"/>
              <a:gd name="T16" fmla="*/ 45370 w 1398"/>
              <a:gd name="T17" fmla="*/ 74076 h 1428"/>
              <a:gd name="T18" fmla="*/ 45370 w 1398"/>
              <a:gd name="T19" fmla="*/ 77297 h 1428"/>
              <a:gd name="T20" fmla="*/ 38330 w 1398"/>
              <a:gd name="T21" fmla="*/ 80517 h 1428"/>
              <a:gd name="T22" fmla="*/ 36765 w 1398"/>
              <a:gd name="T23" fmla="*/ 86959 h 1428"/>
              <a:gd name="T24" fmla="*/ 37548 w 1398"/>
              <a:gd name="T25" fmla="*/ 90985 h 1428"/>
              <a:gd name="T26" fmla="*/ 33636 w 1398"/>
              <a:gd name="T27" fmla="*/ 91790 h 1428"/>
              <a:gd name="T28" fmla="*/ 30507 w 1398"/>
              <a:gd name="T29" fmla="*/ 90985 h 1428"/>
              <a:gd name="T30" fmla="*/ 25814 w 1398"/>
              <a:gd name="T31" fmla="*/ 87764 h 1428"/>
              <a:gd name="T32" fmla="*/ 22685 w 1398"/>
              <a:gd name="T33" fmla="*/ 91790 h 1428"/>
              <a:gd name="T34" fmla="*/ 17209 w 1398"/>
              <a:gd name="T35" fmla="*/ 92595 h 1428"/>
              <a:gd name="T36" fmla="*/ 16427 w 1398"/>
              <a:gd name="T37" fmla="*/ 97426 h 1428"/>
              <a:gd name="T38" fmla="*/ 9387 w 1398"/>
              <a:gd name="T39" fmla="*/ 95816 h 1428"/>
              <a:gd name="T40" fmla="*/ 7040 w 1398"/>
              <a:gd name="T41" fmla="*/ 90985 h 1428"/>
              <a:gd name="T42" fmla="*/ 1564 w 1398"/>
              <a:gd name="T43" fmla="*/ 87764 h 1428"/>
              <a:gd name="T44" fmla="*/ 3129 w 1398"/>
              <a:gd name="T45" fmla="*/ 82933 h 1428"/>
              <a:gd name="T46" fmla="*/ 1564 w 1398"/>
              <a:gd name="T47" fmla="*/ 73271 h 1428"/>
              <a:gd name="T48" fmla="*/ 4693 w 1398"/>
              <a:gd name="T49" fmla="*/ 68440 h 1428"/>
              <a:gd name="T50" fmla="*/ 7822 w 1398"/>
              <a:gd name="T51" fmla="*/ 68440 h 1428"/>
              <a:gd name="T52" fmla="*/ 11734 w 1398"/>
              <a:gd name="T53" fmla="*/ 66024 h 1428"/>
              <a:gd name="T54" fmla="*/ 15645 w 1398"/>
              <a:gd name="T55" fmla="*/ 61998 h 1428"/>
              <a:gd name="T56" fmla="*/ 12516 w 1398"/>
              <a:gd name="T57" fmla="*/ 58778 h 1428"/>
              <a:gd name="T58" fmla="*/ 12516 w 1398"/>
              <a:gd name="T59" fmla="*/ 55557 h 1428"/>
              <a:gd name="T60" fmla="*/ 10951 w 1398"/>
              <a:gd name="T61" fmla="*/ 43479 h 1428"/>
              <a:gd name="T62" fmla="*/ 9387 w 1398"/>
              <a:gd name="T63" fmla="*/ 38648 h 1428"/>
              <a:gd name="T64" fmla="*/ 8605 w 1398"/>
              <a:gd name="T65" fmla="*/ 24960 h 1428"/>
              <a:gd name="T66" fmla="*/ 10951 w 1398"/>
              <a:gd name="T67" fmla="*/ 14493 h 1428"/>
              <a:gd name="T68" fmla="*/ 14863 w 1398"/>
              <a:gd name="T69" fmla="*/ 12078 h 1428"/>
              <a:gd name="T70" fmla="*/ 20338 w 1398"/>
              <a:gd name="T71" fmla="*/ 10467 h 1428"/>
              <a:gd name="T72" fmla="*/ 26596 w 1398"/>
              <a:gd name="T73" fmla="*/ 9662 h 1428"/>
              <a:gd name="T74" fmla="*/ 30507 w 1398"/>
              <a:gd name="T75" fmla="*/ 7247 h 1428"/>
              <a:gd name="T76" fmla="*/ 33636 w 1398"/>
              <a:gd name="T77" fmla="*/ 5636 h 1428"/>
              <a:gd name="T78" fmla="*/ 37548 w 1398"/>
              <a:gd name="T79" fmla="*/ 2416 h 1428"/>
              <a:gd name="T80" fmla="*/ 42241 w 1398"/>
              <a:gd name="T81" fmla="*/ 0 h 1428"/>
              <a:gd name="T82" fmla="*/ 45370 w 1398"/>
              <a:gd name="T83" fmla="*/ 0 h 1428"/>
              <a:gd name="T84" fmla="*/ 51628 w 1398"/>
              <a:gd name="T85" fmla="*/ 1610 h 1428"/>
              <a:gd name="T86" fmla="*/ 54757 w 1398"/>
              <a:gd name="T87" fmla="*/ 2416 h 1428"/>
              <a:gd name="T88" fmla="*/ 58668 w 1398"/>
              <a:gd name="T89" fmla="*/ 4831 h 1428"/>
              <a:gd name="T90" fmla="*/ 62579 w 1398"/>
              <a:gd name="T91" fmla="*/ 7247 h 1428"/>
              <a:gd name="T92" fmla="*/ 64926 w 1398"/>
              <a:gd name="T93" fmla="*/ 9662 h 1428"/>
              <a:gd name="T94" fmla="*/ 68055 w 1398"/>
              <a:gd name="T95" fmla="*/ 12078 h 1428"/>
              <a:gd name="T96" fmla="*/ 73531 w 1398"/>
              <a:gd name="T97" fmla="*/ 12078 h 1428"/>
              <a:gd name="T98" fmla="*/ 77442 w 1398"/>
              <a:gd name="T99" fmla="*/ 16909 h 1428"/>
              <a:gd name="T100" fmla="*/ 80571 w 1398"/>
              <a:gd name="T101" fmla="*/ 18519 h 1428"/>
              <a:gd name="T102" fmla="*/ 86046 w 1398"/>
              <a:gd name="T103" fmla="*/ 20934 h 1428"/>
              <a:gd name="T104" fmla="*/ 90740 w 1398"/>
              <a:gd name="T105" fmla="*/ 21740 h 1428"/>
              <a:gd name="T106" fmla="*/ 93869 w 1398"/>
              <a:gd name="T107" fmla="*/ 21740 h 1428"/>
              <a:gd name="T108" fmla="*/ 90740 w 1398"/>
              <a:gd name="T109" fmla="*/ 28181 h 1428"/>
              <a:gd name="T110" fmla="*/ 81353 w 1398"/>
              <a:gd name="T111" fmla="*/ 29791 h 1428"/>
              <a:gd name="T112" fmla="*/ 75877 w 1398"/>
              <a:gd name="T113" fmla="*/ 27376 h 1428"/>
              <a:gd name="T114" fmla="*/ 71184 w 1398"/>
              <a:gd name="T115" fmla="*/ 23350 h 1428"/>
              <a:gd name="T116" fmla="*/ 58668 w 1398"/>
              <a:gd name="T117" fmla="*/ 23350 h 1428"/>
              <a:gd name="T118" fmla="*/ 56321 w 1398"/>
              <a:gd name="T119" fmla="*/ 31402 h 1428"/>
              <a:gd name="T120" fmla="*/ 62579 w 1398"/>
              <a:gd name="T121" fmla="*/ 33012 h 14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98"/>
              <a:gd name="T184" fmla="*/ 0 h 1428"/>
              <a:gd name="T185" fmla="*/ 1398 w 1398"/>
              <a:gd name="T186" fmla="*/ 1428 h 142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98" h="1428">
                <a:moveTo>
                  <a:pt x="924" y="474"/>
                </a:moveTo>
                <a:lnTo>
                  <a:pt x="900" y="480"/>
                </a:lnTo>
                <a:lnTo>
                  <a:pt x="864" y="486"/>
                </a:lnTo>
                <a:lnTo>
                  <a:pt x="864" y="504"/>
                </a:lnTo>
                <a:lnTo>
                  <a:pt x="858" y="522"/>
                </a:lnTo>
                <a:lnTo>
                  <a:pt x="864" y="528"/>
                </a:lnTo>
                <a:lnTo>
                  <a:pt x="864" y="552"/>
                </a:lnTo>
                <a:lnTo>
                  <a:pt x="852" y="552"/>
                </a:lnTo>
                <a:lnTo>
                  <a:pt x="846" y="564"/>
                </a:lnTo>
                <a:lnTo>
                  <a:pt x="840" y="582"/>
                </a:lnTo>
                <a:lnTo>
                  <a:pt x="834" y="594"/>
                </a:lnTo>
                <a:lnTo>
                  <a:pt x="828" y="606"/>
                </a:lnTo>
                <a:lnTo>
                  <a:pt x="828" y="618"/>
                </a:lnTo>
                <a:lnTo>
                  <a:pt x="786" y="630"/>
                </a:lnTo>
                <a:lnTo>
                  <a:pt x="774" y="636"/>
                </a:lnTo>
                <a:lnTo>
                  <a:pt x="762" y="642"/>
                </a:lnTo>
                <a:lnTo>
                  <a:pt x="744" y="648"/>
                </a:lnTo>
                <a:lnTo>
                  <a:pt x="714" y="660"/>
                </a:lnTo>
                <a:lnTo>
                  <a:pt x="696" y="666"/>
                </a:lnTo>
                <a:lnTo>
                  <a:pt x="666" y="672"/>
                </a:lnTo>
                <a:lnTo>
                  <a:pt x="654" y="684"/>
                </a:lnTo>
                <a:lnTo>
                  <a:pt x="648" y="684"/>
                </a:lnTo>
                <a:lnTo>
                  <a:pt x="642" y="696"/>
                </a:lnTo>
                <a:lnTo>
                  <a:pt x="636" y="696"/>
                </a:lnTo>
                <a:lnTo>
                  <a:pt x="630" y="714"/>
                </a:lnTo>
                <a:lnTo>
                  <a:pt x="624" y="738"/>
                </a:lnTo>
                <a:lnTo>
                  <a:pt x="624" y="762"/>
                </a:lnTo>
                <a:lnTo>
                  <a:pt x="630" y="780"/>
                </a:lnTo>
                <a:lnTo>
                  <a:pt x="636" y="804"/>
                </a:lnTo>
                <a:lnTo>
                  <a:pt x="642" y="822"/>
                </a:lnTo>
                <a:lnTo>
                  <a:pt x="642" y="828"/>
                </a:lnTo>
                <a:lnTo>
                  <a:pt x="636" y="828"/>
                </a:lnTo>
                <a:lnTo>
                  <a:pt x="636" y="834"/>
                </a:lnTo>
                <a:lnTo>
                  <a:pt x="636" y="870"/>
                </a:lnTo>
                <a:lnTo>
                  <a:pt x="636" y="882"/>
                </a:lnTo>
                <a:lnTo>
                  <a:pt x="636" y="906"/>
                </a:lnTo>
                <a:lnTo>
                  <a:pt x="630" y="906"/>
                </a:lnTo>
                <a:lnTo>
                  <a:pt x="636" y="918"/>
                </a:lnTo>
                <a:lnTo>
                  <a:pt x="642" y="918"/>
                </a:lnTo>
                <a:lnTo>
                  <a:pt x="642" y="930"/>
                </a:lnTo>
                <a:lnTo>
                  <a:pt x="648" y="936"/>
                </a:lnTo>
                <a:lnTo>
                  <a:pt x="654" y="936"/>
                </a:lnTo>
                <a:lnTo>
                  <a:pt x="654" y="942"/>
                </a:lnTo>
                <a:lnTo>
                  <a:pt x="654" y="948"/>
                </a:lnTo>
                <a:lnTo>
                  <a:pt x="648" y="954"/>
                </a:lnTo>
                <a:lnTo>
                  <a:pt x="648" y="960"/>
                </a:lnTo>
                <a:lnTo>
                  <a:pt x="648" y="966"/>
                </a:lnTo>
                <a:lnTo>
                  <a:pt x="648" y="972"/>
                </a:lnTo>
                <a:lnTo>
                  <a:pt x="648" y="990"/>
                </a:lnTo>
                <a:lnTo>
                  <a:pt x="654" y="996"/>
                </a:lnTo>
                <a:lnTo>
                  <a:pt x="648" y="1002"/>
                </a:lnTo>
                <a:lnTo>
                  <a:pt x="648" y="1008"/>
                </a:lnTo>
                <a:lnTo>
                  <a:pt x="654" y="1014"/>
                </a:lnTo>
                <a:lnTo>
                  <a:pt x="654" y="1020"/>
                </a:lnTo>
                <a:lnTo>
                  <a:pt x="654" y="1026"/>
                </a:lnTo>
                <a:lnTo>
                  <a:pt x="660" y="1026"/>
                </a:lnTo>
                <a:lnTo>
                  <a:pt x="660" y="1032"/>
                </a:lnTo>
                <a:lnTo>
                  <a:pt x="660" y="1038"/>
                </a:lnTo>
                <a:lnTo>
                  <a:pt x="666" y="1044"/>
                </a:lnTo>
                <a:lnTo>
                  <a:pt x="672" y="1050"/>
                </a:lnTo>
                <a:lnTo>
                  <a:pt x="672" y="1056"/>
                </a:lnTo>
                <a:lnTo>
                  <a:pt x="672" y="1062"/>
                </a:lnTo>
                <a:lnTo>
                  <a:pt x="672" y="1068"/>
                </a:lnTo>
                <a:lnTo>
                  <a:pt x="672" y="1074"/>
                </a:lnTo>
                <a:lnTo>
                  <a:pt x="678" y="1074"/>
                </a:lnTo>
                <a:lnTo>
                  <a:pt x="678" y="1080"/>
                </a:lnTo>
                <a:lnTo>
                  <a:pt x="678" y="1086"/>
                </a:lnTo>
                <a:lnTo>
                  <a:pt x="672" y="1092"/>
                </a:lnTo>
                <a:lnTo>
                  <a:pt x="672" y="1098"/>
                </a:lnTo>
                <a:lnTo>
                  <a:pt x="672" y="1104"/>
                </a:lnTo>
                <a:lnTo>
                  <a:pt x="666" y="1116"/>
                </a:lnTo>
                <a:lnTo>
                  <a:pt x="624" y="1122"/>
                </a:lnTo>
                <a:lnTo>
                  <a:pt x="576" y="1134"/>
                </a:lnTo>
                <a:lnTo>
                  <a:pt x="570" y="1140"/>
                </a:lnTo>
                <a:lnTo>
                  <a:pt x="570" y="1146"/>
                </a:lnTo>
                <a:lnTo>
                  <a:pt x="564" y="1146"/>
                </a:lnTo>
                <a:lnTo>
                  <a:pt x="564" y="1152"/>
                </a:lnTo>
                <a:lnTo>
                  <a:pt x="564" y="1164"/>
                </a:lnTo>
                <a:lnTo>
                  <a:pt x="564" y="1170"/>
                </a:lnTo>
                <a:lnTo>
                  <a:pt x="564" y="1176"/>
                </a:lnTo>
                <a:lnTo>
                  <a:pt x="546" y="1176"/>
                </a:lnTo>
                <a:lnTo>
                  <a:pt x="540" y="1212"/>
                </a:lnTo>
                <a:lnTo>
                  <a:pt x="540" y="1230"/>
                </a:lnTo>
                <a:lnTo>
                  <a:pt x="546" y="1242"/>
                </a:lnTo>
                <a:lnTo>
                  <a:pt x="546" y="1254"/>
                </a:lnTo>
                <a:lnTo>
                  <a:pt x="558" y="1266"/>
                </a:lnTo>
                <a:lnTo>
                  <a:pt x="576" y="1272"/>
                </a:lnTo>
                <a:lnTo>
                  <a:pt x="570" y="1278"/>
                </a:lnTo>
                <a:lnTo>
                  <a:pt x="576" y="1284"/>
                </a:lnTo>
                <a:lnTo>
                  <a:pt x="570" y="1296"/>
                </a:lnTo>
                <a:lnTo>
                  <a:pt x="558" y="1302"/>
                </a:lnTo>
                <a:lnTo>
                  <a:pt x="540" y="1308"/>
                </a:lnTo>
                <a:lnTo>
                  <a:pt x="522" y="1314"/>
                </a:lnTo>
                <a:lnTo>
                  <a:pt x="516" y="1314"/>
                </a:lnTo>
                <a:lnTo>
                  <a:pt x="510" y="1314"/>
                </a:lnTo>
                <a:lnTo>
                  <a:pt x="504" y="1314"/>
                </a:lnTo>
                <a:lnTo>
                  <a:pt x="498" y="1320"/>
                </a:lnTo>
                <a:lnTo>
                  <a:pt x="492" y="1320"/>
                </a:lnTo>
                <a:lnTo>
                  <a:pt x="492" y="1326"/>
                </a:lnTo>
                <a:lnTo>
                  <a:pt x="486" y="1326"/>
                </a:lnTo>
                <a:lnTo>
                  <a:pt x="480" y="1326"/>
                </a:lnTo>
                <a:lnTo>
                  <a:pt x="480" y="1320"/>
                </a:lnTo>
                <a:lnTo>
                  <a:pt x="468" y="1314"/>
                </a:lnTo>
                <a:lnTo>
                  <a:pt x="462" y="1308"/>
                </a:lnTo>
                <a:lnTo>
                  <a:pt x="456" y="1302"/>
                </a:lnTo>
                <a:lnTo>
                  <a:pt x="444" y="1296"/>
                </a:lnTo>
                <a:lnTo>
                  <a:pt x="420" y="1290"/>
                </a:lnTo>
                <a:lnTo>
                  <a:pt x="414" y="1278"/>
                </a:lnTo>
                <a:lnTo>
                  <a:pt x="408" y="1278"/>
                </a:lnTo>
                <a:lnTo>
                  <a:pt x="408" y="1266"/>
                </a:lnTo>
                <a:lnTo>
                  <a:pt x="402" y="1260"/>
                </a:lnTo>
                <a:lnTo>
                  <a:pt x="384" y="1260"/>
                </a:lnTo>
                <a:lnTo>
                  <a:pt x="372" y="1266"/>
                </a:lnTo>
                <a:lnTo>
                  <a:pt x="360" y="1272"/>
                </a:lnTo>
                <a:lnTo>
                  <a:pt x="348" y="1272"/>
                </a:lnTo>
                <a:lnTo>
                  <a:pt x="342" y="1284"/>
                </a:lnTo>
                <a:lnTo>
                  <a:pt x="336" y="1290"/>
                </a:lnTo>
                <a:lnTo>
                  <a:pt x="336" y="1308"/>
                </a:lnTo>
                <a:lnTo>
                  <a:pt x="336" y="1314"/>
                </a:lnTo>
                <a:lnTo>
                  <a:pt x="336" y="1320"/>
                </a:lnTo>
                <a:lnTo>
                  <a:pt x="330" y="1326"/>
                </a:lnTo>
                <a:lnTo>
                  <a:pt x="330" y="1332"/>
                </a:lnTo>
                <a:lnTo>
                  <a:pt x="330" y="1338"/>
                </a:lnTo>
                <a:lnTo>
                  <a:pt x="300" y="1338"/>
                </a:lnTo>
                <a:lnTo>
                  <a:pt x="288" y="1338"/>
                </a:lnTo>
                <a:lnTo>
                  <a:pt x="258" y="1326"/>
                </a:lnTo>
                <a:lnTo>
                  <a:pt x="246" y="1332"/>
                </a:lnTo>
                <a:lnTo>
                  <a:pt x="240" y="1338"/>
                </a:lnTo>
                <a:lnTo>
                  <a:pt x="234" y="1338"/>
                </a:lnTo>
                <a:lnTo>
                  <a:pt x="228" y="1350"/>
                </a:lnTo>
                <a:lnTo>
                  <a:pt x="228" y="1374"/>
                </a:lnTo>
                <a:lnTo>
                  <a:pt x="234" y="1392"/>
                </a:lnTo>
                <a:lnTo>
                  <a:pt x="246" y="1398"/>
                </a:lnTo>
                <a:lnTo>
                  <a:pt x="246" y="1410"/>
                </a:lnTo>
                <a:lnTo>
                  <a:pt x="216" y="1428"/>
                </a:lnTo>
                <a:lnTo>
                  <a:pt x="198" y="1428"/>
                </a:lnTo>
                <a:lnTo>
                  <a:pt x="192" y="1422"/>
                </a:lnTo>
                <a:lnTo>
                  <a:pt x="174" y="1410"/>
                </a:lnTo>
                <a:lnTo>
                  <a:pt x="156" y="1386"/>
                </a:lnTo>
                <a:lnTo>
                  <a:pt x="132" y="1374"/>
                </a:lnTo>
                <a:lnTo>
                  <a:pt x="108" y="1368"/>
                </a:lnTo>
                <a:lnTo>
                  <a:pt x="84" y="1368"/>
                </a:lnTo>
                <a:lnTo>
                  <a:pt x="96" y="1356"/>
                </a:lnTo>
                <a:lnTo>
                  <a:pt x="102" y="1344"/>
                </a:lnTo>
                <a:lnTo>
                  <a:pt x="102" y="1332"/>
                </a:lnTo>
                <a:lnTo>
                  <a:pt x="108" y="1320"/>
                </a:lnTo>
                <a:lnTo>
                  <a:pt x="108" y="1302"/>
                </a:lnTo>
                <a:lnTo>
                  <a:pt x="96" y="1278"/>
                </a:lnTo>
                <a:lnTo>
                  <a:pt x="66" y="1284"/>
                </a:lnTo>
                <a:lnTo>
                  <a:pt x="54" y="1278"/>
                </a:lnTo>
                <a:lnTo>
                  <a:pt x="36" y="1278"/>
                </a:lnTo>
                <a:lnTo>
                  <a:pt x="18" y="1284"/>
                </a:lnTo>
                <a:lnTo>
                  <a:pt x="18" y="1272"/>
                </a:lnTo>
                <a:lnTo>
                  <a:pt x="24" y="1260"/>
                </a:lnTo>
                <a:lnTo>
                  <a:pt x="24" y="1254"/>
                </a:lnTo>
                <a:lnTo>
                  <a:pt x="30" y="1248"/>
                </a:lnTo>
                <a:lnTo>
                  <a:pt x="24" y="1230"/>
                </a:lnTo>
                <a:lnTo>
                  <a:pt x="30" y="1218"/>
                </a:lnTo>
                <a:lnTo>
                  <a:pt x="36" y="1200"/>
                </a:lnTo>
                <a:lnTo>
                  <a:pt x="42" y="1194"/>
                </a:lnTo>
                <a:lnTo>
                  <a:pt x="42" y="1188"/>
                </a:lnTo>
                <a:lnTo>
                  <a:pt x="30" y="1170"/>
                </a:lnTo>
                <a:lnTo>
                  <a:pt x="30" y="1152"/>
                </a:lnTo>
                <a:lnTo>
                  <a:pt x="24" y="1146"/>
                </a:lnTo>
                <a:lnTo>
                  <a:pt x="0" y="1116"/>
                </a:lnTo>
                <a:lnTo>
                  <a:pt x="6" y="1092"/>
                </a:lnTo>
                <a:lnTo>
                  <a:pt x="18" y="1056"/>
                </a:lnTo>
                <a:lnTo>
                  <a:pt x="24" y="1050"/>
                </a:lnTo>
                <a:lnTo>
                  <a:pt x="24" y="1038"/>
                </a:lnTo>
                <a:lnTo>
                  <a:pt x="24" y="1026"/>
                </a:lnTo>
                <a:lnTo>
                  <a:pt x="30" y="1002"/>
                </a:lnTo>
                <a:lnTo>
                  <a:pt x="36" y="990"/>
                </a:lnTo>
                <a:lnTo>
                  <a:pt x="42" y="984"/>
                </a:lnTo>
                <a:lnTo>
                  <a:pt x="54" y="984"/>
                </a:lnTo>
                <a:lnTo>
                  <a:pt x="66" y="978"/>
                </a:lnTo>
                <a:lnTo>
                  <a:pt x="72" y="978"/>
                </a:lnTo>
                <a:lnTo>
                  <a:pt x="90" y="978"/>
                </a:lnTo>
                <a:lnTo>
                  <a:pt x="102" y="972"/>
                </a:lnTo>
                <a:lnTo>
                  <a:pt x="108" y="972"/>
                </a:lnTo>
                <a:lnTo>
                  <a:pt x="114" y="978"/>
                </a:lnTo>
                <a:lnTo>
                  <a:pt x="120" y="978"/>
                </a:lnTo>
                <a:lnTo>
                  <a:pt x="120" y="984"/>
                </a:lnTo>
                <a:lnTo>
                  <a:pt x="138" y="984"/>
                </a:lnTo>
                <a:lnTo>
                  <a:pt x="144" y="978"/>
                </a:lnTo>
                <a:lnTo>
                  <a:pt x="150" y="972"/>
                </a:lnTo>
                <a:lnTo>
                  <a:pt x="156" y="972"/>
                </a:lnTo>
                <a:lnTo>
                  <a:pt x="156" y="966"/>
                </a:lnTo>
                <a:lnTo>
                  <a:pt x="156" y="960"/>
                </a:lnTo>
                <a:lnTo>
                  <a:pt x="180" y="948"/>
                </a:lnTo>
                <a:lnTo>
                  <a:pt x="186" y="924"/>
                </a:lnTo>
                <a:lnTo>
                  <a:pt x="192" y="918"/>
                </a:lnTo>
                <a:lnTo>
                  <a:pt x="228" y="924"/>
                </a:lnTo>
                <a:lnTo>
                  <a:pt x="246" y="906"/>
                </a:lnTo>
                <a:lnTo>
                  <a:pt x="240" y="888"/>
                </a:lnTo>
                <a:lnTo>
                  <a:pt x="234" y="888"/>
                </a:lnTo>
                <a:lnTo>
                  <a:pt x="234" y="882"/>
                </a:lnTo>
                <a:lnTo>
                  <a:pt x="228" y="870"/>
                </a:lnTo>
                <a:lnTo>
                  <a:pt x="228" y="864"/>
                </a:lnTo>
                <a:lnTo>
                  <a:pt x="222" y="864"/>
                </a:lnTo>
                <a:lnTo>
                  <a:pt x="216" y="858"/>
                </a:lnTo>
                <a:lnTo>
                  <a:pt x="198" y="852"/>
                </a:lnTo>
                <a:lnTo>
                  <a:pt x="192" y="852"/>
                </a:lnTo>
                <a:lnTo>
                  <a:pt x="186" y="846"/>
                </a:lnTo>
                <a:lnTo>
                  <a:pt x="174" y="834"/>
                </a:lnTo>
                <a:lnTo>
                  <a:pt x="162" y="822"/>
                </a:lnTo>
                <a:lnTo>
                  <a:pt x="156" y="816"/>
                </a:lnTo>
                <a:lnTo>
                  <a:pt x="162" y="810"/>
                </a:lnTo>
                <a:lnTo>
                  <a:pt x="174" y="798"/>
                </a:lnTo>
                <a:lnTo>
                  <a:pt x="180" y="792"/>
                </a:lnTo>
                <a:lnTo>
                  <a:pt x="186" y="792"/>
                </a:lnTo>
                <a:lnTo>
                  <a:pt x="186" y="786"/>
                </a:lnTo>
                <a:lnTo>
                  <a:pt x="186" y="768"/>
                </a:lnTo>
                <a:lnTo>
                  <a:pt x="192" y="744"/>
                </a:lnTo>
                <a:lnTo>
                  <a:pt x="186" y="708"/>
                </a:lnTo>
                <a:lnTo>
                  <a:pt x="174" y="690"/>
                </a:lnTo>
                <a:lnTo>
                  <a:pt x="168" y="672"/>
                </a:lnTo>
                <a:lnTo>
                  <a:pt x="156" y="630"/>
                </a:lnTo>
                <a:lnTo>
                  <a:pt x="156" y="606"/>
                </a:lnTo>
                <a:lnTo>
                  <a:pt x="150" y="606"/>
                </a:lnTo>
                <a:lnTo>
                  <a:pt x="150" y="600"/>
                </a:lnTo>
                <a:lnTo>
                  <a:pt x="144" y="600"/>
                </a:lnTo>
                <a:lnTo>
                  <a:pt x="150" y="594"/>
                </a:lnTo>
                <a:lnTo>
                  <a:pt x="144" y="588"/>
                </a:lnTo>
                <a:lnTo>
                  <a:pt x="138" y="558"/>
                </a:lnTo>
                <a:lnTo>
                  <a:pt x="138" y="528"/>
                </a:lnTo>
                <a:lnTo>
                  <a:pt x="132" y="480"/>
                </a:lnTo>
                <a:lnTo>
                  <a:pt x="132" y="462"/>
                </a:lnTo>
                <a:lnTo>
                  <a:pt x="126" y="426"/>
                </a:lnTo>
                <a:lnTo>
                  <a:pt x="126" y="396"/>
                </a:lnTo>
                <a:lnTo>
                  <a:pt x="126" y="378"/>
                </a:lnTo>
                <a:lnTo>
                  <a:pt x="126" y="360"/>
                </a:lnTo>
                <a:lnTo>
                  <a:pt x="132" y="318"/>
                </a:lnTo>
                <a:lnTo>
                  <a:pt x="132" y="246"/>
                </a:lnTo>
                <a:lnTo>
                  <a:pt x="132" y="216"/>
                </a:lnTo>
                <a:lnTo>
                  <a:pt x="138" y="216"/>
                </a:lnTo>
                <a:lnTo>
                  <a:pt x="144" y="216"/>
                </a:lnTo>
                <a:lnTo>
                  <a:pt x="156" y="210"/>
                </a:lnTo>
                <a:lnTo>
                  <a:pt x="162" y="210"/>
                </a:lnTo>
                <a:lnTo>
                  <a:pt x="180" y="204"/>
                </a:lnTo>
                <a:lnTo>
                  <a:pt x="186" y="204"/>
                </a:lnTo>
                <a:lnTo>
                  <a:pt x="192" y="198"/>
                </a:lnTo>
                <a:lnTo>
                  <a:pt x="198" y="198"/>
                </a:lnTo>
                <a:lnTo>
                  <a:pt x="216" y="180"/>
                </a:lnTo>
                <a:lnTo>
                  <a:pt x="222" y="174"/>
                </a:lnTo>
                <a:lnTo>
                  <a:pt x="222" y="168"/>
                </a:lnTo>
                <a:lnTo>
                  <a:pt x="228" y="168"/>
                </a:lnTo>
                <a:lnTo>
                  <a:pt x="234" y="156"/>
                </a:lnTo>
                <a:lnTo>
                  <a:pt x="240" y="150"/>
                </a:lnTo>
                <a:lnTo>
                  <a:pt x="246" y="144"/>
                </a:lnTo>
                <a:lnTo>
                  <a:pt x="258" y="144"/>
                </a:lnTo>
                <a:lnTo>
                  <a:pt x="276" y="150"/>
                </a:lnTo>
                <a:lnTo>
                  <a:pt x="300" y="150"/>
                </a:lnTo>
                <a:lnTo>
                  <a:pt x="312" y="150"/>
                </a:lnTo>
                <a:lnTo>
                  <a:pt x="330" y="156"/>
                </a:lnTo>
                <a:lnTo>
                  <a:pt x="336" y="156"/>
                </a:lnTo>
                <a:lnTo>
                  <a:pt x="348" y="156"/>
                </a:lnTo>
                <a:lnTo>
                  <a:pt x="354" y="150"/>
                </a:lnTo>
                <a:lnTo>
                  <a:pt x="372" y="144"/>
                </a:lnTo>
                <a:lnTo>
                  <a:pt x="390" y="138"/>
                </a:lnTo>
                <a:lnTo>
                  <a:pt x="402" y="126"/>
                </a:lnTo>
                <a:lnTo>
                  <a:pt x="408" y="126"/>
                </a:lnTo>
                <a:lnTo>
                  <a:pt x="414" y="120"/>
                </a:lnTo>
                <a:lnTo>
                  <a:pt x="420" y="120"/>
                </a:lnTo>
                <a:lnTo>
                  <a:pt x="426" y="120"/>
                </a:lnTo>
                <a:lnTo>
                  <a:pt x="432" y="114"/>
                </a:lnTo>
                <a:lnTo>
                  <a:pt x="450" y="102"/>
                </a:lnTo>
                <a:lnTo>
                  <a:pt x="456" y="96"/>
                </a:lnTo>
                <a:lnTo>
                  <a:pt x="468" y="90"/>
                </a:lnTo>
                <a:lnTo>
                  <a:pt x="474" y="90"/>
                </a:lnTo>
                <a:lnTo>
                  <a:pt x="480" y="84"/>
                </a:lnTo>
                <a:lnTo>
                  <a:pt x="486" y="84"/>
                </a:lnTo>
                <a:lnTo>
                  <a:pt x="492" y="78"/>
                </a:lnTo>
                <a:lnTo>
                  <a:pt x="498" y="78"/>
                </a:lnTo>
                <a:lnTo>
                  <a:pt x="498" y="72"/>
                </a:lnTo>
                <a:lnTo>
                  <a:pt x="504" y="72"/>
                </a:lnTo>
                <a:lnTo>
                  <a:pt x="510" y="66"/>
                </a:lnTo>
                <a:lnTo>
                  <a:pt x="516" y="66"/>
                </a:lnTo>
                <a:lnTo>
                  <a:pt x="522" y="60"/>
                </a:lnTo>
                <a:lnTo>
                  <a:pt x="552" y="42"/>
                </a:lnTo>
                <a:lnTo>
                  <a:pt x="558" y="36"/>
                </a:lnTo>
                <a:lnTo>
                  <a:pt x="576" y="30"/>
                </a:lnTo>
                <a:lnTo>
                  <a:pt x="576" y="24"/>
                </a:lnTo>
                <a:lnTo>
                  <a:pt x="582" y="24"/>
                </a:lnTo>
                <a:lnTo>
                  <a:pt x="594" y="18"/>
                </a:lnTo>
                <a:lnTo>
                  <a:pt x="600" y="12"/>
                </a:lnTo>
                <a:lnTo>
                  <a:pt x="612" y="6"/>
                </a:lnTo>
                <a:lnTo>
                  <a:pt x="624" y="0"/>
                </a:lnTo>
                <a:lnTo>
                  <a:pt x="630" y="0"/>
                </a:lnTo>
                <a:lnTo>
                  <a:pt x="636" y="0"/>
                </a:lnTo>
                <a:lnTo>
                  <a:pt x="642" y="6"/>
                </a:lnTo>
                <a:lnTo>
                  <a:pt x="648" y="6"/>
                </a:lnTo>
                <a:lnTo>
                  <a:pt x="660" y="6"/>
                </a:lnTo>
                <a:lnTo>
                  <a:pt x="666" y="6"/>
                </a:lnTo>
                <a:lnTo>
                  <a:pt x="672" y="6"/>
                </a:lnTo>
                <a:lnTo>
                  <a:pt x="678" y="6"/>
                </a:lnTo>
                <a:lnTo>
                  <a:pt x="684" y="6"/>
                </a:lnTo>
                <a:lnTo>
                  <a:pt x="708" y="12"/>
                </a:lnTo>
                <a:lnTo>
                  <a:pt x="732" y="12"/>
                </a:lnTo>
                <a:lnTo>
                  <a:pt x="738" y="18"/>
                </a:lnTo>
                <a:lnTo>
                  <a:pt x="744" y="18"/>
                </a:lnTo>
                <a:lnTo>
                  <a:pt x="756" y="18"/>
                </a:lnTo>
                <a:lnTo>
                  <a:pt x="762" y="18"/>
                </a:lnTo>
                <a:lnTo>
                  <a:pt x="762" y="24"/>
                </a:lnTo>
                <a:lnTo>
                  <a:pt x="768" y="24"/>
                </a:lnTo>
                <a:lnTo>
                  <a:pt x="780" y="24"/>
                </a:lnTo>
                <a:lnTo>
                  <a:pt x="792" y="24"/>
                </a:lnTo>
                <a:lnTo>
                  <a:pt x="792" y="30"/>
                </a:lnTo>
                <a:lnTo>
                  <a:pt x="810" y="30"/>
                </a:lnTo>
                <a:lnTo>
                  <a:pt x="822" y="36"/>
                </a:lnTo>
                <a:lnTo>
                  <a:pt x="834" y="42"/>
                </a:lnTo>
                <a:lnTo>
                  <a:pt x="840" y="48"/>
                </a:lnTo>
                <a:lnTo>
                  <a:pt x="846" y="54"/>
                </a:lnTo>
                <a:lnTo>
                  <a:pt x="852" y="60"/>
                </a:lnTo>
                <a:lnTo>
                  <a:pt x="858" y="66"/>
                </a:lnTo>
                <a:lnTo>
                  <a:pt x="864" y="66"/>
                </a:lnTo>
                <a:lnTo>
                  <a:pt x="864" y="72"/>
                </a:lnTo>
                <a:lnTo>
                  <a:pt x="876" y="78"/>
                </a:lnTo>
                <a:lnTo>
                  <a:pt x="900" y="84"/>
                </a:lnTo>
                <a:lnTo>
                  <a:pt x="906" y="90"/>
                </a:lnTo>
                <a:lnTo>
                  <a:pt x="912" y="90"/>
                </a:lnTo>
                <a:lnTo>
                  <a:pt x="912" y="96"/>
                </a:lnTo>
                <a:lnTo>
                  <a:pt x="924" y="108"/>
                </a:lnTo>
                <a:lnTo>
                  <a:pt x="930" y="108"/>
                </a:lnTo>
                <a:lnTo>
                  <a:pt x="936" y="114"/>
                </a:lnTo>
                <a:lnTo>
                  <a:pt x="936" y="120"/>
                </a:lnTo>
                <a:lnTo>
                  <a:pt x="942" y="120"/>
                </a:lnTo>
                <a:lnTo>
                  <a:pt x="942" y="126"/>
                </a:lnTo>
                <a:lnTo>
                  <a:pt x="948" y="132"/>
                </a:lnTo>
                <a:lnTo>
                  <a:pt x="960" y="138"/>
                </a:lnTo>
                <a:lnTo>
                  <a:pt x="966" y="144"/>
                </a:lnTo>
                <a:lnTo>
                  <a:pt x="972" y="156"/>
                </a:lnTo>
                <a:lnTo>
                  <a:pt x="978" y="162"/>
                </a:lnTo>
                <a:lnTo>
                  <a:pt x="984" y="162"/>
                </a:lnTo>
                <a:lnTo>
                  <a:pt x="990" y="168"/>
                </a:lnTo>
                <a:lnTo>
                  <a:pt x="996" y="174"/>
                </a:lnTo>
                <a:lnTo>
                  <a:pt x="1002" y="180"/>
                </a:lnTo>
                <a:lnTo>
                  <a:pt x="1008" y="180"/>
                </a:lnTo>
                <a:lnTo>
                  <a:pt x="1020" y="180"/>
                </a:lnTo>
                <a:lnTo>
                  <a:pt x="1038" y="174"/>
                </a:lnTo>
                <a:lnTo>
                  <a:pt x="1050" y="174"/>
                </a:lnTo>
                <a:lnTo>
                  <a:pt x="1056" y="174"/>
                </a:lnTo>
                <a:lnTo>
                  <a:pt x="1068" y="180"/>
                </a:lnTo>
                <a:lnTo>
                  <a:pt x="1080" y="180"/>
                </a:lnTo>
                <a:lnTo>
                  <a:pt x="1086" y="186"/>
                </a:lnTo>
                <a:lnTo>
                  <a:pt x="1098" y="192"/>
                </a:lnTo>
                <a:lnTo>
                  <a:pt x="1116" y="204"/>
                </a:lnTo>
                <a:lnTo>
                  <a:pt x="1122" y="210"/>
                </a:lnTo>
                <a:lnTo>
                  <a:pt x="1134" y="222"/>
                </a:lnTo>
                <a:lnTo>
                  <a:pt x="1146" y="234"/>
                </a:lnTo>
                <a:lnTo>
                  <a:pt x="1146" y="240"/>
                </a:lnTo>
                <a:lnTo>
                  <a:pt x="1152" y="246"/>
                </a:lnTo>
                <a:lnTo>
                  <a:pt x="1152" y="252"/>
                </a:lnTo>
                <a:lnTo>
                  <a:pt x="1152" y="258"/>
                </a:lnTo>
                <a:lnTo>
                  <a:pt x="1164" y="258"/>
                </a:lnTo>
                <a:lnTo>
                  <a:pt x="1170" y="264"/>
                </a:lnTo>
                <a:lnTo>
                  <a:pt x="1182" y="270"/>
                </a:lnTo>
                <a:lnTo>
                  <a:pt x="1188" y="270"/>
                </a:lnTo>
                <a:lnTo>
                  <a:pt x="1194" y="270"/>
                </a:lnTo>
                <a:lnTo>
                  <a:pt x="1206" y="276"/>
                </a:lnTo>
                <a:lnTo>
                  <a:pt x="1224" y="282"/>
                </a:lnTo>
                <a:lnTo>
                  <a:pt x="1236" y="282"/>
                </a:lnTo>
                <a:lnTo>
                  <a:pt x="1242" y="288"/>
                </a:lnTo>
                <a:lnTo>
                  <a:pt x="1254" y="288"/>
                </a:lnTo>
                <a:lnTo>
                  <a:pt x="1266" y="294"/>
                </a:lnTo>
                <a:lnTo>
                  <a:pt x="1272" y="294"/>
                </a:lnTo>
                <a:lnTo>
                  <a:pt x="1284" y="300"/>
                </a:lnTo>
                <a:lnTo>
                  <a:pt x="1290" y="300"/>
                </a:lnTo>
                <a:lnTo>
                  <a:pt x="1296" y="300"/>
                </a:lnTo>
                <a:lnTo>
                  <a:pt x="1302" y="306"/>
                </a:lnTo>
                <a:lnTo>
                  <a:pt x="1326" y="312"/>
                </a:lnTo>
                <a:lnTo>
                  <a:pt x="1338" y="312"/>
                </a:lnTo>
                <a:lnTo>
                  <a:pt x="1338" y="318"/>
                </a:lnTo>
                <a:lnTo>
                  <a:pt x="1344" y="318"/>
                </a:lnTo>
                <a:lnTo>
                  <a:pt x="1350" y="318"/>
                </a:lnTo>
                <a:lnTo>
                  <a:pt x="1362" y="324"/>
                </a:lnTo>
                <a:lnTo>
                  <a:pt x="1368" y="318"/>
                </a:lnTo>
                <a:lnTo>
                  <a:pt x="1374" y="318"/>
                </a:lnTo>
                <a:lnTo>
                  <a:pt x="1386" y="318"/>
                </a:lnTo>
                <a:lnTo>
                  <a:pt x="1398" y="324"/>
                </a:lnTo>
                <a:lnTo>
                  <a:pt x="1398" y="342"/>
                </a:lnTo>
                <a:lnTo>
                  <a:pt x="1356" y="342"/>
                </a:lnTo>
                <a:lnTo>
                  <a:pt x="1350" y="348"/>
                </a:lnTo>
                <a:lnTo>
                  <a:pt x="1350" y="372"/>
                </a:lnTo>
                <a:lnTo>
                  <a:pt x="1338" y="384"/>
                </a:lnTo>
                <a:lnTo>
                  <a:pt x="1332" y="408"/>
                </a:lnTo>
                <a:lnTo>
                  <a:pt x="1320" y="420"/>
                </a:lnTo>
                <a:lnTo>
                  <a:pt x="1254" y="426"/>
                </a:lnTo>
                <a:lnTo>
                  <a:pt x="1248" y="432"/>
                </a:lnTo>
                <a:lnTo>
                  <a:pt x="1230" y="432"/>
                </a:lnTo>
                <a:lnTo>
                  <a:pt x="1212" y="432"/>
                </a:lnTo>
                <a:lnTo>
                  <a:pt x="1212" y="426"/>
                </a:lnTo>
                <a:lnTo>
                  <a:pt x="1200" y="426"/>
                </a:lnTo>
                <a:lnTo>
                  <a:pt x="1182" y="414"/>
                </a:lnTo>
                <a:lnTo>
                  <a:pt x="1182" y="420"/>
                </a:lnTo>
                <a:lnTo>
                  <a:pt x="1164" y="420"/>
                </a:lnTo>
                <a:lnTo>
                  <a:pt x="1158" y="414"/>
                </a:lnTo>
                <a:lnTo>
                  <a:pt x="1152" y="408"/>
                </a:lnTo>
                <a:lnTo>
                  <a:pt x="1146" y="402"/>
                </a:lnTo>
                <a:lnTo>
                  <a:pt x="1122" y="396"/>
                </a:lnTo>
                <a:lnTo>
                  <a:pt x="1116" y="366"/>
                </a:lnTo>
                <a:lnTo>
                  <a:pt x="1116" y="348"/>
                </a:lnTo>
                <a:lnTo>
                  <a:pt x="1110" y="342"/>
                </a:lnTo>
                <a:lnTo>
                  <a:pt x="1104" y="336"/>
                </a:lnTo>
                <a:lnTo>
                  <a:pt x="1092" y="330"/>
                </a:lnTo>
                <a:lnTo>
                  <a:pt x="1074" y="330"/>
                </a:lnTo>
                <a:lnTo>
                  <a:pt x="1044" y="330"/>
                </a:lnTo>
                <a:lnTo>
                  <a:pt x="1014" y="336"/>
                </a:lnTo>
                <a:lnTo>
                  <a:pt x="984" y="342"/>
                </a:lnTo>
                <a:lnTo>
                  <a:pt x="978" y="330"/>
                </a:lnTo>
                <a:lnTo>
                  <a:pt x="966" y="324"/>
                </a:lnTo>
                <a:lnTo>
                  <a:pt x="888" y="336"/>
                </a:lnTo>
                <a:lnTo>
                  <a:pt x="888" y="330"/>
                </a:lnTo>
                <a:lnTo>
                  <a:pt x="870" y="336"/>
                </a:lnTo>
                <a:lnTo>
                  <a:pt x="858" y="336"/>
                </a:lnTo>
                <a:lnTo>
                  <a:pt x="852" y="354"/>
                </a:lnTo>
                <a:lnTo>
                  <a:pt x="852" y="402"/>
                </a:lnTo>
                <a:lnTo>
                  <a:pt x="840" y="414"/>
                </a:lnTo>
                <a:lnTo>
                  <a:pt x="834" y="420"/>
                </a:lnTo>
                <a:lnTo>
                  <a:pt x="834" y="444"/>
                </a:lnTo>
                <a:lnTo>
                  <a:pt x="834" y="450"/>
                </a:lnTo>
                <a:lnTo>
                  <a:pt x="852" y="456"/>
                </a:lnTo>
                <a:lnTo>
                  <a:pt x="864" y="462"/>
                </a:lnTo>
                <a:lnTo>
                  <a:pt x="894" y="456"/>
                </a:lnTo>
                <a:lnTo>
                  <a:pt x="900" y="468"/>
                </a:lnTo>
                <a:lnTo>
                  <a:pt x="918" y="462"/>
                </a:lnTo>
                <a:lnTo>
                  <a:pt x="924" y="468"/>
                </a:lnTo>
                <a:lnTo>
                  <a:pt x="924" y="47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51" name="Freeform 38"/>
          <p:cNvSpPr>
            <a:spLocks/>
          </p:cNvSpPr>
          <p:nvPr/>
        </p:nvSpPr>
        <p:spPr bwMode="gray">
          <a:xfrm>
            <a:off x="3935413" y="2168525"/>
            <a:ext cx="835025" cy="1039813"/>
          </a:xfrm>
          <a:custGeom>
            <a:avLst/>
            <a:gdLst>
              <a:gd name="T0" fmla="*/ 61812 w 1068"/>
              <a:gd name="T1" fmla="*/ 58082 h 1290"/>
              <a:gd name="T2" fmla="*/ 58682 w 1068"/>
              <a:gd name="T3" fmla="*/ 58888 h 1290"/>
              <a:gd name="T4" fmla="*/ 56335 w 1068"/>
              <a:gd name="T5" fmla="*/ 61308 h 1290"/>
              <a:gd name="T6" fmla="*/ 54770 w 1068"/>
              <a:gd name="T7" fmla="*/ 62922 h 1290"/>
              <a:gd name="T8" fmla="*/ 52423 w 1068"/>
              <a:gd name="T9" fmla="*/ 66149 h 1290"/>
              <a:gd name="T10" fmla="*/ 47728 w 1068"/>
              <a:gd name="T11" fmla="*/ 69375 h 1290"/>
              <a:gd name="T12" fmla="*/ 46946 w 1068"/>
              <a:gd name="T13" fmla="*/ 75022 h 1290"/>
              <a:gd name="T14" fmla="*/ 46163 w 1068"/>
              <a:gd name="T15" fmla="*/ 78249 h 1290"/>
              <a:gd name="T16" fmla="*/ 47728 w 1068"/>
              <a:gd name="T17" fmla="*/ 81476 h 1290"/>
              <a:gd name="T18" fmla="*/ 49293 w 1068"/>
              <a:gd name="T19" fmla="*/ 83896 h 1290"/>
              <a:gd name="T20" fmla="*/ 48511 w 1068"/>
              <a:gd name="T21" fmla="*/ 87123 h 1290"/>
              <a:gd name="T22" fmla="*/ 46946 w 1068"/>
              <a:gd name="T23" fmla="*/ 89543 h 1290"/>
              <a:gd name="T24" fmla="*/ 43816 w 1068"/>
              <a:gd name="T25" fmla="*/ 89543 h 1290"/>
              <a:gd name="T26" fmla="*/ 41469 w 1068"/>
              <a:gd name="T27" fmla="*/ 88736 h 1290"/>
              <a:gd name="T28" fmla="*/ 39122 w 1068"/>
              <a:gd name="T29" fmla="*/ 87929 h 1290"/>
              <a:gd name="T30" fmla="*/ 36774 w 1068"/>
              <a:gd name="T31" fmla="*/ 88736 h 1290"/>
              <a:gd name="T32" fmla="*/ 39904 w 1068"/>
              <a:gd name="T33" fmla="*/ 83896 h 1290"/>
              <a:gd name="T34" fmla="*/ 39122 w 1068"/>
              <a:gd name="T35" fmla="*/ 76636 h 1290"/>
              <a:gd name="T36" fmla="*/ 39904 w 1068"/>
              <a:gd name="T37" fmla="*/ 72602 h 1290"/>
              <a:gd name="T38" fmla="*/ 36774 w 1068"/>
              <a:gd name="T39" fmla="*/ 67762 h 1290"/>
              <a:gd name="T40" fmla="*/ 32862 w 1068"/>
              <a:gd name="T41" fmla="*/ 62922 h 1290"/>
              <a:gd name="T42" fmla="*/ 25820 w 1068"/>
              <a:gd name="T43" fmla="*/ 58888 h 1290"/>
              <a:gd name="T44" fmla="*/ 20343 w 1068"/>
              <a:gd name="T45" fmla="*/ 54855 h 1290"/>
              <a:gd name="T46" fmla="*/ 17213 w 1068"/>
              <a:gd name="T47" fmla="*/ 50821 h 1290"/>
              <a:gd name="T48" fmla="*/ 8607 w 1068"/>
              <a:gd name="T49" fmla="*/ 54048 h 1290"/>
              <a:gd name="T50" fmla="*/ 0 w 1068"/>
              <a:gd name="T51" fmla="*/ 54855 h 1290"/>
              <a:gd name="T52" fmla="*/ 1565 w 1068"/>
              <a:gd name="T53" fmla="*/ 47595 h 1290"/>
              <a:gd name="T54" fmla="*/ 9389 w 1068"/>
              <a:gd name="T55" fmla="*/ 44368 h 1290"/>
              <a:gd name="T56" fmla="*/ 9389 w 1068"/>
              <a:gd name="T57" fmla="*/ 41141 h 1290"/>
              <a:gd name="T58" fmla="*/ 7824 w 1068"/>
              <a:gd name="T59" fmla="*/ 37914 h 1290"/>
              <a:gd name="T60" fmla="*/ 7042 w 1068"/>
              <a:gd name="T61" fmla="*/ 33881 h 1290"/>
              <a:gd name="T62" fmla="*/ 6259 w 1068"/>
              <a:gd name="T63" fmla="*/ 30654 h 1290"/>
              <a:gd name="T64" fmla="*/ 6259 w 1068"/>
              <a:gd name="T65" fmla="*/ 23394 h 1290"/>
              <a:gd name="T66" fmla="*/ 7824 w 1068"/>
              <a:gd name="T67" fmla="*/ 14520 h 1290"/>
              <a:gd name="T68" fmla="*/ 19561 w 1068"/>
              <a:gd name="T69" fmla="*/ 9680 h 1290"/>
              <a:gd name="T70" fmla="*/ 21126 w 1068"/>
              <a:gd name="T71" fmla="*/ 3227 h 1290"/>
              <a:gd name="T72" fmla="*/ 27385 w 1068"/>
              <a:gd name="T73" fmla="*/ 4840 h 1290"/>
              <a:gd name="T74" fmla="*/ 30515 w 1068"/>
              <a:gd name="T75" fmla="*/ 6454 h 1290"/>
              <a:gd name="T76" fmla="*/ 32080 w 1068"/>
              <a:gd name="T77" fmla="*/ 2420 h 1290"/>
              <a:gd name="T78" fmla="*/ 35209 w 1068"/>
              <a:gd name="T79" fmla="*/ 0 h 1290"/>
              <a:gd name="T80" fmla="*/ 39904 w 1068"/>
              <a:gd name="T81" fmla="*/ 0 h 1290"/>
              <a:gd name="T82" fmla="*/ 43816 w 1068"/>
              <a:gd name="T83" fmla="*/ 3227 h 1290"/>
              <a:gd name="T84" fmla="*/ 48511 w 1068"/>
              <a:gd name="T85" fmla="*/ 9680 h 1290"/>
              <a:gd name="T86" fmla="*/ 45381 w 1068"/>
              <a:gd name="T87" fmla="*/ 13714 h 1290"/>
              <a:gd name="T88" fmla="*/ 46946 w 1068"/>
              <a:gd name="T89" fmla="*/ 14520 h 1290"/>
              <a:gd name="T90" fmla="*/ 50076 w 1068"/>
              <a:gd name="T91" fmla="*/ 12907 h 1290"/>
              <a:gd name="T92" fmla="*/ 53205 w 1068"/>
              <a:gd name="T93" fmla="*/ 14520 h 1290"/>
              <a:gd name="T94" fmla="*/ 55553 w 1068"/>
              <a:gd name="T95" fmla="*/ 21781 h 1290"/>
              <a:gd name="T96" fmla="*/ 57900 w 1068"/>
              <a:gd name="T97" fmla="*/ 24201 h 1290"/>
              <a:gd name="T98" fmla="*/ 64159 w 1068"/>
              <a:gd name="T99" fmla="*/ 24201 h 1290"/>
              <a:gd name="T100" fmla="*/ 68072 w 1068"/>
              <a:gd name="T101" fmla="*/ 28234 h 1290"/>
              <a:gd name="T102" fmla="*/ 66507 w 1068"/>
              <a:gd name="T103" fmla="*/ 33881 h 1290"/>
              <a:gd name="T104" fmla="*/ 63377 w 1068"/>
              <a:gd name="T105" fmla="*/ 37108 h 1290"/>
              <a:gd name="T106" fmla="*/ 67289 w 1068"/>
              <a:gd name="T107" fmla="*/ 40334 h 1290"/>
              <a:gd name="T108" fmla="*/ 69636 w 1068"/>
              <a:gd name="T109" fmla="*/ 46788 h 1290"/>
              <a:gd name="T110" fmla="*/ 71984 w 1068"/>
              <a:gd name="T111" fmla="*/ 49208 h 1290"/>
              <a:gd name="T112" fmla="*/ 67289 w 1068"/>
              <a:gd name="T113" fmla="*/ 53242 h 1290"/>
              <a:gd name="T114" fmla="*/ 66507 w 1068"/>
              <a:gd name="T115" fmla="*/ 56468 h 129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68"/>
              <a:gd name="T175" fmla="*/ 0 h 1290"/>
              <a:gd name="T176" fmla="*/ 1068 w 1068"/>
              <a:gd name="T177" fmla="*/ 1290 h 129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68" h="1290">
                <a:moveTo>
                  <a:pt x="978" y="804"/>
                </a:moveTo>
                <a:lnTo>
                  <a:pt x="972" y="810"/>
                </a:lnTo>
                <a:lnTo>
                  <a:pt x="966" y="810"/>
                </a:lnTo>
                <a:lnTo>
                  <a:pt x="966" y="816"/>
                </a:lnTo>
                <a:lnTo>
                  <a:pt x="936" y="828"/>
                </a:lnTo>
                <a:lnTo>
                  <a:pt x="924" y="822"/>
                </a:lnTo>
                <a:lnTo>
                  <a:pt x="912" y="822"/>
                </a:lnTo>
                <a:lnTo>
                  <a:pt x="906" y="828"/>
                </a:lnTo>
                <a:lnTo>
                  <a:pt x="900" y="828"/>
                </a:lnTo>
                <a:lnTo>
                  <a:pt x="900" y="822"/>
                </a:lnTo>
                <a:lnTo>
                  <a:pt x="894" y="822"/>
                </a:lnTo>
                <a:lnTo>
                  <a:pt x="888" y="828"/>
                </a:lnTo>
                <a:lnTo>
                  <a:pt x="882" y="834"/>
                </a:lnTo>
                <a:lnTo>
                  <a:pt x="876" y="834"/>
                </a:lnTo>
                <a:lnTo>
                  <a:pt x="870" y="840"/>
                </a:lnTo>
                <a:lnTo>
                  <a:pt x="864" y="840"/>
                </a:lnTo>
                <a:lnTo>
                  <a:pt x="864" y="846"/>
                </a:lnTo>
                <a:lnTo>
                  <a:pt x="858" y="846"/>
                </a:lnTo>
                <a:lnTo>
                  <a:pt x="852" y="846"/>
                </a:lnTo>
                <a:lnTo>
                  <a:pt x="852" y="858"/>
                </a:lnTo>
                <a:lnTo>
                  <a:pt x="846" y="864"/>
                </a:lnTo>
                <a:lnTo>
                  <a:pt x="840" y="870"/>
                </a:lnTo>
                <a:lnTo>
                  <a:pt x="834" y="870"/>
                </a:lnTo>
                <a:lnTo>
                  <a:pt x="834" y="876"/>
                </a:lnTo>
                <a:lnTo>
                  <a:pt x="834" y="882"/>
                </a:lnTo>
                <a:lnTo>
                  <a:pt x="834" y="876"/>
                </a:lnTo>
                <a:lnTo>
                  <a:pt x="828" y="882"/>
                </a:lnTo>
                <a:lnTo>
                  <a:pt x="822" y="888"/>
                </a:lnTo>
                <a:lnTo>
                  <a:pt x="816" y="888"/>
                </a:lnTo>
                <a:lnTo>
                  <a:pt x="816" y="894"/>
                </a:lnTo>
                <a:lnTo>
                  <a:pt x="810" y="894"/>
                </a:lnTo>
                <a:lnTo>
                  <a:pt x="810" y="900"/>
                </a:lnTo>
                <a:lnTo>
                  <a:pt x="804" y="900"/>
                </a:lnTo>
                <a:lnTo>
                  <a:pt x="798" y="900"/>
                </a:lnTo>
                <a:lnTo>
                  <a:pt x="798" y="906"/>
                </a:lnTo>
                <a:lnTo>
                  <a:pt x="792" y="906"/>
                </a:lnTo>
                <a:lnTo>
                  <a:pt x="792" y="912"/>
                </a:lnTo>
                <a:lnTo>
                  <a:pt x="792" y="924"/>
                </a:lnTo>
                <a:lnTo>
                  <a:pt x="786" y="930"/>
                </a:lnTo>
                <a:lnTo>
                  <a:pt x="774" y="942"/>
                </a:lnTo>
                <a:lnTo>
                  <a:pt x="774" y="948"/>
                </a:lnTo>
                <a:lnTo>
                  <a:pt x="768" y="954"/>
                </a:lnTo>
                <a:lnTo>
                  <a:pt x="762" y="954"/>
                </a:lnTo>
                <a:lnTo>
                  <a:pt x="750" y="972"/>
                </a:lnTo>
                <a:lnTo>
                  <a:pt x="720" y="978"/>
                </a:lnTo>
                <a:lnTo>
                  <a:pt x="714" y="978"/>
                </a:lnTo>
                <a:lnTo>
                  <a:pt x="708" y="978"/>
                </a:lnTo>
                <a:lnTo>
                  <a:pt x="702" y="990"/>
                </a:lnTo>
                <a:lnTo>
                  <a:pt x="696" y="990"/>
                </a:lnTo>
                <a:lnTo>
                  <a:pt x="696" y="1008"/>
                </a:lnTo>
                <a:lnTo>
                  <a:pt x="690" y="1008"/>
                </a:lnTo>
                <a:lnTo>
                  <a:pt x="690" y="1014"/>
                </a:lnTo>
                <a:lnTo>
                  <a:pt x="684" y="1032"/>
                </a:lnTo>
                <a:lnTo>
                  <a:pt x="690" y="1050"/>
                </a:lnTo>
                <a:lnTo>
                  <a:pt x="690" y="1062"/>
                </a:lnTo>
                <a:lnTo>
                  <a:pt x="690" y="1068"/>
                </a:lnTo>
                <a:lnTo>
                  <a:pt x="690" y="1074"/>
                </a:lnTo>
                <a:lnTo>
                  <a:pt x="684" y="1074"/>
                </a:lnTo>
                <a:lnTo>
                  <a:pt x="684" y="1080"/>
                </a:lnTo>
                <a:lnTo>
                  <a:pt x="678" y="1086"/>
                </a:lnTo>
                <a:lnTo>
                  <a:pt x="678" y="1104"/>
                </a:lnTo>
                <a:lnTo>
                  <a:pt x="678" y="1110"/>
                </a:lnTo>
                <a:lnTo>
                  <a:pt x="678" y="1116"/>
                </a:lnTo>
                <a:lnTo>
                  <a:pt x="684" y="1116"/>
                </a:lnTo>
                <a:lnTo>
                  <a:pt x="678" y="1128"/>
                </a:lnTo>
                <a:lnTo>
                  <a:pt x="684" y="1128"/>
                </a:lnTo>
                <a:lnTo>
                  <a:pt x="690" y="1134"/>
                </a:lnTo>
                <a:lnTo>
                  <a:pt x="690" y="1140"/>
                </a:lnTo>
                <a:lnTo>
                  <a:pt x="696" y="1140"/>
                </a:lnTo>
                <a:lnTo>
                  <a:pt x="696" y="1146"/>
                </a:lnTo>
                <a:lnTo>
                  <a:pt x="696" y="1152"/>
                </a:lnTo>
                <a:lnTo>
                  <a:pt x="702" y="1152"/>
                </a:lnTo>
                <a:lnTo>
                  <a:pt x="708" y="1152"/>
                </a:lnTo>
                <a:lnTo>
                  <a:pt x="714" y="1158"/>
                </a:lnTo>
                <a:lnTo>
                  <a:pt x="714" y="1164"/>
                </a:lnTo>
                <a:lnTo>
                  <a:pt x="720" y="1170"/>
                </a:lnTo>
                <a:lnTo>
                  <a:pt x="720" y="1176"/>
                </a:lnTo>
                <a:lnTo>
                  <a:pt x="720" y="1182"/>
                </a:lnTo>
                <a:lnTo>
                  <a:pt x="726" y="1188"/>
                </a:lnTo>
                <a:lnTo>
                  <a:pt x="726" y="1194"/>
                </a:lnTo>
                <a:lnTo>
                  <a:pt x="732" y="1194"/>
                </a:lnTo>
                <a:lnTo>
                  <a:pt x="732" y="1200"/>
                </a:lnTo>
                <a:lnTo>
                  <a:pt x="738" y="1212"/>
                </a:lnTo>
                <a:lnTo>
                  <a:pt x="732" y="1218"/>
                </a:lnTo>
                <a:lnTo>
                  <a:pt x="732" y="1224"/>
                </a:lnTo>
                <a:lnTo>
                  <a:pt x="726" y="1230"/>
                </a:lnTo>
                <a:lnTo>
                  <a:pt x="720" y="1230"/>
                </a:lnTo>
                <a:lnTo>
                  <a:pt x="720" y="1236"/>
                </a:lnTo>
                <a:lnTo>
                  <a:pt x="720" y="1242"/>
                </a:lnTo>
                <a:lnTo>
                  <a:pt x="720" y="1248"/>
                </a:lnTo>
                <a:lnTo>
                  <a:pt x="714" y="1248"/>
                </a:lnTo>
                <a:lnTo>
                  <a:pt x="714" y="1254"/>
                </a:lnTo>
                <a:lnTo>
                  <a:pt x="708" y="1260"/>
                </a:lnTo>
                <a:lnTo>
                  <a:pt x="702" y="1272"/>
                </a:lnTo>
                <a:lnTo>
                  <a:pt x="696" y="1272"/>
                </a:lnTo>
                <a:lnTo>
                  <a:pt x="696" y="1278"/>
                </a:lnTo>
                <a:lnTo>
                  <a:pt x="690" y="1284"/>
                </a:lnTo>
                <a:lnTo>
                  <a:pt x="690" y="1290"/>
                </a:lnTo>
                <a:lnTo>
                  <a:pt x="684" y="1290"/>
                </a:lnTo>
                <a:lnTo>
                  <a:pt x="660" y="1284"/>
                </a:lnTo>
                <a:lnTo>
                  <a:pt x="660" y="1278"/>
                </a:lnTo>
                <a:lnTo>
                  <a:pt x="654" y="1272"/>
                </a:lnTo>
                <a:lnTo>
                  <a:pt x="648" y="1272"/>
                </a:lnTo>
                <a:lnTo>
                  <a:pt x="642" y="1272"/>
                </a:lnTo>
                <a:lnTo>
                  <a:pt x="642" y="1266"/>
                </a:lnTo>
                <a:lnTo>
                  <a:pt x="636" y="1266"/>
                </a:lnTo>
                <a:lnTo>
                  <a:pt x="630" y="1266"/>
                </a:lnTo>
                <a:lnTo>
                  <a:pt x="624" y="1266"/>
                </a:lnTo>
                <a:lnTo>
                  <a:pt x="624" y="1260"/>
                </a:lnTo>
                <a:lnTo>
                  <a:pt x="618" y="1260"/>
                </a:lnTo>
                <a:lnTo>
                  <a:pt x="612" y="1260"/>
                </a:lnTo>
                <a:lnTo>
                  <a:pt x="606" y="1260"/>
                </a:lnTo>
                <a:lnTo>
                  <a:pt x="600" y="1260"/>
                </a:lnTo>
                <a:lnTo>
                  <a:pt x="600" y="1254"/>
                </a:lnTo>
                <a:lnTo>
                  <a:pt x="594" y="1254"/>
                </a:lnTo>
                <a:lnTo>
                  <a:pt x="588" y="1248"/>
                </a:lnTo>
                <a:lnTo>
                  <a:pt x="588" y="1254"/>
                </a:lnTo>
                <a:lnTo>
                  <a:pt x="582" y="1254"/>
                </a:lnTo>
                <a:lnTo>
                  <a:pt x="582" y="1248"/>
                </a:lnTo>
                <a:lnTo>
                  <a:pt x="576" y="1248"/>
                </a:lnTo>
                <a:lnTo>
                  <a:pt x="576" y="1254"/>
                </a:lnTo>
                <a:lnTo>
                  <a:pt x="570" y="1248"/>
                </a:lnTo>
                <a:lnTo>
                  <a:pt x="564" y="1248"/>
                </a:lnTo>
                <a:lnTo>
                  <a:pt x="564" y="1254"/>
                </a:lnTo>
                <a:lnTo>
                  <a:pt x="558" y="1254"/>
                </a:lnTo>
                <a:lnTo>
                  <a:pt x="552" y="1254"/>
                </a:lnTo>
                <a:lnTo>
                  <a:pt x="552" y="1260"/>
                </a:lnTo>
                <a:lnTo>
                  <a:pt x="546" y="1260"/>
                </a:lnTo>
                <a:lnTo>
                  <a:pt x="540" y="1260"/>
                </a:lnTo>
                <a:lnTo>
                  <a:pt x="540" y="1254"/>
                </a:lnTo>
                <a:lnTo>
                  <a:pt x="534" y="1254"/>
                </a:lnTo>
                <a:lnTo>
                  <a:pt x="528" y="1224"/>
                </a:lnTo>
                <a:lnTo>
                  <a:pt x="534" y="1212"/>
                </a:lnTo>
                <a:lnTo>
                  <a:pt x="546" y="1206"/>
                </a:lnTo>
                <a:lnTo>
                  <a:pt x="582" y="1206"/>
                </a:lnTo>
                <a:lnTo>
                  <a:pt x="588" y="1188"/>
                </a:lnTo>
                <a:lnTo>
                  <a:pt x="582" y="1188"/>
                </a:lnTo>
                <a:lnTo>
                  <a:pt x="582" y="1182"/>
                </a:lnTo>
                <a:lnTo>
                  <a:pt x="576" y="1176"/>
                </a:lnTo>
                <a:lnTo>
                  <a:pt x="558" y="1128"/>
                </a:lnTo>
                <a:lnTo>
                  <a:pt x="558" y="1122"/>
                </a:lnTo>
                <a:lnTo>
                  <a:pt x="576" y="1098"/>
                </a:lnTo>
                <a:lnTo>
                  <a:pt x="576" y="1092"/>
                </a:lnTo>
                <a:lnTo>
                  <a:pt x="582" y="1092"/>
                </a:lnTo>
                <a:lnTo>
                  <a:pt x="582" y="1086"/>
                </a:lnTo>
                <a:lnTo>
                  <a:pt x="582" y="1080"/>
                </a:lnTo>
                <a:lnTo>
                  <a:pt x="582" y="1074"/>
                </a:lnTo>
                <a:lnTo>
                  <a:pt x="588" y="1074"/>
                </a:lnTo>
                <a:lnTo>
                  <a:pt x="588" y="1062"/>
                </a:lnTo>
                <a:lnTo>
                  <a:pt x="588" y="1056"/>
                </a:lnTo>
                <a:lnTo>
                  <a:pt x="588" y="1044"/>
                </a:lnTo>
                <a:lnTo>
                  <a:pt x="588" y="1038"/>
                </a:lnTo>
                <a:lnTo>
                  <a:pt x="588" y="1032"/>
                </a:lnTo>
                <a:lnTo>
                  <a:pt x="582" y="1026"/>
                </a:lnTo>
                <a:lnTo>
                  <a:pt x="582" y="1020"/>
                </a:lnTo>
                <a:lnTo>
                  <a:pt x="582" y="1008"/>
                </a:lnTo>
                <a:lnTo>
                  <a:pt x="576" y="990"/>
                </a:lnTo>
                <a:lnTo>
                  <a:pt x="570" y="972"/>
                </a:lnTo>
                <a:lnTo>
                  <a:pt x="552" y="972"/>
                </a:lnTo>
                <a:lnTo>
                  <a:pt x="540" y="960"/>
                </a:lnTo>
                <a:lnTo>
                  <a:pt x="534" y="954"/>
                </a:lnTo>
                <a:lnTo>
                  <a:pt x="534" y="948"/>
                </a:lnTo>
                <a:lnTo>
                  <a:pt x="516" y="948"/>
                </a:lnTo>
                <a:lnTo>
                  <a:pt x="522" y="936"/>
                </a:lnTo>
                <a:lnTo>
                  <a:pt x="522" y="930"/>
                </a:lnTo>
                <a:lnTo>
                  <a:pt x="504" y="918"/>
                </a:lnTo>
                <a:lnTo>
                  <a:pt x="492" y="906"/>
                </a:lnTo>
                <a:lnTo>
                  <a:pt x="486" y="894"/>
                </a:lnTo>
                <a:lnTo>
                  <a:pt x="468" y="876"/>
                </a:lnTo>
                <a:lnTo>
                  <a:pt x="450" y="876"/>
                </a:lnTo>
                <a:lnTo>
                  <a:pt x="414" y="882"/>
                </a:lnTo>
                <a:lnTo>
                  <a:pt x="402" y="870"/>
                </a:lnTo>
                <a:lnTo>
                  <a:pt x="390" y="864"/>
                </a:lnTo>
                <a:lnTo>
                  <a:pt x="384" y="852"/>
                </a:lnTo>
                <a:lnTo>
                  <a:pt x="378" y="840"/>
                </a:lnTo>
                <a:lnTo>
                  <a:pt x="378" y="834"/>
                </a:lnTo>
                <a:lnTo>
                  <a:pt x="360" y="822"/>
                </a:lnTo>
                <a:lnTo>
                  <a:pt x="342" y="828"/>
                </a:lnTo>
                <a:lnTo>
                  <a:pt x="324" y="816"/>
                </a:lnTo>
                <a:lnTo>
                  <a:pt x="318" y="816"/>
                </a:lnTo>
                <a:lnTo>
                  <a:pt x="306" y="810"/>
                </a:lnTo>
                <a:lnTo>
                  <a:pt x="306" y="804"/>
                </a:lnTo>
                <a:lnTo>
                  <a:pt x="300" y="804"/>
                </a:lnTo>
                <a:lnTo>
                  <a:pt x="300" y="780"/>
                </a:lnTo>
                <a:lnTo>
                  <a:pt x="300" y="774"/>
                </a:lnTo>
                <a:lnTo>
                  <a:pt x="306" y="774"/>
                </a:lnTo>
                <a:lnTo>
                  <a:pt x="312" y="756"/>
                </a:lnTo>
                <a:lnTo>
                  <a:pt x="312" y="732"/>
                </a:lnTo>
                <a:lnTo>
                  <a:pt x="300" y="720"/>
                </a:lnTo>
                <a:lnTo>
                  <a:pt x="288" y="702"/>
                </a:lnTo>
                <a:lnTo>
                  <a:pt x="276" y="702"/>
                </a:lnTo>
                <a:lnTo>
                  <a:pt x="258" y="714"/>
                </a:lnTo>
                <a:lnTo>
                  <a:pt x="246" y="726"/>
                </a:lnTo>
                <a:lnTo>
                  <a:pt x="222" y="726"/>
                </a:lnTo>
                <a:lnTo>
                  <a:pt x="192" y="726"/>
                </a:lnTo>
                <a:lnTo>
                  <a:pt x="174" y="738"/>
                </a:lnTo>
                <a:lnTo>
                  <a:pt x="162" y="750"/>
                </a:lnTo>
                <a:lnTo>
                  <a:pt x="144" y="762"/>
                </a:lnTo>
                <a:lnTo>
                  <a:pt x="138" y="768"/>
                </a:lnTo>
                <a:lnTo>
                  <a:pt x="126" y="774"/>
                </a:lnTo>
                <a:lnTo>
                  <a:pt x="114" y="780"/>
                </a:lnTo>
                <a:lnTo>
                  <a:pt x="108" y="786"/>
                </a:lnTo>
                <a:lnTo>
                  <a:pt x="102" y="786"/>
                </a:lnTo>
                <a:lnTo>
                  <a:pt x="54" y="786"/>
                </a:lnTo>
                <a:lnTo>
                  <a:pt x="48" y="792"/>
                </a:lnTo>
                <a:lnTo>
                  <a:pt x="36" y="798"/>
                </a:lnTo>
                <a:lnTo>
                  <a:pt x="18" y="792"/>
                </a:lnTo>
                <a:lnTo>
                  <a:pt x="6" y="780"/>
                </a:lnTo>
                <a:lnTo>
                  <a:pt x="6" y="768"/>
                </a:lnTo>
                <a:lnTo>
                  <a:pt x="0" y="756"/>
                </a:lnTo>
                <a:lnTo>
                  <a:pt x="0" y="738"/>
                </a:lnTo>
                <a:lnTo>
                  <a:pt x="6" y="702"/>
                </a:lnTo>
                <a:lnTo>
                  <a:pt x="24" y="702"/>
                </a:lnTo>
                <a:lnTo>
                  <a:pt x="24" y="696"/>
                </a:lnTo>
                <a:lnTo>
                  <a:pt x="24" y="690"/>
                </a:lnTo>
                <a:lnTo>
                  <a:pt x="24" y="678"/>
                </a:lnTo>
                <a:lnTo>
                  <a:pt x="24" y="672"/>
                </a:lnTo>
                <a:lnTo>
                  <a:pt x="30" y="672"/>
                </a:lnTo>
                <a:lnTo>
                  <a:pt x="30" y="666"/>
                </a:lnTo>
                <a:lnTo>
                  <a:pt x="36" y="660"/>
                </a:lnTo>
                <a:lnTo>
                  <a:pt x="84" y="648"/>
                </a:lnTo>
                <a:lnTo>
                  <a:pt x="126" y="642"/>
                </a:lnTo>
                <a:lnTo>
                  <a:pt x="132" y="630"/>
                </a:lnTo>
                <a:lnTo>
                  <a:pt x="132" y="624"/>
                </a:lnTo>
                <a:lnTo>
                  <a:pt x="132" y="618"/>
                </a:lnTo>
                <a:lnTo>
                  <a:pt x="138" y="612"/>
                </a:lnTo>
                <a:lnTo>
                  <a:pt x="138" y="606"/>
                </a:lnTo>
                <a:lnTo>
                  <a:pt x="138" y="600"/>
                </a:lnTo>
                <a:lnTo>
                  <a:pt x="132" y="600"/>
                </a:lnTo>
                <a:lnTo>
                  <a:pt x="132" y="594"/>
                </a:lnTo>
                <a:lnTo>
                  <a:pt x="132" y="588"/>
                </a:lnTo>
                <a:lnTo>
                  <a:pt x="132" y="582"/>
                </a:lnTo>
                <a:lnTo>
                  <a:pt x="132" y="576"/>
                </a:lnTo>
                <a:lnTo>
                  <a:pt x="126" y="570"/>
                </a:lnTo>
                <a:lnTo>
                  <a:pt x="120" y="564"/>
                </a:lnTo>
                <a:lnTo>
                  <a:pt x="120" y="558"/>
                </a:lnTo>
                <a:lnTo>
                  <a:pt x="120" y="552"/>
                </a:lnTo>
                <a:lnTo>
                  <a:pt x="114" y="552"/>
                </a:lnTo>
                <a:lnTo>
                  <a:pt x="114" y="546"/>
                </a:lnTo>
                <a:lnTo>
                  <a:pt x="114" y="540"/>
                </a:lnTo>
                <a:lnTo>
                  <a:pt x="108" y="534"/>
                </a:lnTo>
                <a:lnTo>
                  <a:pt x="108" y="528"/>
                </a:lnTo>
                <a:lnTo>
                  <a:pt x="114" y="522"/>
                </a:lnTo>
                <a:lnTo>
                  <a:pt x="108" y="516"/>
                </a:lnTo>
                <a:lnTo>
                  <a:pt x="108" y="498"/>
                </a:lnTo>
                <a:lnTo>
                  <a:pt x="108" y="492"/>
                </a:lnTo>
                <a:lnTo>
                  <a:pt x="108" y="486"/>
                </a:lnTo>
                <a:lnTo>
                  <a:pt x="108" y="480"/>
                </a:lnTo>
                <a:lnTo>
                  <a:pt x="114" y="474"/>
                </a:lnTo>
                <a:lnTo>
                  <a:pt x="114" y="468"/>
                </a:lnTo>
                <a:lnTo>
                  <a:pt x="114" y="462"/>
                </a:lnTo>
                <a:lnTo>
                  <a:pt x="108" y="462"/>
                </a:lnTo>
                <a:lnTo>
                  <a:pt x="102" y="456"/>
                </a:lnTo>
                <a:lnTo>
                  <a:pt x="102" y="444"/>
                </a:lnTo>
                <a:lnTo>
                  <a:pt x="96" y="444"/>
                </a:lnTo>
                <a:lnTo>
                  <a:pt x="90" y="432"/>
                </a:lnTo>
                <a:lnTo>
                  <a:pt x="96" y="432"/>
                </a:lnTo>
                <a:lnTo>
                  <a:pt x="96" y="408"/>
                </a:lnTo>
                <a:lnTo>
                  <a:pt x="96" y="396"/>
                </a:lnTo>
                <a:lnTo>
                  <a:pt x="96" y="360"/>
                </a:lnTo>
                <a:lnTo>
                  <a:pt x="96" y="354"/>
                </a:lnTo>
                <a:lnTo>
                  <a:pt x="102" y="354"/>
                </a:lnTo>
                <a:lnTo>
                  <a:pt x="102" y="348"/>
                </a:lnTo>
                <a:lnTo>
                  <a:pt x="96" y="330"/>
                </a:lnTo>
                <a:lnTo>
                  <a:pt x="90" y="306"/>
                </a:lnTo>
                <a:lnTo>
                  <a:pt x="84" y="288"/>
                </a:lnTo>
                <a:lnTo>
                  <a:pt x="84" y="264"/>
                </a:lnTo>
                <a:lnTo>
                  <a:pt x="90" y="240"/>
                </a:lnTo>
                <a:lnTo>
                  <a:pt x="96" y="222"/>
                </a:lnTo>
                <a:lnTo>
                  <a:pt x="102" y="222"/>
                </a:lnTo>
                <a:lnTo>
                  <a:pt x="108" y="210"/>
                </a:lnTo>
                <a:lnTo>
                  <a:pt x="114" y="210"/>
                </a:lnTo>
                <a:lnTo>
                  <a:pt x="126" y="198"/>
                </a:lnTo>
                <a:lnTo>
                  <a:pt x="156" y="192"/>
                </a:lnTo>
                <a:lnTo>
                  <a:pt x="174" y="186"/>
                </a:lnTo>
                <a:lnTo>
                  <a:pt x="204" y="174"/>
                </a:lnTo>
                <a:lnTo>
                  <a:pt x="222" y="168"/>
                </a:lnTo>
                <a:lnTo>
                  <a:pt x="234" y="162"/>
                </a:lnTo>
                <a:lnTo>
                  <a:pt x="246" y="156"/>
                </a:lnTo>
                <a:lnTo>
                  <a:pt x="288" y="144"/>
                </a:lnTo>
                <a:lnTo>
                  <a:pt x="288" y="132"/>
                </a:lnTo>
                <a:lnTo>
                  <a:pt x="294" y="120"/>
                </a:lnTo>
                <a:lnTo>
                  <a:pt x="300" y="108"/>
                </a:lnTo>
                <a:lnTo>
                  <a:pt x="306" y="90"/>
                </a:lnTo>
                <a:lnTo>
                  <a:pt x="312" y="78"/>
                </a:lnTo>
                <a:lnTo>
                  <a:pt x="324" y="78"/>
                </a:lnTo>
                <a:lnTo>
                  <a:pt x="324" y="54"/>
                </a:lnTo>
                <a:lnTo>
                  <a:pt x="318" y="48"/>
                </a:lnTo>
                <a:lnTo>
                  <a:pt x="324" y="30"/>
                </a:lnTo>
                <a:lnTo>
                  <a:pt x="324" y="12"/>
                </a:lnTo>
                <a:lnTo>
                  <a:pt x="360" y="6"/>
                </a:lnTo>
                <a:lnTo>
                  <a:pt x="384" y="0"/>
                </a:lnTo>
                <a:lnTo>
                  <a:pt x="390" y="6"/>
                </a:lnTo>
                <a:lnTo>
                  <a:pt x="390" y="18"/>
                </a:lnTo>
                <a:lnTo>
                  <a:pt x="390" y="54"/>
                </a:lnTo>
                <a:lnTo>
                  <a:pt x="396" y="66"/>
                </a:lnTo>
                <a:lnTo>
                  <a:pt x="414" y="84"/>
                </a:lnTo>
                <a:lnTo>
                  <a:pt x="426" y="90"/>
                </a:lnTo>
                <a:lnTo>
                  <a:pt x="432" y="96"/>
                </a:lnTo>
                <a:lnTo>
                  <a:pt x="426" y="102"/>
                </a:lnTo>
                <a:lnTo>
                  <a:pt x="438" y="102"/>
                </a:lnTo>
                <a:lnTo>
                  <a:pt x="444" y="108"/>
                </a:lnTo>
                <a:lnTo>
                  <a:pt x="444" y="102"/>
                </a:lnTo>
                <a:lnTo>
                  <a:pt x="450" y="90"/>
                </a:lnTo>
                <a:lnTo>
                  <a:pt x="450" y="84"/>
                </a:lnTo>
                <a:lnTo>
                  <a:pt x="450" y="78"/>
                </a:lnTo>
                <a:lnTo>
                  <a:pt x="456" y="72"/>
                </a:lnTo>
                <a:lnTo>
                  <a:pt x="462" y="66"/>
                </a:lnTo>
                <a:lnTo>
                  <a:pt x="462" y="60"/>
                </a:lnTo>
                <a:lnTo>
                  <a:pt x="462" y="54"/>
                </a:lnTo>
                <a:lnTo>
                  <a:pt x="462" y="42"/>
                </a:lnTo>
                <a:lnTo>
                  <a:pt x="468" y="36"/>
                </a:lnTo>
                <a:lnTo>
                  <a:pt x="474" y="24"/>
                </a:lnTo>
                <a:lnTo>
                  <a:pt x="480" y="18"/>
                </a:lnTo>
                <a:lnTo>
                  <a:pt x="486" y="12"/>
                </a:lnTo>
                <a:lnTo>
                  <a:pt x="492" y="12"/>
                </a:lnTo>
                <a:lnTo>
                  <a:pt x="498" y="6"/>
                </a:lnTo>
                <a:lnTo>
                  <a:pt x="504" y="6"/>
                </a:lnTo>
                <a:lnTo>
                  <a:pt x="510" y="12"/>
                </a:lnTo>
                <a:lnTo>
                  <a:pt x="522" y="6"/>
                </a:lnTo>
                <a:lnTo>
                  <a:pt x="534" y="6"/>
                </a:lnTo>
                <a:lnTo>
                  <a:pt x="540" y="6"/>
                </a:lnTo>
                <a:lnTo>
                  <a:pt x="546" y="6"/>
                </a:lnTo>
                <a:lnTo>
                  <a:pt x="564" y="0"/>
                </a:lnTo>
                <a:lnTo>
                  <a:pt x="570" y="0"/>
                </a:lnTo>
                <a:lnTo>
                  <a:pt x="576" y="6"/>
                </a:lnTo>
                <a:lnTo>
                  <a:pt x="582" y="6"/>
                </a:lnTo>
                <a:lnTo>
                  <a:pt x="594" y="6"/>
                </a:lnTo>
                <a:lnTo>
                  <a:pt x="600" y="6"/>
                </a:lnTo>
                <a:lnTo>
                  <a:pt x="606" y="6"/>
                </a:lnTo>
                <a:lnTo>
                  <a:pt x="624" y="0"/>
                </a:lnTo>
                <a:lnTo>
                  <a:pt x="636" y="0"/>
                </a:lnTo>
                <a:lnTo>
                  <a:pt x="636" y="6"/>
                </a:lnTo>
                <a:lnTo>
                  <a:pt x="654" y="18"/>
                </a:lnTo>
                <a:lnTo>
                  <a:pt x="654" y="30"/>
                </a:lnTo>
                <a:lnTo>
                  <a:pt x="642" y="42"/>
                </a:lnTo>
                <a:lnTo>
                  <a:pt x="630" y="66"/>
                </a:lnTo>
                <a:lnTo>
                  <a:pt x="636" y="84"/>
                </a:lnTo>
                <a:lnTo>
                  <a:pt x="636" y="96"/>
                </a:lnTo>
                <a:lnTo>
                  <a:pt x="648" y="102"/>
                </a:lnTo>
                <a:lnTo>
                  <a:pt x="672" y="114"/>
                </a:lnTo>
                <a:lnTo>
                  <a:pt x="702" y="120"/>
                </a:lnTo>
                <a:lnTo>
                  <a:pt x="714" y="126"/>
                </a:lnTo>
                <a:lnTo>
                  <a:pt x="720" y="144"/>
                </a:lnTo>
                <a:lnTo>
                  <a:pt x="720" y="156"/>
                </a:lnTo>
                <a:lnTo>
                  <a:pt x="708" y="156"/>
                </a:lnTo>
                <a:lnTo>
                  <a:pt x="702" y="162"/>
                </a:lnTo>
                <a:lnTo>
                  <a:pt x="702" y="174"/>
                </a:lnTo>
                <a:lnTo>
                  <a:pt x="696" y="174"/>
                </a:lnTo>
                <a:lnTo>
                  <a:pt x="690" y="180"/>
                </a:lnTo>
                <a:lnTo>
                  <a:pt x="678" y="186"/>
                </a:lnTo>
                <a:lnTo>
                  <a:pt x="672" y="192"/>
                </a:lnTo>
                <a:lnTo>
                  <a:pt x="654" y="210"/>
                </a:lnTo>
                <a:lnTo>
                  <a:pt x="654" y="216"/>
                </a:lnTo>
                <a:lnTo>
                  <a:pt x="648" y="246"/>
                </a:lnTo>
                <a:lnTo>
                  <a:pt x="660" y="246"/>
                </a:lnTo>
                <a:lnTo>
                  <a:pt x="666" y="234"/>
                </a:lnTo>
                <a:lnTo>
                  <a:pt x="678" y="240"/>
                </a:lnTo>
                <a:lnTo>
                  <a:pt x="684" y="228"/>
                </a:lnTo>
                <a:lnTo>
                  <a:pt x="690" y="210"/>
                </a:lnTo>
                <a:lnTo>
                  <a:pt x="696" y="204"/>
                </a:lnTo>
                <a:lnTo>
                  <a:pt x="702" y="204"/>
                </a:lnTo>
                <a:lnTo>
                  <a:pt x="708" y="192"/>
                </a:lnTo>
                <a:lnTo>
                  <a:pt x="714" y="192"/>
                </a:lnTo>
                <a:lnTo>
                  <a:pt x="714" y="186"/>
                </a:lnTo>
                <a:lnTo>
                  <a:pt x="726" y="186"/>
                </a:lnTo>
                <a:lnTo>
                  <a:pt x="732" y="186"/>
                </a:lnTo>
                <a:lnTo>
                  <a:pt x="738" y="186"/>
                </a:lnTo>
                <a:lnTo>
                  <a:pt x="744" y="216"/>
                </a:lnTo>
                <a:lnTo>
                  <a:pt x="750" y="210"/>
                </a:lnTo>
                <a:lnTo>
                  <a:pt x="750" y="204"/>
                </a:lnTo>
                <a:lnTo>
                  <a:pt x="756" y="192"/>
                </a:lnTo>
                <a:lnTo>
                  <a:pt x="762" y="192"/>
                </a:lnTo>
                <a:lnTo>
                  <a:pt x="768" y="192"/>
                </a:lnTo>
                <a:lnTo>
                  <a:pt x="780" y="186"/>
                </a:lnTo>
                <a:lnTo>
                  <a:pt x="786" y="204"/>
                </a:lnTo>
                <a:lnTo>
                  <a:pt x="774" y="210"/>
                </a:lnTo>
                <a:lnTo>
                  <a:pt x="774" y="234"/>
                </a:lnTo>
                <a:lnTo>
                  <a:pt x="780" y="246"/>
                </a:lnTo>
                <a:lnTo>
                  <a:pt x="804" y="264"/>
                </a:lnTo>
                <a:lnTo>
                  <a:pt x="816" y="276"/>
                </a:lnTo>
                <a:lnTo>
                  <a:pt x="822" y="288"/>
                </a:lnTo>
                <a:lnTo>
                  <a:pt x="822" y="312"/>
                </a:lnTo>
                <a:lnTo>
                  <a:pt x="816" y="312"/>
                </a:lnTo>
                <a:lnTo>
                  <a:pt x="810" y="318"/>
                </a:lnTo>
                <a:lnTo>
                  <a:pt x="810" y="348"/>
                </a:lnTo>
                <a:lnTo>
                  <a:pt x="816" y="348"/>
                </a:lnTo>
                <a:lnTo>
                  <a:pt x="816" y="342"/>
                </a:lnTo>
                <a:lnTo>
                  <a:pt x="834" y="342"/>
                </a:lnTo>
                <a:lnTo>
                  <a:pt x="834" y="348"/>
                </a:lnTo>
                <a:lnTo>
                  <a:pt x="846" y="348"/>
                </a:lnTo>
                <a:lnTo>
                  <a:pt x="846" y="342"/>
                </a:lnTo>
                <a:lnTo>
                  <a:pt x="882" y="342"/>
                </a:lnTo>
                <a:lnTo>
                  <a:pt x="894" y="366"/>
                </a:lnTo>
                <a:lnTo>
                  <a:pt x="900" y="372"/>
                </a:lnTo>
                <a:lnTo>
                  <a:pt x="906" y="384"/>
                </a:lnTo>
                <a:lnTo>
                  <a:pt x="924" y="384"/>
                </a:lnTo>
                <a:lnTo>
                  <a:pt x="930" y="372"/>
                </a:lnTo>
                <a:lnTo>
                  <a:pt x="936" y="372"/>
                </a:lnTo>
                <a:lnTo>
                  <a:pt x="942" y="348"/>
                </a:lnTo>
                <a:lnTo>
                  <a:pt x="954" y="348"/>
                </a:lnTo>
                <a:lnTo>
                  <a:pt x="954" y="342"/>
                </a:lnTo>
                <a:lnTo>
                  <a:pt x="984" y="342"/>
                </a:lnTo>
                <a:lnTo>
                  <a:pt x="978" y="390"/>
                </a:lnTo>
                <a:lnTo>
                  <a:pt x="984" y="390"/>
                </a:lnTo>
                <a:lnTo>
                  <a:pt x="990" y="396"/>
                </a:lnTo>
                <a:lnTo>
                  <a:pt x="996" y="396"/>
                </a:lnTo>
                <a:lnTo>
                  <a:pt x="1002" y="396"/>
                </a:lnTo>
                <a:lnTo>
                  <a:pt x="1002" y="408"/>
                </a:lnTo>
                <a:lnTo>
                  <a:pt x="990" y="414"/>
                </a:lnTo>
                <a:lnTo>
                  <a:pt x="984" y="426"/>
                </a:lnTo>
                <a:lnTo>
                  <a:pt x="990" y="444"/>
                </a:lnTo>
                <a:lnTo>
                  <a:pt x="996" y="450"/>
                </a:lnTo>
                <a:lnTo>
                  <a:pt x="990" y="462"/>
                </a:lnTo>
                <a:lnTo>
                  <a:pt x="990" y="468"/>
                </a:lnTo>
                <a:lnTo>
                  <a:pt x="984" y="480"/>
                </a:lnTo>
                <a:lnTo>
                  <a:pt x="978" y="486"/>
                </a:lnTo>
                <a:lnTo>
                  <a:pt x="972" y="486"/>
                </a:lnTo>
                <a:lnTo>
                  <a:pt x="966" y="492"/>
                </a:lnTo>
                <a:lnTo>
                  <a:pt x="966" y="498"/>
                </a:lnTo>
                <a:lnTo>
                  <a:pt x="954" y="510"/>
                </a:lnTo>
                <a:lnTo>
                  <a:pt x="948" y="510"/>
                </a:lnTo>
                <a:lnTo>
                  <a:pt x="942" y="516"/>
                </a:lnTo>
                <a:lnTo>
                  <a:pt x="936" y="528"/>
                </a:lnTo>
                <a:lnTo>
                  <a:pt x="936" y="534"/>
                </a:lnTo>
                <a:lnTo>
                  <a:pt x="936" y="546"/>
                </a:lnTo>
                <a:lnTo>
                  <a:pt x="936" y="558"/>
                </a:lnTo>
                <a:lnTo>
                  <a:pt x="948" y="558"/>
                </a:lnTo>
                <a:lnTo>
                  <a:pt x="954" y="558"/>
                </a:lnTo>
                <a:lnTo>
                  <a:pt x="996" y="558"/>
                </a:lnTo>
                <a:lnTo>
                  <a:pt x="1002" y="570"/>
                </a:lnTo>
                <a:lnTo>
                  <a:pt x="996" y="576"/>
                </a:lnTo>
                <a:lnTo>
                  <a:pt x="996" y="588"/>
                </a:lnTo>
                <a:lnTo>
                  <a:pt x="984" y="588"/>
                </a:lnTo>
                <a:lnTo>
                  <a:pt x="990" y="612"/>
                </a:lnTo>
                <a:lnTo>
                  <a:pt x="1014" y="606"/>
                </a:lnTo>
                <a:lnTo>
                  <a:pt x="1014" y="636"/>
                </a:lnTo>
                <a:lnTo>
                  <a:pt x="1014" y="648"/>
                </a:lnTo>
                <a:lnTo>
                  <a:pt x="1020" y="648"/>
                </a:lnTo>
                <a:lnTo>
                  <a:pt x="1026" y="660"/>
                </a:lnTo>
                <a:lnTo>
                  <a:pt x="1038" y="654"/>
                </a:lnTo>
                <a:lnTo>
                  <a:pt x="1050" y="654"/>
                </a:lnTo>
                <a:lnTo>
                  <a:pt x="1062" y="654"/>
                </a:lnTo>
                <a:lnTo>
                  <a:pt x="1068" y="660"/>
                </a:lnTo>
                <a:lnTo>
                  <a:pt x="1068" y="678"/>
                </a:lnTo>
                <a:lnTo>
                  <a:pt x="1068" y="684"/>
                </a:lnTo>
                <a:lnTo>
                  <a:pt x="1062" y="690"/>
                </a:lnTo>
                <a:lnTo>
                  <a:pt x="1056" y="696"/>
                </a:lnTo>
                <a:lnTo>
                  <a:pt x="1056" y="702"/>
                </a:lnTo>
                <a:lnTo>
                  <a:pt x="1038" y="714"/>
                </a:lnTo>
                <a:lnTo>
                  <a:pt x="1026" y="720"/>
                </a:lnTo>
                <a:lnTo>
                  <a:pt x="1008" y="726"/>
                </a:lnTo>
                <a:lnTo>
                  <a:pt x="1008" y="732"/>
                </a:lnTo>
                <a:lnTo>
                  <a:pt x="990" y="732"/>
                </a:lnTo>
                <a:lnTo>
                  <a:pt x="984" y="744"/>
                </a:lnTo>
                <a:lnTo>
                  <a:pt x="990" y="750"/>
                </a:lnTo>
                <a:lnTo>
                  <a:pt x="984" y="762"/>
                </a:lnTo>
                <a:lnTo>
                  <a:pt x="984" y="768"/>
                </a:lnTo>
                <a:lnTo>
                  <a:pt x="984" y="774"/>
                </a:lnTo>
                <a:lnTo>
                  <a:pt x="984" y="780"/>
                </a:lnTo>
                <a:lnTo>
                  <a:pt x="984" y="786"/>
                </a:lnTo>
                <a:lnTo>
                  <a:pt x="984" y="792"/>
                </a:lnTo>
                <a:lnTo>
                  <a:pt x="978" y="798"/>
                </a:lnTo>
                <a:lnTo>
                  <a:pt x="978" y="80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52" name="Freeform 39"/>
          <p:cNvSpPr>
            <a:spLocks/>
          </p:cNvSpPr>
          <p:nvPr/>
        </p:nvSpPr>
        <p:spPr bwMode="gray">
          <a:xfrm>
            <a:off x="4918075" y="1768475"/>
            <a:ext cx="1411288" cy="1454150"/>
          </a:xfrm>
          <a:custGeom>
            <a:avLst/>
            <a:gdLst>
              <a:gd name="T0" fmla="*/ 82068 w 1806"/>
              <a:gd name="T1" fmla="*/ 124912 h 1806"/>
              <a:gd name="T2" fmla="*/ 80505 w 1806"/>
              <a:gd name="T3" fmla="*/ 124912 h 1806"/>
              <a:gd name="T4" fmla="*/ 80505 w 1806"/>
              <a:gd name="T5" fmla="*/ 120883 h 1806"/>
              <a:gd name="T6" fmla="*/ 81287 w 1806"/>
              <a:gd name="T7" fmla="*/ 113630 h 1806"/>
              <a:gd name="T8" fmla="*/ 81287 w 1806"/>
              <a:gd name="T9" fmla="*/ 109600 h 1806"/>
              <a:gd name="T10" fmla="*/ 78160 w 1806"/>
              <a:gd name="T11" fmla="*/ 105571 h 1806"/>
              <a:gd name="T12" fmla="*/ 75034 w 1806"/>
              <a:gd name="T13" fmla="*/ 102347 h 1806"/>
              <a:gd name="T14" fmla="*/ 71126 w 1806"/>
              <a:gd name="T15" fmla="*/ 97512 h 1806"/>
              <a:gd name="T16" fmla="*/ 67999 w 1806"/>
              <a:gd name="T17" fmla="*/ 96706 h 1806"/>
              <a:gd name="T18" fmla="*/ 63310 w 1806"/>
              <a:gd name="T19" fmla="*/ 94288 h 1806"/>
              <a:gd name="T20" fmla="*/ 50804 w 1806"/>
              <a:gd name="T21" fmla="*/ 91065 h 1806"/>
              <a:gd name="T22" fmla="*/ 53931 w 1806"/>
              <a:gd name="T23" fmla="*/ 84618 h 1806"/>
              <a:gd name="T24" fmla="*/ 51586 w 1806"/>
              <a:gd name="T25" fmla="*/ 71724 h 1806"/>
              <a:gd name="T26" fmla="*/ 49241 w 1806"/>
              <a:gd name="T27" fmla="*/ 67694 h 1806"/>
              <a:gd name="T28" fmla="*/ 48459 w 1806"/>
              <a:gd name="T29" fmla="*/ 59635 h 1806"/>
              <a:gd name="T30" fmla="*/ 45333 w 1806"/>
              <a:gd name="T31" fmla="*/ 41906 h 1806"/>
              <a:gd name="T32" fmla="*/ 41425 w 1806"/>
              <a:gd name="T33" fmla="*/ 39488 h 1806"/>
              <a:gd name="T34" fmla="*/ 39862 w 1806"/>
              <a:gd name="T35" fmla="*/ 29012 h 1806"/>
              <a:gd name="T36" fmla="*/ 33609 w 1806"/>
              <a:gd name="T37" fmla="*/ 25788 h 1806"/>
              <a:gd name="T38" fmla="*/ 25793 w 1806"/>
              <a:gd name="T39" fmla="*/ 24177 h 1806"/>
              <a:gd name="T40" fmla="*/ 23448 w 1806"/>
              <a:gd name="T41" fmla="*/ 16924 h 1806"/>
              <a:gd name="T42" fmla="*/ 13287 w 1806"/>
              <a:gd name="T43" fmla="*/ 20147 h 1806"/>
              <a:gd name="T44" fmla="*/ 3126 w 1806"/>
              <a:gd name="T45" fmla="*/ 26594 h 1806"/>
              <a:gd name="T46" fmla="*/ 5471 w 1806"/>
              <a:gd name="T47" fmla="*/ 20953 h 1806"/>
              <a:gd name="T48" fmla="*/ 8598 w 1806"/>
              <a:gd name="T49" fmla="*/ 16118 h 1806"/>
              <a:gd name="T50" fmla="*/ 14069 w 1806"/>
              <a:gd name="T51" fmla="*/ 9671 h 1806"/>
              <a:gd name="T52" fmla="*/ 20322 w 1806"/>
              <a:gd name="T53" fmla="*/ 6447 h 1806"/>
              <a:gd name="T54" fmla="*/ 27356 w 1806"/>
              <a:gd name="T55" fmla="*/ 4835 h 1806"/>
              <a:gd name="T56" fmla="*/ 34390 w 1806"/>
              <a:gd name="T57" fmla="*/ 4029 h 1806"/>
              <a:gd name="T58" fmla="*/ 42207 w 1806"/>
              <a:gd name="T59" fmla="*/ 1612 h 1806"/>
              <a:gd name="T60" fmla="*/ 50804 w 1806"/>
              <a:gd name="T61" fmla="*/ 0 h 1806"/>
              <a:gd name="T62" fmla="*/ 59402 w 1806"/>
              <a:gd name="T63" fmla="*/ 0 h 1806"/>
              <a:gd name="T64" fmla="*/ 66436 w 1806"/>
              <a:gd name="T65" fmla="*/ 0 h 1806"/>
              <a:gd name="T66" fmla="*/ 75815 w 1806"/>
              <a:gd name="T67" fmla="*/ 0 h 1806"/>
              <a:gd name="T68" fmla="*/ 84413 w 1806"/>
              <a:gd name="T69" fmla="*/ 2418 h 1806"/>
              <a:gd name="T70" fmla="*/ 89884 w 1806"/>
              <a:gd name="T71" fmla="*/ 4029 h 1806"/>
              <a:gd name="T72" fmla="*/ 96137 w 1806"/>
              <a:gd name="T73" fmla="*/ 5641 h 1806"/>
              <a:gd name="T74" fmla="*/ 103953 w 1806"/>
              <a:gd name="T75" fmla="*/ 11282 h 1806"/>
              <a:gd name="T76" fmla="*/ 107861 w 1806"/>
              <a:gd name="T77" fmla="*/ 12894 h 1806"/>
              <a:gd name="T78" fmla="*/ 109424 w 1806"/>
              <a:gd name="T79" fmla="*/ 11282 h 1806"/>
              <a:gd name="T80" fmla="*/ 113332 w 1806"/>
              <a:gd name="T81" fmla="*/ 12894 h 1806"/>
              <a:gd name="T82" fmla="*/ 114895 w 1806"/>
              <a:gd name="T83" fmla="*/ 12894 h 1806"/>
              <a:gd name="T84" fmla="*/ 117240 w 1806"/>
              <a:gd name="T85" fmla="*/ 13700 h 1806"/>
              <a:gd name="T86" fmla="*/ 118804 w 1806"/>
              <a:gd name="T87" fmla="*/ 14506 h 1806"/>
              <a:gd name="T88" fmla="*/ 121148 w 1806"/>
              <a:gd name="T89" fmla="*/ 29818 h 1806"/>
              <a:gd name="T90" fmla="*/ 114114 w 1806"/>
              <a:gd name="T91" fmla="*/ 53188 h 1806"/>
              <a:gd name="T92" fmla="*/ 111769 w 1806"/>
              <a:gd name="T93" fmla="*/ 70918 h 1806"/>
              <a:gd name="T94" fmla="*/ 112551 w 1806"/>
              <a:gd name="T95" fmla="*/ 78977 h 1806"/>
              <a:gd name="T96" fmla="*/ 107079 w 1806"/>
              <a:gd name="T97" fmla="*/ 95094 h 1806"/>
              <a:gd name="T98" fmla="*/ 103171 w 1806"/>
              <a:gd name="T99" fmla="*/ 103959 h 1806"/>
              <a:gd name="T100" fmla="*/ 96919 w 1806"/>
              <a:gd name="T101" fmla="*/ 108794 h 1806"/>
              <a:gd name="T102" fmla="*/ 93011 w 1806"/>
              <a:gd name="T103" fmla="*/ 109600 h 1806"/>
              <a:gd name="T104" fmla="*/ 90666 w 1806"/>
              <a:gd name="T105" fmla="*/ 110406 h 1806"/>
              <a:gd name="T106" fmla="*/ 87539 w 1806"/>
              <a:gd name="T107" fmla="*/ 112018 h 1806"/>
              <a:gd name="T108" fmla="*/ 87539 w 1806"/>
              <a:gd name="T109" fmla="*/ 113630 h 1806"/>
              <a:gd name="T110" fmla="*/ 90666 w 1806"/>
              <a:gd name="T111" fmla="*/ 117659 h 1806"/>
              <a:gd name="T112" fmla="*/ 90666 w 1806"/>
              <a:gd name="T113" fmla="*/ 121689 h 1806"/>
              <a:gd name="T114" fmla="*/ 88321 w 1806"/>
              <a:gd name="T115" fmla="*/ 123300 h 18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06"/>
              <a:gd name="T175" fmla="*/ 0 h 1806"/>
              <a:gd name="T176" fmla="*/ 1806 w 1806"/>
              <a:gd name="T177" fmla="*/ 1806 h 18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06" h="1806">
                <a:moveTo>
                  <a:pt x="1260" y="1776"/>
                </a:moveTo>
                <a:lnTo>
                  <a:pt x="1254" y="1776"/>
                </a:lnTo>
                <a:lnTo>
                  <a:pt x="1248" y="1776"/>
                </a:lnTo>
                <a:lnTo>
                  <a:pt x="1242" y="1782"/>
                </a:lnTo>
                <a:lnTo>
                  <a:pt x="1236" y="1782"/>
                </a:lnTo>
                <a:lnTo>
                  <a:pt x="1230" y="1788"/>
                </a:lnTo>
                <a:lnTo>
                  <a:pt x="1224" y="1782"/>
                </a:lnTo>
                <a:lnTo>
                  <a:pt x="1218" y="1782"/>
                </a:lnTo>
                <a:lnTo>
                  <a:pt x="1218" y="1788"/>
                </a:lnTo>
                <a:lnTo>
                  <a:pt x="1212" y="1788"/>
                </a:lnTo>
                <a:lnTo>
                  <a:pt x="1206" y="1788"/>
                </a:lnTo>
                <a:lnTo>
                  <a:pt x="1206" y="1794"/>
                </a:lnTo>
                <a:lnTo>
                  <a:pt x="1200" y="1806"/>
                </a:lnTo>
                <a:lnTo>
                  <a:pt x="1194" y="1800"/>
                </a:lnTo>
                <a:lnTo>
                  <a:pt x="1194" y="1794"/>
                </a:lnTo>
                <a:lnTo>
                  <a:pt x="1194" y="1788"/>
                </a:lnTo>
                <a:lnTo>
                  <a:pt x="1188" y="1788"/>
                </a:lnTo>
                <a:lnTo>
                  <a:pt x="1188" y="1782"/>
                </a:lnTo>
                <a:lnTo>
                  <a:pt x="1188" y="1776"/>
                </a:lnTo>
                <a:lnTo>
                  <a:pt x="1194" y="1770"/>
                </a:lnTo>
                <a:lnTo>
                  <a:pt x="1194" y="1764"/>
                </a:lnTo>
                <a:lnTo>
                  <a:pt x="1194" y="1758"/>
                </a:lnTo>
                <a:lnTo>
                  <a:pt x="1194" y="1752"/>
                </a:lnTo>
                <a:lnTo>
                  <a:pt x="1200" y="1746"/>
                </a:lnTo>
                <a:lnTo>
                  <a:pt x="1200" y="1740"/>
                </a:lnTo>
                <a:lnTo>
                  <a:pt x="1200" y="1734"/>
                </a:lnTo>
                <a:lnTo>
                  <a:pt x="1188" y="1722"/>
                </a:lnTo>
                <a:lnTo>
                  <a:pt x="1188" y="1716"/>
                </a:lnTo>
                <a:lnTo>
                  <a:pt x="1194" y="1704"/>
                </a:lnTo>
                <a:lnTo>
                  <a:pt x="1194" y="1692"/>
                </a:lnTo>
                <a:lnTo>
                  <a:pt x="1200" y="1680"/>
                </a:lnTo>
                <a:lnTo>
                  <a:pt x="1200" y="1662"/>
                </a:lnTo>
                <a:lnTo>
                  <a:pt x="1200" y="1650"/>
                </a:lnTo>
                <a:lnTo>
                  <a:pt x="1206" y="1644"/>
                </a:lnTo>
                <a:lnTo>
                  <a:pt x="1206" y="1638"/>
                </a:lnTo>
                <a:lnTo>
                  <a:pt x="1206" y="1626"/>
                </a:lnTo>
                <a:lnTo>
                  <a:pt x="1206" y="1620"/>
                </a:lnTo>
                <a:lnTo>
                  <a:pt x="1206" y="1614"/>
                </a:lnTo>
                <a:lnTo>
                  <a:pt x="1200" y="1608"/>
                </a:lnTo>
                <a:lnTo>
                  <a:pt x="1200" y="1602"/>
                </a:lnTo>
                <a:lnTo>
                  <a:pt x="1200" y="1596"/>
                </a:lnTo>
                <a:lnTo>
                  <a:pt x="1200" y="1590"/>
                </a:lnTo>
                <a:lnTo>
                  <a:pt x="1200" y="1572"/>
                </a:lnTo>
                <a:lnTo>
                  <a:pt x="1200" y="1566"/>
                </a:lnTo>
                <a:lnTo>
                  <a:pt x="1200" y="1560"/>
                </a:lnTo>
                <a:lnTo>
                  <a:pt x="1194" y="1554"/>
                </a:lnTo>
                <a:lnTo>
                  <a:pt x="1188" y="1548"/>
                </a:lnTo>
                <a:lnTo>
                  <a:pt x="1188" y="1542"/>
                </a:lnTo>
                <a:lnTo>
                  <a:pt x="1176" y="1536"/>
                </a:lnTo>
                <a:lnTo>
                  <a:pt x="1176" y="1530"/>
                </a:lnTo>
                <a:lnTo>
                  <a:pt x="1170" y="1524"/>
                </a:lnTo>
                <a:lnTo>
                  <a:pt x="1170" y="1518"/>
                </a:lnTo>
                <a:lnTo>
                  <a:pt x="1164" y="1512"/>
                </a:lnTo>
                <a:lnTo>
                  <a:pt x="1158" y="1506"/>
                </a:lnTo>
                <a:lnTo>
                  <a:pt x="1152" y="1500"/>
                </a:lnTo>
                <a:lnTo>
                  <a:pt x="1146" y="1494"/>
                </a:lnTo>
                <a:lnTo>
                  <a:pt x="1140" y="1488"/>
                </a:lnTo>
                <a:lnTo>
                  <a:pt x="1134" y="1482"/>
                </a:lnTo>
                <a:lnTo>
                  <a:pt x="1128" y="1476"/>
                </a:lnTo>
                <a:lnTo>
                  <a:pt x="1122" y="1470"/>
                </a:lnTo>
                <a:lnTo>
                  <a:pt x="1116" y="1464"/>
                </a:lnTo>
                <a:lnTo>
                  <a:pt x="1110" y="1464"/>
                </a:lnTo>
                <a:lnTo>
                  <a:pt x="1104" y="1458"/>
                </a:lnTo>
                <a:lnTo>
                  <a:pt x="1098" y="1464"/>
                </a:lnTo>
                <a:lnTo>
                  <a:pt x="1092" y="1464"/>
                </a:lnTo>
                <a:lnTo>
                  <a:pt x="1086" y="1446"/>
                </a:lnTo>
                <a:lnTo>
                  <a:pt x="1086" y="1440"/>
                </a:lnTo>
                <a:lnTo>
                  <a:pt x="1080" y="1416"/>
                </a:lnTo>
                <a:lnTo>
                  <a:pt x="1068" y="1404"/>
                </a:lnTo>
                <a:lnTo>
                  <a:pt x="1062" y="1398"/>
                </a:lnTo>
                <a:lnTo>
                  <a:pt x="1056" y="1398"/>
                </a:lnTo>
                <a:lnTo>
                  <a:pt x="1050" y="1398"/>
                </a:lnTo>
                <a:lnTo>
                  <a:pt x="1044" y="1398"/>
                </a:lnTo>
                <a:lnTo>
                  <a:pt x="1044" y="1392"/>
                </a:lnTo>
                <a:lnTo>
                  <a:pt x="1038" y="1392"/>
                </a:lnTo>
                <a:lnTo>
                  <a:pt x="1032" y="1392"/>
                </a:lnTo>
                <a:lnTo>
                  <a:pt x="1020" y="1386"/>
                </a:lnTo>
                <a:lnTo>
                  <a:pt x="1014" y="1386"/>
                </a:lnTo>
                <a:lnTo>
                  <a:pt x="1014" y="1380"/>
                </a:lnTo>
                <a:lnTo>
                  <a:pt x="1008" y="1380"/>
                </a:lnTo>
                <a:lnTo>
                  <a:pt x="1002" y="1374"/>
                </a:lnTo>
                <a:lnTo>
                  <a:pt x="996" y="1368"/>
                </a:lnTo>
                <a:lnTo>
                  <a:pt x="990" y="1362"/>
                </a:lnTo>
                <a:lnTo>
                  <a:pt x="984" y="1356"/>
                </a:lnTo>
                <a:lnTo>
                  <a:pt x="978" y="1356"/>
                </a:lnTo>
                <a:lnTo>
                  <a:pt x="972" y="1356"/>
                </a:lnTo>
                <a:lnTo>
                  <a:pt x="966" y="1356"/>
                </a:lnTo>
                <a:lnTo>
                  <a:pt x="966" y="1350"/>
                </a:lnTo>
                <a:lnTo>
                  <a:pt x="948" y="1350"/>
                </a:lnTo>
                <a:lnTo>
                  <a:pt x="936" y="1344"/>
                </a:lnTo>
                <a:lnTo>
                  <a:pt x="930" y="1338"/>
                </a:lnTo>
                <a:lnTo>
                  <a:pt x="918" y="1332"/>
                </a:lnTo>
                <a:lnTo>
                  <a:pt x="900" y="1326"/>
                </a:lnTo>
                <a:lnTo>
                  <a:pt x="864" y="1332"/>
                </a:lnTo>
                <a:lnTo>
                  <a:pt x="828" y="1332"/>
                </a:lnTo>
                <a:lnTo>
                  <a:pt x="792" y="1314"/>
                </a:lnTo>
                <a:lnTo>
                  <a:pt x="780" y="1314"/>
                </a:lnTo>
                <a:lnTo>
                  <a:pt x="780" y="1308"/>
                </a:lnTo>
                <a:lnTo>
                  <a:pt x="756" y="1296"/>
                </a:lnTo>
                <a:lnTo>
                  <a:pt x="756" y="1278"/>
                </a:lnTo>
                <a:lnTo>
                  <a:pt x="768" y="1278"/>
                </a:lnTo>
                <a:lnTo>
                  <a:pt x="774" y="1272"/>
                </a:lnTo>
                <a:lnTo>
                  <a:pt x="780" y="1266"/>
                </a:lnTo>
                <a:lnTo>
                  <a:pt x="786" y="1260"/>
                </a:lnTo>
                <a:lnTo>
                  <a:pt x="792" y="1254"/>
                </a:lnTo>
                <a:lnTo>
                  <a:pt x="798" y="1242"/>
                </a:lnTo>
                <a:lnTo>
                  <a:pt x="804" y="1242"/>
                </a:lnTo>
                <a:lnTo>
                  <a:pt x="804" y="1206"/>
                </a:lnTo>
                <a:lnTo>
                  <a:pt x="804" y="1182"/>
                </a:lnTo>
                <a:lnTo>
                  <a:pt x="804" y="1158"/>
                </a:lnTo>
                <a:lnTo>
                  <a:pt x="804" y="1134"/>
                </a:lnTo>
                <a:lnTo>
                  <a:pt x="798" y="1116"/>
                </a:lnTo>
                <a:lnTo>
                  <a:pt x="792" y="1092"/>
                </a:lnTo>
                <a:lnTo>
                  <a:pt x="786" y="1062"/>
                </a:lnTo>
                <a:lnTo>
                  <a:pt x="768" y="1032"/>
                </a:lnTo>
                <a:lnTo>
                  <a:pt x="762" y="1032"/>
                </a:lnTo>
                <a:lnTo>
                  <a:pt x="762" y="1020"/>
                </a:lnTo>
                <a:lnTo>
                  <a:pt x="762" y="1014"/>
                </a:lnTo>
                <a:lnTo>
                  <a:pt x="756" y="1008"/>
                </a:lnTo>
                <a:lnTo>
                  <a:pt x="750" y="1002"/>
                </a:lnTo>
                <a:lnTo>
                  <a:pt x="738" y="1002"/>
                </a:lnTo>
                <a:lnTo>
                  <a:pt x="738" y="990"/>
                </a:lnTo>
                <a:lnTo>
                  <a:pt x="726" y="990"/>
                </a:lnTo>
                <a:lnTo>
                  <a:pt x="726" y="978"/>
                </a:lnTo>
                <a:lnTo>
                  <a:pt x="732" y="972"/>
                </a:lnTo>
                <a:lnTo>
                  <a:pt x="732" y="966"/>
                </a:lnTo>
                <a:lnTo>
                  <a:pt x="726" y="966"/>
                </a:lnTo>
                <a:lnTo>
                  <a:pt x="732" y="948"/>
                </a:lnTo>
                <a:lnTo>
                  <a:pt x="726" y="942"/>
                </a:lnTo>
                <a:lnTo>
                  <a:pt x="726" y="930"/>
                </a:lnTo>
                <a:lnTo>
                  <a:pt x="720" y="924"/>
                </a:lnTo>
                <a:lnTo>
                  <a:pt x="714" y="912"/>
                </a:lnTo>
                <a:lnTo>
                  <a:pt x="714" y="882"/>
                </a:lnTo>
                <a:lnTo>
                  <a:pt x="714" y="870"/>
                </a:lnTo>
                <a:lnTo>
                  <a:pt x="714" y="858"/>
                </a:lnTo>
                <a:lnTo>
                  <a:pt x="714" y="846"/>
                </a:lnTo>
                <a:lnTo>
                  <a:pt x="708" y="822"/>
                </a:lnTo>
                <a:lnTo>
                  <a:pt x="702" y="798"/>
                </a:lnTo>
                <a:lnTo>
                  <a:pt x="696" y="792"/>
                </a:lnTo>
                <a:lnTo>
                  <a:pt x="684" y="726"/>
                </a:lnTo>
                <a:lnTo>
                  <a:pt x="678" y="666"/>
                </a:lnTo>
                <a:lnTo>
                  <a:pt x="678" y="606"/>
                </a:lnTo>
                <a:lnTo>
                  <a:pt x="666" y="606"/>
                </a:lnTo>
                <a:lnTo>
                  <a:pt x="666" y="600"/>
                </a:lnTo>
                <a:lnTo>
                  <a:pt x="660" y="594"/>
                </a:lnTo>
                <a:lnTo>
                  <a:pt x="654" y="594"/>
                </a:lnTo>
                <a:lnTo>
                  <a:pt x="636" y="582"/>
                </a:lnTo>
                <a:lnTo>
                  <a:pt x="630" y="576"/>
                </a:lnTo>
                <a:lnTo>
                  <a:pt x="624" y="576"/>
                </a:lnTo>
                <a:lnTo>
                  <a:pt x="618" y="570"/>
                </a:lnTo>
                <a:lnTo>
                  <a:pt x="612" y="564"/>
                </a:lnTo>
                <a:lnTo>
                  <a:pt x="606" y="558"/>
                </a:lnTo>
                <a:lnTo>
                  <a:pt x="606" y="564"/>
                </a:lnTo>
                <a:lnTo>
                  <a:pt x="600" y="564"/>
                </a:lnTo>
                <a:lnTo>
                  <a:pt x="594" y="558"/>
                </a:lnTo>
                <a:lnTo>
                  <a:pt x="594" y="540"/>
                </a:lnTo>
                <a:lnTo>
                  <a:pt x="594" y="528"/>
                </a:lnTo>
                <a:lnTo>
                  <a:pt x="594" y="516"/>
                </a:lnTo>
                <a:lnTo>
                  <a:pt x="594" y="510"/>
                </a:lnTo>
                <a:lnTo>
                  <a:pt x="594" y="492"/>
                </a:lnTo>
                <a:lnTo>
                  <a:pt x="594" y="456"/>
                </a:lnTo>
                <a:lnTo>
                  <a:pt x="588" y="414"/>
                </a:lnTo>
                <a:lnTo>
                  <a:pt x="588" y="408"/>
                </a:lnTo>
                <a:lnTo>
                  <a:pt x="582" y="396"/>
                </a:lnTo>
                <a:lnTo>
                  <a:pt x="582" y="384"/>
                </a:lnTo>
                <a:lnTo>
                  <a:pt x="582" y="372"/>
                </a:lnTo>
                <a:lnTo>
                  <a:pt x="564" y="372"/>
                </a:lnTo>
                <a:lnTo>
                  <a:pt x="552" y="366"/>
                </a:lnTo>
                <a:lnTo>
                  <a:pt x="552" y="372"/>
                </a:lnTo>
                <a:lnTo>
                  <a:pt x="498" y="372"/>
                </a:lnTo>
                <a:lnTo>
                  <a:pt x="498" y="366"/>
                </a:lnTo>
                <a:lnTo>
                  <a:pt x="474" y="360"/>
                </a:lnTo>
                <a:lnTo>
                  <a:pt x="456" y="354"/>
                </a:lnTo>
                <a:lnTo>
                  <a:pt x="438" y="348"/>
                </a:lnTo>
                <a:lnTo>
                  <a:pt x="426" y="354"/>
                </a:lnTo>
                <a:lnTo>
                  <a:pt x="408" y="360"/>
                </a:lnTo>
                <a:lnTo>
                  <a:pt x="378" y="360"/>
                </a:lnTo>
                <a:lnTo>
                  <a:pt x="378" y="354"/>
                </a:lnTo>
                <a:lnTo>
                  <a:pt x="378" y="348"/>
                </a:lnTo>
                <a:lnTo>
                  <a:pt x="378" y="342"/>
                </a:lnTo>
                <a:lnTo>
                  <a:pt x="390" y="330"/>
                </a:lnTo>
                <a:lnTo>
                  <a:pt x="396" y="312"/>
                </a:lnTo>
                <a:lnTo>
                  <a:pt x="396" y="282"/>
                </a:lnTo>
                <a:lnTo>
                  <a:pt x="390" y="276"/>
                </a:lnTo>
                <a:lnTo>
                  <a:pt x="384" y="264"/>
                </a:lnTo>
                <a:lnTo>
                  <a:pt x="378" y="258"/>
                </a:lnTo>
                <a:lnTo>
                  <a:pt x="372" y="234"/>
                </a:lnTo>
                <a:lnTo>
                  <a:pt x="354" y="234"/>
                </a:lnTo>
                <a:lnTo>
                  <a:pt x="342" y="246"/>
                </a:lnTo>
                <a:lnTo>
                  <a:pt x="330" y="252"/>
                </a:lnTo>
                <a:lnTo>
                  <a:pt x="318" y="252"/>
                </a:lnTo>
                <a:lnTo>
                  <a:pt x="276" y="258"/>
                </a:lnTo>
                <a:lnTo>
                  <a:pt x="276" y="264"/>
                </a:lnTo>
                <a:lnTo>
                  <a:pt x="252" y="270"/>
                </a:lnTo>
                <a:lnTo>
                  <a:pt x="240" y="270"/>
                </a:lnTo>
                <a:lnTo>
                  <a:pt x="228" y="276"/>
                </a:lnTo>
                <a:lnTo>
                  <a:pt x="210" y="282"/>
                </a:lnTo>
                <a:lnTo>
                  <a:pt x="198" y="288"/>
                </a:lnTo>
                <a:lnTo>
                  <a:pt x="186" y="294"/>
                </a:lnTo>
                <a:lnTo>
                  <a:pt x="174" y="330"/>
                </a:lnTo>
                <a:lnTo>
                  <a:pt x="162" y="342"/>
                </a:lnTo>
                <a:lnTo>
                  <a:pt x="156" y="354"/>
                </a:lnTo>
                <a:lnTo>
                  <a:pt x="150" y="360"/>
                </a:lnTo>
                <a:lnTo>
                  <a:pt x="150" y="366"/>
                </a:lnTo>
                <a:lnTo>
                  <a:pt x="108" y="372"/>
                </a:lnTo>
                <a:lnTo>
                  <a:pt x="60" y="378"/>
                </a:lnTo>
                <a:lnTo>
                  <a:pt x="42" y="378"/>
                </a:lnTo>
                <a:lnTo>
                  <a:pt x="12" y="378"/>
                </a:lnTo>
                <a:lnTo>
                  <a:pt x="6" y="378"/>
                </a:lnTo>
                <a:lnTo>
                  <a:pt x="0" y="366"/>
                </a:lnTo>
                <a:lnTo>
                  <a:pt x="12" y="360"/>
                </a:lnTo>
                <a:lnTo>
                  <a:pt x="24" y="348"/>
                </a:lnTo>
                <a:lnTo>
                  <a:pt x="30" y="342"/>
                </a:lnTo>
                <a:lnTo>
                  <a:pt x="36" y="330"/>
                </a:lnTo>
                <a:lnTo>
                  <a:pt x="72" y="300"/>
                </a:lnTo>
                <a:lnTo>
                  <a:pt x="78" y="294"/>
                </a:lnTo>
                <a:lnTo>
                  <a:pt x="78" y="288"/>
                </a:lnTo>
                <a:lnTo>
                  <a:pt x="90" y="282"/>
                </a:lnTo>
                <a:lnTo>
                  <a:pt x="90" y="276"/>
                </a:lnTo>
                <a:lnTo>
                  <a:pt x="96" y="270"/>
                </a:lnTo>
                <a:lnTo>
                  <a:pt x="102" y="264"/>
                </a:lnTo>
                <a:lnTo>
                  <a:pt x="108" y="258"/>
                </a:lnTo>
                <a:lnTo>
                  <a:pt x="114" y="246"/>
                </a:lnTo>
                <a:lnTo>
                  <a:pt x="120" y="240"/>
                </a:lnTo>
                <a:lnTo>
                  <a:pt x="126" y="234"/>
                </a:lnTo>
                <a:lnTo>
                  <a:pt x="138" y="216"/>
                </a:lnTo>
                <a:lnTo>
                  <a:pt x="144" y="216"/>
                </a:lnTo>
                <a:lnTo>
                  <a:pt x="150" y="210"/>
                </a:lnTo>
                <a:lnTo>
                  <a:pt x="162" y="204"/>
                </a:lnTo>
                <a:lnTo>
                  <a:pt x="162" y="198"/>
                </a:lnTo>
                <a:lnTo>
                  <a:pt x="168" y="198"/>
                </a:lnTo>
                <a:lnTo>
                  <a:pt x="186" y="174"/>
                </a:lnTo>
                <a:lnTo>
                  <a:pt x="210" y="150"/>
                </a:lnTo>
                <a:lnTo>
                  <a:pt x="210" y="144"/>
                </a:lnTo>
                <a:lnTo>
                  <a:pt x="216" y="144"/>
                </a:lnTo>
                <a:lnTo>
                  <a:pt x="222" y="138"/>
                </a:lnTo>
                <a:lnTo>
                  <a:pt x="234" y="132"/>
                </a:lnTo>
                <a:lnTo>
                  <a:pt x="246" y="126"/>
                </a:lnTo>
                <a:lnTo>
                  <a:pt x="246" y="120"/>
                </a:lnTo>
                <a:lnTo>
                  <a:pt x="258" y="114"/>
                </a:lnTo>
                <a:lnTo>
                  <a:pt x="264" y="114"/>
                </a:lnTo>
                <a:lnTo>
                  <a:pt x="288" y="102"/>
                </a:lnTo>
                <a:lnTo>
                  <a:pt x="300" y="96"/>
                </a:lnTo>
                <a:lnTo>
                  <a:pt x="306" y="90"/>
                </a:lnTo>
                <a:lnTo>
                  <a:pt x="318" y="90"/>
                </a:lnTo>
                <a:lnTo>
                  <a:pt x="324" y="84"/>
                </a:lnTo>
                <a:lnTo>
                  <a:pt x="348" y="72"/>
                </a:lnTo>
                <a:lnTo>
                  <a:pt x="354" y="72"/>
                </a:lnTo>
                <a:lnTo>
                  <a:pt x="384" y="66"/>
                </a:lnTo>
                <a:lnTo>
                  <a:pt x="390" y="66"/>
                </a:lnTo>
                <a:lnTo>
                  <a:pt x="396" y="66"/>
                </a:lnTo>
                <a:lnTo>
                  <a:pt x="408" y="66"/>
                </a:lnTo>
                <a:lnTo>
                  <a:pt x="414" y="66"/>
                </a:lnTo>
                <a:lnTo>
                  <a:pt x="432" y="66"/>
                </a:lnTo>
                <a:lnTo>
                  <a:pt x="438" y="66"/>
                </a:lnTo>
                <a:lnTo>
                  <a:pt x="468" y="66"/>
                </a:lnTo>
                <a:lnTo>
                  <a:pt x="480" y="66"/>
                </a:lnTo>
                <a:lnTo>
                  <a:pt x="486" y="66"/>
                </a:lnTo>
                <a:lnTo>
                  <a:pt x="498" y="60"/>
                </a:lnTo>
                <a:lnTo>
                  <a:pt x="504" y="60"/>
                </a:lnTo>
                <a:lnTo>
                  <a:pt x="510" y="60"/>
                </a:lnTo>
                <a:lnTo>
                  <a:pt x="522" y="60"/>
                </a:lnTo>
                <a:lnTo>
                  <a:pt x="534" y="54"/>
                </a:lnTo>
                <a:lnTo>
                  <a:pt x="564" y="42"/>
                </a:lnTo>
                <a:lnTo>
                  <a:pt x="570" y="42"/>
                </a:lnTo>
                <a:lnTo>
                  <a:pt x="582" y="36"/>
                </a:lnTo>
                <a:lnTo>
                  <a:pt x="588" y="36"/>
                </a:lnTo>
                <a:lnTo>
                  <a:pt x="600" y="30"/>
                </a:lnTo>
                <a:lnTo>
                  <a:pt x="606" y="30"/>
                </a:lnTo>
                <a:lnTo>
                  <a:pt x="618" y="24"/>
                </a:lnTo>
                <a:lnTo>
                  <a:pt x="642" y="18"/>
                </a:lnTo>
                <a:lnTo>
                  <a:pt x="648" y="12"/>
                </a:lnTo>
                <a:lnTo>
                  <a:pt x="654" y="12"/>
                </a:lnTo>
                <a:lnTo>
                  <a:pt x="660" y="12"/>
                </a:lnTo>
                <a:lnTo>
                  <a:pt x="672" y="12"/>
                </a:lnTo>
                <a:lnTo>
                  <a:pt x="696" y="12"/>
                </a:lnTo>
                <a:lnTo>
                  <a:pt x="708" y="12"/>
                </a:lnTo>
                <a:lnTo>
                  <a:pt x="732" y="12"/>
                </a:lnTo>
                <a:lnTo>
                  <a:pt x="750" y="6"/>
                </a:lnTo>
                <a:lnTo>
                  <a:pt x="768" y="6"/>
                </a:lnTo>
                <a:lnTo>
                  <a:pt x="774" y="6"/>
                </a:lnTo>
                <a:lnTo>
                  <a:pt x="786" y="6"/>
                </a:lnTo>
                <a:lnTo>
                  <a:pt x="798" y="6"/>
                </a:lnTo>
                <a:lnTo>
                  <a:pt x="804" y="6"/>
                </a:lnTo>
                <a:lnTo>
                  <a:pt x="816" y="6"/>
                </a:lnTo>
                <a:lnTo>
                  <a:pt x="846" y="6"/>
                </a:lnTo>
                <a:lnTo>
                  <a:pt x="852" y="0"/>
                </a:lnTo>
                <a:lnTo>
                  <a:pt x="876" y="0"/>
                </a:lnTo>
                <a:lnTo>
                  <a:pt x="876" y="6"/>
                </a:lnTo>
                <a:lnTo>
                  <a:pt x="888" y="0"/>
                </a:lnTo>
                <a:lnTo>
                  <a:pt x="900" y="0"/>
                </a:lnTo>
                <a:lnTo>
                  <a:pt x="906" y="0"/>
                </a:lnTo>
                <a:lnTo>
                  <a:pt x="912" y="0"/>
                </a:lnTo>
                <a:lnTo>
                  <a:pt x="948" y="0"/>
                </a:lnTo>
                <a:lnTo>
                  <a:pt x="954" y="0"/>
                </a:lnTo>
                <a:lnTo>
                  <a:pt x="972" y="0"/>
                </a:lnTo>
                <a:lnTo>
                  <a:pt x="978" y="0"/>
                </a:lnTo>
                <a:lnTo>
                  <a:pt x="996" y="0"/>
                </a:lnTo>
                <a:lnTo>
                  <a:pt x="1032" y="0"/>
                </a:lnTo>
                <a:lnTo>
                  <a:pt x="1044" y="0"/>
                </a:lnTo>
                <a:lnTo>
                  <a:pt x="1050" y="0"/>
                </a:lnTo>
                <a:lnTo>
                  <a:pt x="1056" y="6"/>
                </a:lnTo>
                <a:lnTo>
                  <a:pt x="1056" y="0"/>
                </a:lnTo>
                <a:lnTo>
                  <a:pt x="1074" y="0"/>
                </a:lnTo>
                <a:lnTo>
                  <a:pt x="1098" y="6"/>
                </a:lnTo>
                <a:lnTo>
                  <a:pt x="1116" y="6"/>
                </a:lnTo>
                <a:lnTo>
                  <a:pt x="1140" y="12"/>
                </a:lnTo>
                <a:lnTo>
                  <a:pt x="1152" y="12"/>
                </a:lnTo>
                <a:lnTo>
                  <a:pt x="1158" y="12"/>
                </a:lnTo>
                <a:lnTo>
                  <a:pt x="1164" y="12"/>
                </a:lnTo>
                <a:lnTo>
                  <a:pt x="1170" y="12"/>
                </a:lnTo>
                <a:lnTo>
                  <a:pt x="1176" y="12"/>
                </a:lnTo>
                <a:lnTo>
                  <a:pt x="1194" y="18"/>
                </a:lnTo>
                <a:lnTo>
                  <a:pt x="1206" y="18"/>
                </a:lnTo>
                <a:lnTo>
                  <a:pt x="1242" y="36"/>
                </a:lnTo>
                <a:lnTo>
                  <a:pt x="1248" y="36"/>
                </a:lnTo>
                <a:lnTo>
                  <a:pt x="1254" y="36"/>
                </a:lnTo>
                <a:lnTo>
                  <a:pt x="1260" y="42"/>
                </a:lnTo>
                <a:lnTo>
                  <a:pt x="1272" y="48"/>
                </a:lnTo>
                <a:lnTo>
                  <a:pt x="1278" y="48"/>
                </a:lnTo>
                <a:lnTo>
                  <a:pt x="1284" y="48"/>
                </a:lnTo>
                <a:lnTo>
                  <a:pt x="1290" y="54"/>
                </a:lnTo>
                <a:lnTo>
                  <a:pt x="1308" y="60"/>
                </a:lnTo>
                <a:lnTo>
                  <a:pt x="1326" y="60"/>
                </a:lnTo>
                <a:lnTo>
                  <a:pt x="1338" y="66"/>
                </a:lnTo>
                <a:lnTo>
                  <a:pt x="1344" y="66"/>
                </a:lnTo>
                <a:lnTo>
                  <a:pt x="1350" y="66"/>
                </a:lnTo>
                <a:lnTo>
                  <a:pt x="1356" y="66"/>
                </a:lnTo>
                <a:lnTo>
                  <a:pt x="1362" y="72"/>
                </a:lnTo>
                <a:lnTo>
                  <a:pt x="1368" y="72"/>
                </a:lnTo>
                <a:lnTo>
                  <a:pt x="1380" y="72"/>
                </a:lnTo>
                <a:lnTo>
                  <a:pt x="1386" y="72"/>
                </a:lnTo>
                <a:lnTo>
                  <a:pt x="1422" y="84"/>
                </a:lnTo>
                <a:lnTo>
                  <a:pt x="1428" y="84"/>
                </a:lnTo>
                <a:lnTo>
                  <a:pt x="1446" y="90"/>
                </a:lnTo>
                <a:lnTo>
                  <a:pt x="1458" y="102"/>
                </a:lnTo>
                <a:lnTo>
                  <a:pt x="1494" y="126"/>
                </a:lnTo>
                <a:lnTo>
                  <a:pt x="1500" y="132"/>
                </a:lnTo>
                <a:lnTo>
                  <a:pt x="1512" y="138"/>
                </a:lnTo>
                <a:lnTo>
                  <a:pt x="1512" y="144"/>
                </a:lnTo>
                <a:lnTo>
                  <a:pt x="1518" y="150"/>
                </a:lnTo>
                <a:lnTo>
                  <a:pt x="1530" y="156"/>
                </a:lnTo>
                <a:lnTo>
                  <a:pt x="1530" y="162"/>
                </a:lnTo>
                <a:lnTo>
                  <a:pt x="1548" y="168"/>
                </a:lnTo>
                <a:lnTo>
                  <a:pt x="1566" y="180"/>
                </a:lnTo>
                <a:lnTo>
                  <a:pt x="1578" y="186"/>
                </a:lnTo>
                <a:lnTo>
                  <a:pt x="1578" y="180"/>
                </a:lnTo>
                <a:lnTo>
                  <a:pt x="1584" y="186"/>
                </a:lnTo>
                <a:lnTo>
                  <a:pt x="1584" y="174"/>
                </a:lnTo>
                <a:lnTo>
                  <a:pt x="1590" y="174"/>
                </a:lnTo>
                <a:lnTo>
                  <a:pt x="1590" y="180"/>
                </a:lnTo>
                <a:lnTo>
                  <a:pt x="1596" y="180"/>
                </a:lnTo>
                <a:lnTo>
                  <a:pt x="1596" y="174"/>
                </a:lnTo>
                <a:lnTo>
                  <a:pt x="1602" y="174"/>
                </a:lnTo>
                <a:lnTo>
                  <a:pt x="1608" y="174"/>
                </a:lnTo>
                <a:lnTo>
                  <a:pt x="1614" y="180"/>
                </a:lnTo>
                <a:lnTo>
                  <a:pt x="1620" y="174"/>
                </a:lnTo>
                <a:lnTo>
                  <a:pt x="1614" y="168"/>
                </a:lnTo>
                <a:lnTo>
                  <a:pt x="1614" y="162"/>
                </a:lnTo>
                <a:lnTo>
                  <a:pt x="1620" y="162"/>
                </a:lnTo>
                <a:lnTo>
                  <a:pt x="1626" y="162"/>
                </a:lnTo>
                <a:lnTo>
                  <a:pt x="1632" y="162"/>
                </a:lnTo>
                <a:lnTo>
                  <a:pt x="1638" y="168"/>
                </a:lnTo>
                <a:lnTo>
                  <a:pt x="1644" y="168"/>
                </a:lnTo>
                <a:lnTo>
                  <a:pt x="1650" y="174"/>
                </a:lnTo>
                <a:lnTo>
                  <a:pt x="1656" y="168"/>
                </a:lnTo>
                <a:lnTo>
                  <a:pt x="1668" y="168"/>
                </a:lnTo>
                <a:lnTo>
                  <a:pt x="1674" y="174"/>
                </a:lnTo>
                <a:lnTo>
                  <a:pt x="1674" y="180"/>
                </a:lnTo>
                <a:lnTo>
                  <a:pt x="1674" y="186"/>
                </a:lnTo>
                <a:lnTo>
                  <a:pt x="1680" y="186"/>
                </a:lnTo>
                <a:lnTo>
                  <a:pt x="1680" y="192"/>
                </a:lnTo>
                <a:lnTo>
                  <a:pt x="1686" y="192"/>
                </a:lnTo>
                <a:lnTo>
                  <a:pt x="1686" y="186"/>
                </a:lnTo>
                <a:lnTo>
                  <a:pt x="1680" y="186"/>
                </a:lnTo>
                <a:lnTo>
                  <a:pt x="1686" y="180"/>
                </a:lnTo>
                <a:lnTo>
                  <a:pt x="1692" y="180"/>
                </a:lnTo>
                <a:lnTo>
                  <a:pt x="1698" y="180"/>
                </a:lnTo>
                <a:lnTo>
                  <a:pt x="1704" y="180"/>
                </a:lnTo>
                <a:lnTo>
                  <a:pt x="1704" y="186"/>
                </a:lnTo>
                <a:lnTo>
                  <a:pt x="1710" y="186"/>
                </a:lnTo>
                <a:lnTo>
                  <a:pt x="1716" y="186"/>
                </a:lnTo>
                <a:lnTo>
                  <a:pt x="1716" y="192"/>
                </a:lnTo>
                <a:lnTo>
                  <a:pt x="1716" y="198"/>
                </a:lnTo>
                <a:lnTo>
                  <a:pt x="1722" y="192"/>
                </a:lnTo>
                <a:lnTo>
                  <a:pt x="1722" y="186"/>
                </a:lnTo>
                <a:lnTo>
                  <a:pt x="1728" y="192"/>
                </a:lnTo>
                <a:lnTo>
                  <a:pt x="1734" y="192"/>
                </a:lnTo>
                <a:lnTo>
                  <a:pt x="1734" y="186"/>
                </a:lnTo>
                <a:lnTo>
                  <a:pt x="1740" y="186"/>
                </a:lnTo>
                <a:lnTo>
                  <a:pt x="1740" y="192"/>
                </a:lnTo>
                <a:lnTo>
                  <a:pt x="1746" y="192"/>
                </a:lnTo>
                <a:lnTo>
                  <a:pt x="1758" y="192"/>
                </a:lnTo>
                <a:lnTo>
                  <a:pt x="1764" y="192"/>
                </a:lnTo>
                <a:lnTo>
                  <a:pt x="1764" y="198"/>
                </a:lnTo>
                <a:lnTo>
                  <a:pt x="1758" y="204"/>
                </a:lnTo>
                <a:lnTo>
                  <a:pt x="1752" y="210"/>
                </a:lnTo>
                <a:lnTo>
                  <a:pt x="1746" y="216"/>
                </a:lnTo>
                <a:lnTo>
                  <a:pt x="1746" y="222"/>
                </a:lnTo>
                <a:lnTo>
                  <a:pt x="1734" y="228"/>
                </a:lnTo>
                <a:lnTo>
                  <a:pt x="1734" y="234"/>
                </a:lnTo>
                <a:lnTo>
                  <a:pt x="1734" y="258"/>
                </a:lnTo>
                <a:lnTo>
                  <a:pt x="1740" y="330"/>
                </a:lnTo>
                <a:lnTo>
                  <a:pt x="1746" y="372"/>
                </a:lnTo>
                <a:lnTo>
                  <a:pt x="1788" y="426"/>
                </a:lnTo>
                <a:lnTo>
                  <a:pt x="1806" y="438"/>
                </a:lnTo>
                <a:lnTo>
                  <a:pt x="1794" y="480"/>
                </a:lnTo>
                <a:lnTo>
                  <a:pt x="1770" y="516"/>
                </a:lnTo>
                <a:lnTo>
                  <a:pt x="1746" y="546"/>
                </a:lnTo>
                <a:lnTo>
                  <a:pt x="1716" y="570"/>
                </a:lnTo>
                <a:lnTo>
                  <a:pt x="1680" y="594"/>
                </a:lnTo>
                <a:lnTo>
                  <a:pt x="1668" y="630"/>
                </a:lnTo>
                <a:lnTo>
                  <a:pt x="1680" y="684"/>
                </a:lnTo>
                <a:lnTo>
                  <a:pt x="1686" y="756"/>
                </a:lnTo>
                <a:lnTo>
                  <a:pt x="1662" y="870"/>
                </a:lnTo>
                <a:lnTo>
                  <a:pt x="1656" y="888"/>
                </a:lnTo>
                <a:lnTo>
                  <a:pt x="1650" y="972"/>
                </a:lnTo>
                <a:lnTo>
                  <a:pt x="1656" y="978"/>
                </a:lnTo>
                <a:lnTo>
                  <a:pt x="1650" y="984"/>
                </a:lnTo>
                <a:lnTo>
                  <a:pt x="1650" y="990"/>
                </a:lnTo>
                <a:lnTo>
                  <a:pt x="1650" y="1002"/>
                </a:lnTo>
                <a:lnTo>
                  <a:pt x="1656" y="1008"/>
                </a:lnTo>
                <a:lnTo>
                  <a:pt x="1656" y="1014"/>
                </a:lnTo>
                <a:lnTo>
                  <a:pt x="1662" y="1026"/>
                </a:lnTo>
                <a:lnTo>
                  <a:pt x="1650" y="1032"/>
                </a:lnTo>
                <a:lnTo>
                  <a:pt x="1638" y="1044"/>
                </a:lnTo>
                <a:lnTo>
                  <a:pt x="1626" y="1080"/>
                </a:lnTo>
                <a:lnTo>
                  <a:pt x="1614" y="1116"/>
                </a:lnTo>
                <a:lnTo>
                  <a:pt x="1614" y="1128"/>
                </a:lnTo>
                <a:lnTo>
                  <a:pt x="1626" y="1134"/>
                </a:lnTo>
                <a:lnTo>
                  <a:pt x="1644" y="1134"/>
                </a:lnTo>
                <a:lnTo>
                  <a:pt x="1662" y="1134"/>
                </a:lnTo>
                <a:lnTo>
                  <a:pt x="1680" y="1140"/>
                </a:lnTo>
                <a:lnTo>
                  <a:pt x="1698" y="1170"/>
                </a:lnTo>
                <a:lnTo>
                  <a:pt x="1704" y="1194"/>
                </a:lnTo>
                <a:lnTo>
                  <a:pt x="1692" y="1206"/>
                </a:lnTo>
                <a:lnTo>
                  <a:pt x="1662" y="1242"/>
                </a:lnTo>
                <a:lnTo>
                  <a:pt x="1632" y="1266"/>
                </a:lnTo>
                <a:lnTo>
                  <a:pt x="1620" y="1314"/>
                </a:lnTo>
                <a:lnTo>
                  <a:pt x="1584" y="1356"/>
                </a:lnTo>
                <a:lnTo>
                  <a:pt x="1578" y="1356"/>
                </a:lnTo>
                <a:lnTo>
                  <a:pt x="1578" y="1362"/>
                </a:lnTo>
                <a:lnTo>
                  <a:pt x="1572" y="1410"/>
                </a:lnTo>
                <a:lnTo>
                  <a:pt x="1584" y="1452"/>
                </a:lnTo>
                <a:lnTo>
                  <a:pt x="1608" y="1476"/>
                </a:lnTo>
                <a:lnTo>
                  <a:pt x="1596" y="1476"/>
                </a:lnTo>
                <a:lnTo>
                  <a:pt x="1584" y="1482"/>
                </a:lnTo>
                <a:lnTo>
                  <a:pt x="1560" y="1482"/>
                </a:lnTo>
                <a:lnTo>
                  <a:pt x="1536" y="1482"/>
                </a:lnTo>
                <a:lnTo>
                  <a:pt x="1524" y="1482"/>
                </a:lnTo>
                <a:lnTo>
                  <a:pt x="1506" y="1500"/>
                </a:lnTo>
                <a:lnTo>
                  <a:pt x="1482" y="1530"/>
                </a:lnTo>
                <a:lnTo>
                  <a:pt x="1452" y="1542"/>
                </a:lnTo>
                <a:lnTo>
                  <a:pt x="1446" y="1542"/>
                </a:lnTo>
                <a:lnTo>
                  <a:pt x="1440" y="1542"/>
                </a:lnTo>
                <a:lnTo>
                  <a:pt x="1440" y="1548"/>
                </a:lnTo>
                <a:lnTo>
                  <a:pt x="1434" y="1548"/>
                </a:lnTo>
                <a:lnTo>
                  <a:pt x="1428" y="1548"/>
                </a:lnTo>
                <a:lnTo>
                  <a:pt x="1428" y="1554"/>
                </a:lnTo>
                <a:lnTo>
                  <a:pt x="1422" y="1560"/>
                </a:lnTo>
                <a:lnTo>
                  <a:pt x="1416" y="1560"/>
                </a:lnTo>
                <a:lnTo>
                  <a:pt x="1410" y="1566"/>
                </a:lnTo>
                <a:lnTo>
                  <a:pt x="1410" y="1560"/>
                </a:lnTo>
                <a:lnTo>
                  <a:pt x="1404" y="1560"/>
                </a:lnTo>
                <a:lnTo>
                  <a:pt x="1392" y="1560"/>
                </a:lnTo>
                <a:lnTo>
                  <a:pt x="1386" y="1560"/>
                </a:lnTo>
                <a:lnTo>
                  <a:pt x="1380" y="1566"/>
                </a:lnTo>
                <a:lnTo>
                  <a:pt x="1374" y="1560"/>
                </a:lnTo>
                <a:lnTo>
                  <a:pt x="1368" y="1566"/>
                </a:lnTo>
                <a:lnTo>
                  <a:pt x="1362" y="1566"/>
                </a:lnTo>
                <a:lnTo>
                  <a:pt x="1362" y="1572"/>
                </a:lnTo>
                <a:lnTo>
                  <a:pt x="1356" y="1572"/>
                </a:lnTo>
                <a:lnTo>
                  <a:pt x="1356" y="1578"/>
                </a:lnTo>
                <a:lnTo>
                  <a:pt x="1350" y="1578"/>
                </a:lnTo>
                <a:lnTo>
                  <a:pt x="1350" y="1572"/>
                </a:lnTo>
                <a:lnTo>
                  <a:pt x="1344" y="1578"/>
                </a:lnTo>
                <a:lnTo>
                  <a:pt x="1338" y="1578"/>
                </a:lnTo>
                <a:lnTo>
                  <a:pt x="1344" y="1578"/>
                </a:lnTo>
                <a:lnTo>
                  <a:pt x="1338" y="1578"/>
                </a:lnTo>
                <a:lnTo>
                  <a:pt x="1332" y="1584"/>
                </a:lnTo>
                <a:lnTo>
                  <a:pt x="1326" y="1590"/>
                </a:lnTo>
                <a:lnTo>
                  <a:pt x="1320" y="1584"/>
                </a:lnTo>
                <a:lnTo>
                  <a:pt x="1314" y="1590"/>
                </a:lnTo>
                <a:lnTo>
                  <a:pt x="1308" y="1596"/>
                </a:lnTo>
                <a:lnTo>
                  <a:pt x="1302" y="1596"/>
                </a:lnTo>
                <a:lnTo>
                  <a:pt x="1296" y="1596"/>
                </a:lnTo>
                <a:lnTo>
                  <a:pt x="1290" y="1596"/>
                </a:lnTo>
                <a:lnTo>
                  <a:pt x="1284" y="1596"/>
                </a:lnTo>
                <a:lnTo>
                  <a:pt x="1278" y="1602"/>
                </a:lnTo>
                <a:lnTo>
                  <a:pt x="1266" y="1602"/>
                </a:lnTo>
                <a:lnTo>
                  <a:pt x="1272" y="1608"/>
                </a:lnTo>
                <a:lnTo>
                  <a:pt x="1278" y="1608"/>
                </a:lnTo>
                <a:lnTo>
                  <a:pt x="1284" y="1608"/>
                </a:lnTo>
                <a:lnTo>
                  <a:pt x="1290" y="1614"/>
                </a:lnTo>
                <a:lnTo>
                  <a:pt x="1296" y="1620"/>
                </a:lnTo>
                <a:lnTo>
                  <a:pt x="1302" y="1626"/>
                </a:lnTo>
                <a:lnTo>
                  <a:pt x="1308" y="1632"/>
                </a:lnTo>
                <a:lnTo>
                  <a:pt x="1314" y="1638"/>
                </a:lnTo>
                <a:lnTo>
                  <a:pt x="1314" y="1644"/>
                </a:lnTo>
                <a:lnTo>
                  <a:pt x="1320" y="1644"/>
                </a:lnTo>
                <a:lnTo>
                  <a:pt x="1320" y="1650"/>
                </a:lnTo>
                <a:lnTo>
                  <a:pt x="1326" y="1656"/>
                </a:lnTo>
                <a:lnTo>
                  <a:pt x="1332" y="1668"/>
                </a:lnTo>
                <a:lnTo>
                  <a:pt x="1338" y="1680"/>
                </a:lnTo>
                <a:lnTo>
                  <a:pt x="1338" y="1698"/>
                </a:lnTo>
                <a:lnTo>
                  <a:pt x="1350" y="1710"/>
                </a:lnTo>
                <a:lnTo>
                  <a:pt x="1350" y="1716"/>
                </a:lnTo>
                <a:lnTo>
                  <a:pt x="1350" y="1722"/>
                </a:lnTo>
                <a:lnTo>
                  <a:pt x="1350" y="1728"/>
                </a:lnTo>
                <a:lnTo>
                  <a:pt x="1356" y="1728"/>
                </a:lnTo>
                <a:lnTo>
                  <a:pt x="1356" y="1734"/>
                </a:lnTo>
                <a:lnTo>
                  <a:pt x="1350" y="1734"/>
                </a:lnTo>
                <a:lnTo>
                  <a:pt x="1344" y="1740"/>
                </a:lnTo>
                <a:lnTo>
                  <a:pt x="1338" y="1740"/>
                </a:lnTo>
                <a:lnTo>
                  <a:pt x="1332" y="1746"/>
                </a:lnTo>
                <a:lnTo>
                  <a:pt x="1326" y="1746"/>
                </a:lnTo>
                <a:lnTo>
                  <a:pt x="1326" y="1752"/>
                </a:lnTo>
                <a:lnTo>
                  <a:pt x="1320" y="1752"/>
                </a:lnTo>
                <a:lnTo>
                  <a:pt x="1320" y="1758"/>
                </a:lnTo>
                <a:lnTo>
                  <a:pt x="1314" y="1758"/>
                </a:lnTo>
                <a:lnTo>
                  <a:pt x="1308" y="1758"/>
                </a:lnTo>
                <a:lnTo>
                  <a:pt x="1302" y="1758"/>
                </a:lnTo>
                <a:lnTo>
                  <a:pt x="1296" y="1758"/>
                </a:lnTo>
                <a:lnTo>
                  <a:pt x="1290" y="1764"/>
                </a:lnTo>
                <a:lnTo>
                  <a:pt x="1284" y="1770"/>
                </a:lnTo>
                <a:lnTo>
                  <a:pt x="1278" y="1770"/>
                </a:lnTo>
                <a:lnTo>
                  <a:pt x="1272" y="1770"/>
                </a:lnTo>
                <a:lnTo>
                  <a:pt x="1266" y="1770"/>
                </a:lnTo>
                <a:lnTo>
                  <a:pt x="1266" y="1776"/>
                </a:lnTo>
                <a:lnTo>
                  <a:pt x="1260" y="1776"/>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53" name="Freeform 40"/>
          <p:cNvSpPr>
            <a:spLocks/>
          </p:cNvSpPr>
          <p:nvPr/>
        </p:nvSpPr>
        <p:spPr bwMode="gray">
          <a:xfrm>
            <a:off x="4167188" y="1957388"/>
            <a:ext cx="1212850" cy="1062037"/>
          </a:xfrm>
          <a:custGeom>
            <a:avLst/>
            <a:gdLst>
              <a:gd name="T0" fmla="*/ 46861 w 1554"/>
              <a:gd name="T1" fmla="*/ 69221 h 1320"/>
              <a:gd name="T2" fmla="*/ 51547 w 1554"/>
              <a:gd name="T3" fmla="*/ 64392 h 1320"/>
              <a:gd name="T4" fmla="*/ 47642 w 1554"/>
              <a:gd name="T5" fmla="*/ 58757 h 1320"/>
              <a:gd name="T6" fmla="*/ 44518 w 1554"/>
              <a:gd name="T7" fmla="*/ 53928 h 1320"/>
              <a:gd name="T8" fmla="*/ 46861 w 1554"/>
              <a:gd name="T9" fmla="*/ 47489 h 1320"/>
              <a:gd name="T10" fmla="*/ 43737 w 1554"/>
              <a:gd name="T11" fmla="*/ 44269 h 1320"/>
              <a:gd name="T12" fmla="*/ 35146 w 1554"/>
              <a:gd name="T13" fmla="*/ 42659 h 1320"/>
              <a:gd name="T14" fmla="*/ 32803 w 1554"/>
              <a:gd name="T15" fmla="*/ 33001 h 1320"/>
              <a:gd name="T16" fmla="*/ 28898 w 1554"/>
              <a:gd name="T17" fmla="*/ 31391 h 1320"/>
              <a:gd name="T18" fmla="*/ 24212 w 1554"/>
              <a:gd name="T19" fmla="*/ 35415 h 1320"/>
              <a:gd name="T20" fmla="*/ 28898 w 1554"/>
              <a:gd name="T21" fmla="*/ 28171 h 1320"/>
              <a:gd name="T22" fmla="*/ 23431 w 1554"/>
              <a:gd name="T23" fmla="*/ 18513 h 1320"/>
              <a:gd name="T24" fmla="*/ 16401 w 1554"/>
              <a:gd name="T25" fmla="*/ 18513 h 1320"/>
              <a:gd name="T26" fmla="*/ 11715 w 1554"/>
              <a:gd name="T27" fmla="*/ 21732 h 1320"/>
              <a:gd name="T28" fmla="*/ 8591 w 1554"/>
              <a:gd name="T29" fmla="*/ 25757 h 1320"/>
              <a:gd name="T30" fmla="*/ 4686 w 1554"/>
              <a:gd name="T31" fmla="*/ 17708 h 1320"/>
              <a:gd name="T32" fmla="*/ 2343 w 1554"/>
              <a:gd name="T33" fmla="*/ 8854 h 1320"/>
              <a:gd name="T34" fmla="*/ 18744 w 1554"/>
              <a:gd name="T35" fmla="*/ 9659 h 1320"/>
              <a:gd name="T36" fmla="*/ 25774 w 1554"/>
              <a:gd name="T37" fmla="*/ 15293 h 1320"/>
              <a:gd name="T38" fmla="*/ 38270 w 1554"/>
              <a:gd name="T39" fmla="*/ 9659 h 1320"/>
              <a:gd name="T40" fmla="*/ 45299 w 1554"/>
              <a:gd name="T41" fmla="*/ 8049 h 1320"/>
              <a:gd name="T42" fmla="*/ 53109 w 1554"/>
              <a:gd name="T43" fmla="*/ 8854 h 1320"/>
              <a:gd name="T44" fmla="*/ 61701 w 1554"/>
              <a:gd name="T45" fmla="*/ 9659 h 1320"/>
              <a:gd name="T46" fmla="*/ 74978 w 1554"/>
              <a:gd name="T47" fmla="*/ 8854 h 1320"/>
              <a:gd name="T48" fmla="*/ 83569 w 1554"/>
              <a:gd name="T49" fmla="*/ 1610 h 1320"/>
              <a:gd name="T50" fmla="*/ 91379 w 1554"/>
              <a:gd name="T51" fmla="*/ 6439 h 1320"/>
              <a:gd name="T52" fmla="*/ 98409 w 1554"/>
              <a:gd name="T53" fmla="*/ 9659 h 1320"/>
              <a:gd name="T54" fmla="*/ 104657 w 1554"/>
              <a:gd name="T55" fmla="*/ 19317 h 1320"/>
              <a:gd name="T56" fmla="*/ 103876 w 1554"/>
              <a:gd name="T57" fmla="*/ 23342 h 1320"/>
              <a:gd name="T58" fmla="*/ 100752 w 1554"/>
              <a:gd name="T59" fmla="*/ 24952 h 1320"/>
              <a:gd name="T60" fmla="*/ 97627 w 1554"/>
              <a:gd name="T61" fmla="*/ 25757 h 1320"/>
              <a:gd name="T62" fmla="*/ 89817 w 1554"/>
              <a:gd name="T63" fmla="*/ 27366 h 1320"/>
              <a:gd name="T64" fmla="*/ 88255 w 1554"/>
              <a:gd name="T65" fmla="*/ 35415 h 1320"/>
              <a:gd name="T66" fmla="*/ 86693 w 1554"/>
              <a:gd name="T67" fmla="*/ 43464 h 1320"/>
              <a:gd name="T68" fmla="*/ 83569 w 1554"/>
              <a:gd name="T69" fmla="*/ 45074 h 1320"/>
              <a:gd name="T70" fmla="*/ 79664 w 1554"/>
              <a:gd name="T71" fmla="*/ 46684 h 1320"/>
              <a:gd name="T72" fmla="*/ 77321 w 1554"/>
              <a:gd name="T73" fmla="*/ 48294 h 1320"/>
              <a:gd name="T74" fmla="*/ 72635 w 1554"/>
              <a:gd name="T75" fmla="*/ 49903 h 1320"/>
              <a:gd name="T76" fmla="*/ 67949 w 1554"/>
              <a:gd name="T77" fmla="*/ 51513 h 1320"/>
              <a:gd name="T78" fmla="*/ 65606 w 1554"/>
              <a:gd name="T79" fmla="*/ 52318 h 1320"/>
              <a:gd name="T80" fmla="*/ 63263 w 1554"/>
              <a:gd name="T81" fmla="*/ 55538 h 1320"/>
              <a:gd name="T82" fmla="*/ 64825 w 1554"/>
              <a:gd name="T83" fmla="*/ 57952 h 1320"/>
              <a:gd name="T84" fmla="*/ 71854 w 1554"/>
              <a:gd name="T85" fmla="*/ 58757 h 1320"/>
              <a:gd name="T86" fmla="*/ 72635 w 1554"/>
              <a:gd name="T87" fmla="*/ 70026 h 1320"/>
              <a:gd name="T88" fmla="*/ 81226 w 1554"/>
              <a:gd name="T89" fmla="*/ 78880 h 1320"/>
              <a:gd name="T90" fmla="*/ 84350 w 1554"/>
              <a:gd name="T91" fmla="*/ 78880 h 1320"/>
              <a:gd name="T92" fmla="*/ 87474 w 1554"/>
              <a:gd name="T93" fmla="*/ 80489 h 1320"/>
              <a:gd name="T94" fmla="*/ 92160 w 1554"/>
              <a:gd name="T95" fmla="*/ 80489 h 1320"/>
              <a:gd name="T96" fmla="*/ 95284 w 1554"/>
              <a:gd name="T97" fmla="*/ 82099 h 1320"/>
              <a:gd name="T98" fmla="*/ 92160 w 1554"/>
              <a:gd name="T99" fmla="*/ 84514 h 1320"/>
              <a:gd name="T100" fmla="*/ 89036 w 1554"/>
              <a:gd name="T101" fmla="*/ 86124 h 1320"/>
              <a:gd name="T102" fmla="*/ 88255 w 1554"/>
              <a:gd name="T103" fmla="*/ 90953 h 1320"/>
              <a:gd name="T104" fmla="*/ 81226 w 1554"/>
              <a:gd name="T105" fmla="*/ 90953 h 1320"/>
              <a:gd name="T106" fmla="*/ 72635 w 1554"/>
              <a:gd name="T107" fmla="*/ 87734 h 1320"/>
              <a:gd name="T108" fmla="*/ 74978 w 1554"/>
              <a:gd name="T109" fmla="*/ 82904 h 1320"/>
              <a:gd name="T110" fmla="*/ 74197 w 1554"/>
              <a:gd name="T111" fmla="*/ 78075 h 1320"/>
              <a:gd name="T112" fmla="*/ 67949 w 1554"/>
              <a:gd name="T113" fmla="*/ 78880 h 1320"/>
              <a:gd name="T114" fmla="*/ 63263 w 1554"/>
              <a:gd name="T115" fmla="*/ 78880 h 1320"/>
              <a:gd name="T116" fmla="*/ 60920 w 1554"/>
              <a:gd name="T117" fmla="*/ 74855 h 1320"/>
              <a:gd name="T118" fmla="*/ 50766 w 1554"/>
              <a:gd name="T119" fmla="*/ 74050 h 1320"/>
              <a:gd name="T120" fmla="*/ 46080 w 1554"/>
              <a:gd name="T121" fmla="*/ 74050 h 13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54"/>
              <a:gd name="T184" fmla="*/ 0 h 1320"/>
              <a:gd name="T185" fmla="*/ 1554 w 1554"/>
              <a:gd name="T186" fmla="*/ 1320 h 13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54" h="1320">
                <a:moveTo>
                  <a:pt x="684" y="1068"/>
                </a:moveTo>
                <a:lnTo>
                  <a:pt x="684" y="1062"/>
                </a:lnTo>
                <a:lnTo>
                  <a:pt x="690" y="1056"/>
                </a:lnTo>
                <a:lnTo>
                  <a:pt x="690" y="1050"/>
                </a:lnTo>
                <a:lnTo>
                  <a:pt x="690" y="1044"/>
                </a:lnTo>
                <a:lnTo>
                  <a:pt x="690" y="1038"/>
                </a:lnTo>
                <a:lnTo>
                  <a:pt x="690" y="1032"/>
                </a:lnTo>
                <a:lnTo>
                  <a:pt x="690" y="1026"/>
                </a:lnTo>
                <a:lnTo>
                  <a:pt x="696" y="1014"/>
                </a:lnTo>
                <a:lnTo>
                  <a:pt x="690" y="1008"/>
                </a:lnTo>
                <a:lnTo>
                  <a:pt x="696" y="996"/>
                </a:lnTo>
                <a:lnTo>
                  <a:pt x="714" y="996"/>
                </a:lnTo>
                <a:lnTo>
                  <a:pt x="714" y="990"/>
                </a:lnTo>
                <a:lnTo>
                  <a:pt x="732" y="984"/>
                </a:lnTo>
                <a:lnTo>
                  <a:pt x="744" y="978"/>
                </a:lnTo>
                <a:lnTo>
                  <a:pt x="762" y="966"/>
                </a:lnTo>
                <a:lnTo>
                  <a:pt x="762" y="960"/>
                </a:lnTo>
                <a:lnTo>
                  <a:pt x="768" y="954"/>
                </a:lnTo>
                <a:lnTo>
                  <a:pt x="774" y="948"/>
                </a:lnTo>
                <a:lnTo>
                  <a:pt x="774" y="942"/>
                </a:lnTo>
                <a:lnTo>
                  <a:pt x="774" y="924"/>
                </a:lnTo>
                <a:lnTo>
                  <a:pt x="768" y="918"/>
                </a:lnTo>
                <a:lnTo>
                  <a:pt x="756" y="918"/>
                </a:lnTo>
                <a:lnTo>
                  <a:pt x="744" y="918"/>
                </a:lnTo>
                <a:lnTo>
                  <a:pt x="732" y="924"/>
                </a:lnTo>
                <a:lnTo>
                  <a:pt x="726" y="912"/>
                </a:lnTo>
                <a:lnTo>
                  <a:pt x="720" y="912"/>
                </a:lnTo>
                <a:lnTo>
                  <a:pt x="720" y="900"/>
                </a:lnTo>
                <a:lnTo>
                  <a:pt x="720" y="870"/>
                </a:lnTo>
                <a:lnTo>
                  <a:pt x="696" y="876"/>
                </a:lnTo>
                <a:lnTo>
                  <a:pt x="690" y="852"/>
                </a:lnTo>
                <a:lnTo>
                  <a:pt x="702" y="852"/>
                </a:lnTo>
                <a:lnTo>
                  <a:pt x="702" y="840"/>
                </a:lnTo>
                <a:lnTo>
                  <a:pt x="708" y="834"/>
                </a:lnTo>
                <a:lnTo>
                  <a:pt x="702" y="822"/>
                </a:lnTo>
                <a:lnTo>
                  <a:pt x="660" y="822"/>
                </a:lnTo>
                <a:lnTo>
                  <a:pt x="654" y="822"/>
                </a:lnTo>
                <a:lnTo>
                  <a:pt x="642" y="822"/>
                </a:lnTo>
                <a:lnTo>
                  <a:pt x="642" y="810"/>
                </a:lnTo>
                <a:lnTo>
                  <a:pt x="642" y="798"/>
                </a:lnTo>
                <a:lnTo>
                  <a:pt x="642" y="792"/>
                </a:lnTo>
                <a:lnTo>
                  <a:pt x="648" y="780"/>
                </a:lnTo>
                <a:lnTo>
                  <a:pt x="654" y="774"/>
                </a:lnTo>
                <a:lnTo>
                  <a:pt x="660" y="774"/>
                </a:lnTo>
                <a:lnTo>
                  <a:pt x="672" y="762"/>
                </a:lnTo>
                <a:lnTo>
                  <a:pt x="672" y="756"/>
                </a:lnTo>
                <a:lnTo>
                  <a:pt x="678" y="750"/>
                </a:lnTo>
                <a:lnTo>
                  <a:pt x="684" y="750"/>
                </a:lnTo>
                <a:lnTo>
                  <a:pt x="690" y="744"/>
                </a:lnTo>
                <a:lnTo>
                  <a:pt x="696" y="732"/>
                </a:lnTo>
                <a:lnTo>
                  <a:pt x="696" y="726"/>
                </a:lnTo>
                <a:lnTo>
                  <a:pt x="702" y="714"/>
                </a:lnTo>
                <a:lnTo>
                  <a:pt x="696" y="708"/>
                </a:lnTo>
                <a:lnTo>
                  <a:pt x="690" y="690"/>
                </a:lnTo>
                <a:lnTo>
                  <a:pt x="696" y="678"/>
                </a:lnTo>
                <a:lnTo>
                  <a:pt x="708" y="672"/>
                </a:lnTo>
                <a:lnTo>
                  <a:pt x="708" y="660"/>
                </a:lnTo>
                <a:lnTo>
                  <a:pt x="702" y="660"/>
                </a:lnTo>
                <a:lnTo>
                  <a:pt x="696" y="660"/>
                </a:lnTo>
                <a:lnTo>
                  <a:pt x="690" y="654"/>
                </a:lnTo>
                <a:lnTo>
                  <a:pt x="684" y="654"/>
                </a:lnTo>
                <a:lnTo>
                  <a:pt x="690" y="606"/>
                </a:lnTo>
                <a:lnTo>
                  <a:pt x="660" y="606"/>
                </a:lnTo>
                <a:lnTo>
                  <a:pt x="660" y="612"/>
                </a:lnTo>
                <a:lnTo>
                  <a:pt x="648" y="612"/>
                </a:lnTo>
                <a:lnTo>
                  <a:pt x="642" y="636"/>
                </a:lnTo>
                <a:lnTo>
                  <a:pt x="636" y="636"/>
                </a:lnTo>
                <a:lnTo>
                  <a:pt x="630" y="648"/>
                </a:lnTo>
                <a:lnTo>
                  <a:pt x="612" y="648"/>
                </a:lnTo>
                <a:lnTo>
                  <a:pt x="606" y="636"/>
                </a:lnTo>
                <a:lnTo>
                  <a:pt x="600" y="630"/>
                </a:lnTo>
                <a:lnTo>
                  <a:pt x="588" y="606"/>
                </a:lnTo>
                <a:lnTo>
                  <a:pt x="552" y="606"/>
                </a:lnTo>
                <a:lnTo>
                  <a:pt x="552" y="612"/>
                </a:lnTo>
                <a:lnTo>
                  <a:pt x="540" y="612"/>
                </a:lnTo>
                <a:lnTo>
                  <a:pt x="540" y="606"/>
                </a:lnTo>
                <a:lnTo>
                  <a:pt x="522" y="606"/>
                </a:lnTo>
                <a:lnTo>
                  <a:pt x="522" y="612"/>
                </a:lnTo>
                <a:lnTo>
                  <a:pt x="516" y="612"/>
                </a:lnTo>
                <a:lnTo>
                  <a:pt x="516" y="582"/>
                </a:lnTo>
                <a:lnTo>
                  <a:pt x="522" y="576"/>
                </a:lnTo>
                <a:lnTo>
                  <a:pt x="528" y="576"/>
                </a:lnTo>
                <a:lnTo>
                  <a:pt x="528" y="552"/>
                </a:lnTo>
                <a:lnTo>
                  <a:pt x="522" y="540"/>
                </a:lnTo>
                <a:lnTo>
                  <a:pt x="510" y="528"/>
                </a:lnTo>
                <a:lnTo>
                  <a:pt x="486" y="510"/>
                </a:lnTo>
                <a:lnTo>
                  <a:pt x="480" y="498"/>
                </a:lnTo>
                <a:lnTo>
                  <a:pt x="480" y="474"/>
                </a:lnTo>
                <a:lnTo>
                  <a:pt x="492" y="468"/>
                </a:lnTo>
                <a:lnTo>
                  <a:pt x="486" y="450"/>
                </a:lnTo>
                <a:lnTo>
                  <a:pt x="474" y="456"/>
                </a:lnTo>
                <a:lnTo>
                  <a:pt x="468" y="456"/>
                </a:lnTo>
                <a:lnTo>
                  <a:pt x="462" y="456"/>
                </a:lnTo>
                <a:lnTo>
                  <a:pt x="456" y="468"/>
                </a:lnTo>
                <a:lnTo>
                  <a:pt x="456" y="474"/>
                </a:lnTo>
                <a:lnTo>
                  <a:pt x="450" y="480"/>
                </a:lnTo>
                <a:lnTo>
                  <a:pt x="444" y="450"/>
                </a:lnTo>
                <a:lnTo>
                  <a:pt x="438" y="450"/>
                </a:lnTo>
                <a:lnTo>
                  <a:pt x="432" y="450"/>
                </a:lnTo>
                <a:lnTo>
                  <a:pt x="420" y="450"/>
                </a:lnTo>
                <a:lnTo>
                  <a:pt x="420" y="456"/>
                </a:lnTo>
                <a:lnTo>
                  <a:pt x="414" y="456"/>
                </a:lnTo>
                <a:lnTo>
                  <a:pt x="408" y="468"/>
                </a:lnTo>
                <a:lnTo>
                  <a:pt x="402" y="468"/>
                </a:lnTo>
                <a:lnTo>
                  <a:pt x="396" y="474"/>
                </a:lnTo>
                <a:lnTo>
                  <a:pt x="390" y="492"/>
                </a:lnTo>
                <a:lnTo>
                  <a:pt x="384" y="504"/>
                </a:lnTo>
                <a:lnTo>
                  <a:pt x="372" y="498"/>
                </a:lnTo>
                <a:lnTo>
                  <a:pt x="366" y="510"/>
                </a:lnTo>
                <a:lnTo>
                  <a:pt x="354" y="510"/>
                </a:lnTo>
                <a:lnTo>
                  <a:pt x="360" y="480"/>
                </a:lnTo>
                <a:lnTo>
                  <a:pt x="360" y="474"/>
                </a:lnTo>
                <a:lnTo>
                  <a:pt x="378" y="456"/>
                </a:lnTo>
                <a:lnTo>
                  <a:pt x="384" y="450"/>
                </a:lnTo>
                <a:lnTo>
                  <a:pt x="396" y="444"/>
                </a:lnTo>
                <a:lnTo>
                  <a:pt x="402" y="438"/>
                </a:lnTo>
                <a:lnTo>
                  <a:pt x="408" y="438"/>
                </a:lnTo>
                <a:lnTo>
                  <a:pt x="408" y="426"/>
                </a:lnTo>
                <a:lnTo>
                  <a:pt x="414" y="420"/>
                </a:lnTo>
                <a:lnTo>
                  <a:pt x="426" y="420"/>
                </a:lnTo>
                <a:lnTo>
                  <a:pt x="426" y="408"/>
                </a:lnTo>
                <a:lnTo>
                  <a:pt x="420" y="390"/>
                </a:lnTo>
                <a:lnTo>
                  <a:pt x="408" y="384"/>
                </a:lnTo>
                <a:lnTo>
                  <a:pt x="378" y="378"/>
                </a:lnTo>
                <a:lnTo>
                  <a:pt x="354" y="366"/>
                </a:lnTo>
                <a:lnTo>
                  <a:pt x="342" y="360"/>
                </a:lnTo>
                <a:lnTo>
                  <a:pt x="342" y="348"/>
                </a:lnTo>
                <a:lnTo>
                  <a:pt x="336" y="330"/>
                </a:lnTo>
                <a:lnTo>
                  <a:pt x="348" y="306"/>
                </a:lnTo>
                <a:lnTo>
                  <a:pt x="360" y="294"/>
                </a:lnTo>
                <a:lnTo>
                  <a:pt x="360" y="282"/>
                </a:lnTo>
                <a:lnTo>
                  <a:pt x="342" y="270"/>
                </a:lnTo>
                <a:lnTo>
                  <a:pt x="342" y="264"/>
                </a:lnTo>
                <a:lnTo>
                  <a:pt x="330" y="264"/>
                </a:lnTo>
                <a:lnTo>
                  <a:pt x="312" y="270"/>
                </a:lnTo>
                <a:lnTo>
                  <a:pt x="306" y="270"/>
                </a:lnTo>
                <a:lnTo>
                  <a:pt x="300" y="270"/>
                </a:lnTo>
                <a:lnTo>
                  <a:pt x="288" y="270"/>
                </a:lnTo>
                <a:lnTo>
                  <a:pt x="282" y="270"/>
                </a:lnTo>
                <a:lnTo>
                  <a:pt x="276" y="264"/>
                </a:lnTo>
                <a:lnTo>
                  <a:pt x="270" y="264"/>
                </a:lnTo>
                <a:lnTo>
                  <a:pt x="252" y="270"/>
                </a:lnTo>
                <a:lnTo>
                  <a:pt x="246" y="270"/>
                </a:lnTo>
                <a:lnTo>
                  <a:pt x="240" y="270"/>
                </a:lnTo>
                <a:lnTo>
                  <a:pt x="228" y="270"/>
                </a:lnTo>
                <a:lnTo>
                  <a:pt x="216" y="276"/>
                </a:lnTo>
                <a:lnTo>
                  <a:pt x="210" y="270"/>
                </a:lnTo>
                <a:lnTo>
                  <a:pt x="204" y="270"/>
                </a:lnTo>
                <a:lnTo>
                  <a:pt x="198" y="276"/>
                </a:lnTo>
                <a:lnTo>
                  <a:pt x="192" y="276"/>
                </a:lnTo>
                <a:lnTo>
                  <a:pt x="186" y="282"/>
                </a:lnTo>
                <a:lnTo>
                  <a:pt x="180" y="288"/>
                </a:lnTo>
                <a:lnTo>
                  <a:pt x="174" y="300"/>
                </a:lnTo>
                <a:lnTo>
                  <a:pt x="168" y="306"/>
                </a:lnTo>
                <a:lnTo>
                  <a:pt x="168" y="318"/>
                </a:lnTo>
                <a:lnTo>
                  <a:pt x="168" y="324"/>
                </a:lnTo>
                <a:lnTo>
                  <a:pt x="168" y="330"/>
                </a:lnTo>
                <a:lnTo>
                  <a:pt x="162" y="336"/>
                </a:lnTo>
                <a:lnTo>
                  <a:pt x="156" y="342"/>
                </a:lnTo>
                <a:lnTo>
                  <a:pt x="156" y="348"/>
                </a:lnTo>
                <a:lnTo>
                  <a:pt x="156" y="354"/>
                </a:lnTo>
                <a:lnTo>
                  <a:pt x="150" y="366"/>
                </a:lnTo>
                <a:lnTo>
                  <a:pt x="150" y="372"/>
                </a:lnTo>
                <a:lnTo>
                  <a:pt x="144" y="366"/>
                </a:lnTo>
                <a:lnTo>
                  <a:pt x="132" y="366"/>
                </a:lnTo>
                <a:lnTo>
                  <a:pt x="138" y="360"/>
                </a:lnTo>
                <a:lnTo>
                  <a:pt x="132" y="354"/>
                </a:lnTo>
                <a:lnTo>
                  <a:pt x="120" y="348"/>
                </a:lnTo>
                <a:lnTo>
                  <a:pt x="102" y="330"/>
                </a:lnTo>
                <a:lnTo>
                  <a:pt x="96" y="318"/>
                </a:lnTo>
                <a:lnTo>
                  <a:pt x="96" y="282"/>
                </a:lnTo>
                <a:lnTo>
                  <a:pt x="96" y="270"/>
                </a:lnTo>
                <a:lnTo>
                  <a:pt x="90" y="264"/>
                </a:lnTo>
                <a:lnTo>
                  <a:pt x="90" y="258"/>
                </a:lnTo>
                <a:lnTo>
                  <a:pt x="84" y="252"/>
                </a:lnTo>
                <a:lnTo>
                  <a:pt x="66" y="258"/>
                </a:lnTo>
                <a:lnTo>
                  <a:pt x="60" y="246"/>
                </a:lnTo>
                <a:lnTo>
                  <a:pt x="30" y="252"/>
                </a:lnTo>
                <a:lnTo>
                  <a:pt x="18" y="246"/>
                </a:lnTo>
                <a:lnTo>
                  <a:pt x="0" y="240"/>
                </a:lnTo>
                <a:lnTo>
                  <a:pt x="0" y="234"/>
                </a:lnTo>
                <a:lnTo>
                  <a:pt x="0" y="210"/>
                </a:lnTo>
                <a:lnTo>
                  <a:pt x="6" y="204"/>
                </a:lnTo>
                <a:lnTo>
                  <a:pt x="18" y="192"/>
                </a:lnTo>
                <a:lnTo>
                  <a:pt x="18" y="144"/>
                </a:lnTo>
                <a:lnTo>
                  <a:pt x="24" y="126"/>
                </a:lnTo>
                <a:lnTo>
                  <a:pt x="36" y="126"/>
                </a:lnTo>
                <a:lnTo>
                  <a:pt x="54" y="120"/>
                </a:lnTo>
                <a:lnTo>
                  <a:pt x="54" y="126"/>
                </a:lnTo>
                <a:lnTo>
                  <a:pt x="132" y="114"/>
                </a:lnTo>
                <a:lnTo>
                  <a:pt x="144" y="120"/>
                </a:lnTo>
                <a:lnTo>
                  <a:pt x="150" y="132"/>
                </a:lnTo>
                <a:lnTo>
                  <a:pt x="180" y="126"/>
                </a:lnTo>
                <a:lnTo>
                  <a:pt x="210" y="120"/>
                </a:lnTo>
                <a:lnTo>
                  <a:pt x="240" y="120"/>
                </a:lnTo>
                <a:lnTo>
                  <a:pt x="258" y="120"/>
                </a:lnTo>
                <a:lnTo>
                  <a:pt x="270" y="126"/>
                </a:lnTo>
                <a:lnTo>
                  <a:pt x="276" y="132"/>
                </a:lnTo>
                <a:lnTo>
                  <a:pt x="282" y="138"/>
                </a:lnTo>
                <a:lnTo>
                  <a:pt x="282" y="156"/>
                </a:lnTo>
                <a:lnTo>
                  <a:pt x="288" y="186"/>
                </a:lnTo>
                <a:lnTo>
                  <a:pt x="312" y="192"/>
                </a:lnTo>
                <a:lnTo>
                  <a:pt x="318" y="198"/>
                </a:lnTo>
                <a:lnTo>
                  <a:pt x="324" y="204"/>
                </a:lnTo>
                <a:lnTo>
                  <a:pt x="330" y="210"/>
                </a:lnTo>
                <a:lnTo>
                  <a:pt x="348" y="210"/>
                </a:lnTo>
                <a:lnTo>
                  <a:pt x="348" y="204"/>
                </a:lnTo>
                <a:lnTo>
                  <a:pt x="366" y="216"/>
                </a:lnTo>
                <a:lnTo>
                  <a:pt x="378" y="216"/>
                </a:lnTo>
                <a:lnTo>
                  <a:pt x="378" y="222"/>
                </a:lnTo>
                <a:lnTo>
                  <a:pt x="396" y="222"/>
                </a:lnTo>
                <a:lnTo>
                  <a:pt x="414" y="222"/>
                </a:lnTo>
                <a:lnTo>
                  <a:pt x="420" y="216"/>
                </a:lnTo>
                <a:lnTo>
                  <a:pt x="486" y="210"/>
                </a:lnTo>
                <a:lnTo>
                  <a:pt x="498" y="198"/>
                </a:lnTo>
                <a:lnTo>
                  <a:pt x="504" y="174"/>
                </a:lnTo>
                <a:lnTo>
                  <a:pt x="516" y="162"/>
                </a:lnTo>
                <a:lnTo>
                  <a:pt x="516" y="138"/>
                </a:lnTo>
                <a:lnTo>
                  <a:pt x="522" y="132"/>
                </a:lnTo>
                <a:lnTo>
                  <a:pt x="564" y="132"/>
                </a:lnTo>
                <a:lnTo>
                  <a:pt x="564" y="114"/>
                </a:lnTo>
                <a:lnTo>
                  <a:pt x="582" y="114"/>
                </a:lnTo>
                <a:lnTo>
                  <a:pt x="594" y="114"/>
                </a:lnTo>
                <a:lnTo>
                  <a:pt x="606" y="114"/>
                </a:lnTo>
                <a:lnTo>
                  <a:pt x="612" y="114"/>
                </a:lnTo>
                <a:lnTo>
                  <a:pt x="630" y="114"/>
                </a:lnTo>
                <a:lnTo>
                  <a:pt x="636" y="114"/>
                </a:lnTo>
                <a:lnTo>
                  <a:pt x="648" y="114"/>
                </a:lnTo>
                <a:lnTo>
                  <a:pt x="654" y="114"/>
                </a:lnTo>
                <a:lnTo>
                  <a:pt x="660" y="120"/>
                </a:lnTo>
                <a:lnTo>
                  <a:pt x="672" y="120"/>
                </a:lnTo>
                <a:lnTo>
                  <a:pt x="684" y="120"/>
                </a:lnTo>
                <a:lnTo>
                  <a:pt x="690" y="120"/>
                </a:lnTo>
                <a:lnTo>
                  <a:pt x="702" y="120"/>
                </a:lnTo>
                <a:lnTo>
                  <a:pt x="708" y="120"/>
                </a:lnTo>
                <a:lnTo>
                  <a:pt x="726" y="126"/>
                </a:lnTo>
                <a:lnTo>
                  <a:pt x="732" y="126"/>
                </a:lnTo>
                <a:lnTo>
                  <a:pt x="738" y="126"/>
                </a:lnTo>
                <a:lnTo>
                  <a:pt x="750" y="126"/>
                </a:lnTo>
                <a:lnTo>
                  <a:pt x="756" y="126"/>
                </a:lnTo>
                <a:lnTo>
                  <a:pt x="768" y="126"/>
                </a:lnTo>
                <a:lnTo>
                  <a:pt x="780" y="126"/>
                </a:lnTo>
                <a:lnTo>
                  <a:pt x="786" y="120"/>
                </a:lnTo>
                <a:lnTo>
                  <a:pt x="792" y="120"/>
                </a:lnTo>
                <a:lnTo>
                  <a:pt x="810" y="120"/>
                </a:lnTo>
                <a:lnTo>
                  <a:pt x="822" y="120"/>
                </a:lnTo>
                <a:lnTo>
                  <a:pt x="846" y="126"/>
                </a:lnTo>
                <a:lnTo>
                  <a:pt x="858" y="126"/>
                </a:lnTo>
                <a:lnTo>
                  <a:pt x="870" y="132"/>
                </a:lnTo>
                <a:lnTo>
                  <a:pt x="882" y="132"/>
                </a:lnTo>
                <a:lnTo>
                  <a:pt x="894" y="132"/>
                </a:lnTo>
                <a:lnTo>
                  <a:pt x="900" y="132"/>
                </a:lnTo>
                <a:lnTo>
                  <a:pt x="912" y="132"/>
                </a:lnTo>
                <a:lnTo>
                  <a:pt x="918" y="132"/>
                </a:lnTo>
                <a:lnTo>
                  <a:pt x="924" y="132"/>
                </a:lnTo>
                <a:lnTo>
                  <a:pt x="936" y="132"/>
                </a:lnTo>
                <a:lnTo>
                  <a:pt x="960" y="132"/>
                </a:lnTo>
                <a:lnTo>
                  <a:pt x="966" y="144"/>
                </a:lnTo>
                <a:lnTo>
                  <a:pt x="972" y="144"/>
                </a:lnTo>
                <a:lnTo>
                  <a:pt x="1002" y="144"/>
                </a:lnTo>
                <a:lnTo>
                  <a:pt x="1020" y="144"/>
                </a:lnTo>
                <a:lnTo>
                  <a:pt x="1068" y="138"/>
                </a:lnTo>
                <a:lnTo>
                  <a:pt x="1110" y="132"/>
                </a:lnTo>
                <a:lnTo>
                  <a:pt x="1110" y="126"/>
                </a:lnTo>
                <a:lnTo>
                  <a:pt x="1116" y="120"/>
                </a:lnTo>
                <a:lnTo>
                  <a:pt x="1122" y="108"/>
                </a:lnTo>
                <a:lnTo>
                  <a:pt x="1134" y="96"/>
                </a:lnTo>
                <a:lnTo>
                  <a:pt x="1146" y="60"/>
                </a:lnTo>
                <a:lnTo>
                  <a:pt x="1158" y="54"/>
                </a:lnTo>
                <a:lnTo>
                  <a:pt x="1170" y="48"/>
                </a:lnTo>
                <a:lnTo>
                  <a:pt x="1188" y="42"/>
                </a:lnTo>
                <a:lnTo>
                  <a:pt x="1200" y="36"/>
                </a:lnTo>
                <a:lnTo>
                  <a:pt x="1212" y="36"/>
                </a:lnTo>
                <a:lnTo>
                  <a:pt x="1236" y="30"/>
                </a:lnTo>
                <a:lnTo>
                  <a:pt x="1236" y="24"/>
                </a:lnTo>
                <a:lnTo>
                  <a:pt x="1278" y="18"/>
                </a:lnTo>
                <a:lnTo>
                  <a:pt x="1290" y="18"/>
                </a:lnTo>
                <a:lnTo>
                  <a:pt x="1302" y="12"/>
                </a:lnTo>
                <a:lnTo>
                  <a:pt x="1314" y="0"/>
                </a:lnTo>
                <a:lnTo>
                  <a:pt x="1332" y="0"/>
                </a:lnTo>
                <a:lnTo>
                  <a:pt x="1338" y="24"/>
                </a:lnTo>
                <a:lnTo>
                  <a:pt x="1344" y="30"/>
                </a:lnTo>
                <a:lnTo>
                  <a:pt x="1350" y="42"/>
                </a:lnTo>
                <a:lnTo>
                  <a:pt x="1356" y="48"/>
                </a:lnTo>
                <a:lnTo>
                  <a:pt x="1356" y="78"/>
                </a:lnTo>
                <a:lnTo>
                  <a:pt x="1350" y="96"/>
                </a:lnTo>
                <a:lnTo>
                  <a:pt x="1338" y="108"/>
                </a:lnTo>
                <a:lnTo>
                  <a:pt x="1338" y="114"/>
                </a:lnTo>
                <a:lnTo>
                  <a:pt x="1338" y="120"/>
                </a:lnTo>
                <a:lnTo>
                  <a:pt x="1338" y="126"/>
                </a:lnTo>
                <a:lnTo>
                  <a:pt x="1368" y="126"/>
                </a:lnTo>
                <a:lnTo>
                  <a:pt x="1386" y="120"/>
                </a:lnTo>
                <a:lnTo>
                  <a:pt x="1398" y="114"/>
                </a:lnTo>
                <a:lnTo>
                  <a:pt x="1416" y="120"/>
                </a:lnTo>
                <a:lnTo>
                  <a:pt x="1434" y="126"/>
                </a:lnTo>
                <a:lnTo>
                  <a:pt x="1458" y="132"/>
                </a:lnTo>
                <a:lnTo>
                  <a:pt x="1458" y="138"/>
                </a:lnTo>
                <a:lnTo>
                  <a:pt x="1512" y="138"/>
                </a:lnTo>
                <a:lnTo>
                  <a:pt x="1512" y="132"/>
                </a:lnTo>
                <a:lnTo>
                  <a:pt x="1524" y="138"/>
                </a:lnTo>
                <a:lnTo>
                  <a:pt x="1542" y="138"/>
                </a:lnTo>
                <a:lnTo>
                  <a:pt x="1542" y="150"/>
                </a:lnTo>
                <a:lnTo>
                  <a:pt x="1542" y="162"/>
                </a:lnTo>
                <a:lnTo>
                  <a:pt x="1548" y="174"/>
                </a:lnTo>
                <a:lnTo>
                  <a:pt x="1548" y="180"/>
                </a:lnTo>
                <a:lnTo>
                  <a:pt x="1554" y="222"/>
                </a:lnTo>
                <a:lnTo>
                  <a:pt x="1554" y="258"/>
                </a:lnTo>
                <a:lnTo>
                  <a:pt x="1554" y="276"/>
                </a:lnTo>
                <a:lnTo>
                  <a:pt x="1554" y="282"/>
                </a:lnTo>
                <a:lnTo>
                  <a:pt x="1554" y="294"/>
                </a:lnTo>
                <a:lnTo>
                  <a:pt x="1554" y="306"/>
                </a:lnTo>
                <a:lnTo>
                  <a:pt x="1554" y="324"/>
                </a:lnTo>
                <a:lnTo>
                  <a:pt x="1554" y="330"/>
                </a:lnTo>
                <a:lnTo>
                  <a:pt x="1548" y="330"/>
                </a:lnTo>
                <a:lnTo>
                  <a:pt x="1548" y="336"/>
                </a:lnTo>
                <a:lnTo>
                  <a:pt x="1548" y="342"/>
                </a:lnTo>
                <a:lnTo>
                  <a:pt x="1542" y="336"/>
                </a:lnTo>
                <a:lnTo>
                  <a:pt x="1542" y="330"/>
                </a:lnTo>
                <a:lnTo>
                  <a:pt x="1536" y="330"/>
                </a:lnTo>
                <a:lnTo>
                  <a:pt x="1530" y="330"/>
                </a:lnTo>
                <a:lnTo>
                  <a:pt x="1530" y="336"/>
                </a:lnTo>
                <a:lnTo>
                  <a:pt x="1536" y="342"/>
                </a:lnTo>
                <a:lnTo>
                  <a:pt x="1530" y="342"/>
                </a:lnTo>
                <a:lnTo>
                  <a:pt x="1518" y="348"/>
                </a:lnTo>
                <a:lnTo>
                  <a:pt x="1512" y="354"/>
                </a:lnTo>
                <a:lnTo>
                  <a:pt x="1506" y="354"/>
                </a:lnTo>
                <a:lnTo>
                  <a:pt x="1500" y="354"/>
                </a:lnTo>
                <a:lnTo>
                  <a:pt x="1494" y="354"/>
                </a:lnTo>
                <a:lnTo>
                  <a:pt x="1494" y="360"/>
                </a:lnTo>
                <a:lnTo>
                  <a:pt x="1488" y="360"/>
                </a:lnTo>
                <a:lnTo>
                  <a:pt x="1488" y="366"/>
                </a:lnTo>
                <a:lnTo>
                  <a:pt x="1488" y="372"/>
                </a:lnTo>
                <a:lnTo>
                  <a:pt x="1482" y="372"/>
                </a:lnTo>
                <a:lnTo>
                  <a:pt x="1476" y="372"/>
                </a:lnTo>
                <a:lnTo>
                  <a:pt x="1470" y="372"/>
                </a:lnTo>
                <a:lnTo>
                  <a:pt x="1470" y="378"/>
                </a:lnTo>
                <a:lnTo>
                  <a:pt x="1470" y="384"/>
                </a:lnTo>
                <a:lnTo>
                  <a:pt x="1470" y="390"/>
                </a:lnTo>
                <a:lnTo>
                  <a:pt x="1464" y="402"/>
                </a:lnTo>
                <a:lnTo>
                  <a:pt x="1446" y="402"/>
                </a:lnTo>
                <a:lnTo>
                  <a:pt x="1440" y="372"/>
                </a:lnTo>
                <a:lnTo>
                  <a:pt x="1410" y="372"/>
                </a:lnTo>
                <a:lnTo>
                  <a:pt x="1380" y="372"/>
                </a:lnTo>
                <a:lnTo>
                  <a:pt x="1374" y="372"/>
                </a:lnTo>
                <a:lnTo>
                  <a:pt x="1368" y="378"/>
                </a:lnTo>
                <a:lnTo>
                  <a:pt x="1362" y="378"/>
                </a:lnTo>
                <a:lnTo>
                  <a:pt x="1356" y="378"/>
                </a:lnTo>
                <a:lnTo>
                  <a:pt x="1350" y="384"/>
                </a:lnTo>
                <a:lnTo>
                  <a:pt x="1350" y="390"/>
                </a:lnTo>
                <a:lnTo>
                  <a:pt x="1344" y="390"/>
                </a:lnTo>
                <a:lnTo>
                  <a:pt x="1338" y="390"/>
                </a:lnTo>
                <a:lnTo>
                  <a:pt x="1332" y="390"/>
                </a:lnTo>
                <a:lnTo>
                  <a:pt x="1332" y="396"/>
                </a:lnTo>
                <a:lnTo>
                  <a:pt x="1332" y="390"/>
                </a:lnTo>
                <a:lnTo>
                  <a:pt x="1326" y="402"/>
                </a:lnTo>
                <a:lnTo>
                  <a:pt x="1320" y="402"/>
                </a:lnTo>
                <a:lnTo>
                  <a:pt x="1302" y="474"/>
                </a:lnTo>
                <a:lnTo>
                  <a:pt x="1308" y="480"/>
                </a:lnTo>
                <a:lnTo>
                  <a:pt x="1314" y="480"/>
                </a:lnTo>
                <a:lnTo>
                  <a:pt x="1308" y="498"/>
                </a:lnTo>
                <a:lnTo>
                  <a:pt x="1308" y="504"/>
                </a:lnTo>
                <a:lnTo>
                  <a:pt x="1314" y="510"/>
                </a:lnTo>
                <a:lnTo>
                  <a:pt x="1308" y="510"/>
                </a:lnTo>
                <a:lnTo>
                  <a:pt x="1308" y="516"/>
                </a:lnTo>
                <a:lnTo>
                  <a:pt x="1302" y="516"/>
                </a:lnTo>
                <a:lnTo>
                  <a:pt x="1296" y="510"/>
                </a:lnTo>
                <a:lnTo>
                  <a:pt x="1296" y="516"/>
                </a:lnTo>
                <a:lnTo>
                  <a:pt x="1290" y="540"/>
                </a:lnTo>
                <a:lnTo>
                  <a:pt x="1290" y="552"/>
                </a:lnTo>
                <a:lnTo>
                  <a:pt x="1284" y="558"/>
                </a:lnTo>
                <a:lnTo>
                  <a:pt x="1290" y="576"/>
                </a:lnTo>
                <a:lnTo>
                  <a:pt x="1290" y="600"/>
                </a:lnTo>
                <a:lnTo>
                  <a:pt x="1284" y="618"/>
                </a:lnTo>
                <a:lnTo>
                  <a:pt x="1290" y="624"/>
                </a:lnTo>
                <a:lnTo>
                  <a:pt x="1284" y="630"/>
                </a:lnTo>
                <a:lnTo>
                  <a:pt x="1278" y="630"/>
                </a:lnTo>
                <a:lnTo>
                  <a:pt x="1272" y="630"/>
                </a:lnTo>
                <a:lnTo>
                  <a:pt x="1266" y="636"/>
                </a:lnTo>
                <a:lnTo>
                  <a:pt x="1260" y="642"/>
                </a:lnTo>
                <a:lnTo>
                  <a:pt x="1260" y="636"/>
                </a:lnTo>
                <a:lnTo>
                  <a:pt x="1254" y="636"/>
                </a:lnTo>
                <a:lnTo>
                  <a:pt x="1248" y="636"/>
                </a:lnTo>
                <a:lnTo>
                  <a:pt x="1248" y="642"/>
                </a:lnTo>
                <a:lnTo>
                  <a:pt x="1242" y="642"/>
                </a:lnTo>
                <a:lnTo>
                  <a:pt x="1242" y="648"/>
                </a:lnTo>
                <a:lnTo>
                  <a:pt x="1236" y="654"/>
                </a:lnTo>
                <a:lnTo>
                  <a:pt x="1230" y="654"/>
                </a:lnTo>
                <a:lnTo>
                  <a:pt x="1224" y="654"/>
                </a:lnTo>
                <a:lnTo>
                  <a:pt x="1218" y="660"/>
                </a:lnTo>
                <a:lnTo>
                  <a:pt x="1212" y="660"/>
                </a:lnTo>
                <a:lnTo>
                  <a:pt x="1206" y="660"/>
                </a:lnTo>
                <a:lnTo>
                  <a:pt x="1200" y="660"/>
                </a:lnTo>
                <a:lnTo>
                  <a:pt x="1200" y="666"/>
                </a:lnTo>
                <a:lnTo>
                  <a:pt x="1194" y="666"/>
                </a:lnTo>
                <a:lnTo>
                  <a:pt x="1188" y="666"/>
                </a:lnTo>
                <a:lnTo>
                  <a:pt x="1182" y="672"/>
                </a:lnTo>
                <a:lnTo>
                  <a:pt x="1176" y="672"/>
                </a:lnTo>
                <a:lnTo>
                  <a:pt x="1170" y="672"/>
                </a:lnTo>
                <a:lnTo>
                  <a:pt x="1164" y="678"/>
                </a:lnTo>
                <a:lnTo>
                  <a:pt x="1170" y="678"/>
                </a:lnTo>
                <a:lnTo>
                  <a:pt x="1164" y="684"/>
                </a:lnTo>
                <a:lnTo>
                  <a:pt x="1164" y="690"/>
                </a:lnTo>
                <a:lnTo>
                  <a:pt x="1158" y="690"/>
                </a:lnTo>
                <a:lnTo>
                  <a:pt x="1152" y="684"/>
                </a:lnTo>
                <a:lnTo>
                  <a:pt x="1152" y="690"/>
                </a:lnTo>
                <a:lnTo>
                  <a:pt x="1146" y="690"/>
                </a:lnTo>
                <a:lnTo>
                  <a:pt x="1140" y="690"/>
                </a:lnTo>
                <a:lnTo>
                  <a:pt x="1134" y="696"/>
                </a:lnTo>
                <a:lnTo>
                  <a:pt x="1128" y="696"/>
                </a:lnTo>
                <a:lnTo>
                  <a:pt x="1122" y="702"/>
                </a:lnTo>
                <a:lnTo>
                  <a:pt x="1116" y="702"/>
                </a:lnTo>
                <a:lnTo>
                  <a:pt x="1110" y="708"/>
                </a:lnTo>
                <a:lnTo>
                  <a:pt x="1104" y="708"/>
                </a:lnTo>
                <a:lnTo>
                  <a:pt x="1098" y="708"/>
                </a:lnTo>
                <a:lnTo>
                  <a:pt x="1092" y="708"/>
                </a:lnTo>
                <a:lnTo>
                  <a:pt x="1092" y="714"/>
                </a:lnTo>
                <a:lnTo>
                  <a:pt x="1086" y="720"/>
                </a:lnTo>
                <a:lnTo>
                  <a:pt x="1080" y="720"/>
                </a:lnTo>
                <a:lnTo>
                  <a:pt x="1074" y="720"/>
                </a:lnTo>
                <a:lnTo>
                  <a:pt x="1068" y="720"/>
                </a:lnTo>
                <a:lnTo>
                  <a:pt x="1062" y="720"/>
                </a:lnTo>
                <a:lnTo>
                  <a:pt x="1050" y="726"/>
                </a:lnTo>
                <a:lnTo>
                  <a:pt x="1044" y="726"/>
                </a:lnTo>
                <a:lnTo>
                  <a:pt x="1038" y="732"/>
                </a:lnTo>
                <a:lnTo>
                  <a:pt x="1026" y="732"/>
                </a:lnTo>
                <a:lnTo>
                  <a:pt x="1020" y="732"/>
                </a:lnTo>
                <a:lnTo>
                  <a:pt x="1014" y="738"/>
                </a:lnTo>
                <a:lnTo>
                  <a:pt x="1008" y="738"/>
                </a:lnTo>
                <a:lnTo>
                  <a:pt x="1002" y="738"/>
                </a:lnTo>
                <a:lnTo>
                  <a:pt x="996" y="738"/>
                </a:lnTo>
                <a:lnTo>
                  <a:pt x="990" y="738"/>
                </a:lnTo>
                <a:lnTo>
                  <a:pt x="990" y="732"/>
                </a:lnTo>
                <a:lnTo>
                  <a:pt x="984" y="732"/>
                </a:lnTo>
                <a:lnTo>
                  <a:pt x="978" y="738"/>
                </a:lnTo>
                <a:lnTo>
                  <a:pt x="978" y="744"/>
                </a:lnTo>
                <a:lnTo>
                  <a:pt x="984" y="744"/>
                </a:lnTo>
                <a:lnTo>
                  <a:pt x="978" y="744"/>
                </a:lnTo>
                <a:lnTo>
                  <a:pt x="978" y="750"/>
                </a:lnTo>
                <a:lnTo>
                  <a:pt x="978" y="756"/>
                </a:lnTo>
                <a:lnTo>
                  <a:pt x="972" y="756"/>
                </a:lnTo>
                <a:lnTo>
                  <a:pt x="972" y="762"/>
                </a:lnTo>
                <a:lnTo>
                  <a:pt x="966" y="768"/>
                </a:lnTo>
                <a:lnTo>
                  <a:pt x="966" y="762"/>
                </a:lnTo>
                <a:lnTo>
                  <a:pt x="960" y="762"/>
                </a:lnTo>
                <a:lnTo>
                  <a:pt x="954" y="768"/>
                </a:lnTo>
                <a:lnTo>
                  <a:pt x="954" y="774"/>
                </a:lnTo>
                <a:lnTo>
                  <a:pt x="948" y="774"/>
                </a:lnTo>
                <a:lnTo>
                  <a:pt x="948" y="780"/>
                </a:lnTo>
                <a:lnTo>
                  <a:pt x="948" y="786"/>
                </a:lnTo>
                <a:lnTo>
                  <a:pt x="942" y="786"/>
                </a:lnTo>
                <a:lnTo>
                  <a:pt x="942" y="792"/>
                </a:lnTo>
                <a:lnTo>
                  <a:pt x="936" y="792"/>
                </a:lnTo>
                <a:lnTo>
                  <a:pt x="942" y="798"/>
                </a:lnTo>
                <a:lnTo>
                  <a:pt x="942" y="804"/>
                </a:lnTo>
                <a:lnTo>
                  <a:pt x="942" y="810"/>
                </a:lnTo>
                <a:lnTo>
                  <a:pt x="948" y="810"/>
                </a:lnTo>
                <a:lnTo>
                  <a:pt x="942" y="816"/>
                </a:lnTo>
                <a:lnTo>
                  <a:pt x="948" y="816"/>
                </a:lnTo>
                <a:lnTo>
                  <a:pt x="948" y="822"/>
                </a:lnTo>
                <a:lnTo>
                  <a:pt x="954" y="822"/>
                </a:lnTo>
                <a:lnTo>
                  <a:pt x="960" y="828"/>
                </a:lnTo>
                <a:lnTo>
                  <a:pt x="960" y="834"/>
                </a:lnTo>
                <a:lnTo>
                  <a:pt x="966" y="834"/>
                </a:lnTo>
                <a:lnTo>
                  <a:pt x="960" y="840"/>
                </a:lnTo>
                <a:lnTo>
                  <a:pt x="966" y="846"/>
                </a:lnTo>
                <a:lnTo>
                  <a:pt x="966" y="840"/>
                </a:lnTo>
                <a:lnTo>
                  <a:pt x="972" y="840"/>
                </a:lnTo>
                <a:lnTo>
                  <a:pt x="990" y="840"/>
                </a:lnTo>
                <a:lnTo>
                  <a:pt x="1002" y="834"/>
                </a:lnTo>
                <a:lnTo>
                  <a:pt x="1020" y="828"/>
                </a:lnTo>
                <a:lnTo>
                  <a:pt x="1032" y="828"/>
                </a:lnTo>
                <a:lnTo>
                  <a:pt x="1050" y="828"/>
                </a:lnTo>
                <a:lnTo>
                  <a:pt x="1062" y="846"/>
                </a:lnTo>
                <a:lnTo>
                  <a:pt x="1074" y="876"/>
                </a:lnTo>
                <a:lnTo>
                  <a:pt x="1068" y="900"/>
                </a:lnTo>
                <a:lnTo>
                  <a:pt x="1074" y="912"/>
                </a:lnTo>
                <a:lnTo>
                  <a:pt x="1074" y="936"/>
                </a:lnTo>
                <a:lnTo>
                  <a:pt x="1068" y="942"/>
                </a:lnTo>
                <a:lnTo>
                  <a:pt x="1062" y="954"/>
                </a:lnTo>
                <a:lnTo>
                  <a:pt x="1056" y="978"/>
                </a:lnTo>
                <a:lnTo>
                  <a:pt x="1056" y="996"/>
                </a:lnTo>
                <a:lnTo>
                  <a:pt x="1068" y="990"/>
                </a:lnTo>
                <a:lnTo>
                  <a:pt x="1074" y="990"/>
                </a:lnTo>
                <a:lnTo>
                  <a:pt x="1074" y="1008"/>
                </a:lnTo>
                <a:lnTo>
                  <a:pt x="1080" y="1008"/>
                </a:lnTo>
                <a:lnTo>
                  <a:pt x="1092" y="1014"/>
                </a:lnTo>
                <a:lnTo>
                  <a:pt x="1110" y="1044"/>
                </a:lnTo>
                <a:lnTo>
                  <a:pt x="1110" y="1062"/>
                </a:lnTo>
                <a:lnTo>
                  <a:pt x="1128" y="1068"/>
                </a:lnTo>
                <a:lnTo>
                  <a:pt x="1128" y="1092"/>
                </a:lnTo>
                <a:lnTo>
                  <a:pt x="1134" y="1098"/>
                </a:lnTo>
                <a:lnTo>
                  <a:pt x="1158" y="1122"/>
                </a:lnTo>
                <a:lnTo>
                  <a:pt x="1188" y="1122"/>
                </a:lnTo>
                <a:lnTo>
                  <a:pt x="1188" y="1128"/>
                </a:lnTo>
                <a:lnTo>
                  <a:pt x="1200" y="1134"/>
                </a:lnTo>
                <a:lnTo>
                  <a:pt x="1206" y="1134"/>
                </a:lnTo>
                <a:lnTo>
                  <a:pt x="1206" y="1128"/>
                </a:lnTo>
                <a:lnTo>
                  <a:pt x="1212" y="1128"/>
                </a:lnTo>
                <a:lnTo>
                  <a:pt x="1218" y="1128"/>
                </a:lnTo>
                <a:lnTo>
                  <a:pt x="1224" y="1122"/>
                </a:lnTo>
                <a:lnTo>
                  <a:pt x="1224" y="1128"/>
                </a:lnTo>
                <a:lnTo>
                  <a:pt x="1230" y="1128"/>
                </a:lnTo>
                <a:lnTo>
                  <a:pt x="1236" y="1128"/>
                </a:lnTo>
                <a:lnTo>
                  <a:pt x="1236" y="1122"/>
                </a:lnTo>
                <a:lnTo>
                  <a:pt x="1242" y="1122"/>
                </a:lnTo>
                <a:lnTo>
                  <a:pt x="1248" y="1128"/>
                </a:lnTo>
                <a:lnTo>
                  <a:pt x="1254" y="1128"/>
                </a:lnTo>
                <a:lnTo>
                  <a:pt x="1260" y="1134"/>
                </a:lnTo>
                <a:lnTo>
                  <a:pt x="1260" y="1140"/>
                </a:lnTo>
                <a:lnTo>
                  <a:pt x="1266" y="1140"/>
                </a:lnTo>
                <a:lnTo>
                  <a:pt x="1272" y="1140"/>
                </a:lnTo>
                <a:lnTo>
                  <a:pt x="1278" y="1140"/>
                </a:lnTo>
                <a:lnTo>
                  <a:pt x="1284" y="1140"/>
                </a:lnTo>
                <a:lnTo>
                  <a:pt x="1290" y="1146"/>
                </a:lnTo>
                <a:lnTo>
                  <a:pt x="1290" y="1152"/>
                </a:lnTo>
                <a:lnTo>
                  <a:pt x="1296" y="1146"/>
                </a:lnTo>
                <a:lnTo>
                  <a:pt x="1296" y="1152"/>
                </a:lnTo>
                <a:lnTo>
                  <a:pt x="1308" y="1152"/>
                </a:lnTo>
                <a:lnTo>
                  <a:pt x="1314" y="1152"/>
                </a:lnTo>
                <a:lnTo>
                  <a:pt x="1320" y="1152"/>
                </a:lnTo>
                <a:lnTo>
                  <a:pt x="1332" y="1152"/>
                </a:lnTo>
                <a:lnTo>
                  <a:pt x="1338" y="1152"/>
                </a:lnTo>
                <a:lnTo>
                  <a:pt x="1344" y="1152"/>
                </a:lnTo>
                <a:lnTo>
                  <a:pt x="1344" y="1158"/>
                </a:lnTo>
                <a:lnTo>
                  <a:pt x="1350" y="1158"/>
                </a:lnTo>
                <a:lnTo>
                  <a:pt x="1356" y="1158"/>
                </a:lnTo>
                <a:lnTo>
                  <a:pt x="1362" y="1158"/>
                </a:lnTo>
                <a:lnTo>
                  <a:pt x="1368" y="1158"/>
                </a:lnTo>
                <a:lnTo>
                  <a:pt x="1374" y="1164"/>
                </a:lnTo>
                <a:lnTo>
                  <a:pt x="1380" y="1164"/>
                </a:lnTo>
                <a:lnTo>
                  <a:pt x="1386" y="1170"/>
                </a:lnTo>
                <a:lnTo>
                  <a:pt x="1392" y="1170"/>
                </a:lnTo>
                <a:lnTo>
                  <a:pt x="1398" y="1164"/>
                </a:lnTo>
                <a:lnTo>
                  <a:pt x="1404" y="1164"/>
                </a:lnTo>
                <a:lnTo>
                  <a:pt x="1410" y="1164"/>
                </a:lnTo>
                <a:lnTo>
                  <a:pt x="1416" y="1164"/>
                </a:lnTo>
                <a:lnTo>
                  <a:pt x="1416" y="1170"/>
                </a:lnTo>
                <a:lnTo>
                  <a:pt x="1422" y="1176"/>
                </a:lnTo>
                <a:lnTo>
                  <a:pt x="1416" y="1176"/>
                </a:lnTo>
                <a:lnTo>
                  <a:pt x="1416" y="1182"/>
                </a:lnTo>
                <a:lnTo>
                  <a:pt x="1410" y="1188"/>
                </a:lnTo>
                <a:lnTo>
                  <a:pt x="1404" y="1194"/>
                </a:lnTo>
                <a:lnTo>
                  <a:pt x="1404" y="1200"/>
                </a:lnTo>
                <a:lnTo>
                  <a:pt x="1404" y="1206"/>
                </a:lnTo>
                <a:lnTo>
                  <a:pt x="1398" y="1212"/>
                </a:lnTo>
                <a:lnTo>
                  <a:pt x="1398" y="1206"/>
                </a:lnTo>
                <a:lnTo>
                  <a:pt x="1392" y="1206"/>
                </a:lnTo>
                <a:lnTo>
                  <a:pt x="1386" y="1206"/>
                </a:lnTo>
                <a:lnTo>
                  <a:pt x="1380" y="1212"/>
                </a:lnTo>
                <a:lnTo>
                  <a:pt x="1374" y="1212"/>
                </a:lnTo>
                <a:lnTo>
                  <a:pt x="1368" y="1218"/>
                </a:lnTo>
                <a:lnTo>
                  <a:pt x="1362" y="1218"/>
                </a:lnTo>
                <a:lnTo>
                  <a:pt x="1362" y="1224"/>
                </a:lnTo>
                <a:lnTo>
                  <a:pt x="1356" y="1230"/>
                </a:lnTo>
                <a:lnTo>
                  <a:pt x="1350" y="1230"/>
                </a:lnTo>
                <a:lnTo>
                  <a:pt x="1344" y="1236"/>
                </a:lnTo>
                <a:lnTo>
                  <a:pt x="1338" y="1230"/>
                </a:lnTo>
                <a:lnTo>
                  <a:pt x="1332" y="1230"/>
                </a:lnTo>
                <a:lnTo>
                  <a:pt x="1326" y="1230"/>
                </a:lnTo>
                <a:lnTo>
                  <a:pt x="1320" y="1230"/>
                </a:lnTo>
                <a:lnTo>
                  <a:pt x="1314" y="1230"/>
                </a:lnTo>
                <a:lnTo>
                  <a:pt x="1296" y="1242"/>
                </a:lnTo>
                <a:lnTo>
                  <a:pt x="1296" y="1248"/>
                </a:lnTo>
                <a:lnTo>
                  <a:pt x="1290" y="1248"/>
                </a:lnTo>
                <a:lnTo>
                  <a:pt x="1290" y="1260"/>
                </a:lnTo>
                <a:lnTo>
                  <a:pt x="1278" y="1272"/>
                </a:lnTo>
                <a:lnTo>
                  <a:pt x="1278" y="1278"/>
                </a:lnTo>
                <a:lnTo>
                  <a:pt x="1278" y="1284"/>
                </a:lnTo>
                <a:lnTo>
                  <a:pt x="1278" y="1290"/>
                </a:lnTo>
                <a:lnTo>
                  <a:pt x="1284" y="1296"/>
                </a:lnTo>
                <a:lnTo>
                  <a:pt x="1302" y="1302"/>
                </a:lnTo>
                <a:lnTo>
                  <a:pt x="1308" y="1308"/>
                </a:lnTo>
                <a:lnTo>
                  <a:pt x="1308" y="1314"/>
                </a:lnTo>
                <a:lnTo>
                  <a:pt x="1302" y="1320"/>
                </a:lnTo>
                <a:lnTo>
                  <a:pt x="1278" y="1314"/>
                </a:lnTo>
                <a:lnTo>
                  <a:pt x="1266" y="1308"/>
                </a:lnTo>
                <a:lnTo>
                  <a:pt x="1260" y="1296"/>
                </a:lnTo>
                <a:lnTo>
                  <a:pt x="1236" y="1296"/>
                </a:lnTo>
                <a:lnTo>
                  <a:pt x="1224" y="1308"/>
                </a:lnTo>
                <a:lnTo>
                  <a:pt x="1218" y="1308"/>
                </a:lnTo>
                <a:lnTo>
                  <a:pt x="1218" y="1302"/>
                </a:lnTo>
                <a:lnTo>
                  <a:pt x="1212" y="1302"/>
                </a:lnTo>
                <a:lnTo>
                  <a:pt x="1206" y="1302"/>
                </a:lnTo>
                <a:lnTo>
                  <a:pt x="1170" y="1314"/>
                </a:lnTo>
                <a:lnTo>
                  <a:pt x="1134" y="1296"/>
                </a:lnTo>
                <a:lnTo>
                  <a:pt x="1122" y="1290"/>
                </a:lnTo>
                <a:lnTo>
                  <a:pt x="1104" y="1290"/>
                </a:lnTo>
                <a:lnTo>
                  <a:pt x="1098" y="1278"/>
                </a:lnTo>
                <a:lnTo>
                  <a:pt x="1092" y="1242"/>
                </a:lnTo>
                <a:lnTo>
                  <a:pt x="1086" y="1242"/>
                </a:lnTo>
                <a:lnTo>
                  <a:pt x="1086" y="1248"/>
                </a:lnTo>
                <a:lnTo>
                  <a:pt x="1086" y="1254"/>
                </a:lnTo>
                <a:lnTo>
                  <a:pt x="1080" y="1254"/>
                </a:lnTo>
                <a:lnTo>
                  <a:pt x="1080" y="1260"/>
                </a:lnTo>
                <a:lnTo>
                  <a:pt x="1074" y="1260"/>
                </a:lnTo>
                <a:lnTo>
                  <a:pt x="1068" y="1236"/>
                </a:lnTo>
                <a:lnTo>
                  <a:pt x="1068" y="1206"/>
                </a:lnTo>
                <a:lnTo>
                  <a:pt x="1080" y="1194"/>
                </a:lnTo>
                <a:lnTo>
                  <a:pt x="1086" y="1194"/>
                </a:lnTo>
                <a:lnTo>
                  <a:pt x="1092" y="1200"/>
                </a:lnTo>
                <a:lnTo>
                  <a:pt x="1098" y="1206"/>
                </a:lnTo>
                <a:lnTo>
                  <a:pt x="1104" y="1200"/>
                </a:lnTo>
                <a:lnTo>
                  <a:pt x="1104" y="1194"/>
                </a:lnTo>
                <a:lnTo>
                  <a:pt x="1110" y="1194"/>
                </a:lnTo>
                <a:lnTo>
                  <a:pt x="1110" y="1188"/>
                </a:lnTo>
                <a:lnTo>
                  <a:pt x="1116" y="1182"/>
                </a:lnTo>
                <a:lnTo>
                  <a:pt x="1110" y="1182"/>
                </a:lnTo>
                <a:lnTo>
                  <a:pt x="1110" y="1170"/>
                </a:lnTo>
                <a:lnTo>
                  <a:pt x="1110" y="1158"/>
                </a:lnTo>
                <a:lnTo>
                  <a:pt x="1110" y="1152"/>
                </a:lnTo>
                <a:lnTo>
                  <a:pt x="1104" y="1146"/>
                </a:lnTo>
                <a:lnTo>
                  <a:pt x="1098" y="1140"/>
                </a:lnTo>
                <a:lnTo>
                  <a:pt x="1098" y="1134"/>
                </a:lnTo>
                <a:lnTo>
                  <a:pt x="1098" y="1128"/>
                </a:lnTo>
                <a:lnTo>
                  <a:pt x="1092" y="1128"/>
                </a:lnTo>
                <a:lnTo>
                  <a:pt x="1092" y="1122"/>
                </a:lnTo>
                <a:lnTo>
                  <a:pt x="1092" y="1116"/>
                </a:lnTo>
                <a:lnTo>
                  <a:pt x="1092" y="1110"/>
                </a:lnTo>
                <a:lnTo>
                  <a:pt x="1056" y="1122"/>
                </a:lnTo>
                <a:lnTo>
                  <a:pt x="1038" y="1128"/>
                </a:lnTo>
                <a:lnTo>
                  <a:pt x="1032" y="1128"/>
                </a:lnTo>
                <a:lnTo>
                  <a:pt x="1026" y="1128"/>
                </a:lnTo>
                <a:lnTo>
                  <a:pt x="1020" y="1128"/>
                </a:lnTo>
                <a:lnTo>
                  <a:pt x="1014" y="1128"/>
                </a:lnTo>
                <a:lnTo>
                  <a:pt x="1014" y="1122"/>
                </a:lnTo>
                <a:lnTo>
                  <a:pt x="1008" y="1122"/>
                </a:lnTo>
                <a:lnTo>
                  <a:pt x="1002" y="1128"/>
                </a:lnTo>
                <a:lnTo>
                  <a:pt x="1002" y="1134"/>
                </a:lnTo>
                <a:lnTo>
                  <a:pt x="990" y="1134"/>
                </a:lnTo>
                <a:lnTo>
                  <a:pt x="990" y="1140"/>
                </a:lnTo>
                <a:lnTo>
                  <a:pt x="984" y="1140"/>
                </a:lnTo>
                <a:lnTo>
                  <a:pt x="978" y="1146"/>
                </a:lnTo>
                <a:lnTo>
                  <a:pt x="972" y="1140"/>
                </a:lnTo>
                <a:lnTo>
                  <a:pt x="966" y="1140"/>
                </a:lnTo>
                <a:lnTo>
                  <a:pt x="954" y="1140"/>
                </a:lnTo>
                <a:lnTo>
                  <a:pt x="954" y="1134"/>
                </a:lnTo>
                <a:lnTo>
                  <a:pt x="948" y="1134"/>
                </a:lnTo>
                <a:lnTo>
                  <a:pt x="942" y="1134"/>
                </a:lnTo>
                <a:lnTo>
                  <a:pt x="936" y="1134"/>
                </a:lnTo>
                <a:lnTo>
                  <a:pt x="930" y="1134"/>
                </a:lnTo>
                <a:lnTo>
                  <a:pt x="924" y="1134"/>
                </a:lnTo>
                <a:lnTo>
                  <a:pt x="918" y="1134"/>
                </a:lnTo>
                <a:lnTo>
                  <a:pt x="918" y="1128"/>
                </a:lnTo>
                <a:lnTo>
                  <a:pt x="918" y="1104"/>
                </a:lnTo>
                <a:lnTo>
                  <a:pt x="906" y="1104"/>
                </a:lnTo>
                <a:lnTo>
                  <a:pt x="900" y="1098"/>
                </a:lnTo>
                <a:lnTo>
                  <a:pt x="900" y="1092"/>
                </a:lnTo>
                <a:lnTo>
                  <a:pt x="900" y="1086"/>
                </a:lnTo>
                <a:lnTo>
                  <a:pt x="900" y="1080"/>
                </a:lnTo>
                <a:lnTo>
                  <a:pt x="894" y="1080"/>
                </a:lnTo>
                <a:lnTo>
                  <a:pt x="858" y="1074"/>
                </a:lnTo>
                <a:lnTo>
                  <a:pt x="852" y="1080"/>
                </a:lnTo>
                <a:lnTo>
                  <a:pt x="846" y="1086"/>
                </a:lnTo>
                <a:lnTo>
                  <a:pt x="840" y="1086"/>
                </a:lnTo>
                <a:lnTo>
                  <a:pt x="840" y="1092"/>
                </a:lnTo>
                <a:lnTo>
                  <a:pt x="834" y="1092"/>
                </a:lnTo>
                <a:lnTo>
                  <a:pt x="828" y="1098"/>
                </a:lnTo>
                <a:lnTo>
                  <a:pt x="822" y="1098"/>
                </a:lnTo>
                <a:lnTo>
                  <a:pt x="762" y="1074"/>
                </a:lnTo>
                <a:lnTo>
                  <a:pt x="756" y="1068"/>
                </a:lnTo>
                <a:lnTo>
                  <a:pt x="750" y="1068"/>
                </a:lnTo>
                <a:lnTo>
                  <a:pt x="744" y="1062"/>
                </a:lnTo>
                <a:lnTo>
                  <a:pt x="744" y="1068"/>
                </a:lnTo>
                <a:lnTo>
                  <a:pt x="744" y="1074"/>
                </a:lnTo>
                <a:lnTo>
                  <a:pt x="738" y="1074"/>
                </a:lnTo>
                <a:lnTo>
                  <a:pt x="738" y="1068"/>
                </a:lnTo>
                <a:lnTo>
                  <a:pt x="732" y="1068"/>
                </a:lnTo>
                <a:lnTo>
                  <a:pt x="726" y="1068"/>
                </a:lnTo>
                <a:lnTo>
                  <a:pt x="726" y="1074"/>
                </a:lnTo>
                <a:lnTo>
                  <a:pt x="720" y="1074"/>
                </a:lnTo>
                <a:lnTo>
                  <a:pt x="684" y="1068"/>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54" name="Freeform 41"/>
          <p:cNvSpPr>
            <a:spLocks/>
          </p:cNvSpPr>
          <p:nvPr/>
        </p:nvSpPr>
        <p:spPr bwMode="gray">
          <a:xfrm>
            <a:off x="5875338" y="1592263"/>
            <a:ext cx="1558925" cy="1901825"/>
          </a:xfrm>
          <a:custGeom>
            <a:avLst/>
            <a:gdLst>
              <a:gd name="T0" fmla="*/ 76659 w 1992"/>
              <a:gd name="T1" fmla="*/ 130613 h 2358"/>
              <a:gd name="T2" fmla="*/ 72748 w 1992"/>
              <a:gd name="T3" fmla="*/ 138676 h 2358"/>
              <a:gd name="T4" fmla="*/ 64143 w 1992"/>
              <a:gd name="T5" fmla="*/ 144320 h 2358"/>
              <a:gd name="T6" fmla="*/ 54756 w 1992"/>
              <a:gd name="T7" fmla="*/ 140289 h 2358"/>
              <a:gd name="T8" fmla="*/ 48498 w 1992"/>
              <a:gd name="T9" fmla="*/ 146739 h 2358"/>
              <a:gd name="T10" fmla="*/ 35200 w 1992"/>
              <a:gd name="T11" fmla="*/ 152382 h 2358"/>
              <a:gd name="T12" fmla="*/ 18774 w 1992"/>
              <a:gd name="T13" fmla="*/ 165282 h 2358"/>
              <a:gd name="T14" fmla="*/ 13298 w 1992"/>
              <a:gd name="T15" fmla="*/ 164476 h 2358"/>
              <a:gd name="T16" fmla="*/ 5476 w 1992"/>
              <a:gd name="T17" fmla="*/ 158832 h 2358"/>
              <a:gd name="T18" fmla="*/ 782 w 1992"/>
              <a:gd name="T19" fmla="*/ 153995 h 2358"/>
              <a:gd name="T20" fmla="*/ 3129 w 1992"/>
              <a:gd name="T21" fmla="*/ 141095 h 2358"/>
              <a:gd name="T22" fmla="*/ 5476 w 1992"/>
              <a:gd name="T23" fmla="*/ 138676 h 2358"/>
              <a:gd name="T24" fmla="*/ 8605 w 1992"/>
              <a:gd name="T25" fmla="*/ 135451 h 2358"/>
              <a:gd name="T26" fmla="*/ 3911 w 1992"/>
              <a:gd name="T27" fmla="*/ 128195 h 2358"/>
              <a:gd name="T28" fmla="*/ 7822 w 1992"/>
              <a:gd name="T29" fmla="*/ 125776 h 2358"/>
              <a:gd name="T30" fmla="*/ 11733 w 1992"/>
              <a:gd name="T31" fmla="*/ 124970 h 2358"/>
              <a:gd name="T32" fmla="*/ 18774 w 1992"/>
              <a:gd name="T33" fmla="*/ 120132 h 2358"/>
              <a:gd name="T34" fmla="*/ 29725 w 1992"/>
              <a:gd name="T35" fmla="*/ 102395 h 2358"/>
              <a:gd name="T36" fmla="*/ 29725 w 1992"/>
              <a:gd name="T37" fmla="*/ 86269 h 2358"/>
              <a:gd name="T38" fmla="*/ 35200 w 1992"/>
              <a:gd name="T39" fmla="*/ 53213 h 2358"/>
              <a:gd name="T40" fmla="*/ 36765 w 1992"/>
              <a:gd name="T41" fmla="*/ 29025 h 2358"/>
              <a:gd name="T42" fmla="*/ 39894 w 1992"/>
              <a:gd name="T43" fmla="*/ 28219 h 2358"/>
              <a:gd name="T44" fmla="*/ 43023 w 1992"/>
              <a:gd name="T45" fmla="*/ 24188 h 2358"/>
              <a:gd name="T46" fmla="*/ 43805 w 1992"/>
              <a:gd name="T47" fmla="*/ 21769 h 2358"/>
              <a:gd name="T48" fmla="*/ 46934 w 1992"/>
              <a:gd name="T49" fmla="*/ 18544 h 2358"/>
              <a:gd name="T50" fmla="*/ 49281 w 1992"/>
              <a:gd name="T51" fmla="*/ 18544 h 2358"/>
              <a:gd name="T52" fmla="*/ 54756 w 1992"/>
              <a:gd name="T53" fmla="*/ 14513 h 2358"/>
              <a:gd name="T54" fmla="*/ 55539 w 1992"/>
              <a:gd name="T55" fmla="*/ 12094 h 2358"/>
              <a:gd name="T56" fmla="*/ 56321 w 1992"/>
              <a:gd name="T57" fmla="*/ 10481 h 2358"/>
              <a:gd name="T58" fmla="*/ 60232 w 1992"/>
              <a:gd name="T59" fmla="*/ 9675 h 2358"/>
              <a:gd name="T60" fmla="*/ 64925 w 1992"/>
              <a:gd name="T61" fmla="*/ 8063 h 2358"/>
              <a:gd name="T62" fmla="*/ 68054 w 1992"/>
              <a:gd name="T63" fmla="*/ 8063 h 2358"/>
              <a:gd name="T64" fmla="*/ 69619 w 1992"/>
              <a:gd name="T65" fmla="*/ 8063 h 2358"/>
              <a:gd name="T66" fmla="*/ 72748 w 1992"/>
              <a:gd name="T67" fmla="*/ 6450 h 2358"/>
              <a:gd name="T68" fmla="*/ 74312 w 1992"/>
              <a:gd name="T69" fmla="*/ 3225 h 2358"/>
              <a:gd name="T70" fmla="*/ 77441 w 1992"/>
              <a:gd name="T71" fmla="*/ 0 h 2358"/>
              <a:gd name="T72" fmla="*/ 86828 w 1992"/>
              <a:gd name="T73" fmla="*/ 0 h 2358"/>
              <a:gd name="T74" fmla="*/ 94650 w 1992"/>
              <a:gd name="T75" fmla="*/ 7256 h 2358"/>
              <a:gd name="T76" fmla="*/ 100126 w 1992"/>
              <a:gd name="T77" fmla="*/ 15319 h 2358"/>
              <a:gd name="T78" fmla="*/ 107948 w 1992"/>
              <a:gd name="T79" fmla="*/ 26606 h 2358"/>
              <a:gd name="T80" fmla="*/ 111077 w 1992"/>
              <a:gd name="T81" fmla="*/ 37894 h 2358"/>
              <a:gd name="T82" fmla="*/ 113424 w 1992"/>
              <a:gd name="T83" fmla="*/ 49988 h 2358"/>
              <a:gd name="T84" fmla="*/ 113424 w 1992"/>
              <a:gd name="T85" fmla="*/ 56438 h 2358"/>
              <a:gd name="T86" fmla="*/ 114988 w 1992"/>
              <a:gd name="T87" fmla="*/ 60469 h 2358"/>
              <a:gd name="T88" fmla="*/ 119682 w 1992"/>
              <a:gd name="T89" fmla="*/ 60469 h 2358"/>
              <a:gd name="T90" fmla="*/ 125157 w 1992"/>
              <a:gd name="T91" fmla="*/ 61275 h 2358"/>
              <a:gd name="T92" fmla="*/ 128286 w 1992"/>
              <a:gd name="T93" fmla="*/ 63694 h 2358"/>
              <a:gd name="T94" fmla="*/ 131415 w 1992"/>
              <a:gd name="T95" fmla="*/ 66919 h 2358"/>
              <a:gd name="T96" fmla="*/ 134544 w 1992"/>
              <a:gd name="T97" fmla="*/ 69338 h 2358"/>
              <a:gd name="T98" fmla="*/ 132980 w 1992"/>
              <a:gd name="T99" fmla="*/ 74982 h 2358"/>
              <a:gd name="T100" fmla="*/ 132980 w 1992"/>
              <a:gd name="T101" fmla="*/ 79819 h 2358"/>
              <a:gd name="T102" fmla="*/ 132197 w 1992"/>
              <a:gd name="T103" fmla="*/ 85463 h 2358"/>
              <a:gd name="T104" fmla="*/ 129851 w 1992"/>
              <a:gd name="T105" fmla="*/ 91107 h 2358"/>
              <a:gd name="T106" fmla="*/ 132980 w 1992"/>
              <a:gd name="T107" fmla="*/ 98363 h 2358"/>
              <a:gd name="T108" fmla="*/ 124375 w 1992"/>
              <a:gd name="T109" fmla="*/ 103201 h 2358"/>
              <a:gd name="T110" fmla="*/ 115770 w 1992"/>
              <a:gd name="T111" fmla="*/ 108038 h 2358"/>
              <a:gd name="T112" fmla="*/ 108730 w 1992"/>
              <a:gd name="T113" fmla="*/ 109651 h 2358"/>
              <a:gd name="T114" fmla="*/ 103255 w 1992"/>
              <a:gd name="T115" fmla="*/ 111263 h 2358"/>
              <a:gd name="T116" fmla="*/ 100126 w 1992"/>
              <a:gd name="T117" fmla="*/ 116907 h 2358"/>
              <a:gd name="T118" fmla="*/ 96997 w 1992"/>
              <a:gd name="T119" fmla="*/ 120938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92"/>
              <a:gd name="T181" fmla="*/ 0 h 2358"/>
              <a:gd name="T182" fmla="*/ 1992 w 1992"/>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92" h="2358">
                <a:moveTo>
                  <a:pt x="1356" y="1782"/>
                </a:moveTo>
                <a:lnTo>
                  <a:pt x="1350" y="1788"/>
                </a:lnTo>
                <a:lnTo>
                  <a:pt x="1266" y="1788"/>
                </a:lnTo>
                <a:lnTo>
                  <a:pt x="1260" y="1800"/>
                </a:lnTo>
                <a:lnTo>
                  <a:pt x="1242" y="1806"/>
                </a:lnTo>
                <a:lnTo>
                  <a:pt x="1218" y="1812"/>
                </a:lnTo>
                <a:lnTo>
                  <a:pt x="1182" y="1812"/>
                </a:lnTo>
                <a:lnTo>
                  <a:pt x="1158" y="1806"/>
                </a:lnTo>
                <a:lnTo>
                  <a:pt x="1134" y="1800"/>
                </a:lnTo>
                <a:lnTo>
                  <a:pt x="1134" y="1806"/>
                </a:lnTo>
                <a:lnTo>
                  <a:pt x="1134" y="1830"/>
                </a:lnTo>
                <a:lnTo>
                  <a:pt x="1128" y="1842"/>
                </a:lnTo>
                <a:lnTo>
                  <a:pt x="1128" y="1854"/>
                </a:lnTo>
                <a:lnTo>
                  <a:pt x="1128" y="1860"/>
                </a:lnTo>
                <a:lnTo>
                  <a:pt x="1128" y="1866"/>
                </a:lnTo>
                <a:lnTo>
                  <a:pt x="1128" y="1872"/>
                </a:lnTo>
                <a:lnTo>
                  <a:pt x="1128" y="1884"/>
                </a:lnTo>
                <a:lnTo>
                  <a:pt x="1128" y="1890"/>
                </a:lnTo>
                <a:lnTo>
                  <a:pt x="1128" y="1896"/>
                </a:lnTo>
                <a:lnTo>
                  <a:pt x="1122" y="1902"/>
                </a:lnTo>
                <a:lnTo>
                  <a:pt x="1122" y="1920"/>
                </a:lnTo>
                <a:lnTo>
                  <a:pt x="1116" y="1920"/>
                </a:lnTo>
                <a:lnTo>
                  <a:pt x="1110" y="1926"/>
                </a:lnTo>
                <a:lnTo>
                  <a:pt x="1110" y="1932"/>
                </a:lnTo>
                <a:lnTo>
                  <a:pt x="1104" y="1938"/>
                </a:lnTo>
                <a:lnTo>
                  <a:pt x="1086" y="1962"/>
                </a:lnTo>
                <a:lnTo>
                  <a:pt x="1074" y="1974"/>
                </a:lnTo>
                <a:lnTo>
                  <a:pt x="1074" y="1980"/>
                </a:lnTo>
                <a:lnTo>
                  <a:pt x="1068" y="1986"/>
                </a:lnTo>
                <a:lnTo>
                  <a:pt x="1062" y="1998"/>
                </a:lnTo>
                <a:lnTo>
                  <a:pt x="1062" y="2004"/>
                </a:lnTo>
                <a:lnTo>
                  <a:pt x="1068" y="2004"/>
                </a:lnTo>
                <a:lnTo>
                  <a:pt x="1056" y="2034"/>
                </a:lnTo>
                <a:lnTo>
                  <a:pt x="1050" y="2076"/>
                </a:lnTo>
                <a:lnTo>
                  <a:pt x="1056" y="2100"/>
                </a:lnTo>
                <a:lnTo>
                  <a:pt x="1038" y="2106"/>
                </a:lnTo>
                <a:lnTo>
                  <a:pt x="1002" y="2106"/>
                </a:lnTo>
                <a:lnTo>
                  <a:pt x="978" y="2094"/>
                </a:lnTo>
                <a:lnTo>
                  <a:pt x="972" y="2082"/>
                </a:lnTo>
                <a:lnTo>
                  <a:pt x="966" y="2070"/>
                </a:lnTo>
                <a:lnTo>
                  <a:pt x="954" y="2064"/>
                </a:lnTo>
                <a:lnTo>
                  <a:pt x="942" y="2058"/>
                </a:lnTo>
                <a:lnTo>
                  <a:pt x="936" y="2058"/>
                </a:lnTo>
                <a:lnTo>
                  <a:pt x="918" y="2046"/>
                </a:lnTo>
                <a:lnTo>
                  <a:pt x="906" y="2028"/>
                </a:lnTo>
                <a:lnTo>
                  <a:pt x="900" y="2022"/>
                </a:lnTo>
                <a:lnTo>
                  <a:pt x="894" y="2022"/>
                </a:lnTo>
                <a:lnTo>
                  <a:pt x="882" y="2022"/>
                </a:lnTo>
                <a:lnTo>
                  <a:pt x="870" y="2016"/>
                </a:lnTo>
                <a:lnTo>
                  <a:pt x="864" y="2016"/>
                </a:lnTo>
                <a:lnTo>
                  <a:pt x="852" y="2010"/>
                </a:lnTo>
                <a:lnTo>
                  <a:pt x="846" y="2004"/>
                </a:lnTo>
                <a:lnTo>
                  <a:pt x="840" y="2004"/>
                </a:lnTo>
                <a:lnTo>
                  <a:pt x="828" y="1998"/>
                </a:lnTo>
                <a:lnTo>
                  <a:pt x="816" y="1998"/>
                </a:lnTo>
                <a:lnTo>
                  <a:pt x="810" y="1998"/>
                </a:lnTo>
                <a:lnTo>
                  <a:pt x="804" y="1998"/>
                </a:lnTo>
                <a:lnTo>
                  <a:pt x="798" y="1998"/>
                </a:lnTo>
                <a:lnTo>
                  <a:pt x="792" y="2004"/>
                </a:lnTo>
                <a:lnTo>
                  <a:pt x="786" y="2010"/>
                </a:lnTo>
                <a:lnTo>
                  <a:pt x="762" y="2010"/>
                </a:lnTo>
                <a:lnTo>
                  <a:pt x="756" y="2010"/>
                </a:lnTo>
                <a:lnTo>
                  <a:pt x="744" y="2022"/>
                </a:lnTo>
                <a:lnTo>
                  <a:pt x="738" y="2034"/>
                </a:lnTo>
                <a:lnTo>
                  <a:pt x="732" y="2040"/>
                </a:lnTo>
                <a:lnTo>
                  <a:pt x="732" y="2046"/>
                </a:lnTo>
                <a:lnTo>
                  <a:pt x="726" y="2058"/>
                </a:lnTo>
                <a:lnTo>
                  <a:pt x="720" y="2064"/>
                </a:lnTo>
                <a:lnTo>
                  <a:pt x="714" y="2070"/>
                </a:lnTo>
                <a:lnTo>
                  <a:pt x="708" y="2088"/>
                </a:lnTo>
                <a:lnTo>
                  <a:pt x="702" y="2100"/>
                </a:lnTo>
                <a:lnTo>
                  <a:pt x="690" y="2100"/>
                </a:lnTo>
                <a:lnTo>
                  <a:pt x="684" y="2094"/>
                </a:lnTo>
                <a:lnTo>
                  <a:pt x="666" y="2100"/>
                </a:lnTo>
                <a:lnTo>
                  <a:pt x="636" y="2106"/>
                </a:lnTo>
                <a:lnTo>
                  <a:pt x="636" y="2112"/>
                </a:lnTo>
                <a:lnTo>
                  <a:pt x="636" y="2118"/>
                </a:lnTo>
                <a:lnTo>
                  <a:pt x="636" y="2124"/>
                </a:lnTo>
                <a:lnTo>
                  <a:pt x="630" y="2124"/>
                </a:lnTo>
                <a:lnTo>
                  <a:pt x="630" y="2148"/>
                </a:lnTo>
                <a:lnTo>
                  <a:pt x="612" y="2160"/>
                </a:lnTo>
                <a:lnTo>
                  <a:pt x="576" y="2172"/>
                </a:lnTo>
                <a:lnTo>
                  <a:pt x="546" y="2172"/>
                </a:lnTo>
                <a:lnTo>
                  <a:pt x="516" y="2172"/>
                </a:lnTo>
                <a:lnTo>
                  <a:pt x="486" y="2172"/>
                </a:lnTo>
                <a:lnTo>
                  <a:pt x="462" y="2172"/>
                </a:lnTo>
                <a:lnTo>
                  <a:pt x="444" y="2196"/>
                </a:lnTo>
                <a:lnTo>
                  <a:pt x="432" y="2232"/>
                </a:lnTo>
                <a:lnTo>
                  <a:pt x="408" y="2238"/>
                </a:lnTo>
                <a:lnTo>
                  <a:pt x="390" y="2256"/>
                </a:lnTo>
                <a:lnTo>
                  <a:pt x="372" y="2274"/>
                </a:lnTo>
                <a:lnTo>
                  <a:pt x="360" y="2274"/>
                </a:lnTo>
                <a:lnTo>
                  <a:pt x="336" y="2328"/>
                </a:lnTo>
                <a:lnTo>
                  <a:pt x="324" y="2340"/>
                </a:lnTo>
                <a:lnTo>
                  <a:pt x="300" y="2346"/>
                </a:lnTo>
                <a:lnTo>
                  <a:pt x="294" y="2352"/>
                </a:lnTo>
                <a:lnTo>
                  <a:pt x="288" y="2352"/>
                </a:lnTo>
                <a:lnTo>
                  <a:pt x="282" y="2352"/>
                </a:lnTo>
                <a:lnTo>
                  <a:pt x="276" y="2352"/>
                </a:lnTo>
                <a:lnTo>
                  <a:pt x="270" y="2352"/>
                </a:lnTo>
                <a:lnTo>
                  <a:pt x="270" y="2346"/>
                </a:lnTo>
                <a:lnTo>
                  <a:pt x="264" y="2346"/>
                </a:lnTo>
                <a:lnTo>
                  <a:pt x="258" y="2352"/>
                </a:lnTo>
                <a:lnTo>
                  <a:pt x="252" y="2352"/>
                </a:lnTo>
                <a:lnTo>
                  <a:pt x="240" y="2352"/>
                </a:lnTo>
                <a:lnTo>
                  <a:pt x="228" y="2352"/>
                </a:lnTo>
                <a:lnTo>
                  <a:pt x="222" y="2352"/>
                </a:lnTo>
                <a:lnTo>
                  <a:pt x="216" y="2358"/>
                </a:lnTo>
                <a:lnTo>
                  <a:pt x="216" y="2352"/>
                </a:lnTo>
                <a:lnTo>
                  <a:pt x="210" y="2346"/>
                </a:lnTo>
                <a:lnTo>
                  <a:pt x="204" y="2346"/>
                </a:lnTo>
                <a:lnTo>
                  <a:pt x="198" y="2340"/>
                </a:lnTo>
                <a:lnTo>
                  <a:pt x="192" y="2340"/>
                </a:lnTo>
                <a:lnTo>
                  <a:pt x="186" y="2340"/>
                </a:lnTo>
                <a:lnTo>
                  <a:pt x="180" y="2340"/>
                </a:lnTo>
                <a:lnTo>
                  <a:pt x="174" y="2340"/>
                </a:lnTo>
                <a:lnTo>
                  <a:pt x="162" y="2328"/>
                </a:lnTo>
                <a:lnTo>
                  <a:pt x="156" y="2322"/>
                </a:lnTo>
                <a:lnTo>
                  <a:pt x="156" y="2316"/>
                </a:lnTo>
                <a:lnTo>
                  <a:pt x="156" y="2310"/>
                </a:lnTo>
                <a:lnTo>
                  <a:pt x="132" y="2286"/>
                </a:lnTo>
                <a:lnTo>
                  <a:pt x="120" y="2280"/>
                </a:lnTo>
                <a:lnTo>
                  <a:pt x="96" y="2274"/>
                </a:lnTo>
                <a:lnTo>
                  <a:pt x="84" y="2268"/>
                </a:lnTo>
                <a:lnTo>
                  <a:pt x="78" y="2268"/>
                </a:lnTo>
                <a:lnTo>
                  <a:pt x="78" y="2262"/>
                </a:lnTo>
                <a:lnTo>
                  <a:pt x="78" y="2256"/>
                </a:lnTo>
                <a:lnTo>
                  <a:pt x="78" y="2250"/>
                </a:lnTo>
                <a:lnTo>
                  <a:pt x="72" y="2250"/>
                </a:lnTo>
                <a:lnTo>
                  <a:pt x="66" y="2250"/>
                </a:lnTo>
                <a:lnTo>
                  <a:pt x="60" y="2250"/>
                </a:lnTo>
                <a:lnTo>
                  <a:pt x="48" y="2244"/>
                </a:lnTo>
                <a:lnTo>
                  <a:pt x="36" y="2238"/>
                </a:lnTo>
                <a:lnTo>
                  <a:pt x="36" y="2226"/>
                </a:lnTo>
                <a:lnTo>
                  <a:pt x="30" y="2226"/>
                </a:lnTo>
                <a:lnTo>
                  <a:pt x="30" y="2220"/>
                </a:lnTo>
                <a:lnTo>
                  <a:pt x="24" y="2208"/>
                </a:lnTo>
                <a:lnTo>
                  <a:pt x="18" y="2202"/>
                </a:lnTo>
                <a:lnTo>
                  <a:pt x="18" y="2196"/>
                </a:lnTo>
                <a:lnTo>
                  <a:pt x="12" y="2190"/>
                </a:lnTo>
                <a:lnTo>
                  <a:pt x="0" y="2190"/>
                </a:lnTo>
                <a:lnTo>
                  <a:pt x="6" y="2184"/>
                </a:lnTo>
                <a:lnTo>
                  <a:pt x="12" y="2178"/>
                </a:lnTo>
                <a:lnTo>
                  <a:pt x="18" y="2172"/>
                </a:lnTo>
                <a:lnTo>
                  <a:pt x="24" y="2166"/>
                </a:lnTo>
                <a:lnTo>
                  <a:pt x="30" y="2166"/>
                </a:lnTo>
                <a:lnTo>
                  <a:pt x="24" y="2160"/>
                </a:lnTo>
                <a:lnTo>
                  <a:pt x="30" y="2160"/>
                </a:lnTo>
                <a:lnTo>
                  <a:pt x="36" y="2154"/>
                </a:lnTo>
                <a:lnTo>
                  <a:pt x="36" y="2136"/>
                </a:lnTo>
                <a:lnTo>
                  <a:pt x="36" y="2118"/>
                </a:lnTo>
                <a:lnTo>
                  <a:pt x="48" y="2058"/>
                </a:lnTo>
                <a:lnTo>
                  <a:pt x="48" y="2022"/>
                </a:lnTo>
                <a:lnTo>
                  <a:pt x="48" y="2016"/>
                </a:lnTo>
                <a:lnTo>
                  <a:pt x="48" y="2010"/>
                </a:lnTo>
                <a:lnTo>
                  <a:pt x="48" y="2004"/>
                </a:lnTo>
                <a:lnTo>
                  <a:pt x="42" y="2004"/>
                </a:lnTo>
                <a:lnTo>
                  <a:pt x="42" y="1998"/>
                </a:lnTo>
                <a:lnTo>
                  <a:pt x="36" y="1992"/>
                </a:lnTo>
                <a:lnTo>
                  <a:pt x="42" y="1992"/>
                </a:lnTo>
                <a:lnTo>
                  <a:pt x="42" y="1986"/>
                </a:lnTo>
                <a:lnTo>
                  <a:pt x="48" y="1986"/>
                </a:lnTo>
                <a:lnTo>
                  <a:pt x="54" y="1986"/>
                </a:lnTo>
                <a:lnTo>
                  <a:pt x="60" y="1986"/>
                </a:lnTo>
                <a:lnTo>
                  <a:pt x="66" y="1980"/>
                </a:lnTo>
                <a:lnTo>
                  <a:pt x="72" y="1974"/>
                </a:lnTo>
                <a:lnTo>
                  <a:pt x="78" y="1974"/>
                </a:lnTo>
                <a:lnTo>
                  <a:pt x="84" y="1974"/>
                </a:lnTo>
                <a:lnTo>
                  <a:pt x="90" y="1974"/>
                </a:lnTo>
                <a:lnTo>
                  <a:pt x="96" y="1974"/>
                </a:lnTo>
                <a:lnTo>
                  <a:pt x="96" y="1968"/>
                </a:lnTo>
                <a:lnTo>
                  <a:pt x="102" y="1968"/>
                </a:lnTo>
                <a:lnTo>
                  <a:pt x="102" y="1962"/>
                </a:lnTo>
                <a:lnTo>
                  <a:pt x="108" y="1962"/>
                </a:lnTo>
                <a:lnTo>
                  <a:pt x="114" y="1956"/>
                </a:lnTo>
                <a:lnTo>
                  <a:pt x="120" y="1956"/>
                </a:lnTo>
                <a:lnTo>
                  <a:pt x="126" y="1950"/>
                </a:lnTo>
                <a:lnTo>
                  <a:pt x="132" y="1950"/>
                </a:lnTo>
                <a:lnTo>
                  <a:pt x="132" y="1944"/>
                </a:lnTo>
                <a:lnTo>
                  <a:pt x="126" y="1944"/>
                </a:lnTo>
                <a:lnTo>
                  <a:pt x="126" y="1938"/>
                </a:lnTo>
                <a:lnTo>
                  <a:pt x="126" y="1932"/>
                </a:lnTo>
                <a:lnTo>
                  <a:pt x="126" y="1926"/>
                </a:lnTo>
                <a:lnTo>
                  <a:pt x="114" y="1914"/>
                </a:lnTo>
                <a:lnTo>
                  <a:pt x="114" y="1896"/>
                </a:lnTo>
                <a:lnTo>
                  <a:pt x="108" y="1884"/>
                </a:lnTo>
                <a:lnTo>
                  <a:pt x="102" y="1872"/>
                </a:lnTo>
                <a:lnTo>
                  <a:pt x="96" y="1866"/>
                </a:lnTo>
                <a:lnTo>
                  <a:pt x="96" y="1860"/>
                </a:lnTo>
                <a:lnTo>
                  <a:pt x="90" y="1860"/>
                </a:lnTo>
                <a:lnTo>
                  <a:pt x="90" y="1854"/>
                </a:lnTo>
                <a:lnTo>
                  <a:pt x="84" y="1848"/>
                </a:lnTo>
                <a:lnTo>
                  <a:pt x="78" y="1842"/>
                </a:lnTo>
                <a:lnTo>
                  <a:pt x="72" y="1836"/>
                </a:lnTo>
                <a:lnTo>
                  <a:pt x="66" y="1830"/>
                </a:lnTo>
                <a:lnTo>
                  <a:pt x="60" y="1824"/>
                </a:lnTo>
                <a:lnTo>
                  <a:pt x="54" y="1824"/>
                </a:lnTo>
                <a:lnTo>
                  <a:pt x="48" y="1824"/>
                </a:lnTo>
                <a:lnTo>
                  <a:pt x="42" y="1818"/>
                </a:lnTo>
                <a:lnTo>
                  <a:pt x="54" y="1818"/>
                </a:lnTo>
                <a:lnTo>
                  <a:pt x="60" y="1812"/>
                </a:lnTo>
                <a:lnTo>
                  <a:pt x="66" y="1812"/>
                </a:lnTo>
                <a:lnTo>
                  <a:pt x="72" y="1812"/>
                </a:lnTo>
                <a:lnTo>
                  <a:pt x="78" y="1812"/>
                </a:lnTo>
                <a:lnTo>
                  <a:pt x="84" y="1812"/>
                </a:lnTo>
                <a:lnTo>
                  <a:pt x="90" y="1806"/>
                </a:lnTo>
                <a:lnTo>
                  <a:pt x="96" y="1800"/>
                </a:lnTo>
                <a:lnTo>
                  <a:pt x="102" y="1806"/>
                </a:lnTo>
                <a:lnTo>
                  <a:pt x="108" y="1800"/>
                </a:lnTo>
                <a:lnTo>
                  <a:pt x="114" y="1794"/>
                </a:lnTo>
                <a:lnTo>
                  <a:pt x="120" y="1794"/>
                </a:lnTo>
                <a:lnTo>
                  <a:pt x="114" y="1794"/>
                </a:lnTo>
                <a:lnTo>
                  <a:pt x="120" y="1794"/>
                </a:lnTo>
                <a:lnTo>
                  <a:pt x="126" y="1788"/>
                </a:lnTo>
                <a:lnTo>
                  <a:pt x="126" y="1794"/>
                </a:lnTo>
                <a:lnTo>
                  <a:pt x="132" y="1794"/>
                </a:lnTo>
                <a:lnTo>
                  <a:pt x="132" y="1788"/>
                </a:lnTo>
                <a:lnTo>
                  <a:pt x="138" y="1788"/>
                </a:lnTo>
                <a:lnTo>
                  <a:pt x="138" y="1782"/>
                </a:lnTo>
                <a:lnTo>
                  <a:pt x="144" y="1782"/>
                </a:lnTo>
                <a:lnTo>
                  <a:pt x="150" y="1776"/>
                </a:lnTo>
                <a:lnTo>
                  <a:pt x="156" y="1782"/>
                </a:lnTo>
                <a:lnTo>
                  <a:pt x="162" y="1776"/>
                </a:lnTo>
                <a:lnTo>
                  <a:pt x="168" y="1776"/>
                </a:lnTo>
                <a:lnTo>
                  <a:pt x="180" y="1776"/>
                </a:lnTo>
                <a:lnTo>
                  <a:pt x="186" y="1776"/>
                </a:lnTo>
                <a:lnTo>
                  <a:pt x="186" y="1782"/>
                </a:lnTo>
                <a:lnTo>
                  <a:pt x="192" y="1776"/>
                </a:lnTo>
                <a:lnTo>
                  <a:pt x="198" y="1776"/>
                </a:lnTo>
                <a:lnTo>
                  <a:pt x="204" y="1770"/>
                </a:lnTo>
                <a:lnTo>
                  <a:pt x="204" y="1764"/>
                </a:lnTo>
                <a:lnTo>
                  <a:pt x="210" y="1764"/>
                </a:lnTo>
                <a:lnTo>
                  <a:pt x="216" y="1764"/>
                </a:lnTo>
                <a:lnTo>
                  <a:pt x="216" y="1758"/>
                </a:lnTo>
                <a:lnTo>
                  <a:pt x="222" y="1758"/>
                </a:lnTo>
                <a:lnTo>
                  <a:pt x="228" y="1758"/>
                </a:lnTo>
                <a:lnTo>
                  <a:pt x="258" y="1746"/>
                </a:lnTo>
                <a:lnTo>
                  <a:pt x="282" y="1716"/>
                </a:lnTo>
                <a:lnTo>
                  <a:pt x="300" y="1698"/>
                </a:lnTo>
                <a:lnTo>
                  <a:pt x="312" y="1698"/>
                </a:lnTo>
                <a:lnTo>
                  <a:pt x="336" y="1698"/>
                </a:lnTo>
                <a:lnTo>
                  <a:pt x="360" y="1698"/>
                </a:lnTo>
                <a:lnTo>
                  <a:pt x="372" y="1692"/>
                </a:lnTo>
                <a:lnTo>
                  <a:pt x="384" y="1692"/>
                </a:lnTo>
                <a:lnTo>
                  <a:pt x="360" y="1668"/>
                </a:lnTo>
                <a:lnTo>
                  <a:pt x="348" y="1626"/>
                </a:lnTo>
                <a:lnTo>
                  <a:pt x="354" y="1578"/>
                </a:lnTo>
                <a:lnTo>
                  <a:pt x="354" y="1572"/>
                </a:lnTo>
                <a:lnTo>
                  <a:pt x="360" y="1572"/>
                </a:lnTo>
                <a:lnTo>
                  <a:pt x="396" y="1530"/>
                </a:lnTo>
                <a:lnTo>
                  <a:pt x="408" y="1482"/>
                </a:lnTo>
                <a:lnTo>
                  <a:pt x="438" y="1458"/>
                </a:lnTo>
                <a:lnTo>
                  <a:pt x="468" y="1422"/>
                </a:lnTo>
                <a:lnTo>
                  <a:pt x="480" y="1410"/>
                </a:lnTo>
                <a:lnTo>
                  <a:pt x="474" y="1386"/>
                </a:lnTo>
                <a:lnTo>
                  <a:pt x="456" y="1356"/>
                </a:lnTo>
                <a:lnTo>
                  <a:pt x="438" y="1350"/>
                </a:lnTo>
                <a:lnTo>
                  <a:pt x="420" y="1350"/>
                </a:lnTo>
                <a:lnTo>
                  <a:pt x="402" y="1350"/>
                </a:lnTo>
                <a:lnTo>
                  <a:pt x="390" y="1344"/>
                </a:lnTo>
                <a:lnTo>
                  <a:pt x="390" y="1332"/>
                </a:lnTo>
                <a:lnTo>
                  <a:pt x="402" y="1296"/>
                </a:lnTo>
                <a:lnTo>
                  <a:pt x="414" y="1260"/>
                </a:lnTo>
                <a:lnTo>
                  <a:pt x="426" y="1248"/>
                </a:lnTo>
                <a:lnTo>
                  <a:pt x="438" y="1242"/>
                </a:lnTo>
                <a:lnTo>
                  <a:pt x="432" y="1230"/>
                </a:lnTo>
                <a:lnTo>
                  <a:pt x="432" y="1224"/>
                </a:lnTo>
                <a:lnTo>
                  <a:pt x="426" y="1218"/>
                </a:lnTo>
                <a:lnTo>
                  <a:pt x="426" y="1206"/>
                </a:lnTo>
                <a:lnTo>
                  <a:pt x="426" y="1200"/>
                </a:lnTo>
                <a:lnTo>
                  <a:pt x="432" y="1194"/>
                </a:lnTo>
                <a:lnTo>
                  <a:pt x="426" y="1188"/>
                </a:lnTo>
                <a:lnTo>
                  <a:pt x="432" y="1104"/>
                </a:lnTo>
                <a:lnTo>
                  <a:pt x="438" y="1086"/>
                </a:lnTo>
                <a:lnTo>
                  <a:pt x="462" y="972"/>
                </a:lnTo>
                <a:lnTo>
                  <a:pt x="456" y="900"/>
                </a:lnTo>
                <a:lnTo>
                  <a:pt x="444" y="846"/>
                </a:lnTo>
                <a:lnTo>
                  <a:pt x="456" y="810"/>
                </a:lnTo>
                <a:lnTo>
                  <a:pt x="492" y="786"/>
                </a:lnTo>
                <a:lnTo>
                  <a:pt x="522" y="762"/>
                </a:lnTo>
                <a:lnTo>
                  <a:pt x="546" y="732"/>
                </a:lnTo>
                <a:lnTo>
                  <a:pt x="570" y="696"/>
                </a:lnTo>
                <a:lnTo>
                  <a:pt x="582" y="654"/>
                </a:lnTo>
                <a:lnTo>
                  <a:pt x="564" y="642"/>
                </a:lnTo>
                <a:lnTo>
                  <a:pt x="522" y="588"/>
                </a:lnTo>
                <a:lnTo>
                  <a:pt x="516" y="546"/>
                </a:lnTo>
                <a:lnTo>
                  <a:pt x="510" y="474"/>
                </a:lnTo>
                <a:lnTo>
                  <a:pt x="510" y="450"/>
                </a:lnTo>
                <a:lnTo>
                  <a:pt x="510" y="444"/>
                </a:lnTo>
                <a:lnTo>
                  <a:pt x="522" y="438"/>
                </a:lnTo>
                <a:lnTo>
                  <a:pt x="522" y="432"/>
                </a:lnTo>
                <a:lnTo>
                  <a:pt x="528" y="426"/>
                </a:lnTo>
                <a:lnTo>
                  <a:pt x="534" y="420"/>
                </a:lnTo>
                <a:lnTo>
                  <a:pt x="540" y="414"/>
                </a:lnTo>
                <a:lnTo>
                  <a:pt x="540" y="408"/>
                </a:lnTo>
                <a:lnTo>
                  <a:pt x="534" y="408"/>
                </a:lnTo>
                <a:lnTo>
                  <a:pt x="540" y="408"/>
                </a:lnTo>
                <a:lnTo>
                  <a:pt x="546" y="408"/>
                </a:lnTo>
                <a:lnTo>
                  <a:pt x="558" y="414"/>
                </a:lnTo>
                <a:lnTo>
                  <a:pt x="564" y="414"/>
                </a:lnTo>
                <a:lnTo>
                  <a:pt x="570" y="414"/>
                </a:lnTo>
                <a:lnTo>
                  <a:pt x="582" y="414"/>
                </a:lnTo>
                <a:lnTo>
                  <a:pt x="582" y="420"/>
                </a:lnTo>
                <a:lnTo>
                  <a:pt x="588" y="414"/>
                </a:lnTo>
                <a:lnTo>
                  <a:pt x="582" y="408"/>
                </a:lnTo>
                <a:lnTo>
                  <a:pt x="588" y="402"/>
                </a:lnTo>
                <a:lnTo>
                  <a:pt x="594" y="402"/>
                </a:lnTo>
                <a:lnTo>
                  <a:pt x="594" y="396"/>
                </a:lnTo>
                <a:lnTo>
                  <a:pt x="594" y="390"/>
                </a:lnTo>
                <a:lnTo>
                  <a:pt x="594" y="384"/>
                </a:lnTo>
                <a:lnTo>
                  <a:pt x="594" y="378"/>
                </a:lnTo>
                <a:lnTo>
                  <a:pt x="600" y="366"/>
                </a:lnTo>
                <a:lnTo>
                  <a:pt x="606" y="366"/>
                </a:lnTo>
                <a:lnTo>
                  <a:pt x="612" y="360"/>
                </a:lnTo>
                <a:lnTo>
                  <a:pt x="612" y="366"/>
                </a:lnTo>
                <a:lnTo>
                  <a:pt x="618" y="366"/>
                </a:lnTo>
                <a:lnTo>
                  <a:pt x="624" y="366"/>
                </a:lnTo>
                <a:lnTo>
                  <a:pt x="630" y="360"/>
                </a:lnTo>
                <a:lnTo>
                  <a:pt x="636" y="354"/>
                </a:lnTo>
                <a:lnTo>
                  <a:pt x="630" y="354"/>
                </a:lnTo>
                <a:lnTo>
                  <a:pt x="630" y="348"/>
                </a:lnTo>
                <a:lnTo>
                  <a:pt x="630" y="342"/>
                </a:lnTo>
                <a:lnTo>
                  <a:pt x="636" y="342"/>
                </a:lnTo>
                <a:lnTo>
                  <a:pt x="642" y="336"/>
                </a:lnTo>
                <a:lnTo>
                  <a:pt x="636" y="330"/>
                </a:lnTo>
                <a:lnTo>
                  <a:pt x="630" y="336"/>
                </a:lnTo>
                <a:lnTo>
                  <a:pt x="624" y="336"/>
                </a:lnTo>
                <a:lnTo>
                  <a:pt x="624" y="330"/>
                </a:lnTo>
                <a:lnTo>
                  <a:pt x="624" y="324"/>
                </a:lnTo>
                <a:lnTo>
                  <a:pt x="618" y="324"/>
                </a:lnTo>
                <a:lnTo>
                  <a:pt x="624" y="324"/>
                </a:lnTo>
                <a:lnTo>
                  <a:pt x="630" y="330"/>
                </a:lnTo>
                <a:lnTo>
                  <a:pt x="630" y="318"/>
                </a:lnTo>
                <a:lnTo>
                  <a:pt x="636" y="318"/>
                </a:lnTo>
                <a:lnTo>
                  <a:pt x="642" y="312"/>
                </a:lnTo>
                <a:lnTo>
                  <a:pt x="642" y="306"/>
                </a:lnTo>
                <a:lnTo>
                  <a:pt x="648" y="300"/>
                </a:lnTo>
                <a:lnTo>
                  <a:pt x="648" y="294"/>
                </a:lnTo>
                <a:lnTo>
                  <a:pt x="648" y="288"/>
                </a:lnTo>
                <a:lnTo>
                  <a:pt x="648" y="282"/>
                </a:lnTo>
                <a:lnTo>
                  <a:pt x="654" y="288"/>
                </a:lnTo>
                <a:lnTo>
                  <a:pt x="654" y="282"/>
                </a:lnTo>
                <a:lnTo>
                  <a:pt x="660" y="282"/>
                </a:lnTo>
                <a:lnTo>
                  <a:pt x="666" y="282"/>
                </a:lnTo>
                <a:lnTo>
                  <a:pt x="672" y="282"/>
                </a:lnTo>
                <a:lnTo>
                  <a:pt x="678" y="282"/>
                </a:lnTo>
                <a:lnTo>
                  <a:pt x="684" y="276"/>
                </a:lnTo>
                <a:lnTo>
                  <a:pt x="690" y="270"/>
                </a:lnTo>
                <a:lnTo>
                  <a:pt x="690" y="264"/>
                </a:lnTo>
                <a:lnTo>
                  <a:pt x="690" y="270"/>
                </a:lnTo>
                <a:lnTo>
                  <a:pt x="690" y="276"/>
                </a:lnTo>
                <a:lnTo>
                  <a:pt x="696" y="276"/>
                </a:lnTo>
                <a:lnTo>
                  <a:pt x="702" y="276"/>
                </a:lnTo>
                <a:lnTo>
                  <a:pt x="702" y="282"/>
                </a:lnTo>
                <a:lnTo>
                  <a:pt x="708" y="282"/>
                </a:lnTo>
                <a:lnTo>
                  <a:pt x="720" y="270"/>
                </a:lnTo>
                <a:lnTo>
                  <a:pt x="720" y="264"/>
                </a:lnTo>
                <a:lnTo>
                  <a:pt x="720" y="258"/>
                </a:lnTo>
                <a:lnTo>
                  <a:pt x="726" y="258"/>
                </a:lnTo>
                <a:lnTo>
                  <a:pt x="732" y="258"/>
                </a:lnTo>
                <a:lnTo>
                  <a:pt x="732" y="264"/>
                </a:lnTo>
                <a:lnTo>
                  <a:pt x="738" y="264"/>
                </a:lnTo>
                <a:lnTo>
                  <a:pt x="738" y="258"/>
                </a:lnTo>
                <a:lnTo>
                  <a:pt x="732" y="258"/>
                </a:lnTo>
                <a:lnTo>
                  <a:pt x="732" y="252"/>
                </a:lnTo>
                <a:lnTo>
                  <a:pt x="744" y="252"/>
                </a:lnTo>
                <a:lnTo>
                  <a:pt x="750" y="252"/>
                </a:lnTo>
                <a:lnTo>
                  <a:pt x="750" y="246"/>
                </a:lnTo>
                <a:lnTo>
                  <a:pt x="750" y="240"/>
                </a:lnTo>
                <a:lnTo>
                  <a:pt x="762" y="234"/>
                </a:lnTo>
                <a:lnTo>
                  <a:pt x="768" y="234"/>
                </a:lnTo>
                <a:lnTo>
                  <a:pt x="774" y="234"/>
                </a:lnTo>
                <a:lnTo>
                  <a:pt x="780" y="228"/>
                </a:lnTo>
                <a:lnTo>
                  <a:pt x="786" y="222"/>
                </a:lnTo>
                <a:lnTo>
                  <a:pt x="786" y="216"/>
                </a:lnTo>
                <a:lnTo>
                  <a:pt x="792" y="216"/>
                </a:lnTo>
                <a:lnTo>
                  <a:pt x="792" y="210"/>
                </a:lnTo>
                <a:lnTo>
                  <a:pt x="804" y="204"/>
                </a:lnTo>
                <a:lnTo>
                  <a:pt x="804" y="198"/>
                </a:lnTo>
                <a:lnTo>
                  <a:pt x="804" y="204"/>
                </a:lnTo>
                <a:lnTo>
                  <a:pt x="810" y="204"/>
                </a:lnTo>
                <a:lnTo>
                  <a:pt x="810" y="198"/>
                </a:lnTo>
                <a:lnTo>
                  <a:pt x="810" y="192"/>
                </a:lnTo>
                <a:lnTo>
                  <a:pt x="798" y="186"/>
                </a:lnTo>
                <a:lnTo>
                  <a:pt x="810" y="186"/>
                </a:lnTo>
                <a:lnTo>
                  <a:pt x="810" y="180"/>
                </a:lnTo>
                <a:lnTo>
                  <a:pt x="810" y="186"/>
                </a:lnTo>
                <a:lnTo>
                  <a:pt x="816" y="186"/>
                </a:lnTo>
                <a:lnTo>
                  <a:pt x="816" y="180"/>
                </a:lnTo>
                <a:lnTo>
                  <a:pt x="810" y="180"/>
                </a:lnTo>
                <a:lnTo>
                  <a:pt x="816" y="174"/>
                </a:lnTo>
                <a:lnTo>
                  <a:pt x="822" y="174"/>
                </a:lnTo>
                <a:lnTo>
                  <a:pt x="822" y="180"/>
                </a:lnTo>
                <a:lnTo>
                  <a:pt x="828" y="180"/>
                </a:lnTo>
                <a:lnTo>
                  <a:pt x="828" y="174"/>
                </a:lnTo>
                <a:lnTo>
                  <a:pt x="822" y="168"/>
                </a:lnTo>
                <a:lnTo>
                  <a:pt x="828" y="168"/>
                </a:lnTo>
                <a:lnTo>
                  <a:pt x="828" y="162"/>
                </a:lnTo>
                <a:lnTo>
                  <a:pt x="828" y="156"/>
                </a:lnTo>
                <a:lnTo>
                  <a:pt x="822" y="156"/>
                </a:lnTo>
                <a:lnTo>
                  <a:pt x="828" y="156"/>
                </a:lnTo>
                <a:lnTo>
                  <a:pt x="828" y="150"/>
                </a:lnTo>
                <a:lnTo>
                  <a:pt x="834" y="150"/>
                </a:lnTo>
                <a:lnTo>
                  <a:pt x="840" y="156"/>
                </a:lnTo>
                <a:lnTo>
                  <a:pt x="840" y="150"/>
                </a:lnTo>
                <a:lnTo>
                  <a:pt x="834" y="150"/>
                </a:lnTo>
                <a:lnTo>
                  <a:pt x="834" y="144"/>
                </a:lnTo>
                <a:lnTo>
                  <a:pt x="840" y="138"/>
                </a:lnTo>
                <a:lnTo>
                  <a:pt x="846" y="144"/>
                </a:lnTo>
                <a:lnTo>
                  <a:pt x="846" y="150"/>
                </a:lnTo>
                <a:lnTo>
                  <a:pt x="852" y="150"/>
                </a:lnTo>
                <a:lnTo>
                  <a:pt x="858" y="150"/>
                </a:lnTo>
                <a:lnTo>
                  <a:pt x="870" y="150"/>
                </a:lnTo>
                <a:lnTo>
                  <a:pt x="870" y="144"/>
                </a:lnTo>
                <a:lnTo>
                  <a:pt x="876" y="138"/>
                </a:lnTo>
                <a:lnTo>
                  <a:pt x="882" y="138"/>
                </a:lnTo>
                <a:lnTo>
                  <a:pt x="888" y="132"/>
                </a:lnTo>
                <a:lnTo>
                  <a:pt x="888" y="138"/>
                </a:lnTo>
                <a:lnTo>
                  <a:pt x="894" y="138"/>
                </a:lnTo>
                <a:lnTo>
                  <a:pt x="894" y="132"/>
                </a:lnTo>
                <a:lnTo>
                  <a:pt x="900" y="126"/>
                </a:lnTo>
                <a:lnTo>
                  <a:pt x="900" y="132"/>
                </a:lnTo>
                <a:lnTo>
                  <a:pt x="906" y="132"/>
                </a:lnTo>
                <a:lnTo>
                  <a:pt x="912" y="132"/>
                </a:lnTo>
                <a:lnTo>
                  <a:pt x="918" y="126"/>
                </a:lnTo>
                <a:lnTo>
                  <a:pt x="918" y="132"/>
                </a:lnTo>
                <a:lnTo>
                  <a:pt x="924" y="132"/>
                </a:lnTo>
                <a:lnTo>
                  <a:pt x="924" y="126"/>
                </a:lnTo>
                <a:lnTo>
                  <a:pt x="936" y="120"/>
                </a:lnTo>
                <a:lnTo>
                  <a:pt x="942" y="120"/>
                </a:lnTo>
                <a:lnTo>
                  <a:pt x="948" y="120"/>
                </a:lnTo>
                <a:lnTo>
                  <a:pt x="948" y="114"/>
                </a:lnTo>
                <a:lnTo>
                  <a:pt x="948" y="108"/>
                </a:lnTo>
                <a:lnTo>
                  <a:pt x="954" y="114"/>
                </a:lnTo>
                <a:lnTo>
                  <a:pt x="960" y="108"/>
                </a:lnTo>
                <a:lnTo>
                  <a:pt x="966" y="108"/>
                </a:lnTo>
                <a:lnTo>
                  <a:pt x="972" y="108"/>
                </a:lnTo>
                <a:lnTo>
                  <a:pt x="966" y="114"/>
                </a:lnTo>
                <a:lnTo>
                  <a:pt x="960" y="114"/>
                </a:lnTo>
                <a:lnTo>
                  <a:pt x="960" y="120"/>
                </a:lnTo>
                <a:lnTo>
                  <a:pt x="966" y="126"/>
                </a:lnTo>
                <a:lnTo>
                  <a:pt x="972" y="126"/>
                </a:lnTo>
                <a:lnTo>
                  <a:pt x="978" y="126"/>
                </a:lnTo>
                <a:lnTo>
                  <a:pt x="984" y="120"/>
                </a:lnTo>
                <a:lnTo>
                  <a:pt x="984" y="114"/>
                </a:lnTo>
                <a:lnTo>
                  <a:pt x="996" y="126"/>
                </a:lnTo>
                <a:lnTo>
                  <a:pt x="996" y="120"/>
                </a:lnTo>
                <a:lnTo>
                  <a:pt x="1002" y="120"/>
                </a:lnTo>
                <a:lnTo>
                  <a:pt x="996" y="114"/>
                </a:lnTo>
                <a:lnTo>
                  <a:pt x="1002" y="114"/>
                </a:lnTo>
                <a:lnTo>
                  <a:pt x="1008" y="114"/>
                </a:lnTo>
                <a:lnTo>
                  <a:pt x="1008" y="108"/>
                </a:lnTo>
                <a:lnTo>
                  <a:pt x="1014" y="108"/>
                </a:lnTo>
                <a:lnTo>
                  <a:pt x="1008" y="114"/>
                </a:lnTo>
                <a:lnTo>
                  <a:pt x="1008" y="120"/>
                </a:lnTo>
                <a:lnTo>
                  <a:pt x="1008" y="126"/>
                </a:lnTo>
                <a:lnTo>
                  <a:pt x="1014" y="126"/>
                </a:lnTo>
                <a:lnTo>
                  <a:pt x="1014" y="132"/>
                </a:lnTo>
                <a:lnTo>
                  <a:pt x="1020" y="132"/>
                </a:lnTo>
                <a:lnTo>
                  <a:pt x="1020" y="126"/>
                </a:lnTo>
                <a:lnTo>
                  <a:pt x="1020" y="120"/>
                </a:lnTo>
                <a:lnTo>
                  <a:pt x="1032" y="120"/>
                </a:lnTo>
                <a:lnTo>
                  <a:pt x="1038" y="120"/>
                </a:lnTo>
                <a:lnTo>
                  <a:pt x="1038" y="126"/>
                </a:lnTo>
                <a:lnTo>
                  <a:pt x="1044" y="132"/>
                </a:lnTo>
                <a:lnTo>
                  <a:pt x="1044" y="126"/>
                </a:lnTo>
                <a:lnTo>
                  <a:pt x="1050" y="120"/>
                </a:lnTo>
                <a:lnTo>
                  <a:pt x="1050" y="114"/>
                </a:lnTo>
                <a:lnTo>
                  <a:pt x="1056" y="108"/>
                </a:lnTo>
                <a:lnTo>
                  <a:pt x="1056" y="102"/>
                </a:lnTo>
                <a:lnTo>
                  <a:pt x="1056" y="108"/>
                </a:lnTo>
                <a:lnTo>
                  <a:pt x="1056" y="102"/>
                </a:lnTo>
                <a:lnTo>
                  <a:pt x="1068" y="102"/>
                </a:lnTo>
                <a:lnTo>
                  <a:pt x="1074" y="96"/>
                </a:lnTo>
                <a:lnTo>
                  <a:pt x="1074" y="90"/>
                </a:lnTo>
                <a:lnTo>
                  <a:pt x="1068" y="90"/>
                </a:lnTo>
                <a:lnTo>
                  <a:pt x="1068" y="84"/>
                </a:lnTo>
                <a:lnTo>
                  <a:pt x="1080" y="84"/>
                </a:lnTo>
                <a:lnTo>
                  <a:pt x="1086" y="78"/>
                </a:lnTo>
                <a:lnTo>
                  <a:pt x="1086" y="72"/>
                </a:lnTo>
                <a:lnTo>
                  <a:pt x="1080" y="78"/>
                </a:lnTo>
                <a:lnTo>
                  <a:pt x="1080" y="72"/>
                </a:lnTo>
                <a:lnTo>
                  <a:pt x="1080" y="66"/>
                </a:lnTo>
                <a:lnTo>
                  <a:pt x="1074" y="66"/>
                </a:lnTo>
                <a:lnTo>
                  <a:pt x="1080" y="66"/>
                </a:lnTo>
                <a:lnTo>
                  <a:pt x="1080" y="60"/>
                </a:lnTo>
                <a:lnTo>
                  <a:pt x="1086" y="60"/>
                </a:lnTo>
                <a:lnTo>
                  <a:pt x="1086" y="54"/>
                </a:lnTo>
                <a:lnTo>
                  <a:pt x="1092" y="54"/>
                </a:lnTo>
                <a:lnTo>
                  <a:pt x="1092" y="48"/>
                </a:lnTo>
                <a:lnTo>
                  <a:pt x="1092" y="42"/>
                </a:lnTo>
                <a:lnTo>
                  <a:pt x="1098" y="42"/>
                </a:lnTo>
                <a:lnTo>
                  <a:pt x="1104" y="36"/>
                </a:lnTo>
                <a:lnTo>
                  <a:pt x="1110" y="36"/>
                </a:lnTo>
                <a:lnTo>
                  <a:pt x="1110" y="30"/>
                </a:lnTo>
                <a:lnTo>
                  <a:pt x="1110" y="24"/>
                </a:lnTo>
                <a:lnTo>
                  <a:pt x="1116" y="24"/>
                </a:lnTo>
                <a:lnTo>
                  <a:pt x="1116" y="18"/>
                </a:lnTo>
                <a:lnTo>
                  <a:pt x="1122" y="18"/>
                </a:lnTo>
                <a:lnTo>
                  <a:pt x="1128" y="18"/>
                </a:lnTo>
                <a:lnTo>
                  <a:pt x="1134" y="12"/>
                </a:lnTo>
                <a:lnTo>
                  <a:pt x="1134" y="6"/>
                </a:lnTo>
                <a:lnTo>
                  <a:pt x="1140" y="6"/>
                </a:lnTo>
                <a:lnTo>
                  <a:pt x="1146" y="0"/>
                </a:lnTo>
                <a:lnTo>
                  <a:pt x="1152" y="0"/>
                </a:lnTo>
                <a:lnTo>
                  <a:pt x="1158" y="0"/>
                </a:lnTo>
                <a:lnTo>
                  <a:pt x="1158" y="6"/>
                </a:lnTo>
                <a:lnTo>
                  <a:pt x="1170" y="0"/>
                </a:lnTo>
                <a:lnTo>
                  <a:pt x="1176" y="6"/>
                </a:lnTo>
                <a:lnTo>
                  <a:pt x="1182" y="6"/>
                </a:lnTo>
                <a:lnTo>
                  <a:pt x="1194" y="6"/>
                </a:lnTo>
                <a:lnTo>
                  <a:pt x="1200" y="6"/>
                </a:lnTo>
                <a:lnTo>
                  <a:pt x="1212" y="0"/>
                </a:lnTo>
                <a:lnTo>
                  <a:pt x="1212" y="6"/>
                </a:lnTo>
                <a:lnTo>
                  <a:pt x="1218" y="6"/>
                </a:lnTo>
                <a:lnTo>
                  <a:pt x="1266" y="6"/>
                </a:lnTo>
                <a:lnTo>
                  <a:pt x="1272" y="0"/>
                </a:lnTo>
                <a:lnTo>
                  <a:pt x="1278" y="6"/>
                </a:lnTo>
                <a:lnTo>
                  <a:pt x="1290" y="6"/>
                </a:lnTo>
                <a:lnTo>
                  <a:pt x="1296" y="6"/>
                </a:lnTo>
                <a:lnTo>
                  <a:pt x="1308" y="6"/>
                </a:lnTo>
                <a:lnTo>
                  <a:pt x="1314" y="6"/>
                </a:lnTo>
                <a:lnTo>
                  <a:pt x="1320" y="6"/>
                </a:lnTo>
                <a:lnTo>
                  <a:pt x="1326" y="12"/>
                </a:lnTo>
                <a:lnTo>
                  <a:pt x="1338" y="30"/>
                </a:lnTo>
                <a:lnTo>
                  <a:pt x="1344" y="36"/>
                </a:lnTo>
                <a:lnTo>
                  <a:pt x="1356" y="48"/>
                </a:lnTo>
                <a:lnTo>
                  <a:pt x="1362" y="60"/>
                </a:lnTo>
                <a:lnTo>
                  <a:pt x="1368" y="66"/>
                </a:lnTo>
                <a:lnTo>
                  <a:pt x="1374" y="72"/>
                </a:lnTo>
                <a:lnTo>
                  <a:pt x="1374" y="78"/>
                </a:lnTo>
                <a:lnTo>
                  <a:pt x="1398" y="108"/>
                </a:lnTo>
                <a:lnTo>
                  <a:pt x="1398" y="114"/>
                </a:lnTo>
                <a:lnTo>
                  <a:pt x="1404" y="114"/>
                </a:lnTo>
                <a:lnTo>
                  <a:pt x="1404" y="120"/>
                </a:lnTo>
                <a:lnTo>
                  <a:pt x="1410" y="132"/>
                </a:lnTo>
                <a:lnTo>
                  <a:pt x="1416" y="132"/>
                </a:lnTo>
                <a:lnTo>
                  <a:pt x="1416" y="138"/>
                </a:lnTo>
                <a:lnTo>
                  <a:pt x="1422" y="144"/>
                </a:lnTo>
                <a:lnTo>
                  <a:pt x="1428" y="150"/>
                </a:lnTo>
                <a:lnTo>
                  <a:pt x="1428" y="156"/>
                </a:lnTo>
                <a:lnTo>
                  <a:pt x="1458" y="192"/>
                </a:lnTo>
                <a:lnTo>
                  <a:pt x="1458" y="198"/>
                </a:lnTo>
                <a:lnTo>
                  <a:pt x="1464" y="204"/>
                </a:lnTo>
                <a:lnTo>
                  <a:pt x="1470" y="210"/>
                </a:lnTo>
                <a:lnTo>
                  <a:pt x="1476" y="216"/>
                </a:lnTo>
                <a:lnTo>
                  <a:pt x="1482" y="228"/>
                </a:lnTo>
                <a:lnTo>
                  <a:pt x="1488" y="234"/>
                </a:lnTo>
                <a:lnTo>
                  <a:pt x="1512" y="270"/>
                </a:lnTo>
                <a:lnTo>
                  <a:pt x="1512" y="276"/>
                </a:lnTo>
                <a:lnTo>
                  <a:pt x="1530" y="300"/>
                </a:lnTo>
                <a:lnTo>
                  <a:pt x="1536" y="306"/>
                </a:lnTo>
                <a:lnTo>
                  <a:pt x="1542" y="312"/>
                </a:lnTo>
                <a:lnTo>
                  <a:pt x="1542" y="318"/>
                </a:lnTo>
                <a:lnTo>
                  <a:pt x="1560" y="336"/>
                </a:lnTo>
                <a:lnTo>
                  <a:pt x="1566" y="348"/>
                </a:lnTo>
                <a:lnTo>
                  <a:pt x="1572" y="354"/>
                </a:lnTo>
                <a:lnTo>
                  <a:pt x="1578" y="360"/>
                </a:lnTo>
                <a:lnTo>
                  <a:pt x="1584" y="378"/>
                </a:lnTo>
                <a:lnTo>
                  <a:pt x="1590" y="378"/>
                </a:lnTo>
                <a:lnTo>
                  <a:pt x="1596" y="390"/>
                </a:lnTo>
                <a:lnTo>
                  <a:pt x="1602" y="396"/>
                </a:lnTo>
                <a:lnTo>
                  <a:pt x="1608" y="408"/>
                </a:lnTo>
                <a:lnTo>
                  <a:pt x="1614" y="408"/>
                </a:lnTo>
                <a:lnTo>
                  <a:pt x="1614" y="432"/>
                </a:lnTo>
                <a:lnTo>
                  <a:pt x="1620" y="438"/>
                </a:lnTo>
                <a:lnTo>
                  <a:pt x="1620" y="450"/>
                </a:lnTo>
                <a:lnTo>
                  <a:pt x="1620" y="462"/>
                </a:lnTo>
                <a:lnTo>
                  <a:pt x="1626" y="474"/>
                </a:lnTo>
                <a:lnTo>
                  <a:pt x="1626" y="480"/>
                </a:lnTo>
                <a:lnTo>
                  <a:pt x="1626" y="486"/>
                </a:lnTo>
                <a:lnTo>
                  <a:pt x="1632" y="522"/>
                </a:lnTo>
                <a:lnTo>
                  <a:pt x="1632" y="528"/>
                </a:lnTo>
                <a:lnTo>
                  <a:pt x="1632" y="534"/>
                </a:lnTo>
                <a:lnTo>
                  <a:pt x="1638" y="540"/>
                </a:lnTo>
                <a:lnTo>
                  <a:pt x="1638" y="558"/>
                </a:lnTo>
                <a:lnTo>
                  <a:pt x="1638" y="570"/>
                </a:lnTo>
                <a:lnTo>
                  <a:pt x="1644" y="582"/>
                </a:lnTo>
                <a:lnTo>
                  <a:pt x="1650" y="618"/>
                </a:lnTo>
                <a:lnTo>
                  <a:pt x="1650" y="624"/>
                </a:lnTo>
                <a:lnTo>
                  <a:pt x="1650" y="636"/>
                </a:lnTo>
                <a:lnTo>
                  <a:pt x="1656" y="642"/>
                </a:lnTo>
                <a:lnTo>
                  <a:pt x="1656" y="648"/>
                </a:lnTo>
                <a:lnTo>
                  <a:pt x="1656" y="654"/>
                </a:lnTo>
                <a:lnTo>
                  <a:pt x="1656" y="660"/>
                </a:lnTo>
                <a:lnTo>
                  <a:pt x="1662" y="696"/>
                </a:lnTo>
                <a:lnTo>
                  <a:pt x="1668" y="708"/>
                </a:lnTo>
                <a:lnTo>
                  <a:pt x="1668" y="714"/>
                </a:lnTo>
                <a:lnTo>
                  <a:pt x="1668" y="732"/>
                </a:lnTo>
                <a:lnTo>
                  <a:pt x="1668" y="744"/>
                </a:lnTo>
                <a:lnTo>
                  <a:pt x="1674" y="756"/>
                </a:lnTo>
                <a:lnTo>
                  <a:pt x="1680" y="762"/>
                </a:lnTo>
                <a:lnTo>
                  <a:pt x="1680" y="768"/>
                </a:lnTo>
                <a:lnTo>
                  <a:pt x="1680" y="774"/>
                </a:lnTo>
                <a:lnTo>
                  <a:pt x="1680" y="780"/>
                </a:lnTo>
                <a:lnTo>
                  <a:pt x="1674" y="786"/>
                </a:lnTo>
                <a:lnTo>
                  <a:pt x="1668" y="792"/>
                </a:lnTo>
                <a:lnTo>
                  <a:pt x="1668" y="798"/>
                </a:lnTo>
                <a:lnTo>
                  <a:pt x="1668" y="804"/>
                </a:lnTo>
                <a:lnTo>
                  <a:pt x="1674" y="804"/>
                </a:lnTo>
                <a:lnTo>
                  <a:pt x="1668" y="810"/>
                </a:lnTo>
                <a:lnTo>
                  <a:pt x="1674" y="810"/>
                </a:lnTo>
                <a:lnTo>
                  <a:pt x="1680" y="810"/>
                </a:lnTo>
                <a:lnTo>
                  <a:pt x="1680" y="816"/>
                </a:lnTo>
                <a:lnTo>
                  <a:pt x="1680" y="822"/>
                </a:lnTo>
                <a:lnTo>
                  <a:pt x="1674" y="822"/>
                </a:lnTo>
                <a:lnTo>
                  <a:pt x="1674" y="828"/>
                </a:lnTo>
                <a:lnTo>
                  <a:pt x="1668" y="828"/>
                </a:lnTo>
                <a:lnTo>
                  <a:pt x="1674" y="834"/>
                </a:lnTo>
                <a:lnTo>
                  <a:pt x="1668" y="834"/>
                </a:lnTo>
                <a:lnTo>
                  <a:pt x="1668" y="840"/>
                </a:lnTo>
                <a:lnTo>
                  <a:pt x="1674" y="840"/>
                </a:lnTo>
                <a:lnTo>
                  <a:pt x="1686" y="852"/>
                </a:lnTo>
                <a:lnTo>
                  <a:pt x="1692" y="858"/>
                </a:lnTo>
                <a:lnTo>
                  <a:pt x="1698" y="858"/>
                </a:lnTo>
                <a:lnTo>
                  <a:pt x="1698" y="864"/>
                </a:lnTo>
                <a:lnTo>
                  <a:pt x="1698" y="870"/>
                </a:lnTo>
                <a:lnTo>
                  <a:pt x="1704" y="864"/>
                </a:lnTo>
                <a:lnTo>
                  <a:pt x="1716" y="864"/>
                </a:lnTo>
                <a:lnTo>
                  <a:pt x="1722" y="864"/>
                </a:lnTo>
                <a:lnTo>
                  <a:pt x="1728" y="864"/>
                </a:lnTo>
                <a:lnTo>
                  <a:pt x="1734" y="864"/>
                </a:lnTo>
                <a:lnTo>
                  <a:pt x="1740" y="864"/>
                </a:lnTo>
                <a:lnTo>
                  <a:pt x="1746" y="876"/>
                </a:lnTo>
                <a:lnTo>
                  <a:pt x="1746" y="870"/>
                </a:lnTo>
                <a:lnTo>
                  <a:pt x="1740" y="864"/>
                </a:lnTo>
                <a:lnTo>
                  <a:pt x="1746" y="864"/>
                </a:lnTo>
                <a:lnTo>
                  <a:pt x="1752" y="870"/>
                </a:lnTo>
                <a:lnTo>
                  <a:pt x="1758" y="864"/>
                </a:lnTo>
                <a:lnTo>
                  <a:pt x="1764" y="864"/>
                </a:lnTo>
                <a:lnTo>
                  <a:pt x="1770" y="858"/>
                </a:lnTo>
                <a:lnTo>
                  <a:pt x="1782" y="864"/>
                </a:lnTo>
                <a:lnTo>
                  <a:pt x="1782" y="870"/>
                </a:lnTo>
                <a:lnTo>
                  <a:pt x="1788" y="864"/>
                </a:lnTo>
                <a:lnTo>
                  <a:pt x="1794" y="864"/>
                </a:lnTo>
                <a:lnTo>
                  <a:pt x="1800" y="870"/>
                </a:lnTo>
                <a:lnTo>
                  <a:pt x="1818" y="864"/>
                </a:lnTo>
                <a:lnTo>
                  <a:pt x="1824" y="870"/>
                </a:lnTo>
                <a:lnTo>
                  <a:pt x="1830" y="864"/>
                </a:lnTo>
                <a:lnTo>
                  <a:pt x="1836" y="864"/>
                </a:lnTo>
                <a:lnTo>
                  <a:pt x="1842" y="870"/>
                </a:lnTo>
                <a:lnTo>
                  <a:pt x="1842" y="876"/>
                </a:lnTo>
                <a:lnTo>
                  <a:pt x="1848" y="876"/>
                </a:lnTo>
                <a:lnTo>
                  <a:pt x="1848" y="870"/>
                </a:lnTo>
                <a:lnTo>
                  <a:pt x="1854" y="870"/>
                </a:lnTo>
                <a:lnTo>
                  <a:pt x="1860" y="870"/>
                </a:lnTo>
                <a:lnTo>
                  <a:pt x="1860" y="876"/>
                </a:lnTo>
                <a:lnTo>
                  <a:pt x="1866" y="876"/>
                </a:lnTo>
                <a:lnTo>
                  <a:pt x="1866" y="882"/>
                </a:lnTo>
                <a:lnTo>
                  <a:pt x="1872" y="882"/>
                </a:lnTo>
                <a:lnTo>
                  <a:pt x="1878" y="888"/>
                </a:lnTo>
                <a:lnTo>
                  <a:pt x="1890" y="888"/>
                </a:lnTo>
                <a:lnTo>
                  <a:pt x="1890" y="894"/>
                </a:lnTo>
                <a:lnTo>
                  <a:pt x="1890" y="900"/>
                </a:lnTo>
                <a:lnTo>
                  <a:pt x="1884" y="900"/>
                </a:lnTo>
                <a:lnTo>
                  <a:pt x="1884" y="906"/>
                </a:lnTo>
                <a:lnTo>
                  <a:pt x="1884" y="912"/>
                </a:lnTo>
                <a:lnTo>
                  <a:pt x="1890" y="912"/>
                </a:lnTo>
                <a:lnTo>
                  <a:pt x="1896" y="912"/>
                </a:lnTo>
                <a:lnTo>
                  <a:pt x="1902" y="912"/>
                </a:lnTo>
                <a:lnTo>
                  <a:pt x="1908" y="918"/>
                </a:lnTo>
                <a:lnTo>
                  <a:pt x="1908" y="924"/>
                </a:lnTo>
                <a:lnTo>
                  <a:pt x="1908" y="930"/>
                </a:lnTo>
                <a:lnTo>
                  <a:pt x="1908" y="936"/>
                </a:lnTo>
                <a:lnTo>
                  <a:pt x="1914" y="936"/>
                </a:lnTo>
                <a:lnTo>
                  <a:pt x="1914" y="942"/>
                </a:lnTo>
                <a:lnTo>
                  <a:pt x="1908" y="948"/>
                </a:lnTo>
                <a:lnTo>
                  <a:pt x="1914" y="948"/>
                </a:lnTo>
                <a:lnTo>
                  <a:pt x="1920" y="954"/>
                </a:lnTo>
                <a:lnTo>
                  <a:pt x="1926" y="954"/>
                </a:lnTo>
                <a:lnTo>
                  <a:pt x="1932" y="954"/>
                </a:lnTo>
                <a:lnTo>
                  <a:pt x="1938" y="954"/>
                </a:lnTo>
                <a:lnTo>
                  <a:pt x="1938" y="960"/>
                </a:lnTo>
                <a:lnTo>
                  <a:pt x="1944" y="966"/>
                </a:lnTo>
                <a:lnTo>
                  <a:pt x="1944" y="972"/>
                </a:lnTo>
                <a:lnTo>
                  <a:pt x="1944" y="978"/>
                </a:lnTo>
                <a:lnTo>
                  <a:pt x="1950" y="978"/>
                </a:lnTo>
                <a:lnTo>
                  <a:pt x="1950" y="984"/>
                </a:lnTo>
                <a:lnTo>
                  <a:pt x="1956" y="984"/>
                </a:lnTo>
                <a:lnTo>
                  <a:pt x="1962" y="984"/>
                </a:lnTo>
                <a:lnTo>
                  <a:pt x="1962" y="978"/>
                </a:lnTo>
                <a:lnTo>
                  <a:pt x="1968" y="978"/>
                </a:lnTo>
                <a:lnTo>
                  <a:pt x="1974" y="978"/>
                </a:lnTo>
                <a:lnTo>
                  <a:pt x="1980" y="972"/>
                </a:lnTo>
                <a:lnTo>
                  <a:pt x="1980" y="978"/>
                </a:lnTo>
                <a:lnTo>
                  <a:pt x="1980" y="984"/>
                </a:lnTo>
                <a:lnTo>
                  <a:pt x="1986" y="984"/>
                </a:lnTo>
                <a:lnTo>
                  <a:pt x="1992" y="990"/>
                </a:lnTo>
                <a:lnTo>
                  <a:pt x="1992" y="996"/>
                </a:lnTo>
                <a:lnTo>
                  <a:pt x="1992" y="1002"/>
                </a:lnTo>
                <a:lnTo>
                  <a:pt x="1974" y="1008"/>
                </a:lnTo>
                <a:lnTo>
                  <a:pt x="1974" y="1014"/>
                </a:lnTo>
                <a:lnTo>
                  <a:pt x="1974" y="1020"/>
                </a:lnTo>
                <a:lnTo>
                  <a:pt x="1974" y="1026"/>
                </a:lnTo>
                <a:lnTo>
                  <a:pt x="1968" y="1038"/>
                </a:lnTo>
                <a:lnTo>
                  <a:pt x="1968" y="1044"/>
                </a:lnTo>
                <a:lnTo>
                  <a:pt x="1974" y="1056"/>
                </a:lnTo>
                <a:lnTo>
                  <a:pt x="1968" y="1062"/>
                </a:lnTo>
                <a:lnTo>
                  <a:pt x="1962" y="1062"/>
                </a:lnTo>
                <a:lnTo>
                  <a:pt x="1956" y="1068"/>
                </a:lnTo>
                <a:lnTo>
                  <a:pt x="1956" y="1074"/>
                </a:lnTo>
                <a:lnTo>
                  <a:pt x="1956" y="1080"/>
                </a:lnTo>
                <a:lnTo>
                  <a:pt x="1956" y="1086"/>
                </a:lnTo>
                <a:lnTo>
                  <a:pt x="1956" y="1092"/>
                </a:lnTo>
                <a:lnTo>
                  <a:pt x="1962" y="1092"/>
                </a:lnTo>
                <a:lnTo>
                  <a:pt x="1962" y="1104"/>
                </a:lnTo>
                <a:lnTo>
                  <a:pt x="1968" y="1110"/>
                </a:lnTo>
                <a:lnTo>
                  <a:pt x="1968" y="1116"/>
                </a:lnTo>
                <a:lnTo>
                  <a:pt x="1974" y="1116"/>
                </a:lnTo>
                <a:lnTo>
                  <a:pt x="1974" y="1122"/>
                </a:lnTo>
                <a:lnTo>
                  <a:pt x="1980" y="1122"/>
                </a:lnTo>
                <a:lnTo>
                  <a:pt x="1974" y="1128"/>
                </a:lnTo>
                <a:lnTo>
                  <a:pt x="1968" y="1134"/>
                </a:lnTo>
                <a:lnTo>
                  <a:pt x="1962" y="1140"/>
                </a:lnTo>
                <a:lnTo>
                  <a:pt x="1962" y="1146"/>
                </a:lnTo>
                <a:lnTo>
                  <a:pt x="1968" y="1152"/>
                </a:lnTo>
                <a:lnTo>
                  <a:pt x="1968" y="1158"/>
                </a:lnTo>
                <a:lnTo>
                  <a:pt x="1962" y="1158"/>
                </a:lnTo>
                <a:lnTo>
                  <a:pt x="1962" y="1164"/>
                </a:lnTo>
                <a:lnTo>
                  <a:pt x="1956" y="1164"/>
                </a:lnTo>
                <a:lnTo>
                  <a:pt x="1956" y="1170"/>
                </a:lnTo>
                <a:lnTo>
                  <a:pt x="1944" y="1182"/>
                </a:lnTo>
                <a:lnTo>
                  <a:pt x="1944" y="1188"/>
                </a:lnTo>
                <a:lnTo>
                  <a:pt x="1950" y="1188"/>
                </a:lnTo>
                <a:lnTo>
                  <a:pt x="1944" y="1200"/>
                </a:lnTo>
                <a:lnTo>
                  <a:pt x="1944" y="1206"/>
                </a:lnTo>
                <a:lnTo>
                  <a:pt x="1944" y="1212"/>
                </a:lnTo>
                <a:lnTo>
                  <a:pt x="1944" y="1218"/>
                </a:lnTo>
                <a:lnTo>
                  <a:pt x="1944" y="1230"/>
                </a:lnTo>
                <a:lnTo>
                  <a:pt x="1944" y="1236"/>
                </a:lnTo>
                <a:lnTo>
                  <a:pt x="1944" y="1242"/>
                </a:lnTo>
                <a:lnTo>
                  <a:pt x="1938" y="1248"/>
                </a:lnTo>
                <a:lnTo>
                  <a:pt x="1938" y="1254"/>
                </a:lnTo>
                <a:lnTo>
                  <a:pt x="1932" y="1254"/>
                </a:lnTo>
                <a:lnTo>
                  <a:pt x="1926" y="1260"/>
                </a:lnTo>
                <a:lnTo>
                  <a:pt x="1920" y="1266"/>
                </a:lnTo>
                <a:lnTo>
                  <a:pt x="1914" y="1272"/>
                </a:lnTo>
                <a:lnTo>
                  <a:pt x="1908" y="1272"/>
                </a:lnTo>
                <a:lnTo>
                  <a:pt x="1908" y="1278"/>
                </a:lnTo>
                <a:lnTo>
                  <a:pt x="1914" y="1278"/>
                </a:lnTo>
                <a:lnTo>
                  <a:pt x="1914" y="1290"/>
                </a:lnTo>
                <a:lnTo>
                  <a:pt x="1920" y="1296"/>
                </a:lnTo>
                <a:lnTo>
                  <a:pt x="1938" y="1302"/>
                </a:lnTo>
                <a:lnTo>
                  <a:pt x="1944" y="1308"/>
                </a:lnTo>
                <a:lnTo>
                  <a:pt x="1950" y="1314"/>
                </a:lnTo>
                <a:lnTo>
                  <a:pt x="1956" y="1314"/>
                </a:lnTo>
                <a:lnTo>
                  <a:pt x="1962" y="1320"/>
                </a:lnTo>
                <a:lnTo>
                  <a:pt x="1962" y="1326"/>
                </a:lnTo>
                <a:lnTo>
                  <a:pt x="1968" y="1326"/>
                </a:lnTo>
                <a:lnTo>
                  <a:pt x="1968" y="1332"/>
                </a:lnTo>
                <a:lnTo>
                  <a:pt x="1968" y="1344"/>
                </a:lnTo>
                <a:lnTo>
                  <a:pt x="1968" y="1350"/>
                </a:lnTo>
                <a:lnTo>
                  <a:pt x="1968" y="1368"/>
                </a:lnTo>
                <a:lnTo>
                  <a:pt x="1962" y="1380"/>
                </a:lnTo>
                <a:lnTo>
                  <a:pt x="1968" y="1392"/>
                </a:lnTo>
                <a:lnTo>
                  <a:pt x="1962" y="1398"/>
                </a:lnTo>
                <a:lnTo>
                  <a:pt x="1956" y="1404"/>
                </a:lnTo>
                <a:lnTo>
                  <a:pt x="1950" y="1410"/>
                </a:lnTo>
                <a:lnTo>
                  <a:pt x="1944" y="1410"/>
                </a:lnTo>
                <a:lnTo>
                  <a:pt x="1932" y="1416"/>
                </a:lnTo>
                <a:lnTo>
                  <a:pt x="1926" y="1416"/>
                </a:lnTo>
                <a:lnTo>
                  <a:pt x="1896" y="1428"/>
                </a:lnTo>
                <a:lnTo>
                  <a:pt x="1884" y="1434"/>
                </a:lnTo>
                <a:lnTo>
                  <a:pt x="1878" y="1434"/>
                </a:lnTo>
                <a:lnTo>
                  <a:pt x="1866" y="1434"/>
                </a:lnTo>
                <a:lnTo>
                  <a:pt x="1854" y="1440"/>
                </a:lnTo>
                <a:lnTo>
                  <a:pt x="1848" y="1440"/>
                </a:lnTo>
                <a:lnTo>
                  <a:pt x="1842" y="1446"/>
                </a:lnTo>
                <a:lnTo>
                  <a:pt x="1842" y="1458"/>
                </a:lnTo>
                <a:lnTo>
                  <a:pt x="1836" y="1470"/>
                </a:lnTo>
                <a:lnTo>
                  <a:pt x="1830" y="1476"/>
                </a:lnTo>
                <a:lnTo>
                  <a:pt x="1824" y="1476"/>
                </a:lnTo>
                <a:lnTo>
                  <a:pt x="1806" y="1482"/>
                </a:lnTo>
                <a:lnTo>
                  <a:pt x="1800" y="1488"/>
                </a:lnTo>
                <a:lnTo>
                  <a:pt x="1794" y="1488"/>
                </a:lnTo>
                <a:lnTo>
                  <a:pt x="1788" y="1488"/>
                </a:lnTo>
                <a:lnTo>
                  <a:pt x="1776" y="1494"/>
                </a:lnTo>
                <a:lnTo>
                  <a:pt x="1764" y="1494"/>
                </a:lnTo>
                <a:lnTo>
                  <a:pt x="1758" y="1500"/>
                </a:lnTo>
                <a:lnTo>
                  <a:pt x="1746" y="1506"/>
                </a:lnTo>
                <a:lnTo>
                  <a:pt x="1728" y="1518"/>
                </a:lnTo>
                <a:lnTo>
                  <a:pt x="1716" y="1524"/>
                </a:lnTo>
                <a:lnTo>
                  <a:pt x="1710" y="1530"/>
                </a:lnTo>
                <a:lnTo>
                  <a:pt x="1704" y="1536"/>
                </a:lnTo>
                <a:lnTo>
                  <a:pt x="1698" y="1542"/>
                </a:lnTo>
                <a:lnTo>
                  <a:pt x="1692" y="1554"/>
                </a:lnTo>
                <a:lnTo>
                  <a:pt x="1686" y="1560"/>
                </a:lnTo>
                <a:lnTo>
                  <a:pt x="1680" y="1560"/>
                </a:lnTo>
                <a:lnTo>
                  <a:pt x="1674" y="1560"/>
                </a:lnTo>
                <a:lnTo>
                  <a:pt x="1656" y="1572"/>
                </a:lnTo>
                <a:lnTo>
                  <a:pt x="1650" y="1572"/>
                </a:lnTo>
                <a:lnTo>
                  <a:pt x="1644" y="1572"/>
                </a:lnTo>
                <a:lnTo>
                  <a:pt x="1638" y="1578"/>
                </a:lnTo>
                <a:lnTo>
                  <a:pt x="1632" y="1578"/>
                </a:lnTo>
                <a:lnTo>
                  <a:pt x="1626" y="1578"/>
                </a:lnTo>
                <a:lnTo>
                  <a:pt x="1620" y="1572"/>
                </a:lnTo>
                <a:lnTo>
                  <a:pt x="1614" y="1572"/>
                </a:lnTo>
                <a:lnTo>
                  <a:pt x="1608" y="1566"/>
                </a:lnTo>
                <a:lnTo>
                  <a:pt x="1602" y="1560"/>
                </a:lnTo>
                <a:lnTo>
                  <a:pt x="1596" y="1554"/>
                </a:lnTo>
                <a:lnTo>
                  <a:pt x="1590" y="1548"/>
                </a:lnTo>
                <a:lnTo>
                  <a:pt x="1578" y="1548"/>
                </a:lnTo>
                <a:lnTo>
                  <a:pt x="1572" y="1548"/>
                </a:lnTo>
                <a:lnTo>
                  <a:pt x="1566" y="1548"/>
                </a:lnTo>
                <a:lnTo>
                  <a:pt x="1554" y="1536"/>
                </a:lnTo>
                <a:lnTo>
                  <a:pt x="1548" y="1536"/>
                </a:lnTo>
                <a:lnTo>
                  <a:pt x="1542" y="1542"/>
                </a:lnTo>
                <a:lnTo>
                  <a:pt x="1536" y="1548"/>
                </a:lnTo>
                <a:lnTo>
                  <a:pt x="1536" y="1566"/>
                </a:lnTo>
                <a:lnTo>
                  <a:pt x="1530" y="1572"/>
                </a:lnTo>
                <a:lnTo>
                  <a:pt x="1524" y="1578"/>
                </a:lnTo>
                <a:lnTo>
                  <a:pt x="1518" y="1584"/>
                </a:lnTo>
                <a:lnTo>
                  <a:pt x="1512" y="1596"/>
                </a:lnTo>
                <a:lnTo>
                  <a:pt x="1506" y="1602"/>
                </a:lnTo>
                <a:lnTo>
                  <a:pt x="1506" y="1608"/>
                </a:lnTo>
                <a:lnTo>
                  <a:pt x="1506" y="1614"/>
                </a:lnTo>
                <a:lnTo>
                  <a:pt x="1500" y="1614"/>
                </a:lnTo>
                <a:lnTo>
                  <a:pt x="1500" y="1620"/>
                </a:lnTo>
                <a:lnTo>
                  <a:pt x="1500" y="1626"/>
                </a:lnTo>
                <a:lnTo>
                  <a:pt x="1494" y="1632"/>
                </a:lnTo>
                <a:lnTo>
                  <a:pt x="1488" y="1638"/>
                </a:lnTo>
                <a:lnTo>
                  <a:pt x="1482" y="1638"/>
                </a:lnTo>
                <a:lnTo>
                  <a:pt x="1482" y="1644"/>
                </a:lnTo>
                <a:lnTo>
                  <a:pt x="1482" y="1650"/>
                </a:lnTo>
                <a:lnTo>
                  <a:pt x="1482" y="1656"/>
                </a:lnTo>
                <a:lnTo>
                  <a:pt x="1476" y="1662"/>
                </a:lnTo>
                <a:lnTo>
                  <a:pt x="1470" y="1668"/>
                </a:lnTo>
                <a:lnTo>
                  <a:pt x="1464" y="1674"/>
                </a:lnTo>
                <a:lnTo>
                  <a:pt x="1464" y="1680"/>
                </a:lnTo>
                <a:lnTo>
                  <a:pt x="1458" y="1680"/>
                </a:lnTo>
                <a:lnTo>
                  <a:pt x="1452" y="1686"/>
                </a:lnTo>
                <a:lnTo>
                  <a:pt x="1446" y="1686"/>
                </a:lnTo>
                <a:lnTo>
                  <a:pt x="1440" y="1698"/>
                </a:lnTo>
                <a:lnTo>
                  <a:pt x="1440" y="1704"/>
                </a:lnTo>
                <a:lnTo>
                  <a:pt x="1434" y="1710"/>
                </a:lnTo>
                <a:lnTo>
                  <a:pt x="1434" y="1716"/>
                </a:lnTo>
                <a:lnTo>
                  <a:pt x="1428" y="1716"/>
                </a:lnTo>
                <a:lnTo>
                  <a:pt x="1428" y="1722"/>
                </a:lnTo>
                <a:lnTo>
                  <a:pt x="1428" y="1728"/>
                </a:lnTo>
                <a:lnTo>
                  <a:pt x="1422" y="1728"/>
                </a:lnTo>
                <a:lnTo>
                  <a:pt x="1422" y="1734"/>
                </a:lnTo>
                <a:lnTo>
                  <a:pt x="1416" y="1734"/>
                </a:lnTo>
                <a:lnTo>
                  <a:pt x="1410" y="1734"/>
                </a:lnTo>
                <a:lnTo>
                  <a:pt x="1392" y="1746"/>
                </a:lnTo>
                <a:lnTo>
                  <a:pt x="1386" y="1746"/>
                </a:lnTo>
                <a:lnTo>
                  <a:pt x="1368" y="1752"/>
                </a:lnTo>
                <a:lnTo>
                  <a:pt x="1362" y="1758"/>
                </a:lnTo>
                <a:lnTo>
                  <a:pt x="1362" y="1770"/>
                </a:lnTo>
                <a:lnTo>
                  <a:pt x="1356" y="1782"/>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7455" name="Rectangle 42"/>
          <p:cNvSpPr>
            <a:spLocks noChangeArrowheads="1"/>
          </p:cNvSpPr>
          <p:nvPr/>
        </p:nvSpPr>
        <p:spPr bwMode="gray">
          <a:xfrm>
            <a:off x="1638300" y="5240338"/>
            <a:ext cx="311150" cy="249237"/>
          </a:xfrm>
          <a:prstGeom prst="rect">
            <a:avLst/>
          </a:prstGeom>
          <a:noFill/>
          <a:ln w="9525">
            <a:noFill/>
            <a:miter lim="800000"/>
            <a:headEnd/>
            <a:tailEnd/>
          </a:ln>
        </p:spPr>
        <p:txBody>
          <a:bodyPr lIns="0" tIns="0" rIns="0" bIns="0">
            <a:spAutoFit/>
          </a:bodyPr>
          <a:lstStyle/>
          <a:p>
            <a:r>
              <a:rPr lang="en-US" sz="800" b="1"/>
              <a:t>Lagos</a:t>
            </a:r>
          </a:p>
          <a:p>
            <a:r>
              <a:rPr lang="en-US" sz="800" b="1"/>
              <a:t>    (50)</a:t>
            </a:r>
          </a:p>
        </p:txBody>
      </p:sp>
      <p:sp>
        <p:nvSpPr>
          <p:cNvPr id="17456" name="Rectangle 43"/>
          <p:cNvSpPr>
            <a:spLocks noChangeArrowheads="1"/>
          </p:cNvSpPr>
          <p:nvPr/>
        </p:nvSpPr>
        <p:spPr bwMode="gray">
          <a:xfrm>
            <a:off x="2881313" y="6080125"/>
            <a:ext cx="404812"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Bayelsa</a:t>
            </a:r>
          </a:p>
          <a:p>
            <a:r>
              <a:rPr lang="en-US" sz="800" b="1">
                <a:solidFill>
                  <a:schemeClr val="bg1"/>
                </a:solidFill>
              </a:rPr>
              <a:t>   (95)</a:t>
            </a:r>
          </a:p>
        </p:txBody>
      </p:sp>
      <p:sp>
        <p:nvSpPr>
          <p:cNvPr id="17457" name="Rectangle 44"/>
          <p:cNvSpPr>
            <a:spLocks noChangeArrowheads="1"/>
          </p:cNvSpPr>
          <p:nvPr/>
        </p:nvSpPr>
        <p:spPr bwMode="gray">
          <a:xfrm>
            <a:off x="3355975" y="5959475"/>
            <a:ext cx="319088" cy="249238"/>
          </a:xfrm>
          <a:prstGeom prst="rect">
            <a:avLst/>
          </a:prstGeom>
          <a:noFill/>
          <a:ln w="9525">
            <a:noFill/>
            <a:miter lim="800000"/>
            <a:headEnd/>
            <a:tailEnd/>
          </a:ln>
        </p:spPr>
        <p:txBody>
          <a:bodyPr lIns="0" tIns="0" rIns="0" bIns="0" anchor="ctr" anchorCtr="1">
            <a:spAutoFit/>
          </a:bodyPr>
          <a:lstStyle/>
          <a:p>
            <a:r>
              <a:rPr lang="en-US" sz="800" b="1"/>
              <a:t>Rivers</a:t>
            </a:r>
          </a:p>
          <a:p>
            <a:r>
              <a:rPr lang="en-US" sz="800" b="1"/>
              <a:t>  (58)</a:t>
            </a:r>
          </a:p>
        </p:txBody>
      </p:sp>
      <p:sp>
        <p:nvSpPr>
          <p:cNvPr id="17458" name="Rectangle 45"/>
          <p:cNvSpPr>
            <a:spLocks noChangeArrowheads="1"/>
          </p:cNvSpPr>
          <p:nvPr/>
        </p:nvSpPr>
        <p:spPr bwMode="gray">
          <a:xfrm>
            <a:off x="3559175" y="5673725"/>
            <a:ext cx="190500"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Imo</a:t>
            </a:r>
          </a:p>
          <a:p>
            <a:r>
              <a:rPr lang="en-US" sz="800" b="1">
                <a:solidFill>
                  <a:schemeClr val="bg1"/>
                </a:solidFill>
              </a:rPr>
              <a:t>(96)</a:t>
            </a:r>
          </a:p>
        </p:txBody>
      </p:sp>
      <p:sp>
        <p:nvSpPr>
          <p:cNvPr id="17459" name="Rectangle 46"/>
          <p:cNvSpPr>
            <a:spLocks noChangeArrowheads="1"/>
          </p:cNvSpPr>
          <p:nvPr/>
        </p:nvSpPr>
        <p:spPr bwMode="gray">
          <a:xfrm>
            <a:off x="3778250" y="5656263"/>
            <a:ext cx="255588"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Abia</a:t>
            </a:r>
          </a:p>
          <a:p>
            <a:r>
              <a:rPr lang="en-US" sz="800" b="1">
                <a:solidFill>
                  <a:schemeClr val="bg1"/>
                </a:solidFill>
              </a:rPr>
              <a:t>(83)</a:t>
            </a:r>
          </a:p>
        </p:txBody>
      </p:sp>
      <p:sp>
        <p:nvSpPr>
          <p:cNvPr id="17460" name="Rectangle 47"/>
          <p:cNvSpPr>
            <a:spLocks noChangeArrowheads="1"/>
          </p:cNvSpPr>
          <p:nvPr/>
        </p:nvSpPr>
        <p:spPr bwMode="gray">
          <a:xfrm>
            <a:off x="3870325" y="5976938"/>
            <a:ext cx="271463" cy="373062"/>
          </a:xfrm>
          <a:prstGeom prst="rect">
            <a:avLst/>
          </a:prstGeom>
          <a:noFill/>
          <a:ln w="9525">
            <a:noFill/>
            <a:miter lim="800000"/>
            <a:headEnd/>
            <a:tailEnd/>
          </a:ln>
        </p:spPr>
        <p:txBody>
          <a:bodyPr wrap="none" lIns="0" tIns="0" rIns="0" bIns="0" anchor="ctr" anchorCtr="1">
            <a:spAutoFit/>
          </a:bodyPr>
          <a:lstStyle/>
          <a:p>
            <a:r>
              <a:rPr lang="en-US" sz="800" b="1">
                <a:solidFill>
                  <a:srgbClr val="323232"/>
                </a:solidFill>
              </a:rPr>
              <a:t>Akwa</a:t>
            </a:r>
            <a:br>
              <a:rPr lang="en-US" sz="800" b="1">
                <a:solidFill>
                  <a:srgbClr val="323232"/>
                </a:solidFill>
              </a:rPr>
            </a:br>
            <a:r>
              <a:rPr lang="en-US" sz="800" b="1">
                <a:solidFill>
                  <a:srgbClr val="323232"/>
                </a:solidFill>
              </a:rPr>
              <a:t>Ibom</a:t>
            </a:r>
          </a:p>
          <a:p>
            <a:r>
              <a:rPr lang="en-US" sz="800" b="1">
                <a:solidFill>
                  <a:srgbClr val="323232"/>
                </a:solidFill>
              </a:rPr>
              <a:t>  (73)</a:t>
            </a:r>
            <a:endParaRPr lang="en-US" sz="800" b="1"/>
          </a:p>
        </p:txBody>
      </p:sp>
      <p:sp>
        <p:nvSpPr>
          <p:cNvPr id="17461" name="Rectangle 48"/>
          <p:cNvSpPr>
            <a:spLocks noChangeArrowheads="1"/>
          </p:cNvSpPr>
          <p:nvPr/>
        </p:nvSpPr>
        <p:spPr bwMode="gray">
          <a:xfrm>
            <a:off x="6019800" y="3576638"/>
            <a:ext cx="506413"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Adamawa</a:t>
            </a:r>
          </a:p>
          <a:p>
            <a:r>
              <a:rPr lang="en-US" sz="800" b="1">
                <a:solidFill>
                  <a:schemeClr val="bg1"/>
                </a:solidFill>
              </a:rPr>
              <a:t>    (84)</a:t>
            </a:r>
          </a:p>
        </p:txBody>
      </p:sp>
      <p:sp>
        <p:nvSpPr>
          <p:cNvPr id="17462" name="Rectangle 49"/>
          <p:cNvSpPr>
            <a:spLocks noChangeArrowheads="1"/>
          </p:cNvSpPr>
          <p:nvPr/>
        </p:nvSpPr>
        <p:spPr bwMode="gray">
          <a:xfrm>
            <a:off x="4932363" y="3017838"/>
            <a:ext cx="347662"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Bauchi</a:t>
            </a:r>
          </a:p>
          <a:p>
            <a:r>
              <a:rPr lang="en-US" sz="800" b="1">
                <a:solidFill>
                  <a:schemeClr val="bg1"/>
                </a:solidFill>
              </a:rPr>
              <a:t>  (161)</a:t>
            </a:r>
          </a:p>
        </p:txBody>
      </p:sp>
      <p:sp>
        <p:nvSpPr>
          <p:cNvPr id="17463" name="Rectangle 50"/>
          <p:cNvSpPr>
            <a:spLocks noChangeArrowheads="1"/>
          </p:cNvSpPr>
          <p:nvPr/>
        </p:nvSpPr>
        <p:spPr bwMode="gray">
          <a:xfrm>
            <a:off x="5588000" y="3416300"/>
            <a:ext cx="371475"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Gombe</a:t>
            </a:r>
          </a:p>
          <a:p>
            <a:r>
              <a:rPr lang="en-US" sz="800" b="1">
                <a:solidFill>
                  <a:schemeClr val="bg1"/>
                </a:solidFill>
              </a:rPr>
              <a:t>  (162)</a:t>
            </a:r>
          </a:p>
        </p:txBody>
      </p:sp>
      <p:sp>
        <p:nvSpPr>
          <p:cNvPr id="17464" name="Rectangle 51"/>
          <p:cNvSpPr>
            <a:spLocks noChangeArrowheads="1"/>
          </p:cNvSpPr>
          <p:nvPr/>
        </p:nvSpPr>
        <p:spPr bwMode="gray">
          <a:xfrm>
            <a:off x="3778250" y="3160713"/>
            <a:ext cx="3937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aduna</a:t>
            </a:r>
          </a:p>
          <a:p>
            <a:r>
              <a:rPr lang="en-US" sz="800" b="1">
                <a:solidFill>
                  <a:schemeClr val="bg1"/>
                </a:solidFill>
              </a:rPr>
              <a:t>   (82)</a:t>
            </a:r>
          </a:p>
        </p:txBody>
      </p:sp>
      <p:sp>
        <p:nvSpPr>
          <p:cNvPr id="17465" name="Rectangle 52"/>
          <p:cNvSpPr>
            <a:spLocks noChangeArrowheads="1"/>
          </p:cNvSpPr>
          <p:nvPr/>
        </p:nvSpPr>
        <p:spPr bwMode="gray">
          <a:xfrm>
            <a:off x="3625850" y="3989388"/>
            <a:ext cx="203200" cy="246062"/>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FCT</a:t>
            </a:r>
          </a:p>
          <a:p>
            <a:r>
              <a:rPr lang="en-US" sz="800" b="1">
                <a:solidFill>
                  <a:schemeClr val="bg1"/>
                </a:solidFill>
              </a:rPr>
              <a:t>(71)</a:t>
            </a:r>
          </a:p>
        </p:txBody>
      </p:sp>
      <p:sp>
        <p:nvSpPr>
          <p:cNvPr id="17466" name="Rectangle 53"/>
          <p:cNvSpPr>
            <a:spLocks noChangeArrowheads="1"/>
          </p:cNvSpPr>
          <p:nvPr/>
        </p:nvSpPr>
        <p:spPr bwMode="gray">
          <a:xfrm>
            <a:off x="3935413" y="4176713"/>
            <a:ext cx="566737"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Nassarawa</a:t>
            </a:r>
          </a:p>
          <a:p>
            <a:r>
              <a:rPr lang="en-US" sz="800" b="1">
                <a:solidFill>
                  <a:schemeClr val="bg1"/>
                </a:solidFill>
              </a:rPr>
              <a:t>      (121)</a:t>
            </a:r>
          </a:p>
        </p:txBody>
      </p:sp>
      <p:sp>
        <p:nvSpPr>
          <p:cNvPr id="17467" name="Rectangle 54"/>
          <p:cNvSpPr>
            <a:spLocks noChangeArrowheads="1"/>
          </p:cNvSpPr>
          <p:nvPr/>
        </p:nvSpPr>
        <p:spPr bwMode="gray">
          <a:xfrm>
            <a:off x="4679950" y="3805238"/>
            <a:ext cx="385763"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Plateau</a:t>
            </a:r>
          </a:p>
          <a:p>
            <a:r>
              <a:rPr lang="en-US" sz="800" b="1">
                <a:solidFill>
                  <a:schemeClr val="bg1"/>
                </a:solidFill>
              </a:rPr>
              <a:t>   (80)</a:t>
            </a:r>
          </a:p>
        </p:txBody>
      </p:sp>
      <p:sp>
        <p:nvSpPr>
          <p:cNvPr id="17468" name="Rectangle 55"/>
          <p:cNvSpPr>
            <a:spLocks noChangeArrowheads="1"/>
          </p:cNvSpPr>
          <p:nvPr/>
        </p:nvSpPr>
        <p:spPr bwMode="gray">
          <a:xfrm>
            <a:off x="5327650" y="4438650"/>
            <a:ext cx="360363"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Taraba</a:t>
            </a:r>
          </a:p>
          <a:p>
            <a:r>
              <a:rPr lang="en-US" sz="800" b="1">
                <a:solidFill>
                  <a:schemeClr val="bg1"/>
                </a:solidFill>
              </a:rPr>
              <a:t>   (105)</a:t>
            </a:r>
          </a:p>
        </p:txBody>
      </p:sp>
      <p:sp>
        <p:nvSpPr>
          <p:cNvPr id="17469" name="Rectangle 56"/>
          <p:cNvSpPr>
            <a:spLocks noChangeArrowheads="1"/>
          </p:cNvSpPr>
          <p:nvPr/>
        </p:nvSpPr>
        <p:spPr bwMode="gray">
          <a:xfrm>
            <a:off x="4316413" y="4784725"/>
            <a:ext cx="331787"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Benue</a:t>
            </a:r>
          </a:p>
          <a:p>
            <a:r>
              <a:rPr lang="en-US" sz="800" b="1">
                <a:solidFill>
                  <a:schemeClr val="bg1"/>
                </a:solidFill>
              </a:rPr>
              <a:t>  (82)</a:t>
            </a:r>
          </a:p>
        </p:txBody>
      </p:sp>
      <p:sp>
        <p:nvSpPr>
          <p:cNvPr id="17470" name="Rectangle 57"/>
          <p:cNvSpPr>
            <a:spLocks noChangeArrowheads="1"/>
          </p:cNvSpPr>
          <p:nvPr/>
        </p:nvSpPr>
        <p:spPr bwMode="gray">
          <a:xfrm>
            <a:off x="4168775" y="5629275"/>
            <a:ext cx="295275" cy="373063"/>
          </a:xfrm>
          <a:prstGeom prst="rect">
            <a:avLst/>
          </a:prstGeom>
          <a:noFill/>
          <a:ln w="9525">
            <a:noFill/>
            <a:miter lim="800000"/>
            <a:headEnd/>
            <a:tailEnd/>
          </a:ln>
        </p:spPr>
        <p:txBody>
          <a:bodyPr lIns="0" tIns="0" rIns="0" bIns="0" anchor="ctr" anchorCtr="1">
            <a:spAutoFit/>
          </a:bodyPr>
          <a:lstStyle/>
          <a:p>
            <a:r>
              <a:rPr lang="en-US" sz="800" b="1"/>
              <a:t>Cross</a:t>
            </a:r>
          </a:p>
          <a:p>
            <a:r>
              <a:rPr lang="en-US" sz="800" b="1"/>
              <a:t>River</a:t>
            </a:r>
          </a:p>
          <a:p>
            <a:r>
              <a:rPr lang="en-US" sz="800" b="1"/>
              <a:t>   (52)</a:t>
            </a:r>
          </a:p>
        </p:txBody>
      </p:sp>
      <p:sp>
        <p:nvSpPr>
          <p:cNvPr id="17471" name="Rectangle 58"/>
          <p:cNvSpPr>
            <a:spLocks noChangeArrowheads="1"/>
          </p:cNvSpPr>
          <p:nvPr/>
        </p:nvSpPr>
        <p:spPr bwMode="gray">
          <a:xfrm>
            <a:off x="3665538" y="5048250"/>
            <a:ext cx="330200" cy="249238"/>
          </a:xfrm>
          <a:prstGeom prst="rect">
            <a:avLst/>
          </a:prstGeom>
          <a:noFill/>
          <a:ln w="9525">
            <a:noFill/>
            <a:miter lim="800000"/>
            <a:headEnd/>
            <a:tailEnd/>
          </a:ln>
        </p:spPr>
        <p:txBody>
          <a:bodyPr lIns="0" tIns="0" rIns="0" bIns="0" anchor="ctr" anchorCtr="1">
            <a:spAutoFit/>
          </a:bodyPr>
          <a:lstStyle/>
          <a:p>
            <a:r>
              <a:rPr lang="en-US" sz="800" b="1"/>
              <a:t>Enugu</a:t>
            </a:r>
          </a:p>
          <a:p>
            <a:r>
              <a:rPr lang="en-US" sz="800" b="1"/>
              <a:t>   (68)</a:t>
            </a:r>
          </a:p>
        </p:txBody>
      </p:sp>
      <p:sp>
        <p:nvSpPr>
          <p:cNvPr id="17472" name="Rectangle 59"/>
          <p:cNvSpPr>
            <a:spLocks noChangeArrowheads="1"/>
          </p:cNvSpPr>
          <p:nvPr/>
        </p:nvSpPr>
        <p:spPr bwMode="gray">
          <a:xfrm>
            <a:off x="3948113" y="5327650"/>
            <a:ext cx="347662" cy="249238"/>
          </a:xfrm>
          <a:prstGeom prst="rect">
            <a:avLst/>
          </a:prstGeom>
          <a:noFill/>
          <a:ln w="9525">
            <a:noFill/>
            <a:miter lim="800000"/>
            <a:headEnd/>
            <a:tailEnd/>
          </a:ln>
        </p:spPr>
        <p:txBody>
          <a:bodyPr lIns="0" tIns="0" rIns="0" bIns="0" anchor="ctr" anchorCtr="1">
            <a:spAutoFit/>
          </a:bodyPr>
          <a:lstStyle/>
          <a:p>
            <a:r>
              <a:rPr lang="en-US" sz="800" b="1"/>
              <a:t>Ebonyi</a:t>
            </a:r>
          </a:p>
          <a:p>
            <a:r>
              <a:rPr lang="en-US" sz="800" b="1"/>
              <a:t>    (62)</a:t>
            </a:r>
          </a:p>
        </p:txBody>
      </p:sp>
      <p:sp>
        <p:nvSpPr>
          <p:cNvPr id="17473" name="Rectangle 60"/>
          <p:cNvSpPr>
            <a:spLocks noChangeArrowheads="1"/>
          </p:cNvSpPr>
          <p:nvPr/>
        </p:nvSpPr>
        <p:spPr bwMode="gray">
          <a:xfrm>
            <a:off x="3328988" y="5289550"/>
            <a:ext cx="461962" cy="249238"/>
          </a:xfrm>
          <a:prstGeom prst="rect">
            <a:avLst/>
          </a:prstGeom>
          <a:noFill/>
          <a:ln w="9525">
            <a:noFill/>
            <a:miter lim="800000"/>
            <a:headEnd/>
            <a:tailEnd/>
          </a:ln>
        </p:spPr>
        <p:txBody>
          <a:bodyPr lIns="0" tIns="0" rIns="0" bIns="0" anchor="ctr" anchorCtr="1">
            <a:spAutoFit/>
          </a:bodyPr>
          <a:lstStyle/>
          <a:p>
            <a:r>
              <a:rPr lang="en-US" sz="800" b="1"/>
              <a:t>Anambra</a:t>
            </a:r>
          </a:p>
          <a:p>
            <a:r>
              <a:rPr lang="en-US" sz="800" b="1"/>
              <a:t>      (53)</a:t>
            </a:r>
          </a:p>
        </p:txBody>
      </p:sp>
      <p:sp>
        <p:nvSpPr>
          <p:cNvPr id="17474" name="Rectangle 61"/>
          <p:cNvSpPr>
            <a:spLocks noChangeArrowheads="1"/>
          </p:cNvSpPr>
          <p:nvPr/>
        </p:nvSpPr>
        <p:spPr bwMode="gray">
          <a:xfrm>
            <a:off x="3011488" y="5688013"/>
            <a:ext cx="265112" cy="249237"/>
          </a:xfrm>
          <a:prstGeom prst="rect">
            <a:avLst/>
          </a:prstGeom>
          <a:noFill/>
          <a:ln w="9525">
            <a:noFill/>
            <a:miter lim="800000"/>
            <a:headEnd/>
            <a:tailEnd/>
          </a:ln>
        </p:spPr>
        <p:txBody>
          <a:bodyPr lIns="0" tIns="0" rIns="0" bIns="0" anchor="ctr" anchorCtr="1">
            <a:spAutoFit/>
          </a:bodyPr>
          <a:lstStyle/>
          <a:p>
            <a:r>
              <a:rPr lang="en-US" sz="800" b="1"/>
              <a:t>Delta</a:t>
            </a:r>
          </a:p>
          <a:p>
            <a:r>
              <a:rPr lang="en-US" sz="800" b="1"/>
              <a:t>  (63)</a:t>
            </a:r>
          </a:p>
        </p:txBody>
      </p:sp>
      <p:sp>
        <p:nvSpPr>
          <p:cNvPr id="17475" name="Rectangle 62"/>
          <p:cNvSpPr>
            <a:spLocks noChangeArrowheads="1"/>
          </p:cNvSpPr>
          <p:nvPr/>
        </p:nvSpPr>
        <p:spPr bwMode="gray">
          <a:xfrm>
            <a:off x="2967038" y="5143500"/>
            <a:ext cx="203200" cy="249238"/>
          </a:xfrm>
          <a:prstGeom prst="rect">
            <a:avLst/>
          </a:prstGeom>
          <a:noFill/>
          <a:ln w="9525">
            <a:noFill/>
            <a:miter lim="800000"/>
            <a:headEnd/>
            <a:tailEnd/>
          </a:ln>
        </p:spPr>
        <p:txBody>
          <a:bodyPr lIns="0" tIns="0" rIns="0" bIns="0" anchor="ctr" anchorCtr="1">
            <a:spAutoFit/>
          </a:bodyPr>
          <a:lstStyle/>
          <a:p>
            <a:r>
              <a:rPr lang="en-US" sz="800" b="1"/>
              <a:t>Edo</a:t>
            </a:r>
          </a:p>
          <a:p>
            <a:r>
              <a:rPr lang="en-US" sz="800" b="1"/>
              <a:t>(59)</a:t>
            </a:r>
          </a:p>
        </p:txBody>
      </p:sp>
      <p:sp>
        <p:nvSpPr>
          <p:cNvPr id="17476" name="Rectangle 63"/>
          <p:cNvSpPr>
            <a:spLocks noChangeArrowheads="1"/>
          </p:cNvSpPr>
          <p:nvPr/>
        </p:nvSpPr>
        <p:spPr bwMode="gray">
          <a:xfrm>
            <a:off x="3340100" y="4579938"/>
            <a:ext cx="228600" cy="249237"/>
          </a:xfrm>
          <a:prstGeom prst="rect">
            <a:avLst/>
          </a:prstGeom>
          <a:noFill/>
          <a:ln w="9525">
            <a:noFill/>
            <a:miter lim="800000"/>
            <a:headEnd/>
            <a:tailEnd/>
          </a:ln>
        </p:spPr>
        <p:txBody>
          <a:bodyPr lIns="0" tIns="0" rIns="0" bIns="0" anchor="ctr" anchorCtr="1">
            <a:spAutoFit/>
          </a:bodyPr>
          <a:lstStyle/>
          <a:p>
            <a:r>
              <a:rPr lang="en-US" sz="800" b="1"/>
              <a:t>Kogi</a:t>
            </a:r>
          </a:p>
          <a:p>
            <a:r>
              <a:rPr lang="en-US" sz="800" b="1"/>
              <a:t> (75)</a:t>
            </a:r>
          </a:p>
        </p:txBody>
      </p:sp>
      <p:sp>
        <p:nvSpPr>
          <p:cNvPr id="17477" name="Rectangle 64"/>
          <p:cNvSpPr>
            <a:spLocks noChangeArrowheads="1"/>
          </p:cNvSpPr>
          <p:nvPr/>
        </p:nvSpPr>
        <p:spPr bwMode="gray">
          <a:xfrm>
            <a:off x="1809750" y="4356100"/>
            <a:ext cx="209550" cy="249238"/>
          </a:xfrm>
          <a:prstGeom prst="rect">
            <a:avLst/>
          </a:prstGeom>
          <a:noFill/>
          <a:ln w="9525">
            <a:noFill/>
            <a:miter lim="800000"/>
            <a:headEnd/>
            <a:tailEnd/>
          </a:ln>
        </p:spPr>
        <p:txBody>
          <a:bodyPr lIns="0" tIns="0" rIns="0" bIns="0" anchor="ctr" anchorCtr="1">
            <a:spAutoFit/>
          </a:bodyPr>
          <a:lstStyle/>
          <a:p>
            <a:r>
              <a:rPr lang="en-US" sz="800" b="1"/>
              <a:t>Oyo</a:t>
            </a:r>
          </a:p>
          <a:p>
            <a:r>
              <a:rPr lang="en-US" sz="800" b="1"/>
              <a:t>(73)</a:t>
            </a:r>
          </a:p>
        </p:txBody>
      </p:sp>
      <p:sp>
        <p:nvSpPr>
          <p:cNvPr id="17478" name="Rectangle 65"/>
          <p:cNvSpPr>
            <a:spLocks noChangeArrowheads="1"/>
          </p:cNvSpPr>
          <p:nvPr/>
        </p:nvSpPr>
        <p:spPr bwMode="gray">
          <a:xfrm>
            <a:off x="1708150" y="4953000"/>
            <a:ext cx="279400" cy="249238"/>
          </a:xfrm>
          <a:prstGeom prst="rect">
            <a:avLst/>
          </a:prstGeom>
          <a:noFill/>
          <a:ln w="9525">
            <a:noFill/>
            <a:miter lim="800000"/>
            <a:headEnd/>
            <a:tailEnd/>
          </a:ln>
        </p:spPr>
        <p:txBody>
          <a:bodyPr lIns="0" tIns="0" rIns="0" bIns="0" anchor="ctr" anchorCtr="1">
            <a:spAutoFit/>
          </a:bodyPr>
          <a:lstStyle/>
          <a:p>
            <a:r>
              <a:rPr lang="en-US" sz="800" b="1"/>
              <a:t>Ogun</a:t>
            </a:r>
          </a:p>
          <a:p>
            <a:r>
              <a:rPr lang="en-US" sz="800" b="1"/>
              <a:t>  (66)</a:t>
            </a:r>
          </a:p>
        </p:txBody>
      </p:sp>
      <p:sp>
        <p:nvSpPr>
          <p:cNvPr id="17479" name="Rectangle 66"/>
          <p:cNvSpPr>
            <a:spLocks noChangeArrowheads="1"/>
          </p:cNvSpPr>
          <p:nvPr/>
        </p:nvSpPr>
        <p:spPr bwMode="gray">
          <a:xfrm>
            <a:off x="2201863" y="4586288"/>
            <a:ext cx="27305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Osun</a:t>
            </a:r>
          </a:p>
          <a:p>
            <a:r>
              <a:rPr lang="en-US" sz="800" b="1">
                <a:solidFill>
                  <a:schemeClr val="bg1"/>
                </a:solidFill>
              </a:rPr>
              <a:t> (101)</a:t>
            </a:r>
          </a:p>
        </p:txBody>
      </p:sp>
      <p:sp>
        <p:nvSpPr>
          <p:cNvPr id="17480" name="Rectangle 67"/>
          <p:cNvSpPr>
            <a:spLocks noChangeArrowheads="1"/>
          </p:cNvSpPr>
          <p:nvPr/>
        </p:nvSpPr>
        <p:spPr bwMode="gray">
          <a:xfrm>
            <a:off x="2605088" y="4548188"/>
            <a:ext cx="249237"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Ekiti</a:t>
            </a:r>
          </a:p>
          <a:p>
            <a:r>
              <a:rPr lang="en-US" sz="800" b="1">
                <a:solidFill>
                  <a:schemeClr val="bg1"/>
                </a:solidFill>
              </a:rPr>
              <a:t>(86)</a:t>
            </a:r>
          </a:p>
        </p:txBody>
      </p:sp>
      <p:sp>
        <p:nvSpPr>
          <p:cNvPr id="17481" name="Rectangle 68"/>
          <p:cNvSpPr>
            <a:spLocks noChangeArrowheads="1"/>
          </p:cNvSpPr>
          <p:nvPr/>
        </p:nvSpPr>
        <p:spPr bwMode="gray">
          <a:xfrm>
            <a:off x="2543175" y="4859338"/>
            <a:ext cx="279400" cy="249237"/>
          </a:xfrm>
          <a:prstGeom prst="rect">
            <a:avLst/>
          </a:prstGeom>
          <a:noFill/>
          <a:ln w="9525">
            <a:noFill/>
            <a:miter lim="800000"/>
            <a:headEnd/>
            <a:tailEnd/>
          </a:ln>
        </p:spPr>
        <p:txBody>
          <a:bodyPr lIns="0" tIns="0" rIns="0" bIns="0" anchor="ctr" anchorCtr="1">
            <a:spAutoFit/>
          </a:bodyPr>
          <a:lstStyle/>
          <a:p>
            <a:r>
              <a:rPr lang="en-US" sz="800" b="1"/>
              <a:t>Ondo</a:t>
            </a:r>
          </a:p>
          <a:p>
            <a:r>
              <a:rPr lang="en-US" sz="800" b="1"/>
              <a:t>  (67)</a:t>
            </a:r>
          </a:p>
        </p:txBody>
      </p:sp>
      <p:sp>
        <p:nvSpPr>
          <p:cNvPr id="17482" name="Rectangle 69"/>
          <p:cNvSpPr>
            <a:spLocks noChangeArrowheads="1"/>
          </p:cNvSpPr>
          <p:nvPr/>
        </p:nvSpPr>
        <p:spPr bwMode="gray">
          <a:xfrm>
            <a:off x="2284413" y="4059238"/>
            <a:ext cx="320675" cy="249237"/>
          </a:xfrm>
          <a:prstGeom prst="rect">
            <a:avLst/>
          </a:prstGeom>
          <a:noFill/>
          <a:ln w="9525">
            <a:noFill/>
            <a:miter lim="800000"/>
            <a:headEnd/>
            <a:tailEnd/>
          </a:ln>
        </p:spPr>
        <p:txBody>
          <a:bodyPr lIns="0" tIns="0" rIns="0" bIns="0" anchor="ctr" anchorCtr="1">
            <a:spAutoFit/>
          </a:bodyPr>
          <a:lstStyle/>
          <a:p>
            <a:r>
              <a:rPr lang="en-US" sz="800" b="1"/>
              <a:t>Kwara </a:t>
            </a:r>
          </a:p>
          <a:p>
            <a:r>
              <a:rPr lang="en-US" sz="800" b="1"/>
              <a:t>  (45)</a:t>
            </a:r>
          </a:p>
        </p:txBody>
      </p:sp>
      <p:sp>
        <p:nvSpPr>
          <p:cNvPr id="17483" name="Rectangle 70"/>
          <p:cNvSpPr>
            <a:spLocks noChangeArrowheads="1"/>
          </p:cNvSpPr>
          <p:nvPr/>
        </p:nvSpPr>
        <p:spPr bwMode="gray">
          <a:xfrm>
            <a:off x="2771775" y="3443288"/>
            <a:ext cx="269875"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Niger</a:t>
            </a:r>
          </a:p>
          <a:p>
            <a:r>
              <a:rPr lang="en-US" sz="800" b="1">
                <a:solidFill>
                  <a:schemeClr val="bg1"/>
                </a:solidFill>
              </a:rPr>
              <a:t>(149)</a:t>
            </a:r>
          </a:p>
        </p:txBody>
      </p:sp>
      <p:sp>
        <p:nvSpPr>
          <p:cNvPr id="17484" name="Rectangle 71"/>
          <p:cNvSpPr>
            <a:spLocks noChangeArrowheads="1"/>
          </p:cNvSpPr>
          <p:nvPr/>
        </p:nvSpPr>
        <p:spPr bwMode="gray">
          <a:xfrm>
            <a:off x="2592388" y="1741488"/>
            <a:ext cx="3556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Sokoto</a:t>
            </a:r>
          </a:p>
          <a:p>
            <a:r>
              <a:rPr lang="en-US" sz="800" b="1">
                <a:solidFill>
                  <a:schemeClr val="bg1"/>
                </a:solidFill>
              </a:rPr>
              <a:t>   (119)</a:t>
            </a:r>
          </a:p>
        </p:txBody>
      </p:sp>
      <p:sp>
        <p:nvSpPr>
          <p:cNvPr id="17485" name="Rectangle 72"/>
          <p:cNvSpPr>
            <a:spLocks noChangeArrowheads="1"/>
          </p:cNvSpPr>
          <p:nvPr/>
        </p:nvSpPr>
        <p:spPr bwMode="gray">
          <a:xfrm>
            <a:off x="1995488" y="2417763"/>
            <a:ext cx="2921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ebbi</a:t>
            </a:r>
          </a:p>
          <a:p>
            <a:r>
              <a:rPr lang="en-US" sz="800" b="1">
                <a:solidFill>
                  <a:schemeClr val="bg1"/>
                </a:solidFill>
              </a:rPr>
              <a:t> (174)</a:t>
            </a:r>
          </a:p>
        </p:txBody>
      </p:sp>
      <p:sp>
        <p:nvSpPr>
          <p:cNvPr id="17486" name="Rectangle 73"/>
          <p:cNvSpPr>
            <a:spLocks noChangeArrowheads="1"/>
          </p:cNvSpPr>
          <p:nvPr/>
        </p:nvSpPr>
        <p:spPr bwMode="gray">
          <a:xfrm>
            <a:off x="3017838" y="2327275"/>
            <a:ext cx="422275"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Zamfara</a:t>
            </a:r>
          </a:p>
          <a:p>
            <a:r>
              <a:rPr lang="en-US" sz="800" b="1">
                <a:solidFill>
                  <a:schemeClr val="bg1"/>
                </a:solidFill>
              </a:rPr>
              <a:t>   (210)</a:t>
            </a:r>
          </a:p>
        </p:txBody>
      </p:sp>
      <p:sp>
        <p:nvSpPr>
          <p:cNvPr id="17487" name="Rectangle 74"/>
          <p:cNvSpPr>
            <a:spLocks noChangeArrowheads="1"/>
          </p:cNvSpPr>
          <p:nvPr/>
        </p:nvSpPr>
        <p:spPr bwMode="gray">
          <a:xfrm>
            <a:off x="3717925" y="1989138"/>
            <a:ext cx="379413"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atsina</a:t>
            </a:r>
          </a:p>
          <a:p>
            <a:r>
              <a:rPr lang="en-US" sz="800" b="1">
                <a:solidFill>
                  <a:schemeClr val="bg1"/>
                </a:solidFill>
              </a:rPr>
              <a:t>  (135)</a:t>
            </a:r>
          </a:p>
        </p:txBody>
      </p:sp>
      <p:sp>
        <p:nvSpPr>
          <p:cNvPr id="17488" name="Rectangle 75"/>
          <p:cNvSpPr>
            <a:spLocks noChangeArrowheads="1"/>
          </p:cNvSpPr>
          <p:nvPr/>
        </p:nvSpPr>
        <p:spPr bwMode="gray">
          <a:xfrm>
            <a:off x="4237038" y="2608263"/>
            <a:ext cx="2667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ano</a:t>
            </a:r>
          </a:p>
          <a:p>
            <a:r>
              <a:rPr lang="en-US" sz="800" b="1">
                <a:solidFill>
                  <a:schemeClr val="bg1"/>
                </a:solidFill>
              </a:rPr>
              <a:t>(203)</a:t>
            </a:r>
          </a:p>
        </p:txBody>
      </p:sp>
      <p:sp>
        <p:nvSpPr>
          <p:cNvPr id="17489" name="Rectangle 76"/>
          <p:cNvSpPr>
            <a:spLocks noChangeArrowheads="1"/>
          </p:cNvSpPr>
          <p:nvPr/>
        </p:nvSpPr>
        <p:spPr bwMode="gray">
          <a:xfrm>
            <a:off x="5672138" y="2227263"/>
            <a:ext cx="2667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Yobe</a:t>
            </a:r>
          </a:p>
          <a:p>
            <a:r>
              <a:rPr lang="en-US" sz="800" b="1">
                <a:solidFill>
                  <a:schemeClr val="bg1"/>
                </a:solidFill>
              </a:rPr>
              <a:t> (102)</a:t>
            </a:r>
          </a:p>
        </p:txBody>
      </p:sp>
      <p:sp>
        <p:nvSpPr>
          <p:cNvPr id="17490" name="Rectangle 77"/>
          <p:cNvSpPr>
            <a:spLocks noChangeArrowheads="1"/>
          </p:cNvSpPr>
          <p:nvPr/>
        </p:nvSpPr>
        <p:spPr bwMode="gray">
          <a:xfrm>
            <a:off x="4679950" y="2143125"/>
            <a:ext cx="352425"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Jigawa</a:t>
            </a:r>
          </a:p>
          <a:p>
            <a:r>
              <a:rPr lang="en-US" sz="800" b="1">
                <a:solidFill>
                  <a:schemeClr val="bg1"/>
                </a:solidFill>
              </a:rPr>
              <a:t>  (192)</a:t>
            </a:r>
          </a:p>
        </p:txBody>
      </p:sp>
      <p:sp>
        <p:nvSpPr>
          <p:cNvPr id="17491" name="Rectangle 78"/>
          <p:cNvSpPr>
            <a:spLocks noChangeArrowheads="1"/>
          </p:cNvSpPr>
          <p:nvPr/>
        </p:nvSpPr>
        <p:spPr bwMode="gray">
          <a:xfrm>
            <a:off x="6530975" y="2432050"/>
            <a:ext cx="303213"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Borno</a:t>
            </a:r>
          </a:p>
          <a:p>
            <a:r>
              <a:rPr lang="en-US" sz="800" b="1">
                <a:solidFill>
                  <a:schemeClr val="bg1"/>
                </a:solidFill>
              </a:rPr>
              <a:t>  (82)</a:t>
            </a:r>
          </a:p>
        </p:txBody>
      </p:sp>
      <p:sp>
        <p:nvSpPr>
          <p:cNvPr id="111" name="Rectangle 110">
            <a:extLst>
              <a:ext uri="{FF2B5EF4-FFF2-40B4-BE49-F238E27FC236}"/>
            </a:extLst>
          </p:cNvPr>
          <p:cNvSpPr/>
          <p:nvPr/>
        </p:nvSpPr>
        <p:spPr>
          <a:xfrm>
            <a:off x="6365875" y="4654550"/>
            <a:ext cx="2371725" cy="1585913"/>
          </a:xfrm>
          <a:prstGeom prst="rect">
            <a:avLst/>
          </a:prstGeom>
          <a:solidFill>
            <a:schemeClr val="accent4">
              <a:alpha val="72000"/>
            </a:schemeClr>
          </a:solidFill>
        </p:spPr>
        <p:txBody>
          <a:bodyPr lIns="90000" tIns="46800" rIns="90000" bIns="46800"/>
          <a:lstStyle/>
          <a:p>
            <a:pPr defTabSz="895350">
              <a:buClr>
                <a:schemeClr val="tx2"/>
              </a:buClr>
              <a:buSzPct val="100000"/>
              <a:defRPr/>
            </a:pPr>
            <a:endParaRPr lang="en-ZA" dirty="0">
              <a:latin typeface="Arial" charset="0"/>
              <a:cs typeface="+mn-cs"/>
            </a:endParaRPr>
          </a:p>
        </p:txBody>
      </p:sp>
      <p:sp>
        <p:nvSpPr>
          <p:cNvPr id="17493" name="TextBox 6"/>
          <p:cNvSpPr txBox="1">
            <a:spLocks noChangeArrowheads="1"/>
          </p:cNvSpPr>
          <p:nvPr>
            <p:custDataLst>
              <p:tags r:id="rId3"/>
            </p:custDataLst>
          </p:nvPr>
        </p:nvSpPr>
        <p:spPr bwMode="auto">
          <a:xfrm>
            <a:off x="6435725" y="4733925"/>
            <a:ext cx="2301875" cy="1400175"/>
          </a:xfrm>
          <a:prstGeom prst="rect">
            <a:avLst/>
          </a:prstGeom>
          <a:noFill/>
          <a:ln w="9525">
            <a:noFill/>
            <a:miter lim="800000"/>
            <a:headEnd/>
            <a:tailEnd/>
          </a:ln>
        </p:spPr>
        <p:txBody>
          <a:bodyPr lIns="0" tIns="0" rIns="0" bIns="0">
            <a:spAutoFit/>
          </a:bodyPr>
          <a:lstStyle/>
          <a:p>
            <a:pPr marL="285750" indent="-285750" defTabSz="895350">
              <a:spcBef>
                <a:spcPct val="50000"/>
              </a:spcBef>
              <a:buClr>
                <a:schemeClr val="bg2"/>
              </a:buClr>
              <a:buSzPct val="100000"/>
              <a:buFont typeface="Wingdings" pitchFamily="2" charset="2"/>
              <a:buChar char="§"/>
            </a:pPr>
            <a:r>
              <a:rPr lang="en-US" sz="1400">
                <a:solidFill>
                  <a:schemeClr val="bg2"/>
                </a:solidFill>
              </a:rPr>
              <a:t>Global</a:t>
            </a:r>
            <a:r>
              <a:rPr lang="en-US" sz="1400" baseline="30000">
                <a:solidFill>
                  <a:schemeClr val="bg2"/>
                </a:solidFill>
              </a:rPr>
              <a:t>1</a:t>
            </a:r>
            <a:r>
              <a:rPr lang="en-US" sz="1400">
                <a:solidFill>
                  <a:schemeClr val="bg2"/>
                </a:solidFill>
              </a:rPr>
              <a:t> target for under 5 mortality is 25 deaths per 1000 live births</a:t>
            </a:r>
          </a:p>
          <a:p>
            <a:pPr marL="285750" indent="-285750" defTabSz="895350">
              <a:spcBef>
                <a:spcPct val="50000"/>
              </a:spcBef>
              <a:buClr>
                <a:schemeClr val="bg2"/>
              </a:buClr>
              <a:buSzPct val="100000"/>
              <a:buFont typeface="Wingdings" pitchFamily="2" charset="2"/>
              <a:buChar char="§"/>
            </a:pPr>
            <a:r>
              <a:rPr lang="en-US" sz="1400">
                <a:solidFill>
                  <a:schemeClr val="bg2"/>
                </a:solidFill>
              </a:rPr>
              <a:t>National targets were set in 2015 to reduce under 5 mortality to 75/1000  </a:t>
            </a:r>
            <a:endParaRPr lang="en-GB" sz="1400">
              <a:solidFill>
                <a:schemeClr val="bg2"/>
              </a:solidFill>
            </a:endParaRPr>
          </a:p>
        </p:txBody>
      </p:sp>
      <p:sp>
        <p:nvSpPr>
          <p:cNvPr id="113" name="4. Footnote">
            <a:extLst>
              <a:ext uri="{FF2B5EF4-FFF2-40B4-BE49-F238E27FC236}"/>
            </a:extLst>
          </p:cNvPr>
          <p:cNvSpPr txBox="1">
            <a:spLocks noChangeArrowheads="1"/>
          </p:cNvSpPr>
          <p:nvPr/>
        </p:nvSpPr>
        <p:spPr bwMode="gray">
          <a:xfrm>
            <a:off x="119063" y="6305550"/>
            <a:ext cx="8618537"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a:solidFill>
                  <a:schemeClr val="accent6"/>
                </a:solidFill>
                <a:latin typeface="+mn-lt"/>
                <a:cs typeface="+mn-cs"/>
              </a:rPr>
              <a:t>1 Recommended targets by the United Nations SDGs</a:t>
            </a:r>
            <a:endParaRPr lang="en-US" sz="800" dirty="0">
              <a:solidFill>
                <a:schemeClr val="accent6"/>
              </a:solidFill>
              <a:latin typeface="+mn-lt"/>
              <a:cs typeface="+mn-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39"/>
          <p:cNvGraphicFramePr>
            <a:graphicFrameLocks noChangeAspect="1"/>
          </p:cNvGraphicFramePr>
          <p:nvPr/>
        </p:nvGraphicFramePr>
        <p:xfrm>
          <a:off x="1588" y="1588"/>
          <a:ext cx="1587" cy="1587"/>
        </p:xfrm>
        <a:graphic>
          <a:graphicData uri="http://schemas.openxmlformats.org/presentationml/2006/ole">
            <p:oleObj spid="_x0000_s18434" name="think-cell Slide" r:id="rId9" imgW="360" imgH="360" progId="">
              <p:embed/>
            </p:oleObj>
          </a:graphicData>
        </a:graphic>
      </p:graphicFrame>
      <p:sp>
        <p:nvSpPr>
          <p:cNvPr id="9" name="Rectangle 8"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grpSp>
        <p:nvGrpSpPr>
          <p:cNvPr id="18436" name="Group 73"/>
          <p:cNvGrpSpPr>
            <a:grpSpLocks/>
          </p:cNvGrpSpPr>
          <p:nvPr/>
        </p:nvGrpSpPr>
        <p:grpSpPr bwMode="auto">
          <a:xfrm>
            <a:off x="0" y="1220788"/>
            <a:ext cx="8961438" cy="479425"/>
            <a:chOff x="-1" y="1203325"/>
            <a:chExt cx="8961439" cy="479426"/>
          </a:xfrm>
        </p:grpSpPr>
        <p:sp>
          <p:nvSpPr>
            <p:cNvPr id="75" name="Rectangle 74">
              <a:extLst>
                <a:ext uri="{FF2B5EF4-FFF2-40B4-BE49-F238E27FC236}"/>
              </a:extLst>
            </p:cNvPr>
            <p:cNvSpPr>
              <a:spLocks/>
            </p:cNvSpPr>
            <p:nvPr/>
          </p:nvSpPr>
          <p:spPr>
            <a:xfrm>
              <a:off x="-1" y="1211262"/>
              <a:ext cx="8961439" cy="471489"/>
            </a:xfrm>
            <a:prstGeom prst="rect">
              <a:avLst/>
            </a:prstGeom>
            <a:gradFill flip="none" rotWithShape="1">
              <a:gsLst>
                <a:gs pos="0">
                  <a:schemeClr val="accent6">
                    <a:lumMod val="20000"/>
                    <a:lumOff val="80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chemeClr val="tx1"/>
                </a:solidFill>
              </a:endParaRPr>
            </a:p>
          </p:txBody>
        </p:sp>
        <p:cxnSp>
          <p:nvCxnSpPr>
            <p:cNvPr id="76" name="Straight Connector 75">
              <a:extLst>
                <a:ext uri="{FF2B5EF4-FFF2-40B4-BE49-F238E27FC236}"/>
              </a:extLst>
            </p:cNvPr>
            <p:cNvCxnSpPr/>
            <p:nvPr/>
          </p:nvCxnSpPr>
          <p:spPr bwMode="gray">
            <a:xfrm>
              <a:off x="-1" y="1203325"/>
              <a:ext cx="8961439"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8437" name="Title 1"/>
          <p:cNvSpPr>
            <a:spLocks noGrp="1"/>
          </p:cNvSpPr>
          <p:nvPr>
            <p:ph type="title"/>
          </p:nvPr>
        </p:nvSpPr>
        <p:spPr/>
        <p:txBody>
          <a:bodyPr/>
          <a:lstStyle/>
          <a:p>
            <a:pPr>
              <a:tabLst>
                <a:tab pos="84138" algn="l"/>
              </a:tabLst>
            </a:pPr>
            <a:r>
              <a:rPr lang="en-US" smtClean="0"/>
              <a:t>Stunting rates in the hardest hit states are exceptionally high peaking at 66%</a:t>
            </a:r>
            <a:endParaRPr lang="en-ZA" smtClean="0"/>
          </a:p>
        </p:txBody>
      </p:sp>
      <p:sp>
        <p:nvSpPr>
          <p:cNvPr id="141" name="ACET">
            <a:extLst>
              <a:ext uri="{FF2B5EF4-FFF2-40B4-BE49-F238E27FC236}"/>
            </a:extLst>
          </p:cNvPr>
          <p:cNvSpPr>
            <a:spLocks noChangeArrowheads="1"/>
          </p:cNvSpPr>
          <p:nvPr/>
        </p:nvSpPr>
        <p:spPr bwMode="gray">
          <a:xfrm>
            <a:off x="119063" y="911225"/>
            <a:ext cx="8618537" cy="23495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6" anchor="b">
            <a:spAutoFit/>
          </a:bodyPr>
          <a:lstStyle/>
          <a:p>
            <a:pPr>
              <a:defRPr/>
            </a:pPr>
            <a:r>
              <a:rPr lang="en-US" sz="1400" b="1" dirty="0">
                <a:solidFill>
                  <a:schemeClr val="tx2"/>
                </a:solidFill>
                <a:latin typeface="Arial" charset="0"/>
                <a:cs typeface="+mn-cs"/>
              </a:rPr>
              <a:t>Under 5 stunting rate (moderate and severe 2017), </a:t>
            </a:r>
            <a:r>
              <a:rPr lang="en-US" sz="1400" dirty="0">
                <a:solidFill>
                  <a:schemeClr val="accent6"/>
                </a:solidFill>
                <a:latin typeface="Arial" charset="0"/>
                <a:cs typeface="+mn-cs"/>
              </a:rPr>
              <a:t>% of under 5 population</a:t>
            </a:r>
          </a:p>
        </p:txBody>
      </p:sp>
      <p:sp>
        <p:nvSpPr>
          <p:cNvPr id="70"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255">
              <a:tabLst>
                <a:tab pos="630171" algn="l"/>
              </a:tabLst>
              <a:defRPr/>
            </a:pPr>
            <a:r>
              <a:rPr lang="en-US" sz="800" dirty="0">
                <a:solidFill>
                  <a:schemeClr val="accent6"/>
                </a:solidFill>
                <a:latin typeface="+mn-lt"/>
                <a:cs typeface="+mn-cs"/>
              </a:rPr>
              <a:t>SOURCE: UNICEF Multiple Indicator Cluster Survey, Nigeria. 2016-2017 pp 34</a:t>
            </a:r>
          </a:p>
        </p:txBody>
      </p:sp>
      <p:sp>
        <p:nvSpPr>
          <p:cNvPr id="59" name="1. On-page tracker">
            <a:extLst>
              <a:ext uri="{FF2B5EF4-FFF2-40B4-BE49-F238E27FC236}"/>
            </a:extLst>
          </p:cNvPr>
          <p:cNvSpPr>
            <a:spLocks noChangeArrowheads="1"/>
          </p:cNvSpPr>
          <p:nvPr/>
        </p:nvSpPr>
        <p:spPr bwMode="gray">
          <a:xfrm>
            <a:off x="119063" y="76200"/>
            <a:ext cx="769937"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MALNUTRITION</a:t>
            </a:r>
          </a:p>
        </p:txBody>
      </p:sp>
      <p:grpSp>
        <p:nvGrpSpPr>
          <p:cNvPr id="18441" name="Group 55"/>
          <p:cNvGrpSpPr>
            <a:grpSpLocks/>
          </p:cNvGrpSpPr>
          <p:nvPr/>
        </p:nvGrpSpPr>
        <p:grpSpPr bwMode="auto">
          <a:xfrm>
            <a:off x="5395913" y="1295400"/>
            <a:ext cx="3303587" cy="239713"/>
            <a:chOff x="6147372" y="804699"/>
            <a:chExt cx="2098844" cy="153888"/>
          </a:xfrm>
        </p:grpSpPr>
        <p:grpSp>
          <p:nvGrpSpPr>
            <p:cNvPr id="18519" name="Group 57"/>
            <p:cNvGrpSpPr>
              <a:grpSpLocks/>
            </p:cNvGrpSpPr>
            <p:nvPr/>
          </p:nvGrpSpPr>
          <p:grpSpPr bwMode="auto">
            <a:xfrm>
              <a:off x="6147372" y="804699"/>
              <a:ext cx="569321" cy="153888"/>
              <a:chOff x="6147372" y="788385"/>
              <a:chExt cx="569321" cy="153888"/>
            </a:xfrm>
          </p:grpSpPr>
          <p:sp>
            <p:nvSpPr>
              <p:cNvPr id="72" name="RectangleLegend3">
                <a:extLst>
                  <a:ext uri="{FF2B5EF4-FFF2-40B4-BE49-F238E27FC236}"/>
                </a:extLst>
              </p:cNvPr>
              <p:cNvSpPr>
                <a:spLocks noChangeArrowheads="1"/>
              </p:cNvSpPr>
              <p:nvPr/>
            </p:nvSpPr>
            <p:spPr bwMode="gray">
              <a:xfrm>
                <a:off x="6147372" y="788385"/>
                <a:ext cx="203732" cy="153888"/>
              </a:xfrm>
              <a:prstGeom prst="rect">
                <a:avLst/>
              </a:prstGeom>
              <a:solidFill>
                <a:srgbClr val="33CC33"/>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73" name="Legend1">
                <a:extLst>
                  <a:ext uri="{FF2B5EF4-FFF2-40B4-BE49-F238E27FC236}"/>
                </a:extLst>
              </p:cNvPr>
              <p:cNvSpPr>
                <a:spLocks noChangeArrowheads="1"/>
              </p:cNvSpPr>
              <p:nvPr>
                <p:custDataLst>
                  <p:tags r:id="rId6"/>
                </p:custDataLst>
              </p:nvPr>
            </p:nvSpPr>
            <p:spPr bwMode="gray">
              <a:xfrm>
                <a:off x="6462047" y="788385"/>
                <a:ext cx="254161" cy="97836"/>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0-22%</a:t>
                </a:r>
              </a:p>
            </p:txBody>
          </p:sp>
        </p:grpSp>
        <p:grpSp>
          <p:nvGrpSpPr>
            <p:cNvPr id="18520" name="Group 59"/>
            <p:cNvGrpSpPr>
              <a:grpSpLocks/>
            </p:cNvGrpSpPr>
            <p:nvPr/>
          </p:nvGrpSpPr>
          <p:grpSpPr bwMode="auto">
            <a:xfrm>
              <a:off x="6806336" y="804699"/>
              <a:ext cx="639853" cy="153888"/>
              <a:chOff x="6775753" y="791162"/>
              <a:chExt cx="639853" cy="153888"/>
            </a:xfrm>
          </p:grpSpPr>
          <p:sp>
            <p:nvSpPr>
              <p:cNvPr id="68" name="RectangleLegend1">
                <a:extLst>
                  <a:ext uri="{FF2B5EF4-FFF2-40B4-BE49-F238E27FC236}"/>
                </a:extLst>
              </p:cNvPr>
              <p:cNvSpPr>
                <a:spLocks noChangeArrowheads="1"/>
              </p:cNvSpPr>
              <p:nvPr/>
            </p:nvSpPr>
            <p:spPr bwMode="gray">
              <a:xfrm>
                <a:off x="6775388" y="791162"/>
                <a:ext cx="204741" cy="153888"/>
              </a:xfrm>
              <a:prstGeom prst="rect">
                <a:avLst/>
              </a:prstGeom>
              <a:solidFill>
                <a:srgbClr val="FF9900"/>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71" name="Legend2">
                <a:extLst>
                  <a:ext uri="{FF2B5EF4-FFF2-40B4-BE49-F238E27FC236}"/>
                </a:extLst>
              </p:cNvPr>
              <p:cNvSpPr>
                <a:spLocks noChangeArrowheads="1"/>
              </p:cNvSpPr>
              <p:nvPr>
                <p:custDataLst>
                  <p:tags r:id="rId5"/>
                </p:custDataLst>
              </p:nvPr>
            </p:nvSpPr>
            <p:spPr bwMode="gray">
              <a:xfrm>
                <a:off x="7090064" y="791162"/>
                <a:ext cx="325770" cy="97836"/>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23-50%</a:t>
                </a:r>
              </a:p>
            </p:txBody>
          </p:sp>
        </p:grpSp>
        <p:grpSp>
          <p:nvGrpSpPr>
            <p:cNvPr id="18521" name="Group 60"/>
            <p:cNvGrpSpPr>
              <a:grpSpLocks/>
            </p:cNvGrpSpPr>
            <p:nvPr/>
          </p:nvGrpSpPr>
          <p:grpSpPr bwMode="auto">
            <a:xfrm>
              <a:off x="7535831" y="804699"/>
              <a:ext cx="710385" cy="153888"/>
              <a:chOff x="7477032" y="821013"/>
              <a:chExt cx="710385" cy="153888"/>
            </a:xfrm>
          </p:grpSpPr>
          <p:sp>
            <p:nvSpPr>
              <p:cNvPr id="64" name="RectangleLegend2">
                <a:extLst>
                  <a:ext uri="{FF2B5EF4-FFF2-40B4-BE49-F238E27FC236}"/>
                </a:extLst>
              </p:cNvPr>
              <p:cNvSpPr>
                <a:spLocks noChangeArrowheads="1"/>
              </p:cNvSpPr>
              <p:nvPr/>
            </p:nvSpPr>
            <p:spPr bwMode="gray">
              <a:xfrm>
                <a:off x="7477380" y="821013"/>
                <a:ext cx="204741" cy="153888"/>
              </a:xfrm>
              <a:prstGeom prst="rect">
                <a:avLst/>
              </a:prstGeom>
              <a:solidFill>
                <a:srgbClr val="CD202C"/>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65" name="Legend2">
                <a:extLst>
                  <a:ext uri="{FF2B5EF4-FFF2-40B4-BE49-F238E27FC236}"/>
                </a:extLst>
              </p:cNvPr>
              <p:cNvSpPr>
                <a:spLocks noChangeArrowheads="1"/>
              </p:cNvSpPr>
              <p:nvPr>
                <p:custDataLst>
                  <p:tags r:id="rId4"/>
                </p:custDataLst>
              </p:nvPr>
            </p:nvSpPr>
            <p:spPr bwMode="gray">
              <a:xfrm>
                <a:off x="7792056" y="821013"/>
                <a:ext cx="395361" cy="97836"/>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51-100%</a:t>
                </a:r>
              </a:p>
            </p:txBody>
          </p:sp>
        </p:grpSp>
      </p:grpSp>
      <p:sp>
        <p:nvSpPr>
          <p:cNvPr id="18442" name="Freeform 26"/>
          <p:cNvSpPr>
            <a:spLocks/>
          </p:cNvSpPr>
          <p:nvPr/>
        </p:nvSpPr>
        <p:spPr bwMode="gray">
          <a:xfrm>
            <a:off x="1422400" y="3932238"/>
            <a:ext cx="958850" cy="1069975"/>
          </a:xfrm>
          <a:custGeom>
            <a:avLst/>
            <a:gdLst>
              <a:gd name="T0" fmla="*/ 58538 w 1212"/>
              <a:gd name="T1" fmla="*/ 91162 h 1326"/>
              <a:gd name="T2" fmla="*/ 47464 w 1212"/>
              <a:gd name="T3" fmla="*/ 93582 h 1326"/>
              <a:gd name="T4" fmla="*/ 49046 w 1212"/>
              <a:gd name="T5" fmla="*/ 88742 h 1326"/>
              <a:gd name="T6" fmla="*/ 47464 w 1212"/>
              <a:gd name="T7" fmla="*/ 84708 h 1326"/>
              <a:gd name="T8" fmla="*/ 41135 w 1212"/>
              <a:gd name="T9" fmla="*/ 77447 h 1326"/>
              <a:gd name="T10" fmla="*/ 37180 w 1212"/>
              <a:gd name="T11" fmla="*/ 79061 h 1326"/>
              <a:gd name="T12" fmla="*/ 34807 w 1212"/>
              <a:gd name="T13" fmla="*/ 75027 h 1326"/>
              <a:gd name="T14" fmla="*/ 31642 w 1212"/>
              <a:gd name="T15" fmla="*/ 77447 h 1326"/>
              <a:gd name="T16" fmla="*/ 27687 w 1212"/>
              <a:gd name="T17" fmla="*/ 82288 h 1326"/>
              <a:gd name="T18" fmla="*/ 21359 w 1212"/>
              <a:gd name="T19" fmla="*/ 80674 h 1326"/>
              <a:gd name="T20" fmla="*/ 18194 w 1212"/>
              <a:gd name="T21" fmla="*/ 77447 h 1326"/>
              <a:gd name="T22" fmla="*/ 15821 w 1212"/>
              <a:gd name="T23" fmla="*/ 72607 h 1326"/>
              <a:gd name="T24" fmla="*/ 14239 w 1212"/>
              <a:gd name="T25" fmla="*/ 71800 h 1326"/>
              <a:gd name="T26" fmla="*/ 14239 w 1212"/>
              <a:gd name="T27" fmla="*/ 68573 h 1326"/>
              <a:gd name="T28" fmla="*/ 15030 w 1212"/>
              <a:gd name="T29" fmla="*/ 66960 h 1326"/>
              <a:gd name="T30" fmla="*/ 15030 w 1212"/>
              <a:gd name="T31" fmla="*/ 66153 h 1326"/>
              <a:gd name="T32" fmla="*/ 15821 w 1212"/>
              <a:gd name="T33" fmla="*/ 63733 h 1326"/>
              <a:gd name="T34" fmla="*/ 15030 w 1212"/>
              <a:gd name="T35" fmla="*/ 60506 h 1326"/>
              <a:gd name="T36" fmla="*/ 13448 w 1212"/>
              <a:gd name="T37" fmla="*/ 62119 h 1326"/>
              <a:gd name="T38" fmla="*/ 11075 w 1212"/>
              <a:gd name="T39" fmla="*/ 61312 h 1326"/>
              <a:gd name="T40" fmla="*/ 9493 w 1212"/>
              <a:gd name="T41" fmla="*/ 57279 h 1326"/>
              <a:gd name="T42" fmla="*/ 6328 w 1212"/>
              <a:gd name="T43" fmla="*/ 55665 h 1326"/>
              <a:gd name="T44" fmla="*/ 0 w 1212"/>
              <a:gd name="T45" fmla="*/ 58085 h 1326"/>
              <a:gd name="T46" fmla="*/ 1582 w 1212"/>
              <a:gd name="T47" fmla="*/ 54052 h 1326"/>
              <a:gd name="T48" fmla="*/ 2373 w 1212"/>
              <a:gd name="T49" fmla="*/ 49211 h 1326"/>
              <a:gd name="T50" fmla="*/ 3164 w 1212"/>
              <a:gd name="T51" fmla="*/ 45178 h 1326"/>
              <a:gd name="T52" fmla="*/ 3164 w 1212"/>
              <a:gd name="T53" fmla="*/ 41951 h 1326"/>
              <a:gd name="T54" fmla="*/ 1582 w 1212"/>
              <a:gd name="T55" fmla="*/ 37917 h 1326"/>
              <a:gd name="T56" fmla="*/ 1582 w 1212"/>
              <a:gd name="T57" fmla="*/ 33883 h 1326"/>
              <a:gd name="T58" fmla="*/ 3955 w 1212"/>
              <a:gd name="T59" fmla="*/ 31463 h 1326"/>
              <a:gd name="T60" fmla="*/ 3955 w 1212"/>
              <a:gd name="T61" fmla="*/ 28236 h 1326"/>
              <a:gd name="T62" fmla="*/ 5537 w 1212"/>
              <a:gd name="T63" fmla="*/ 25009 h 1326"/>
              <a:gd name="T64" fmla="*/ 11075 w 1212"/>
              <a:gd name="T65" fmla="*/ 25009 h 1326"/>
              <a:gd name="T66" fmla="*/ 14239 w 1212"/>
              <a:gd name="T67" fmla="*/ 21782 h 1326"/>
              <a:gd name="T68" fmla="*/ 17403 w 1212"/>
              <a:gd name="T69" fmla="*/ 19362 h 1326"/>
              <a:gd name="T70" fmla="*/ 21359 w 1212"/>
              <a:gd name="T71" fmla="*/ 16135 h 1326"/>
              <a:gd name="T72" fmla="*/ 27687 w 1212"/>
              <a:gd name="T73" fmla="*/ 16942 h 1326"/>
              <a:gd name="T74" fmla="*/ 48255 w 1212"/>
              <a:gd name="T75" fmla="*/ 6454 h 1326"/>
              <a:gd name="T76" fmla="*/ 57747 w 1212"/>
              <a:gd name="T77" fmla="*/ 3227 h 1326"/>
              <a:gd name="T78" fmla="*/ 68031 w 1212"/>
              <a:gd name="T79" fmla="*/ 9681 h 1326"/>
              <a:gd name="T80" fmla="*/ 72777 w 1212"/>
              <a:gd name="T81" fmla="*/ 10488 h 1326"/>
              <a:gd name="T82" fmla="*/ 68031 w 1212"/>
              <a:gd name="T83" fmla="*/ 14521 h 1326"/>
              <a:gd name="T84" fmla="*/ 69613 w 1212"/>
              <a:gd name="T85" fmla="*/ 26622 h 1326"/>
              <a:gd name="T86" fmla="*/ 76733 w 1212"/>
              <a:gd name="T87" fmla="*/ 39530 h 1326"/>
              <a:gd name="T88" fmla="*/ 80688 w 1212"/>
              <a:gd name="T89" fmla="*/ 45984 h 1326"/>
              <a:gd name="T90" fmla="*/ 82270 w 1212"/>
              <a:gd name="T91" fmla="*/ 54052 h 1326"/>
              <a:gd name="T92" fmla="*/ 79897 w 1212"/>
              <a:gd name="T93" fmla="*/ 55665 h 1326"/>
              <a:gd name="T94" fmla="*/ 76733 w 1212"/>
              <a:gd name="T95" fmla="*/ 55665 h 1326"/>
              <a:gd name="T96" fmla="*/ 75942 w 1212"/>
              <a:gd name="T97" fmla="*/ 57279 h 1326"/>
              <a:gd name="T98" fmla="*/ 73569 w 1212"/>
              <a:gd name="T99" fmla="*/ 56472 h 1326"/>
              <a:gd name="T100" fmla="*/ 68031 w 1212"/>
              <a:gd name="T101" fmla="*/ 55665 h 1326"/>
              <a:gd name="T102" fmla="*/ 64867 w 1212"/>
              <a:gd name="T103" fmla="*/ 58892 h 1326"/>
              <a:gd name="T104" fmla="*/ 62494 w 1212"/>
              <a:gd name="T105" fmla="*/ 59699 h 1326"/>
              <a:gd name="T106" fmla="*/ 61703 w 1212"/>
              <a:gd name="T107" fmla="*/ 63733 h 1326"/>
              <a:gd name="T108" fmla="*/ 61703 w 1212"/>
              <a:gd name="T109" fmla="*/ 66960 h 1326"/>
              <a:gd name="T110" fmla="*/ 64867 w 1212"/>
              <a:gd name="T111" fmla="*/ 70186 h 1326"/>
              <a:gd name="T112" fmla="*/ 65658 w 1212"/>
              <a:gd name="T113" fmla="*/ 72607 h 1326"/>
              <a:gd name="T114" fmla="*/ 64867 w 1212"/>
              <a:gd name="T115" fmla="*/ 75834 h 1326"/>
              <a:gd name="T116" fmla="*/ 64867 w 1212"/>
              <a:gd name="T117" fmla="*/ 79061 h 1326"/>
              <a:gd name="T118" fmla="*/ 64867 w 1212"/>
              <a:gd name="T119" fmla="*/ 83901 h 1326"/>
              <a:gd name="T120" fmla="*/ 61703 w 1212"/>
              <a:gd name="T121" fmla="*/ 88742 h 13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12"/>
              <a:gd name="T184" fmla="*/ 0 h 1326"/>
              <a:gd name="T185" fmla="*/ 1212 w 1212"/>
              <a:gd name="T186" fmla="*/ 1326 h 13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12" h="1326">
                <a:moveTo>
                  <a:pt x="906" y="1290"/>
                </a:moveTo>
                <a:lnTo>
                  <a:pt x="906" y="1296"/>
                </a:lnTo>
                <a:lnTo>
                  <a:pt x="900" y="1296"/>
                </a:lnTo>
                <a:lnTo>
                  <a:pt x="876" y="1290"/>
                </a:lnTo>
                <a:lnTo>
                  <a:pt x="870" y="1290"/>
                </a:lnTo>
                <a:lnTo>
                  <a:pt x="864" y="1296"/>
                </a:lnTo>
                <a:lnTo>
                  <a:pt x="852" y="1296"/>
                </a:lnTo>
                <a:lnTo>
                  <a:pt x="840" y="1302"/>
                </a:lnTo>
                <a:lnTo>
                  <a:pt x="834" y="1308"/>
                </a:lnTo>
                <a:lnTo>
                  <a:pt x="822" y="1320"/>
                </a:lnTo>
                <a:lnTo>
                  <a:pt x="816" y="1320"/>
                </a:lnTo>
                <a:lnTo>
                  <a:pt x="732" y="1320"/>
                </a:lnTo>
                <a:lnTo>
                  <a:pt x="696" y="1320"/>
                </a:lnTo>
                <a:lnTo>
                  <a:pt x="690" y="1326"/>
                </a:lnTo>
                <a:lnTo>
                  <a:pt x="678" y="1326"/>
                </a:lnTo>
                <a:lnTo>
                  <a:pt x="672" y="1308"/>
                </a:lnTo>
                <a:lnTo>
                  <a:pt x="696" y="1302"/>
                </a:lnTo>
                <a:lnTo>
                  <a:pt x="708" y="1296"/>
                </a:lnTo>
                <a:lnTo>
                  <a:pt x="720" y="1284"/>
                </a:lnTo>
                <a:lnTo>
                  <a:pt x="714" y="1278"/>
                </a:lnTo>
                <a:lnTo>
                  <a:pt x="714" y="1266"/>
                </a:lnTo>
                <a:lnTo>
                  <a:pt x="708" y="1260"/>
                </a:lnTo>
                <a:lnTo>
                  <a:pt x="708" y="1254"/>
                </a:lnTo>
                <a:lnTo>
                  <a:pt x="708" y="1248"/>
                </a:lnTo>
                <a:lnTo>
                  <a:pt x="702" y="1236"/>
                </a:lnTo>
                <a:lnTo>
                  <a:pt x="702" y="1230"/>
                </a:lnTo>
                <a:lnTo>
                  <a:pt x="702" y="1218"/>
                </a:lnTo>
                <a:lnTo>
                  <a:pt x="696" y="1200"/>
                </a:lnTo>
                <a:lnTo>
                  <a:pt x="696" y="1182"/>
                </a:lnTo>
                <a:lnTo>
                  <a:pt x="666" y="1182"/>
                </a:lnTo>
                <a:lnTo>
                  <a:pt x="672" y="1134"/>
                </a:lnTo>
                <a:lnTo>
                  <a:pt x="666" y="1128"/>
                </a:lnTo>
                <a:lnTo>
                  <a:pt x="660" y="1092"/>
                </a:lnTo>
                <a:lnTo>
                  <a:pt x="654" y="1098"/>
                </a:lnTo>
                <a:lnTo>
                  <a:pt x="594" y="1098"/>
                </a:lnTo>
                <a:lnTo>
                  <a:pt x="576" y="1098"/>
                </a:lnTo>
                <a:lnTo>
                  <a:pt x="570" y="1104"/>
                </a:lnTo>
                <a:lnTo>
                  <a:pt x="564" y="1110"/>
                </a:lnTo>
                <a:lnTo>
                  <a:pt x="558" y="1110"/>
                </a:lnTo>
                <a:lnTo>
                  <a:pt x="552" y="1110"/>
                </a:lnTo>
                <a:lnTo>
                  <a:pt x="546" y="1110"/>
                </a:lnTo>
                <a:lnTo>
                  <a:pt x="546" y="1116"/>
                </a:lnTo>
                <a:lnTo>
                  <a:pt x="546" y="1122"/>
                </a:lnTo>
                <a:lnTo>
                  <a:pt x="540" y="1128"/>
                </a:lnTo>
                <a:lnTo>
                  <a:pt x="510" y="1128"/>
                </a:lnTo>
                <a:lnTo>
                  <a:pt x="522" y="1104"/>
                </a:lnTo>
                <a:lnTo>
                  <a:pt x="510" y="1098"/>
                </a:lnTo>
                <a:lnTo>
                  <a:pt x="510" y="1074"/>
                </a:lnTo>
                <a:lnTo>
                  <a:pt x="504" y="1068"/>
                </a:lnTo>
                <a:lnTo>
                  <a:pt x="498" y="1068"/>
                </a:lnTo>
                <a:lnTo>
                  <a:pt x="492" y="1068"/>
                </a:lnTo>
                <a:lnTo>
                  <a:pt x="474" y="1080"/>
                </a:lnTo>
                <a:lnTo>
                  <a:pt x="474" y="1086"/>
                </a:lnTo>
                <a:lnTo>
                  <a:pt x="474" y="1092"/>
                </a:lnTo>
                <a:lnTo>
                  <a:pt x="468" y="1098"/>
                </a:lnTo>
                <a:lnTo>
                  <a:pt x="462" y="1104"/>
                </a:lnTo>
                <a:lnTo>
                  <a:pt x="456" y="1110"/>
                </a:lnTo>
                <a:lnTo>
                  <a:pt x="456" y="1122"/>
                </a:lnTo>
                <a:lnTo>
                  <a:pt x="456" y="1128"/>
                </a:lnTo>
                <a:lnTo>
                  <a:pt x="450" y="1140"/>
                </a:lnTo>
                <a:lnTo>
                  <a:pt x="444" y="1146"/>
                </a:lnTo>
                <a:lnTo>
                  <a:pt x="426" y="1170"/>
                </a:lnTo>
                <a:lnTo>
                  <a:pt x="408" y="1176"/>
                </a:lnTo>
                <a:lnTo>
                  <a:pt x="402" y="1170"/>
                </a:lnTo>
                <a:lnTo>
                  <a:pt x="396" y="1170"/>
                </a:lnTo>
                <a:lnTo>
                  <a:pt x="396" y="1158"/>
                </a:lnTo>
                <a:lnTo>
                  <a:pt x="384" y="1152"/>
                </a:lnTo>
                <a:lnTo>
                  <a:pt x="372" y="1140"/>
                </a:lnTo>
                <a:lnTo>
                  <a:pt x="354" y="1140"/>
                </a:lnTo>
                <a:lnTo>
                  <a:pt x="306" y="1146"/>
                </a:lnTo>
                <a:lnTo>
                  <a:pt x="294" y="1134"/>
                </a:lnTo>
                <a:lnTo>
                  <a:pt x="294" y="1128"/>
                </a:lnTo>
                <a:lnTo>
                  <a:pt x="288" y="1122"/>
                </a:lnTo>
                <a:lnTo>
                  <a:pt x="276" y="1122"/>
                </a:lnTo>
                <a:lnTo>
                  <a:pt x="276" y="1110"/>
                </a:lnTo>
                <a:lnTo>
                  <a:pt x="276" y="1104"/>
                </a:lnTo>
                <a:lnTo>
                  <a:pt x="270" y="1098"/>
                </a:lnTo>
                <a:lnTo>
                  <a:pt x="264" y="1086"/>
                </a:lnTo>
                <a:lnTo>
                  <a:pt x="264" y="1074"/>
                </a:lnTo>
                <a:lnTo>
                  <a:pt x="258" y="1068"/>
                </a:lnTo>
                <a:lnTo>
                  <a:pt x="252" y="1056"/>
                </a:lnTo>
                <a:lnTo>
                  <a:pt x="246" y="1056"/>
                </a:lnTo>
                <a:lnTo>
                  <a:pt x="246" y="1050"/>
                </a:lnTo>
                <a:lnTo>
                  <a:pt x="234" y="1038"/>
                </a:lnTo>
                <a:lnTo>
                  <a:pt x="228" y="1038"/>
                </a:lnTo>
                <a:lnTo>
                  <a:pt x="222" y="1038"/>
                </a:lnTo>
                <a:lnTo>
                  <a:pt x="216" y="1038"/>
                </a:lnTo>
                <a:lnTo>
                  <a:pt x="216" y="1032"/>
                </a:lnTo>
                <a:lnTo>
                  <a:pt x="216" y="1026"/>
                </a:lnTo>
                <a:lnTo>
                  <a:pt x="210" y="1020"/>
                </a:lnTo>
                <a:lnTo>
                  <a:pt x="204" y="1014"/>
                </a:lnTo>
                <a:lnTo>
                  <a:pt x="204" y="1008"/>
                </a:lnTo>
                <a:lnTo>
                  <a:pt x="198" y="1002"/>
                </a:lnTo>
                <a:lnTo>
                  <a:pt x="198" y="996"/>
                </a:lnTo>
                <a:lnTo>
                  <a:pt x="198" y="990"/>
                </a:lnTo>
                <a:lnTo>
                  <a:pt x="204" y="990"/>
                </a:lnTo>
                <a:lnTo>
                  <a:pt x="204" y="984"/>
                </a:lnTo>
                <a:lnTo>
                  <a:pt x="210" y="978"/>
                </a:lnTo>
                <a:lnTo>
                  <a:pt x="210" y="972"/>
                </a:lnTo>
                <a:lnTo>
                  <a:pt x="210" y="966"/>
                </a:lnTo>
                <a:lnTo>
                  <a:pt x="216" y="960"/>
                </a:lnTo>
                <a:lnTo>
                  <a:pt x="216" y="954"/>
                </a:lnTo>
                <a:lnTo>
                  <a:pt x="210" y="954"/>
                </a:lnTo>
                <a:lnTo>
                  <a:pt x="204" y="954"/>
                </a:lnTo>
                <a:lnTo>
                  <a:pt x="216" y="954"/>
                </a:lnTo>
                <a:lnTo>
                  <a:pt x="216" y="948"/>
                </a:lnTo>
                <a:lnTo>
                  <a:pt x="210" y="948"/>
                </a:lnTo>
                <a:lnTo>
                  <a:pt x="210" y="942"/>
                </a:lnTo>
                <a:lnTo>
                  <a:pt x="216" y="942"/>
                </a:lnTo>
                <a:lnTo>
                  <a:pt x="222" y="942"/>
                </a:lnTo>
                <a:lnTo>
                  <a:pt x="222" y="936"/>
                </a:lnTo>
                <a:lnTo>
                  <a:pt x="216" y="936"/>
                </a:lnTo>
                <a:lnTo>
                  <a:pt x="210" y="936"/>
                </a:lnTo>
                <a:lnTo>
                  <a:pt x="210" y="930"/>
                </a:lnTo>
                <a:lnTo>
                  <a:pt x="216" y="930"/>
                </a:lnTo>
                <a:lnTo>
                  <a:pt x="222" y="930"/>
                </a:lnTo>
                <a:lnTo>
                  <a:pt x="222" y="918"/>
                </a:lnTo>
                <a:lnTo>
                  <a:pt x="228" y="912"/>
                </a:lnTo>
                <a:lnTo>
                  <a:pt x="228" y="906"/>
                </a:lnTo>
                <a:lnTo>
                  <a:pt x="222" y="906"/>
                </a:lnTo>
                <a:lnTo>
                  <a:pt x="222" y="900"/>
                </a:lnTo>
                <a:lnTo>
                  <a:pt x="222" y="894"/>
                </a:lnTo>
                <a:lnTo>
                  <a:pt x="222" y="888"/>
                </a:lnTo>
                <a:lnTo>
                  <a:pt x="222" y="882"/>
                </a:lnTo>
                <a:lnTo>
                  <a:pt x="222" y="876"/>
                </a:lnTo>
                <a:lnTo>
                  <a:pt x="222" y="858"/>
                </a:lnTo>
                <a:lnTo>
                  <a:pt x="216" y="858"/>
                </a:lnTo>
                <a:lnTo>
                  <a:pt x="216" y="852"/>
                </a:lnTo>
                <a:lnTo>
                  <a:pt x="210" y="852"/>
                </a:lnTo>
                <a:lnTo>
                  <a:pt x="210" y="840"/>
                </a:lnTo>
                <a:lnTo>
                  <a:pt x="198" y="840"/>
                </a:lnTo>
                <a:lnTo>
                  <a:pt x="198" y="876"/>
                </a:lnTo>
                <a:lnTo>
                  <a:pt x="192" y="882"/>
                </a:lnTo>
                <a:lnTo>
                  <a:pt x="192" y="888"/>
                </a:lnTo>
                <a:lnTo>
                  <a:pt x="180" y="894"/>
                </a:lnTo>
                <a:lnTo>
                  <a:pt x="180" y="906"/>
                </a:lnTo>
                <a:lnTo>
                  <a:pt x="156" y="912"/>
                </a:lnTo>
                <a:lnTo>
                  <a:pt x="156" y="894"/>
                </a:lnTo>
                <a:lnTo>
                  <a:pt x="156" y="882"/>
                </a:lnTo>
                <a:lnTo>
                  <a:pt x="156" y="876"/>
                </a:lnTo>
                <a:lnTo>
                  <a:pt x="150" y="876"/>
                </a:lnTo>
                <a:lnTo>
                  <a:pt x="144" y="876"/>
                </a:lnTo>
                <a:lnTo>
                  <a:pt x="138" y="870"/>
                </a:lnTo>
                <a:lnTo>
                  <a:pt x="132" y="864"/>
                </a:lnTo>
                <a:lnTo>
                  <a:pt x="138" y="840"/>
                </a:lnTo>
                <a:lnTo>
                  <a:pt x="132" y="840"/>
                </a:lnTo>
                <a:lnTo>
                  <a:pt x="138" y="810"/>
                </a:lnTo>
                <a:lnTo>
                  <a:pt x="144" y="804"/>
                </a:lnTo>
                <a:lnTo>
                  <a:pt x="144" y="798"/>
                </a:lnTo>
                <a:lnTo>
                  <a:pt x="156" y="798"/>
                </a:lnTo>
                <a:lnTo>
                  <a:pt x="156" y="792"/>
                </a:lnTo>
                <a:lnTo>
                  <a:pt x="120" y="792"/>
                </a:lnTo>
                <a:lnTo>
                  <a:pt x="108" y="786"/>
                </a:lnTo>
                <a:lnTo>
                  <a:pt x="96" y="786"/>
                </a:lnTo>
                <a:lnTo>
                  <a:pt x="96" y="780"/>
                </a:lnTo>
                <a:lnTo>
                  <a:pt x="78" y="780"/>
                </a:lnTo>
                <a:lnTo>
                  <a:pt x="72" y="804"/>
                </a:lnTo>
                <a:lnTo>
                  <a:pt x="60" y="816"/>
                </a:lnTo>
                <a:lnTo>
                  <a:pt x="36" y="828"/>
                </a:lnTo>
                <a:lnTo>
                  <a:pt x="18" y="840"/>
                </a:lnTo>
                <a:lnTo>
                  <a:pt x="0" y="822"/>
                </a:lnTo>
                <a:lnTo>
                  <a:pt x="6" y="816"/>
                </a:lnTo>
                <a:lnTo>
                  <a:pt x="12" y="804"/>
                </a:lnTo>
                <a:lnTo>
                  <a:pt x="18" y="798"/>
                </a:lnTo>
                <a:lnTo>
                  <a:pt x="18" y="792"/>
                </a:lnTo>
                <a:lnTo>
                  <a:pt x="18" y="786"/>
                </a:lnTo>
                <a:lnTo>
                  <a:pt x="24" y="780"/>
                </a:lnTo>
                <a:lnTo>
                  <a:pt x="24" y="768"/>
                </a:lnTo>
                <a:lnTo>
                  <a:pt x="24" y="762"/>
                </a:lnTo>
                <a:lnTo>
                  <a:pt x="24" y="750"/>
                </a:lnTo>
                <a:lnTo>
                  <a:pt x="36" y="714"/>
                </a:lnTo>
                <a:lnTo>
                  <a:pt x="36" y="708"/>
                </a:lnTo>
                <a:lnTo>
                  <a:pt x="42" y="708"/>
                </a:lnTo>
                <a:lnTo>
                  <a:pt x="42" y="702"/>
                </a:lnTo>
                <a:lnTo>
                  <a:pt x="36" y="696"/>
                </a:lnTo>
                <a:lnTo>
                  <a:pt x="36" y="690"/>
                </a:lnTo>
                <a:lnTo>
                  <a:pt x="42" y="684"/>
                </a:lnTo>
                <a:lnTo>
                  <a:pt x="42" y="672"/>
                </a:lnTo>
                <a:lnTo>
                  <a:pt x="42" y="666"/>
                </a:lnTo>
                <a:lnTo>
                  <a:pt x="42" y="660"/>
                </a:lnTo>
                <a:lnTo>
                  <a:pt x="42" y="654"/>
                </a:lnTo>
                <a:lnTo>
                  <a:pt x="48" y="648"/>
                </a:lnTo>
                <a:lnTo>
                  <a:pt x="54" y="642"/>
                </a:lnTo>
                <a:lnTo>
                  <a:pt x="54" y="630"/>
                </a:lnTo>
                <a:lnTo>
                  <a:pt x="54" y="624"/>
                </a:lnTo>
                <a:lnTo>
                  <a:pt x="54" y="618"/>
                </a:lnTo>
                <a:lnTo>
                  <a:pt x="54" y="612"/>
                </a:lnTo>
                <a:lnTo>
                  <a:pt x="48" y="606"/>
                </a:lnTo>
                <a:lnTo>
                  <a:pt x="48" y="600"/>
                </a:lnTo>
                <a:lnTo>
                  <a:pt x="42" y="600"/>
                </a:lnTo>
                <a:lnTo>
                  <a:pt x="36" y="594"/>
                </a:lnTo>
                <a:lnTo>
                  <a:pt x="36" y="588"/>
                </a:lnTo>
                <a:lnTo>
                  <a:pt x="30" y="582"/>
                </a:lnTo>
                <a:lnTo>
                  <a:pt x="30" y="570"/>
                </a:lnTo>
                <a:lnTo>
                  <a:pt x="18" y="552"/>
                </a:lnTo>
                <a:lnTo>
                  <a:pt x="18" y="546"/>
                </a:lnTo>
                <a:lnTo>
                  <a:pt x="18" y="540"/>
                </a:lnTo>
                <a:lnTo>
                  <a:pt x="18" y="528"/>
                </a:lnTo>
                <a:lnTo>
                  <a:pt x="18" y="522"/>
                </a:lnTo>
                <a:lnTo>
                  <a:pt x="24" y="516"/>
                </a:lnTo>
                <a:lnTo>
                  <a:pt x="30" y="504"/>
                </a:lnTo>
                <a:lnTo>
                  <a:pt x="30" y="492"/>
                </a:lnTo>
                <a:lnTo>
                  <a:pt x="24" y="480"/>
                </a:lnTo>
                <a:lnTo>
                  <a:pt x="30" y="474"/>
                </a:lnTo>
                <a:lnTo>
                  <a:pt x="36" y="474"/>
                </a:lnTo>
                <a:lnTo>
                  <a:pt x="42" y="468"/>
                </a:lnTo>
                <a:lnTo>
                  <a:pt x="48" y="468"/>
                </a:lnTo>
                <a:lnTo>
                  <a:pt x="48" y="462"/>
                </a:lnTo>
                <a:lnTo>
                  <a:pt x="48" y="456"/>
                </a:lnTo>
                <a:lnTo>
                  <a:pt x="54" y="450"/>
                </a:lnTo>
                <a:lnTo>
                  <a:pt x="60" y="438"/>
                </a:lnTo>
                <a:lnTo>
                  <a:pt x="54" y="438"/>
                </a:lnTo>
                <a:lnTo>
                  <a:pt x="54" y="432"/>
                </a:lnTo>
                <a:lnTo>
                  <a:pt x="60" y="426"/>
                </a:lnTo>
                <a:lnTo>
                  <a:pt x="60" y="420"/>
                </a:lnTo>
                <a:lnTo>
                  <a:pt x="60" y="414"/>
                </a:lnTo>
                <a:lnTo>
                  <a:pt x="54" y="408"/>
                </a:lnTo>
                <a:lnTo>
                  <a:pt x="54" y="402"/>
                </a:lnTo>
                <a:lnTo>
                  <a:pt x="60" y="390"/>
                </a:lnTo>
                <a:lnTo>
                  <a:pt x="66" y="390"/>
                </a:lnTo>
                <a:lnTo>
                  <a:pt x="66" y="384"/>
                </a:lnTo>
                <a:lnTo>
                  <a:pt x="72" y="372"/>
                </a:lnTo>
                <a:lnTo>
                  <a:pt x="78" y="366"/>
                </a:lnTo>
                <a:lnTo>
                  <a:pt x="84" y="360"/>
                </a:lnTo>
                <a:lnTo>
                  <a:pt x="102" y="360"/>
                </a:lnTo>
                <a:lnTo>
                  <a:pt x="114" y="360"/>
                </a:lnTo>
                <a:lnTo>
                  <a:pt x="120" y="360"/>
                </a:lnTo>
                <a:lnTo>
                  <a:pt x="132" y="360"/>
                </a:lnTo>
                <a:lnTo>
                  <a:pt x="138" y="360"/>
                </a:lnTo>
                <a:lnTo>
                  <a:pt x="156" y="360"/>
                </a:lnTo>
                <a:lnTo>
                  <a:pt x="162" y="354"/>
                </a:lnTo>
                <a:lnTo>
                  <a:pt x="168" y="354"/>
                </a:lnTo>
                <a:lnTo>
                  <a:pt x="174" y="342"/>
                </a:lnTo>
                <a:lnTo>
                  <a:pt x="180" y="342"/>
                </a:lnTo>
                <a:lnTo>
                  <a:pt x="186" y="336"/>
                </a:lnTo>
                <a:lnTo>
                  <a:pt x="192" y="330"/>
                </a:lnTo>
                <a:lnTo>
                  <a:pt x="204" y="312"/>
                </a:lnTo>
                <a:lnTo>
                  <a:pt x="210" y="312"/>
                </a:lnTo>
                <a:lnTo>
                  <a:pt x="216" y="306"/>
                </a:lnTo>
                <a:lnTo>
                  <a:pt x="216" y="300"/>
                </a:lnTo>
                <a:lnTo>
                  <a:pt x="222" y="288"/>
                </a:lnTo>
                <a:lnTo>
                  <a:pt x="234" y="288"/>
                </a:lnTo>
                <a:lnTo>
                  <a:pt x="240" y="282"/>
                </a:lnTo>
                <a:lnTo>
                  <a:pt x="246" y="282"/>
                </a:lnTo>
                <a:lnTo>
                  <a:pt x="252" y="282"/>
                </a:lnTo>
                <a:lnTo>
                  <a:pt x="264" y="276"/>
                </a:lnTo>
                <a:lnTo>
                  <a:pt x="270" y="270"/>
                </a:lnTo>
                <a:lnTo>
                  <a:pt x="276" y="264"/>
                </a:lnTo>
                <a:lnTo>
                  <a:pt x="282" y="264"/>
                </a:lnTo>
                <a:lnTo>
                  <a:pt x="306" y="240"/>
                </a:lnTo>
                <a:lnTo>
                  <a:pt x="312" y="240"/>
                </a:lnTo>
                <a:lnTo>
                  <a:pt x="318" y="234"/>
                </a:lnTo>
                <a:lnTo>
                  <a:pt x="330" y="234"/>
                </a:lnTo>
                <a:lnTo>
                  <a:pt x="336" y="234"/>
                </a:lnTo>
                <a:lnTo>
                  <a:pt x="336" y="246"/>
                </a:lnTo>
                <a:lnTo>
                  <a:pt x="342" y="246"/>
                </a:lnTo>
                <a:lnTo>
                  <a:pt x="348" y="252"/>
                </a:lnTo>
                <a:lnTo>
                  <a:pt x="372" y="252"/>
                </a:lnTo>
                <a:lnTo>
                  <a:pt x="396" y="246"/>
                </a:lnTo>
                <a:lnTo>
                  <a:pt x="402" y="246"/>
                </a:lnTo>
                <a:lnTo>
                  <a:pt x="414" y="240"/>
                </a:lnTo>
                <a:lnTo>
                  <a:pt x="444" y="216"/>
                </a:lnTo>
                <a:lnTo>
                  <a:pt x="480" y="204"/>
                </a:lnTo>
                <a:lnTo>
                  <a:pt x="600" y="150"/>
                </a:lnTo>
                <a:lnTo>
                  <a:pt x="648" y="126"/>
                </a:lnTo>
                <a:lnTo>
                  <a:pt x="702" y="96"/>
                </a:lnTo>
                <a:lnTo>
                  <a:pt x="708" y="54"/>
                </a:lnTo>
                <a:lnTo>
                  <a:pt x="720" y="24"/>
                </a:lnTo>
                <a:lnTo>
                  <a:pt x="738" y="12"/>
                </a:lnTo>
                <a:lnTo>
                  <a:pt x="768" y="0"/>
                </a:lnTo>
                <a:lnTo>
                  <a:pt x="792" y="6"/>
                </a:lnTo>
                <a:lnTo>
                  <a:pt x="804" y="12"/>
                </a:lnTo>
                <a:lnTo>
                  <a:pt x="834" y="48"/>
                </a:lnTo>
                <a:lnTo>
                  <a:pt x="834" y="60"/>
                </a:lnTo>
                <a:lnTo>
                  <a:pt x="852" y="84"/>
                </a:lnTo>
                <a:lnTo>
                  <a:pt x="864" y="96"/>
                </a:lnTo>
                <a:lnTo>
                  <a:pt x="888" y="102"/>
                </a:lnTo>
                <a:lnTo>
                  <a:pt x="978" y="120"/>
                </a:lnTo>
                <a:lnTo>
                  <a:pt x="984" y="126"/>
                </a:lnTo>
                <a:lnTo>
                  <a:pt x="984" y="132"/>
                </a:lnTo>
                <a:lnTo>
                  <a:pt x="996" y="138"/>
                </a:lnTo>
                <a:lnTo>
                  <a:pt x="1038" y="126"/>
                </a:lnTo>
                <a:lnTo>
                  <a:pt x="1056" y="114"/>
                </a:lnTo>
                <a:lnTo>
                  <a:pt x="1068" y="126"/>
                </a:lnTo>
                <a:lnTo>
                  <a:pt x="1074" y="132"/>
                </a:lnTo>
                <a:lnTo>
                  <a:pt x="1068" y="138"/>
                </a:lnTo>
                <a:lnTo>
                  <a:pt x="1056" y="150"/>
                </a:lnTo>
                <a:lnTo>
                  <a:pt x="1038" y="162"/>
                </a:lnTo>
                <a:lnTo>
                  <a:pt x="1038" y="168"/>
                </a:lnTo>
                <a:lnTo>
                  <a:pt x="1020" y="174"/>
                </a:lnTo>
                <a:lnTo>
                  <a:pt x="1014" y="180"/>
                </a:lnTo>
                <a:lnTo>
                  <a:pt x="1008" y="186"/>
                </a:lnTo>
                <a:lnTo>
                  <a:pt x="1002" y="198"/>
                </a:lnTo>
                <a:lnTo>
                  <a:pt x="984" y="204"/>
                </a:lnTo>
                <a:lnTo>
                  <a:pt x="984" y="246"/>
                </a:lnTo>
                <a:lnTo>
                  <a:pt x="978" y="270"/>
                </a:lnTo>
                <a:lnTo>
                  <a:pt x="990" y="306"/>
                </a:lnTo>
                <a:lnTo>
                  <a:pt x="990" y="324"/>
                </a:lnTo>
                <a:lnTo>
                  <a:pt x="1002" y="336"/>
                </a:lnTo>
                <a:lnTo>
                  <a:pt x="1020" y="372"/>
                </a:lnTo>
                <a:lnTo>
                  <a:pt x="1014" y="378"/>
                </a:lnTo>
                <a:lnTo>
                  <a:pt x="1014" y="384"/>
                </a:lnTo>
                <a:lnTo>
                  <a:pt x="1020" y="384"/>
                </a:lnTo>
                <a:lnTo>
                  <a:pt x="1020" y="396"/>
                </a:lnTo>
                <a:lnTo>
                  <a:pt x="1062" y="468"/>
                </a:lnTo>
                <a:lnTo>
                  <a:pt x="1092" y="522"/>
                </a:lnTo>
                <a:lnTo>
                  <a:pt x="1110" y="546"/>
                </a:lnTo>
                <a:lnTo>
                  <a:pt x="1122" y="564"/>
                </a:lnTo>
                <a:lnTo>
                  <a:pt x="1134" y="576"/>
                </a:lnTo>
                <a:lnTo>
                  <a:pt x="1146" y="582"/>
                </a:lnTo>
                <a:lnTo>
                  <a:pt x="1146" y="588"/>
                </a:lnTo>
                <a:lnTo>
                  <a:pt x="1164" y="600"/>
                </a:lnTo>
                <a:lnTo>
                  <a:pt x="1170" y="612"/>
                </a:lnTo>
                <a:lnTo>
                  <a:pt x="1170" y="624"/>
                </a:lnTo>
                <a:lnTo>
                  <a:pt x="1176" y="654"/>
                </a:lnTo>
                <a:lnTo>
                  <a:pt x="1176" y="666"/>
                </a:lnTo>
                <a:lnTo>
                  <a:pt x="1182" y="684"/>
                </a:lnTo>
                <a:lnTo>
                  <a:pt x="1194" y="696"/>
                </a:lnTo>
                <a:lnTo>
                  <a:pt x="1212" y="696"/>
                </a:lnTo>
                <a:lnTo>
                  <a:pt x="1206" y="762"/>
                </a:lnTo>
                <a:lnTo>
                  <a:pt x="1200" y="768"/>
                </a:lnTo>
                <a:lnTo>
                  <a:pt x="1194" y="768"/>
                </a:lnTo>
                <a:lnTo>
                  <a:pt x="1194" y="774"/>
                </a:lnTo>
                <a:lnTo>
                  <a:pt x="1188" y="774"/>
                </a:lnTo>
                <a:lnTo>
                  <a:pt x="1182" y="780"/>
                </a:lnTo>
                <a:lnTo>
                  <a:pt x="1176" y="780"/>
                </a:lnTo>
                <a:lnTo>
                  <a:pt x="1170" y="780"/>
                </a:lnTo>
                <a:lnTo>
                  <a:pt x="1164" y="786"/>
                </a:lnTo>
                <a:lnTo>
                  <a:pt x="1158" y="786"/>
                </a:lnTo>
                <a:lnTo>
                  <a:pt x="1152" y="786"/>
                </a:lnTo>
                <a:lnTo>
                  <a:pt x="1140" y="786"/>
                </a:lnTo>
                <a:lnTo>
                  <a:pt x="1134" y="786"/>
                </a:lnTo>
                <a:lnTo>
                  <a:pt x="1134" y="780"/>
                </a:lnTo>
                <a:lnTo>
                  <a:pt x="1122" y="780"/>
                </a:lnTo>
                <a:lnTo>
                  <a:pt x="1116" y="786"/>
                </a:lnTo>
                <a:lnTo>
                  <a:pt x="1116" y="792"/>
                </a:lnTo>
                <a:lnTo>
                  <a:pt x="1122" y="804"/>
                </a:lnTo>
                <a:lnTo>
                  <a:pt x="1128" y="804"/>
                </a:lnTo>
                <a:lnTo>
                  <a:pt x="1128" y="816"/>
                </a:lnTo>
                <a:lnTo>
                  <a:pt x="1122" y="822"/>
                </a:lnTo>
                <a:lnTo>
                  <a:pt x="1116" y="816"/>
                </a:lnTo>
                <a:lnTo>
                  <a:pt x="1110" y="816"/>
                </a:lnTo>
                <a:lnTo>
                  <a:pt x="1104" y="816"/>
                </a:lnTo>
                <a:lnTo>
                  <a:pt x="1098" y="816"/>
                </a:lnTo>
                <a:lnTo>
                  <a:pt x="1098" y="822"/>
                </a:lnTo>
                <a:lnTo>
                  <a:pt x="1092" y="834"/>
                </a:lnTo>
                <a:lnTo>
                  <a:pt x="1092" y="840"/>
                </a:lnTo>
                <a:lnTo>
                  <a:pt x="1074" y="840"/>
                </a:lnTo>
                <a:lnTo>
                  <a:pt x="1074" y="828"/>
                </a:lnTo>
                <a:lnTo>
                  <a:pt x="1062" y="804"/>
                </a:lnTo>
                <a:lnTo>
                  <a:pt x="1056" y="792"/>
                </a:lnTo>
                <a:lnTo>
                  <a:pt x="1056" y="786"/>
                </a:lnTo>
                <a:lnTo>
                  <a:pt x="1026" y="780"/>
                </a:lnTo>
                <a:lnTo>
                  <a:pt x="1026" y="768"/>
                </a:lnTo>
                <a:lnTo>
                  <a:pt x="1008" y="768"/>
                </a:lnTo>
                <a:lnTo>
                  <a:pt x="1002" y="780"/>
                </a:lnTo>
                <a:lnTo>
                  <a:pt x="996" y="792"/>
                </a:lnTo>
                <a:lnTo>
                  <a:pt x="978" y="798"/>
                </a:lnTo>
                <a:lnTo>
                  <a:pt x="972" y="810"/>
                </a:lnTo>
                <a:lnTo>
                  <a:pt x="972" y="822"/>
                </a:lnTo>
                <a:lnTo>
                  <a:pt x="978" y="828"/>
                </a:lnTo>
                <a:lnTo>
                  <a:pt x="978" y="834"/>
                </a:lnTo>
                <a:lnTo>
                  <a:pt x="960" y="840"/>
                </a:lnTo>
                <a:lnTo>
                  <a:pt x="936" y="840"/>
                </a:lnTo>
                <a:lnTo>
                  <a:pt x="918" y="846"/>
                </a:lnTo>
                <a:lnTo>
                  <a:pt x="912" y="840"/>
                </a:lnTo>
                <a:lnTo>
                  <a:pt x="912" y="834"/>
                </a:lnTo>
                <a:lnTo>
                  <a:pt x="906" y="834"/>
                </a:lnTo>
                <a:lnTo>
                  <a:pt x="906" y="840"/>
                </a:lnTo>
                <a:lnTo>
                  <a:pt x="900" y="846"/>
                </a:lnTo>
                <a:lnTo>
                  <a:pt x="906" y="852"/>
                </a:lnTo>
                <a:lnTo>
                  <a:pt x="900" y="864"/>
                </a:lnTo>
                <a:lnTo>
                  <a:pt x="900" y="876"/>
                </a:lnTo>
                <a:lnTo>
                  <a:pt x="900" y="882"/>
                </a:lnTo>
                <a:lnTo>
                  <a:pt x="894" y="888"/>
                </a:lnTo>
                <a:lnTo>
                  <a:pt x="900" y="900"/>
                </a:lnTo>
                <a:lnTo>
                  <a:pt x="900" y="906"/>
                </a:lnTo>
                <a:lnTo>
                  <a:pt x="894" y="906"/>
                </a:lnTo>
                <a:lnTo>
                  <a:pt x="894" y="912"/>
                </a:lnTo>
                <a:lnTo>
                  <a:pt x="900" y="918"/>
                </a:lnTo>
                <a:lnTo>
                  <a:pt x="900" y="924"/>
                </a:lnTo>
                <a:lnTo>
                  <a:pt x="900" y="948"/>
                </a:lnTo>
                <a:lnTo>
                  <a:pt x="888" y="948"/>
                </a:lnTo>
                <a:lnTo>
                  <a:pt x="888" y="954"/>
                </a:lnTo>
                <a:lnTo>
                  <a:pt x="894" y="954"/>
                </a:lnTo>
                <a:lnTo>
                  <a:pt x="900" y="960"/>
                </a:lnTo>
                <a:lnTo>
                  <a:pt x="900" y="972"/>
                </a:lnTo>
                <a:lnTo>
                  <a:pt x="906" y="984"/>
                </a:lnTo>
                <a:lnTo>
                  <a:pt x="912" y="984"/>
                </a:lnTo>
                <a:lnTo>
                  <a:pt x="918" y="990"/>
                </a:lnTo>
                <a:lnTo>
                  <a:pt x="936" y="990"/>
                </a:lnTo>
                <a:lnTo>
                  <a:pt x="936" y="996"/>
                </a:lnTo>
                <a:lnTo>
                  <a:pt x="942" y="996"/>
                </a:lnTo>
                <a:lnTo>
                  <a:pt x="942" y="1002"/>
                </a:lnTo>
                <a:lnTo>
                  <a:pt x="942" y="1008"/>
                </a:lnTo>
                <a:lnTo>
                  <a:pt x="948" y="1008"/>
                </a:lnTo>
                <a:lnTo>
                  <a:pt x="948" y="1014"/>
                </a:lnTo>
                <a:lnTo>
                  <a:pt x="948" y="1020"/>
                </a:lnTo>
                <a:lnTo>
                  <a:pt x="954" y="1032"/>
                </a:lnTo>
                <a:lnTo>
                  <a:pt x="948" y="1038"/>
                </a:lnTo>
                <a:lnTo>
                  <a:pt x="954" y="1044"/>
                </a:lnTo>
                <a:lnTo>
                  <a:pt x="954" y="1056"/>
                </a:lnTo>
                <a:lnTo>
                  <a:pt x="960" y="1056"/>
                </a:lnTo>
                <a:lnTo>
                  <a:pt x="960" y="1062"/>
                </a:lnTo>
                <a:lnTo>
                  <a:pt x="954" y="1068"/>
                </a:lnTo>
                <a:lnTo>
                  <a:pt x="948" y="1074"/>
                </a:lnTo>
                <a:lnTo>
                  <a:pt x="948" y="1080"/>
                </a:lnTo>
                <a:lnTo>
                  <a:pt x="948" y="1086"/>
                </a:lnTo>
                <a:lnTo>
                  <a:pt x="942" y="1092"/>
                </a:lnTo>
                <a:lnTo>
                  <a:pt x="942" y="1098"/>
                </a:lnTo>
                <a:lnTo>
                  <a:pt x="942" y="1104"/>
                </a:lnTo>
                <a:lnTo>
                  <a:pt x="942" y="1110"/>
                </a:lnTo>
                <a:lnTo>
                  <a:pt x="936" y="1116"/>
                </a:lnTo>
                <a:lnTo>
                  <a:pt x="936" y="1122"/>
                </a:lnTo>
                <a:lnTo>
                  <a:pt x="936" y="1128"/>
                </a:lnTo>
                <a:lnTo>
                  <a:pt x="936" y="1134"/>
                </a:lnTo>
                <a:lnTo>
                  <a:pt x="942" y="1146"/>
                </a:lnTo>
                <a:lnTo>
                  <a:pt x="936" y="1158"/>
                </a:lnTo>
                <a:lnTo>
                  <a:pt x="936" y="1170"/>
                </a:lnTo>
                <a:lnTo>
                  <a:pt x="936" y="1194"/>
                </a:lnTo>
                <a:lnTo>
                  <a:pt x="930" y="1200"/>
                </a:lnTo>
                <a:lnTo>
                  <a:pt x="930" y="1212"/>
                </a:lnTo>
                <a:lnTo>
                  <a:pt x="918" y="1218"/>
                </a:lnTo>
                <a:lnTo>
                  <a:pt x="918" y="1230"/>
                </a:lnTo>
                <a:lnTo>
                  <a:pt x="906" y="1230"/>
                </a:lnTo>
                <a:lnTo>
                  <a:pt x="900" y="1254"/>
                </a:lnTo>
                <a:lnTo>
                  <a:pt x="900" y="1260"/>
                </a:lnTo>
                <a:lnTo>
                  <a:pt x="900" y="1266"/>
                </a:lnTo>
                <a:lnTo>
                  <a:pt x="900" y="1272"/>
                </a:lnTo>
                <a:lnTo>
                  <a:pt x="900" y="1278"/>
                </a:lnTo>
                <a:lnTo>
                  <a:pt x="900" y="1284"/>
                </a:lnTo>
                <a:lnTo>
                  <a:pt x="906" y="1290"/>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18443" name="Freeform 5"/>
          <p:cNvSpPr>
            <a:spLocks noEditPoints="1"/>
          </p:cNvSpPr>
          <p:nvPr/>
        </p:nvSpPr>
        <p:spPr bwMode="gray">
          <a:xfrm>
            <a:off x="2779713" y="5883275"/>
            <a:ext cx="615950" cy="574675"/>
          </a:xfrm>
          <a:custGeom>
            <a:avLst/>
            <a:gdLst>
              <a:gd name="T0" fmla="*/ 9386 w 786"/>
              <a:gd name="T1" fmla="*/ 15298 h 714"/>
              <a:gd name="T2" fmla="*/ 17208 w 786"/>
              <a:gd name="T3" fmla="*/ 14493 h 714"/>
              <a:gd name="T4" fmla="*/ 21119 w 786"/>
              <a:gd name="T5" fmla="*/ 13688 h 714"/>
              <a:gd name="T6" fmla="*/ 23466 w 786"/>
              <a:gd name="T7" fmla="*/ 11272 h 714"/>
              <a:gd name="T8" fmla="*/ 28941 w 786"/>
              <a:gd name="T9" fmla="*/ 12883 h 714"/>
              <a:gd name="T10" fmla="*/ 33634 w 786"/>
              <a:gd name="T11" fmla="*/ 10467 h 714"/>
              <a:gd name="T12" fmla="*/ 37545 w 786"/>
              <a:gd name="T13" fmla="*/ 6441 h 714"/>
              <a:gd name="T14" fmla="*/ 43021 w 786"/>
              <a:gd name="T15" fmla="*/ 3221 h 714"/>
              <a:gd name="T16" fmla="*/ 51625 w 786"/>
              <a:gd name="T17" fmla="*/ 0 h 714"/>
              <a:gd name="T18" fmla="*/ 49278 w 786"/>
              <a:gd name="T19" fmla="*/ 9662 h 714"/>
              <a:gd name="T20" fmla="*/ 46149 w 786"/>
              <a:gd name="T21" fmla="*/ 15298 h 714"/>
              <a:gd name="T22" fmla="*/ 44585 w 786"/>
              <a:gd name="T23" fmla="*/ 23350 h 714"/>
              <a:gd name="T24" fmla="*/ 46149 w 786"/>
              <a:gd name="T25" fmla="*/ 28986 h 714"/>
              <a:gd name="T26" fmla="*/ 51625 w 786"/>
              <a:gd name="T27" fmla="*/ 28181 h 714"/>
              <a:gd name="T28" fmla="*/ 50060 w 786"/>
              <a:gd name="T29" fmla="*/ 33012 h 714"/>
              <a:gd name="T30" fmla="*/ 50060 w 786"/>
              <a:gd name="T31" fmla="*/ 38648 h 714"/>
              <a:gd name="T32" fmla="*/ 49278 w 786"/>
              <a:gd name="T33" fmla="*/ 45090 h 714"/>
              <a:gd name="T34" fmla="*/ 46932 w 786"/>
              <a:gd name="T35" fmla="*/ 48310 h 714"/>
              <a:gd name="T36" fmla="*/ 44585 w 786"/>
              <a:gd name="T37" fmla="*/ 46700 h 714"/>
              <a:gd name="T38" fmla="*/ 42238 w 786"/>
              <a:gd name="T39" fmla="*/ 43479 h 714"/>
              <a:gd name="T40" fmla="*/ 41456 w 786"/>
              <a:gd name="T41" fmla="*/ 41064 h 714"/>
              <a:gd name="T42" fmla="*/ 39892 w 786"/>
              <a:gd name="T43" fmla="*/ 42674 h 714"/>
              <a:gd name="T44" fmla="*/ 38327 w 786"/>
              <a:gd name="T45" fmla="*/ 43479 h 714"/>
              <a:gd name="T46" fmla="*/ 36763 w 786"/>
              <a:gd name="T47" fmla="*/ 40259 h 714"/>
              <a:gd name="T48" fmla="*/ 37545 w 786"/>
              <a:gd name="T49" fmla="*/ 43479 h 714"/>
              <a:gd name="T50" fmla="*/ 36763 w 786"/>
              <a:gd name="T51" fmla="*/ 43479 h 714"/>
              <a:gd name="T52" fmla="*/ 35981 w 786"/>
              <a:gd name="T53" fmla="*/ 47505 h 714"/>
              <a:gd name="T54" fmla="*/ 36763 w 786"/>
              <a:gd name="T55" fmla="*/ 49921 h 714"/>
              <a:gd name="T56" fmla="*/ 32852 w 786"/>
              <a:gd name="T57" fmla="*/ 49921 h 714"/>
              <a:gd name="T58" fmla="*/ 30505 w 786"/>
              <a:gd name="T59" fmla="*/ 45895 h 714"/>
              <a:gd name="T60" fmla="*/ 31288 w 786"/>
              <a:gd name="T61" fmla="*/ 43479 h 714"/>
              <a:gd name="T62" fmla="*/ 33634 w 786"/>
              <a:gd name="T63" fmla="*/ 44285 h 714"/>
              <a:gd name="T64" fmla="*/ 31288 w 786"/>
              <a:gd name="T65" fmla="*/ 42674 h 714"/>
              <a:gd name="T66" fmla="*/ 29723 w 786"/>
              <a:gd name="T67" fmla="*/ 45895 h 714"/>
              <a:gd name="T68" fmla="*/ 28941 w 786"/>
              <a:gd name="T69" fmla="*/ 45895 h 714"/>
              <a:gd name="T70" fmla="*/ 28941 w 786"/>
              <a:gd name="T71" fmla="*/ 48310 h 714"/>
              <a:gd name="T72" fmla="*/ 25812 w 786"/>
              <a:gd name="T73" fmla="*/ 45090 h 714"/>
              <a:gd name="T74" fmla="*/ 25030 w 786"/>
              <a:gd name="T75" fmla="*/ 46700 h 714"/>
              <a:gd name="T76" fmla="*/ 20337 w 786"/>
              <a:gd name="T77" fmla="*/ 43479 h 714"/>
              <a:gd name="T78" fmla="*/ 20337 w 786"/>
              <a:gd name="T79" fmla="*/ 43479 h 714"/>
              <a:gd name="T80" fmla="*/ 18773 w 786"/>
              <a:gd name="T81" fmla="*/ 41064 h 714"/>
              <a:gd name="T82" fmla="*/ 17208 w 786"/>
              <a:gd name="T83" fmla="*/ 41064 h 714"/>
              <a:gd name="T84" fmla="*/ 15644 w 786"/>
              <a:gd name="T85" fmla="*/ 40259 h 714"/>
              <a:gd name="T86" fmla="*/ 15644 w 786"/>
              <a:gd name="T87" fmla="*/ 38648 h 714"/>
              <a:gd name="T88" fmla="*/ 14079 w 786"/>
              <a:gd name="T89" fmla="*/ 37843 h 714"/>
              <a:gd name="T90" fmla="*/ 11733 w 786"/>
              <a:gd name="T91" fmla="*/ 36233 h 714"/>
              <a:gd name="T92" fmla="*/ 8604 w 786"/>
              <a:gd name="T93" fmla="*/ 31402 h 714"/>
              <a:gd name="T94" fmla="*/ 9386 w 786"/>
              <a:gd name="T95" fmla="*/ 28986 h 714"/>
              <a:gd name="T96" fmla="*/ 5475 w 786"/>
              <a:gd name="T97" fmla="*/ 26571 h 714"/>
              <a:gd name="T98" fmla="*/ 3911 w 786"/>
              <a:gd name="T99" fmla="*/ 22545 h 714"/>
              <a:gd name="T100" fmla="*/ 5475 w 786"/>
              <a:gd name="T101" fmla="*/ 24155 h 714"/>
              <a:gd name="T102" fmla="*/ 3129 w 786"/>
              <a:gd name="T103" fmla="*/ 19324 h 714"/>
              <a:gd name="T104" fmla="*/ 1564 w 786"/>
              <a:gd name="T105" fmla="*/ 16103 h 714"/>
              <a:gd name="T106" fmla="*/ 0 w 786"/>
              <a:gd name="T107" fmla="*/ 12078 h 714"/>
              <a:gd name="T108" fmla="*/ 3129 w 786"/>
              <a:gd name="T109" fmla="*/ 12883 h 714"/>
              <a:gd name="T110" fmla="*/ 43021 w 786"/>
              <a:gd name="T111" fmla="*/ 48310 h 714"/>
              <a:gd name="T112" fmla="*/ 36763 w 786"/>
              <a:gd name="T113" fmla="*/ 48310 h 714"/>
              <a:gd name="T114" fmla="*/ 39892 w 786"/>
              <a:gd name="T115" fmla="*/ 43479 h 714"/>
              <a:gd name="T116" fmla="*/ 42238 w 786"/>
              <a:gd name="T117" fmla="*/ 45090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6"/>
              <a:gd name="T178" fmla="*/ 0 h 714"/>
              <a:gd name="T179" fmla="*/ 786 w 786"/>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6" h="714">
                <a:moveTo>
                  <a:pt x="54" y="186"/>
                </a:moveTo>
                <a:lnTo>
                  <a:pt x="54" y="192"/>
                </a:lnTo>
                <a:lnTo>
                  <a:pt x="72" y="192"/>
                </a:lnTo>
                <a:lnTo>
                  <a:pt x="78" y="192"/>
                </a:lnTo>
                <a:lnTo>
                  <a:pt x="84" y="192"/>
                </a:lnTo>
                <a:lnTo>
                  <a:pt x="90" y="204"/>
                </a:lnTo>
                <a:lnTo>
                  <a:pt x="102" y="210"/>
                </a:lnTo>
                <a:lnTo>
                  <a:pt x="108" y="210"/>
                </a:lnTo>
                <a:lnTo>
                  <a:pt x="120" y="210"/>
                </a:lnTo>
                <a:lnTo>
                  <a:pt x="126" y="210"/>
                </a:lnTo>
                <a:lnTo>
                  <a:pt x="132" y="210"/>
                </a:lnTo>
                <a:lnTo>
                  <a:pt x="132" y="216"/>
                </a:lnTo>
                <a:lnTo>
                  <a:pt x="138" y="222"/>
                </a:lnTo>
                <a:lnTo>
                  <a:pt x="150" y="222"/>
                </a:lnTo>
                <a:lnTo>
                  <a:pt x="162" y="234"/>
                </a:lnTo>
                <a:lnTo>
                  <a:pt x="168" y="240"/>
                </a:lnTo>
                <a:lnTo>
                  <a:pt x="180" y="240"/>
                </a:lnTo>
                <a:lnTo>
                  <a:pt x="186" y="228"/>
                </a:lnTo>
                <a:lnTo>
                  <a:pt x="210" y="234"/>
                </a:lnTo>
                <a:lnTo>
                  <a:pt x="222" y="228"/>
                </a:lnTo>
                <a:lnTo>
                  <a:pt x="228" y="216"/>
                </a:lnTo>
                <a:lnTo>
                  <a:pt x="234" y="210"/>
                </a:lnTo>
                <a:lnTo>
                  <a:pt x="240" y="216"/>
                </a:lnTo>
                <a:lnTo>
                  <a:pt x="246" y="210"/>
                </a:lnTo>
                <a:lnTo>
                  <a:pt x="252" y="210"/>
                </a:lnTo>
                <a:lnTo>
                  <a:pt x="258" y="210"/>
                </a:lnTo>
                <a:lnTo>
                  <a:pt x="258" y="204"/>
                </a:lnTo>
                <a:lnTo>
                  <a:pt x="264" y="204"/>
                </a:lnTo>
                <a:lnTo>
                  <a:pt x="264" y="192"/>
                </a:lnTo>
                <a:lnTo>
                  <a:pt x="270" y="192"/>
                </a:lnTo>
                <a:lnTo>
                  <a:pt x="276" y="192"/>
                </a:lnTo>
                <a:lnTo>
                  <a:pt x="282" y="192"/>
                </a:lnTo>
                <a:lnTo>
                  <a:pt x="288" y="198"/>
                </a:lnTo>
                <a:lnTo>
                  <a:pt x="294" y="198"/>
                </a:lnTo>
                <a:lnTo>
                  <a:pt x="294" y="192"/>
                </a:lnTo>
                <a:lnTo>
                  <a:pt x="300" y="198"/>
                </a:lnTo>
                <a:lnTo>
                  <a:pt x="300" y="204"/>
                </a:lnTo>
                <a:lnTo>
                  <a:pt x="306" y="204"/>
                </a:lnTo>
                <a:lnTo>
                  <a:pt x="306" y="198"/>
                </a:lnTo>
                <a:lnTo>
                  <a:pt x="312" y="198"/>
                </a:lnTo>
                <a:lnTo>
                  <a:pt x="312" y="204"/>
                </a:lnTo>
                <a:lnTo>
                  <a:pt x="318" y="204"/>
                </a:lnTo>
                <a:lnTo>
                  <a:pt x="318" y="192"/>
                </a:lnTo>
                <a:lnTo>
                  <a:pt x="324" y="186"/>
                </a:lnTo>
                <a:lnTo>
                  <a:pt x="318" y="180"/>
                </a:lnTo>
                <a:lnTo>
                  <a:pt x="324" y="180"/>
                </a:lnTo>
                <a:lnTo>
                  <a:pt x="330" y="186"/>
                </a:lnTo>
                <a:lnTo>
                  <a:pt x="336" y="180"/>
                </a:lnTo>
                <a:lnTo>
                  <a:pt x="342" y="180"/>
                </a:lnTo>
                <a:lnTo>
                  <a:pt x="348" y="174"/>
                </a:lnTo>
                <a:lnTo>
                  <a:pt x="348" y="168"/>
                </a:lnTo>
                <a:lnTo>
                  <a:pt x="348" y="162"/>
                </a:lnTo>
                <a:lnTo>
                  <a:pt x="354" y="156"/>
                </a:lnTo>
                <a:lnTo>
                  <a:pt x="354" y="150"/>
                </a:lnTo>
                <a:lnTo>
                  <a:pt x="354" y="144"/>
                </a:lnTo>
                <a:lnTo>
                  <a:pt x="360" y="144"/>
                </a:lnTo>
                <a:lnTo>
                  <a:pt x="372" y="156"/>
                </a:lnTo>
                <a:lnTo>
                  <a:pt x="372" y="162"/>
                </a:lnTo>
                <a:lnTo>
                  <a:pt x="378" y="162"/>
                </a:lnTo>
                <a:lnTo>
                  <a:pt x="384" y="162"/>
                </a:lnTo>
                <a:lnTo>
                  <a:pt x="396" y="168"/>
                </a:lnTo>
                <a:lnTo>
                  <a:pt x="396" y="174"/>
                </a:lnTo>
                <a:lnTo>
                  <a:pt x="408" y="186"/>
                </a:lnTo>
                <a:lnTo>
                  <a:pt x="414" y="186"/>
                </a:lnTo>
                <a:lnTo>
                  <a:pt x="426" y="186"/>
                </a:lnTo>
                <a:lnTo>
                  <a:pt x="432" y="186"/>
                </a:lnTo>
                <a:lnTo>
                  <a:pt x="438" y="180"/>
                </a:lnTo>
                <a:lnTo>
                  <a:pt x="438" y="168"/>
                </a:lnTo>
                <a:lnTo>
                  <a:pt x="438" y="162"/>
                </a:lnTo>
                <a:lnTo>
                  <a:pt x="444" y="156"/>
                </a:lnTo>
                <a:lnTo>
                  <a:pt x="450" y="156"/>
                </a:lnTo>
                <a:lnTo>
                  <a:pt x="456" y="150"/>
                </a:lnTo>
                <a:lnTo>
                  <a:pt x="462" y="156"/>
                </a:lnTo>
                <a:lnTo>
                  <a:pt x="468" y="162"/>
                </a:lnTo>
                <a:lnTo>
                  <a:pt x="474" y="162"/>
                </a:lnTo>
                <a:lnTo>
                  <a:pt x="486" y="162"/>
                </a:lnTo>
                <a:lnTo>
                  <a:pt x="492" y="156"/>
                </a:lnTo>
                <a:lnTo>
                  <a:pt x="498" y="150"/>
                </a:lnTo>
                <a:lnTo>
                  <a:pt x="504" y="150"/>
                </a:lnTo>
                <a:lnTo>
                  <a:pt x="510" y="144"/>
                </a:lnTo>
                <a:lnTo>
                  <a:pt x="522" y="144"/>
                </a:lnTo>
                <a:lnTo>
                  <a:pt x="528" y="138"/>
                </a:lnTo>
                <a:lnTo>
                  <a:pt x="528" y="132"/>
                </a:lnTo>
                <a:lnTo>
                  <a:pt x="528" y="126"/>
                </a:lnTo>
                <a:lnTo>
                  <a:pt x="522" y="120"/>
                </a:lnTo>
                <a:lnTo>
                  <a:pt x="522" y="114"/>
                </a:lnTo>
                <a:lnTo>
                  <a:pt x="522" y="108"/>
                </a:lnTo>
                <a:lnTo>
                  <a:pt x="522" y="102"/>
                </a:lnTo>
                <a:lnTo>
                  <a:pt x="528" y="102"/>
                </a:lnTo>
                <a:lnTo>
                  <a:pt x="534" y="96"/>
                </a:lnTo>
                <a:lnTo>
                  <a:pt x="552" y="96"/>
                </a:lnTo>
                <a:lnTo>
                  <a:pt x="570" y="102"/>
                </a:lnTo>
                <a:lnTo>
                  <a:pt x="582" y="96"/>
                </a:lnTo>
                <a:lnTo>
                  <a:pt x="582" y="90"/>
                </a:lnTo>
                <a:lnTo>
                  <a:pt x="582" y="78"/>
                </a:lnTo>
                <a:lnTo>
                  <a:pt x="582" y="72"/>
                </a:lnTo>
                <a:lnTo>
                  <a:pt x="582" y="66"/>
                </a:lnTo>
                <a:lnTo>
                  <a:pt x="594" y="60"/>
                </a:lnTo>
                <a:lnTo>
                  <a:pt x="600" y="60"/>
                </a:lnTo>
                <a:lnTo>
                  <a:pt x="606" y="54"/>
                </a:lnTo>
                <a:lnTo>
                  <a:pt x="618" y="48"/>
                </a:lnTo>
                <a:lnTo>
                  <a:pt x="618" y="42"/>
                </a:lnTo>
                <a:lnTo>
                  <a:pt x="624" y="42"/>
                </a:lnTo>
                <a:lnTo>
                  <a:pt x="636" y="48"/>
                </a:lnTo>
                <a:lnTo>
                  <a:pt x="648" y="54"/>
                </a:lnTo>
                <a:lnTo>
                  <a:pt x="660" y="54"/>
                </a:lnTo>
                <a:lnTo>
                  <a:pt x="666" y="60"/>
                </a:lnTo>
                <a:lnTo>
                  <a:pt x="672" y="54"/>
                </a:lnTo>
                <a:lnTo>
                  <a:pt x="684" y="48"/>
                </a:lnTo>
                <a:lnTo>
                  <a:pt x="708" y="42"/>
                </a:lnTo>
                <a:lnTo>
                  <a:pt x="714" y="42"/>
                </a:lnTo>
                <a:lnTo>
                  <a:pt x="720" y="36"/>
                </a:lnTo>
                <a:lnTo>
                  <a:pt x="720" y="30"/>
                </a:lnTo>
                <a:lnTo>
                  <a:pt x="714" y="12"/>
                </a:lnTo>
                <a:lnTo>
                  <a:pt x="708" y="0"/>
                </a:lnTo>
                <a:lnTo>
                  <a:pt x="738" y="6"/>
                </a:lnTo>
                <a:lnTo>
                  <a:pt x="756" y="6"/>
                </a:lnTo>
                <a:lnTo>
                  <a:pt x="762" y="42"/>
                </a:lnTo>
                <a:lnTo>
                  <a:pt x="738" y="72"/>
                </a:lnTo>
                <a:lnTo>
                  <a:pt x="750" y="90"/>
                </a:lnTo>
                <a:lnTo>
                  <a:pt x="762" y="96"/>
                </a:lnTo>
                <a:lnTo>
                  <a:pt x="756" y="102"/>
                </a:lnTo>
                <a:lnTo>
                  <a:pt x="750" y="108"/>
                </a:lnTo>
                <a:lnTo>
                  <a:pt x="750" y="114"/>
                </a:lnTo>
                <a:lnTo>
                  <a:pt x="750" y="120"/>
                </a:lnTo>
                <a:lnTo>
                  <a:pt x="750" y="126"/>
                </a:lnTo>
                <a:lnTo>
                  <a:pt x="750" y="132"/>
                </a:lnTo>
                <a:lnTo>
                  <a:pt x="738" y="132"/>
                </a:lnTo>
                <a:lnTo>
                  <a:pt x="732" y="138"/>
                </a:lnTo>
                <a:lnTo>
                  <a:pt x="726" y="138"/>
                </a:lnTo>
                <a:lnTo>
                  <a:pt x="720" y="144"/>
                </a:lnTo>
                <a:lnTo>
                  <a:pt x="714" y="144"/>
                </a:lnTo>
                <a:lnTo>
                  <a:pt x="714" y="150"/>
                </a:lnTo>
                <a:lnTo>
                  <a:pt x="720" y="156"/>
                </a:lnTo>
                <a:lnTo>
                  <a:pt x="720" y="162"/>
                </a:lnTo>
                <a:lnTo>
                  <a:pt x="714" y="162"/>
                </a:lnTo>
                <a:lnTo>
                  <a:pt x="708" y="168"/>
                </a:lnTo>
                <a:lnTo>
                  <a:pt x="708" y="180"/>
                </a:lnTo>
                <a:lnTo>
                  <a:pt x="708" y="192"/>
                </a:lnTo>
                <a:lnTo>
                  <a:pt x="696" y="198"/>
                </a:lnTo>
                <a:lnTo>
                  <a:pt x="696" y="204"/>
                </a:lnTo>
                <a:lnTo>
                  <a:pt x="684" y="210"/>
                </a:lnTo>
                <a:lnTo>
                  <a:pt x="684" y="216"/>
                </a:lnTo>
                <a:lnTo>
                  <a:pt x="684" y="222"/>
                </a:lnTo>
                <a:lnTo>
                  <a:pt x="678" y="228"/>
                </a:lnTo>
                <a:lnTo>
                  <a:pt x="678" y="234"/>
                </a:lnTo>
                <a:lnTo>
                  <a:pt x="672" y="240"/>
                </a:lnTo>
                <a:lnTo>
                  <a:pt x="672" y="252"/>
                </a:lnTo>
                <a:lnTo>
                  <a:pt x="672" y="258"/>
                </a:lnTo>
                <a:lnTo>
                  <a:pt x="666" y="264"/>
                </a:lnTo>
                <a:lnTo>
                  <a:pt x="678" y="264"/>
                </a:lnTo>
                <a:lnTo>
                  <a:pt x="684" y="276"/>
                </a:lnTo>
                <a:lnTo>
                  <a:pt x="684" y="288"/>
                </a:lnTo>
                <a:lnTo>
                  <a:pt x="672" y="300"/>
                </a:lnTo>
                <a:lnTo>
                  <a:pt x="660" y="318"/>
                </a:lnTo>
                <a:lnTo>
                  <a:pt x="660" y="336"/>
                </a:lnTo>
                <a:lnTo>
                  <a:pt x="654" y="342"/>
                </a:lnTo>
                <a:lnTo>
                  <a:pt x="660" y="354"/>
                </a:lnTo>
                <a:lnTo>
                  <a:pt x="660" y="366"/>
                </a:lnTo>
                <a:lnTo>
                  <a:pt x="666" y="378"/>
                </a:lnTo>
                <a:lnTo>
                  <a:pt x="672" y="390"/>
                </a:lnTo>
                <a:lnTo>
                  <a:pt x="678" y="396"/>
                </a:lnTo>
                <a:lnTo>
                  <a:pt x="684" y="390"/>
                </a:lnTo>
                <a:lnTo>
                  <a:pt x="690" y="390"/>
                </a:lnTo>
                <a:lnTo>
                  <a:pt x="690" y="396"/>
                </a:lnTo>
                <a:lnTo>
                  <a:pt x="684" y="396"/>
                </a:lnTo>
                <a:lnTo>
                  <a:pt x="684" y="402"/>
                </a:lnTo>
                <a:lnTo>
                  <a:pt x="684" y="408"/>
                </a:lnTo>
                <a:lnTo>
                  <a:pt x="678" y="414"/>
                </a:lnTo>
                <a:lnTo>
                  <a:pt x="684" y="414"/>
                </a:lnTo>
                <a:lnTo>
                  <a:pt x="684" y="420"/>
                </a:lnTo>
                <a:lnTo>
                  <a:pt x="684" y="426"/>
                </a:lnTo>
                <a:lnTo>
                  <a:pt x="690" y="420"/>
                </a:lnTo>
                <a:lnTo>
                  <a:pt x="696" y="420"/>
                </a:lnTo>
                <a:lnTo>
                  <a:pt x="696" y="426"/>
                </a:lnTo>
                <a:lnTo>
                  <a:pt x="690" y="426"/>
                </a:lnTo>
                <a:lnTo>
                  <a:pt x="696" y="426"/>
                </a:lnTo>
                <a:lnTo>
                  <a:pt x="708" y="426"/>
                </a:lnTo>
                <a:lnTo>
                  <a:pt x="726" y="414"/>
                </a:lnTo>
                <a:lnTo>
                  <a:pt x="732" y="408"/>
                </a:lnTo>
                <a:lnTo>
                  <a:pt x="744" y="402"/>
                </a:lnTo>
                <a:lnTo>
                  <a:pt x="756" y="402"/>
                </a:lnTo>
                <a:lnTo>
                  <a:pt x="768" y="402"/>
                </a:lnTo>
                <a:lnTo>
                  <a:pt x="786" y="408"/>
                </a:lnTo>
                <a:lnTo>
                  <a:pt x="786" y="414"/>
                </a:lnTo>
                <a:lnTo>
                  <a:pt x="774" y="420"/>
                </a:lnTo>
                <a:lnTo>
                  <a:pt x="774" y="426"/>
                </a:lnTo>
                <a:lnTo>
                  <a:pt x="768" y="432"/>
                </a:lnTo>
                <a:lnTo>
                  <a:pt x="762" y="438"/>
                </a:lnTo>
                <a:lnTo>
                  <a:pt x="756" y="438"/>
                </a:lnTo>
                <a:lnTo>
                  <a:pt x="756" y="444"/>
                </a:lnTo>
                <a:lnTo>
                  <a:pt x="756" y="450"/>
                </a:lnTo>
                <a:lnTo>
                  <a:pt x="762" y="450"/>
                </a:lnTo>
                <a:lnTo>
                  <a:pt x="750" y="456"/>
                </a:lnTo>
                <a:lnTo>
                  <a:pt x="738" y="468"/>
                </a:lnTo>
                <a:lnTo>
                  <a:pt x="726" y="480"/>
                </a:lnTo>
                <a:lnTo>
                  <a:pt x="726" y="486"/>
                </a:lnTo>
                <a:lnTo>
                  <a:pt x="732" y="486"/>
                </a:lnTo>
                <a:lnTo>
                  <a:pt x="732" y="492"/>
                </a:lnTo>
                <a:lnTo>
                  <a:pt x="732" y="504"/>
                </a:lnTo>
                <a:lnTo>
                  <a:pt x="738" y="504"/>
                </a:lnTo>
                <a:lnTo>
                  <a:pt x="744" y="510"/>
                </a:lnTo>
                <a:lnTo>
                  <a:pt x="738" y="522"/>
                </a:lnTo>
                <a:lnTo>
                  <a:pt x="744" y="528"/>
                </a:lnTo>
                <a:lnTo>
                  <a:pt x="756" y="534"/>
                </a:lnTo>
                <a:lnTo>
                  <a:pt x="756" y="540"/>
                </a:lnTo>
                <a:lnTo>
                  <a:pt x="744" y="552"/>
                </a:lnTo>
                <a:lnTo>
                  <a:pt x="738" y="552"/>
                </a:lnTo>
                <a:lnTo>
                  <a:pt x="738" y="558"/>
                </a:lnTo>
                <a:lnTo>
                  <a:pt x="744" y="558"/>
                </a:lnTo>
                <a:lnTo>
                  <a:pt x="744" y="564"/>
                </a:lnTo>
                <a:lnTo>
                  <a:pt x="750" y="564"/>
                </a:lnTo>
                <a:lnTo>
                  <a:pt x="744" y="576"/>
                </a:lnTo>
                <a:lnTo>
                  <a:pt x="738" y="588"/>
                </a:lnTo>
                <a:lnTo>
                  <a:pt x="738" y="594"/>
                </a:lnTo>
                <a:lnTo>
                  <a:pt x="738" y="600"/>
                </a:lnTo>
                <a:lnTo>
                  <a:pt x="738" y="606"/>
                </a:lnTo>
                <a:lnTo>
                  <a:pt x="732" y="612"/>
                </a:lnTo>
                <a:lnTo>
                  <a:pt x="726" y="624"/>
                </a:lnTo>
                <a:lnTo>
                  <a:pt x="726" y="636"/>
                </a:lnTo>
                <a:lnTo>
                  <a:pt x="726" y="648"/>
                </a:lnTo>
                <a:lnTo>
                  <a:pt x="738" y="654"/>
                </a:lnTo>
                <a:lnTo>
                  <a:pt x="750" y="660"/>
                </a:lnTo>
                <a:lnTo>
                  <a:pt x="750" y="666"/>
                </a:lnTo>
                <a:lnTo>
                  <a:pt x="750" y="678"/>
                </a:lnTo>
                <a:lnTo>
                  <a:pt x="744" y="678"/>
                </a:lnTo>
                <a:lnTo>
                  <a:pt x="738" y="684"/>
                </a:lnTo>
                <a:lnTo>
                  <a:pt x="732" y="684"/>
                </a:lnTo>
                <a:lnTo>
                  <a:pt x="720" y="678"/>
                </a:lnTo>
                <a:lnTo>
                  <a:pt x="714" y="684"/>
                </a:lnTo>
                <a:lnTo>
                  <a:pt x="708" y="684"/>
                </a:lnTo>
                <a:lnTo>
                  <a:pt x="702" y="684"/>
                </a:lnTo>
                <a:lnTo>
                  <a:pt x="696" y="684"/>
                </a:lnTo>
                <a:lnTo>
                  <a:pt x="690" y="690"/>
                </a:lnTo>
                <a:lnTo>
                  <a:pt x="690" y="684"/>
                </a:lnTo>
                <a:lnTo>
                  <a:pt x="690" y="690"/>
                </a:lnTo>
                <a:lnTo>
                  <a:pt x="684" y="690"/>
                </a:lnTo>
                <a:lnTo>
                  <a:pt x="684" y="684"/>
                </a:lnTo>
                <a:lnTo>
                  <a:pt x="678" y="684"/>
                </a:lnTo>
                <a:lnTo>
                  <a:pt x="672" y="678"/>
                </a:lnTo>
                <a:lnTo>
                  <a:pt x="672" y="672"/>
                </a:lnTo>
                <a:lnTo>
                  <a:pt x="678" y="672"/>
                </a:lnTo>
                <a:lnTo>
                  <a:pt x="672" y="672"/>
                </a:lnTo>
                <a:lnTo>
                  <a:pt x="666" y="672"/>
                </a:lnTo>
                <a:lnTo>
                  <a:pt x="660" y="672"/>
                </a:lnTo>
                <a:lnTo>
                  <a:pt x="654" y="672"/>
                </a:lnTo>
                <a:lnTo>
                  <a:pt x="654" y="666"/>
                </a:lnTo>
                <a:lnTo>
                  <a:pt x="648" y="666"/>
                </a:lnTo>
                <a:lnTo>
                  <a:pt x="642" y="660"/>
                </a:lnTo>
                <a:lnTo>
                  <a:pt x="642" y="654"/>
                </a:lnTo>
                <a:lnTo>
                  <a:pt x="642" y="648"/>
                </a:lnTo>
                <a:lnTo>
                  <a:pt x="636" y="648"/>
                </a:lnTo>
                <a:lnTo>
                  <a:pt x="630" y="648"/>
                </a:lnTo>
                <a:lnTo>
                  <a:pt x="624" y="648"/>
                </a:lnTo>
                <a:lnTo>
                  <a:pt x="624" y="642"/>
                </a:lnTo>
                <a:lnTo>
                  <a:pt x="618" y="636"/>
                </a:lnTo>
                <a:lnTo>
                  <a:pt x="624" y="636"/>
                </a:lnTo>
                <a:lnTo>
                  <a:pt x="624" y="630"/>
                </a:lnTo>
                <a:lnTo>
                  <a:pt x="618" y="630"/>
                </a:lnTo>
                <a:lnTo>
                  <a:pt x="618" y="624"/>
                </a:lnTo>
                <a:lnTo>
                  <a:pt x="618" y="618"/>
                </a:lnTo>
                <a:lnTo>
                  <a:pt x="618" y="612"/>
                </a:lnTo>
                <a:lnTo>
                  <a:pt x="618" y="606"/>
                </a:lnTo>
                <a:lnTo>
                  <a:pt x="624" y="606"/>
                </a:lnTo>
                <a:lnTo>
                  <a:pt x="624" y="600"/>
                </a:lnTo>
                <a:lnTo>
                  <a:pt x="618" y="600"/>
                </a:lnTo>
                <a:lnTo>
                  <a:pt x="618" y="594"/>
                </a:lnTo>
                <a:lnTo>
                  <a:pt x="618" y="588"/>
                </a:lnTo>
                <a:lnTo>
                  <a:pt x="618" y="582"/>
                </a:lnTo>
                <a:lnTo>
                  <a:pt x="612" y="582"/>
                </a:lnTo>
                <a:lnTo>
                  <a:pt x="606" y="582"/>
                </a:lnTo>
                <a:lnTo>
                  <a:pt x="612" y="582"/>
                </a:lnTo>
                <a:lnTo>
                  <a:pt x="612" y="588"/>
                </a:lnTo>
                <a:lnTo>
                  <a:pt x="612" y="594"/>
                </a:lnTo>
                <a:lnTo>
                  <a:pt x="618" y="594"/>
                </a:lnTo>
                <a:lnTo>
                  <a:pt x="618" y="600"/>
                </a:lnTo>
                <a:lnTo>
                  <a:pt x="618" y="606"/>
                </a:lnTo>
                <a:lnTo>
                  <a:pt x="618" y="612"/>
                </a:lnTo>
                <a:lnTo>
                  <a:pt x="612" y="612"/>
                </a:lnTo>
                <a:lnTo>
                  <a:pt x="612" y="618"/>
                </a:lnTo>
                <a:lnTo>
                  <a:pt x="606" y="612"/>
                </a:lnTo>
                <a:lnTo>
                  <a:pt x="600" y="612"/>
                </a:lnTo>
                <a:lnTo>
                  <a:pt x="594" y="612"/>
                </a:lnTo>
                <a:lnTo>
                  <a:pt x="588" y="606"/>
                </a:lnTo>
                <a:lnTo>
                  <a:pt x="588" y="612"/>
                </a:lnTo>
                <a:lnTo>
                  <a:pt x="594" y="612"/>
                </a:lnTo>
                <a:lnTo>
                  <a:pt x="594" y="618"/>
                </a:lnTo>
                <a:lnTo>
                  <a:pt x="588" y="618"/>
                </a:lnTo>
                <a:lnTo>
                  <a:pt x="588" y="624"/>
                </a:lnTo>
                <a:lnTo>
                  <a:pt x="582" y="624"/>
                </a:lnTo>
                <a:lnTo>
                  <a:pt x="582" y="630"/>
                </a:lnTo>
                <a:lnTo>
                  <a:pt x="576" y="630"/>
                </a:lnTo>
                <a:lnTo>
                  <a:pt x="576" y="636"/>
                </a:lnTo>
                <a:lnTo>
                  <a:pt x="570" y="636"/>
                </a:lnTo>
                <a:lnTo>
                  <a:pt x="570" y="642"/>
                </a:lnTo>
                <a:lnTo>
                  <a:pt x="564" y="642"/>
                </a:lnTo>
                <a:lnTo>
                  <a:pt x="564" y="636"/>
                </a:lnTo>
                <a:lnTo>
                  <a:pt x="564" y="630"/>
                </a:lnTo>
                <a:lnTo>
                  <a:pt x="564" y="624"/>
                </a:lnTo>
                <a:lnTo>
                  <a:pt x="564" y="618"/>
                </a:lnTo>
                <a:lnTo>
                  <a:pt x="570" y="612"/>
                </a:lnTo>
                <a:lnTo>
                  <a:pt x="564" y="606"/>
                </a:lnTo>
                <a:lnTo>
                  <a:pt x="564" y="600"/>
                </a:lnTo>
                <a:lnTo>
                  <a:pt x="564" y="594"/>
                </a:lnTo>
                <a:lnTo>
                  <a:pt x="558" y="594"/>
                </a:lnTo>
                <a:lnTo>
                  <a:pt x="558" y="588"/>
                </a:lnTo>
                <a:lnTo>
                  <a:pt x="552" y="582"/>
                </a:lnTo>
                <a:lnTo>
                  <a:pt x="552" y="576"/>
                </a:lnTo>
                <a:lnTo>
                  <a:pt x="552" y="570"/>
                </a:lnTo>
                <a:lnTo>
                  <a:pt x="552" y="564"/>
                </a:lnTo>
                <a:lnTo>
                  <a:pt x="546" y="564"/>
                </a:lnTo>
                <a:lnTo>
                  <a:pt x="546" y="570"/>
                </a:lnTo>
                <a:lnTo>
                  <a:pt x="546" y="576"/>
                </a:lnTo>
                <a:lnTo>
                  <a:pt x="546" y="582"/>
                </a:lnTo>
                <a:lnTo>
                  <a:pt x="552" y="582"/>
                </a:lnTo>
                <a:lnTo>
                  <a:pt x="552" y="588"/>
                </a:lnTo>
                <a:lnTo>
                  <a:pt x="558" y="588"/>
                </a:lnTo>
                <a:lnTo>
                  <a:pt x="558" y="594"/>
                </a:lnTo>
                <a:lnTo>
                  <a:pt x="558" y="600"/>
                </a:lnTo>
                <a:lnTo>
                  <a:pt x="558" y="606"/>
                </a:lnTo>
                <a:lnTo>
                  <a:pt x="552" y="612"/>
                </a:lnTo>
                <a:lnTo>
                  <a:pt x="558" y="612"/>
                </a:lnTo>
                <a:lnTo>
                  <a:pt x="558" y="618"/>
                </a:lnTo>
                <a:lnTo>
                  <a:pt x="558" y="624"/>
                </a:lnTo>
                <a:lnTo>
                  <a:pt x="558" y="630"/>
                </a:lnTo>
                <a:lnTo>
                  <a:pt x="552" y="630"/>
                </a:lnTo>
                <a:lnTo>
                  <a:pt x="552" y="624"/>
                </a:lnTo>
                <a:lnTo>
                  <a:pt x="546" y="624"/>
                </a:lnTo>
                <a:lnTo>
                  <a:pt x="546" y="618"/>
                </a:lnTo>
                <a:lnTo>
                  <a:pt x="546" y="612"/>
                </a:lnTo>
                <a:lnTo>
                  <a:pt x="540" y="612"/>
                </a:lnTo>
                <a:lnTo>
                  <a:pt x="534" y="612"/>
                </a:lnTo>
                <a:lnTo>
                  <a:pt x="528" y="612"/>
                </a:lnTo>
                <a:lnTo>
                  <a:pt x="522" y="606"/>
                </a:lnTo>
                <a:lnTo>
                  <a:pt x="522" y="612"/>
                </a:lnTo>
                <a:lnTo>
                  <a:pt x="528" y="618"/>
                </a:lnTo>
                <a:lnTo>
                  <a:pt x="534" y="618"/>
                </a:lnTo>
                <a:lnTo>
                  <a:pt x="540" y="618"/>
                </a:lnTo>
                <a:lnTo>
                  <a:pt x="540" y="624"/>
                </a:lnTo>
                <a:lnTo>
                  <a:pt x="546" y="624"/>
                </a:lnTo>
                <a:lnTo>
                  <a:pt x="546" y="630"/>
                </a:lnTo>
                <a:lnTo>
                  <a:pt x="552" y="630"/>
                </a:lnTo>
                <a:lnTo>
                  <a:pt x="552" y="636"/>
                </a:lnTo>
                <a:lnTo>
                  <a:pt x="546" y="642"/>
                </a:lnTo>
                <a:lnTo>
                  <a:pt x="546" y="648"/>
                </a:lnTo>
                <a:lnTo>
                  <a:pt x="540" y="648"/>
                </a:lnTo>
                <a:lnTo>
                  <a:pt x="540" y="654"/>
                </a:lnTo>
                <a:lnTo>
                  <a:pt x="540" y="660"/>
                </a:lnTo>
                <a:lnTo>
                  <a:pt x="534" y="666"/>
                </a:lnTo>
                <a:lnTo>
                  <a:pt x="534" y="672"/>
                </a:lnTo>
                <a:lnTo>
                  <a:pt x="534" y="678"/>
                </a:lnTo>
                <a:lnTo>
                  <a:pt x="534" y="684"/>
                </a:lnTo>
                <a:lnTo>
                  <a:pt x="534" y="678"/>
                </a:lnTo>
                <a:lnTo>
                  <a:pt x="528" y="678"/>
                </a:lnTo>
                <a:lnTo>
                  <a:pt x="528" y="684"/>
                </a:lnTo>
                <a:lnTo>
                  <a:pt x="522" y="690"/>
                </a:lnTo>
                <a:lnTo>
                  <a:pt x="528" y="690"/>
                </a:lnTo>
                <a:lnTo>
                  <a:pt x="528" y="684"/>
                </a:lnTo>
                <a:lnTo>
                  <a:pt x="534" y="684"/>
                </a:lnTo>
                <a:lnTo>
                  <a:pt x="534" y="690"/>
                </a:lnTo>
                <a:lnTo>
                  <a:pt x="534" y="696"/>
                </a:lnTo>
                <a:lnTo>
                  <a:pt x="540" y="696"/>
                </a:lnTo>
                <a:lnTo>
                  <a:pt x="540" y="702"/>
                </a:lnTo>
                <a:lnTo>
                  <a:pt x="540" y="708"/>
                </a:lnTo>
                <a:lnTo>
                  <a:pt x="534" y="708"/>
                </a:lnTo>
                <a:lnTo>
                  <a:pt x="528" y="708"/>
                </a:lnTo>
                <a:lnTo>
                  <a:pt x="522" y="708"/>
                </a:lnTo>
                <a:lnTo>
                  <a:pt x="516" y="708"/>
                </a:lnTo>
                <a:lnTo>
                  <a:pt x="510" y="708"/>
                </a:lnTo>
                <a:lnTo>
                  <a:pt x="504" y="708"/>
                </a:lnTo>
                <a:lnTo>
                  <a:pt x="498" y="708"/>
                </a:lnTo>
                <a:lnTo>
                  <a:pt x="492" y="708"/>
                </a:lnTo>
                <a:lnTo>
                  <a:pt x="486" y="714"/>
                </a:lnTo>
                <a:lnTo>
                  <a:pt x="480" y="708"/>
                </a:lnTo>
                <a:lnTo>
                  <a:pt x="474" y="708"/>
                </a:lnTo>
                <a:lnTo>
                  <a:pt x="480" y="708"/>
                </a:lnTo>
                <a:lnTo>
                  <a:pt x="480" y="714"/>
                </a:lnTo>
                <a:lnTo>
                  <a:pt x="474" y="714"/>
                </a:lnTo>
                <a:lnTo>
                  <a:pt x="468" y="714"/>
                </a:lnTo>
                <a:lnTo>
                  <a:pt x="456" y="714"/>
                </a:lnTo>
                <a:lnTo>
                  <a:pt x="450" y="714"/>
                </a:lnTo>
                <a:lnTo>
                  <a:pt x="450" y="708"/>
                </a:lnTo>
                <a:lnTo>
                  <a:pt x="450" y="702"/>
                </a:lnTo>
                <a:lnTo>
                  <a:pt x="450" y="696"/>
                </a:lnTo>
                <a:lnTo>
                  <a:pt x="450" y="690"/>
                </a:lnTo>
                <a:lnTo>
                  <a:pt x="450" y="684"/>
                </a:lnTo>
                <a:lnTo>
                  <a:pt x="450" y="678"/>
                </a:lnTo>
                <a:lnTo>
                  <a:pt x="450" y="672"/>
                </a:lnTo>
                <a:lnTo>
                  <a:pt x="450" y="666"/>
                </a:lnTo>
                <a:lnTo>
                  <a:pt x="456" y="660"/>
                </a:lnTo>
                <a:lnTo>
                  <a:pt x="462" y="660"/>
                </a:lnTo>
                <a:lnTo>
                  <a:pt x="462" y="654"/>
                </a:lnTo>
                <a:lnTo>
                  <a:pt x="456" y="654"/>
                </a:lnTo>
                <a:lnTo>
                  <a:pt x="456" y="660"/>
                </a:lnTo>
                <a:lnTo>
                  <a:pt x="450" y="654"/>
                </a:lnTo>
                <a:lnTo>
                  <a:pt x="450" y="648"/>
                </a:lnTo>
                <a:lnTo>
                  <a:pt x="444" y="648"/>
                </a:lnTo>
                <a:lnTo>
                  <a:pt x="444" y="642"/>
                </a:lnTo>
                <a:lnTo>
                  <a:pt x="444" y="636"/>
                </a:lnTo>
                <a:lnTo>
                  <a:pt x="450" y="636"/>
                </a:lnTo>
                <a:lnTo>
                  <a:pt x="450" y="630"/>
                </a:lnTo>
                <a:lnTo>
                  <a:pt x="456" y="630"/>
                </a:lnTo>
                <a:lnTo>
                  <a:pt x="462" y="630"/>
                </a:lnTo>
                <a:lnTo>
                  <a:pt x="462" y="624"/>
                </a:lnTo>
                <a:lnTo>
                  <a:pt x="468" y="624"/>
                </a:lnTo>
                <a:lnTo>
                  <a:pt x="474" y="624"/>
                </a:lnTo>
                <a:lnTo>
                  <a:pt x="474" y="618"/>
                </a:lnTo>
                <a:lnTo>
                  <a:pt x="480" y="618"/>
                </a:lnTo>
                <a:lnTo>
                  <a:pt x="486" y="618"/>
                </a:lnTo>
                <a:lnTo>
                  <a:pt x="486" y="624"/>
                </a:lnTo>
                <a:lnTo>
                  <a:pt x="486" y="636"/>
                </a:lnTo>
                <a:lnTo>
                  <a:pt x="486" y="642"/>
                </a:lnTo>
                <a:lnTo>
                  <a:pt x="486" y="648"/>
                </a:lnTo>
                <a:lnTo>
                  <a:pt x="492" y="648"/>
                </a:lnTo>
                <a:lnTo>
                  <a:pt x="492" y="642"/>
                </a:lnTo>
                <a:lnTo>
                  <a:pt x="498" y="636"/>
                </a:lnTo>
                <a:lnTo>
                  <a:pt x="492" y="636"/>
                </a:lnTo>
                <a:lnTo>
                  <a:pt x="492" y="630"/>
                </a:lnTo>
                <a:lnTo>
                  <a:pt x="492" y="624"/>
                </a:lnTo>
                <a:lnTo>
                  <a:pt x="486" y="624"/>
                </a:lnTo>
                <a:lnTo>
                  <a:pt x="486" y="618"/>
                </a:lnTo>
                <a:lnTo>
                  <a:pt x="486" y="612"/>
                </a:lnTo>
                <a:lnTo>
                  <a:pt x="486" y="606"/>
                </a:lnTo>
                <a:lnTo>
                  <a:pt x="480" y="606"/>
                </a:lnTo>
                <a:lnTo>
                  <a:pt x="480" y="612"/>
                </a:lnTo>
                <a:lnTo>
                  <a:pt x="474" y="618"/>
                </a:lnTo>
                <a:lnTo>
                  <a:pt x="468" y="618"/>
                </a:lnTo>
                <a:lnTo>
                  <a:pt x="462" y="618"/>
                </a:lnTo>
                <a:lnTo>
                  <a:pt x="462" y="612"/>
                </a:lnTo>
                <a:lnTo>
                  <a:pt x="456" y="612"/>
                </a:lnTo>
                <a:lnTo>
                  <a:pt x="456" y="618"/>
                </a:lnTo>
                <a:lnTo>
                  <a:pt x="462" y="618"/>
                </a:lnTo>
                <a:lnTo>
                  <a:pt x="462" y="624"/>
                </a:lnTo>
                <a:lnTo>
                  <a:pt x="456" y="624"/>
                </a:lnTo>
                <a:lnTo>
                  <a:pt x="450" y="630"/>
                </a:lnTo>
                <a:lnTo>
                  <a:pt x="444" y="630"/>
                </a:lnTo>
                <a:lnTo>
                  <a:pt x="444" y="636"/>
                </a:lnTo>
                <a:lnTo>
                  <a:pt x="444" y="642"/>
                </a:lnTo>
                <a:lnTo>
                  <a:pt x="444" y="654"/>
                </a:lnTo>
                <a:lnTo>
                  <a:pt x="444" y="660"/>
                </a:lnTo>
                <a:lnTo>
                  <a:pt x="438" y="660"/>
                </a:lnTo>
                <a:lnTo>
                  <a:pt x="432" y="660"/>
                </a:lnTo>
                <a:lnTo>
                  <a:pt x="432" y="654"/>
                </a:lnTo>
                <a:lnTo>
                  <a:pt x="438" y="654"/>
                </a:lnTo>
                <a:lnTo>
                  <a:pt x="438" y="648"/>
                </a:lnTo>
                <a:lnTo>
                  <a:pt x="432" y="642"/>
                </a:lnTo>
                <a:lnTo>
                  <a:pt x="432" y="636"/>
                </a:lnTo>
                <a:lnTo>
                  <a:pt x="432" y="630"/>
                </a:lnTo>
                <a:lnTo>
                  <a:pt x="432" y="636"/>
                </a:lnTo>
                <a:lnTo>
                  <a:pt x="432" y="642"/>
                </a:lnTo>
                <a:lnTo>
                  <a:pt x="432" y="648"/>
                </a:lnTo>
                <a:lnTo>
                  <a:pt x="432" y="654"/>
                </a:lnTo>
                <a:lnTo>
                  <a:pt x="432" y="648"/>
                </a:lnTo>
                <a:lnTo>
                  <a:pt x="426" y="648"/>
                </a:lnTo>
                <a:lnTo>
                  <a:pt x="426" y="654"/>
                </a:lnTo>
                <a:lnTo>
                  <a:pt x="426" y="660"/>
                </a:lnTo>
                <a:lnTo>
                  <a:pt x="432" y="666"/>
                </a:lnTo>
                <a:lnTo>
                  <a:pt x="432" y="672"/>
                </a:lnTo>
                <a:lnTo>
                  <a:pt x="438" y="672"/>
                </a:lnTo>
                <a:lnTo>
                  <a:pt x="438" y="678"/>
                </a:lnTo>
                <a:lnTo>
                  <a:pt x="444" y="678"/>
                </a:lnTo>
                <a:lnTo>
                  <a:pt x="444" y="684"/>
                </a:lnTo>
                <a:lnTo>
                  <a:pt x="438" y="690"/>
                </a:lnTo>
                <a:lnTo>
                  <a:pt x="438" y="696"/>
                </a:lnTo>
                <a:lnTo>
                  <a:pt x="438" y="702"/>
                </a:lnTo>
                <a:lnTo>
                  <a:pt x="432" y="702"/>
                </a:lnTo>
                <a:lnTo>
                  <a:pt x="426" y="702"/>
                </a:lnTo>
                <a:lnTo>
                  <a:pt x="426" y="696"/>
                </a:lnTo>
                <a:lnTo>
                  <a:pt x="414" y="696"/>
                </a:lnTo>
                <a:lnTo>
                  <a:pt x="402" y="696"/>
                </a:lnTo>
                <a:lnTo>
                  <a:pt x="402" y="690"/>
                </a:lnTo>
                <a:lnTo>
                  <a:pt x="396" y="690"/>
                </a:lnTo>
                <a:lnTo>
                  <a:pt x="390" y="690"/>
                </a:lnTo>
                <a:lnTo>
                  <a:pt x="384" y="690"/>
                </a:lnTo>
                <a:lnTo>
                  <a:pt x="384" y="684"/>
                </a:lnTo>
                <a:lnTo>
                  <a:pt x="384" y="678"/>
                </a:lnTo>
                <a:lnTo>
                  <a:pt x="384" y="672"/>
                </a:lnTo>
                <a:lnTo>
                  <a:pt x="390" y="666"/>
                </a:lnTo>
                <a:lnTo>
                  <a:pt x="390" y="660"/>
                </a:lnTo>
                <a:lnTo>
                  <a:pt x="390" y="654"/>
                </a:lnTo>
                <a:lnTo>
                  <a:pt x="384" y="648"/>
                </a:lnTo>
                <a:lnTo>
                  <a:pt x="384" y="642"/>
                </a:lnTo>
                <a:lnTo>
                  <a:pt x="378" y="636"/>
                </a:lnTo>
                <a:lnTo>
                  <a:pt x="378" y="642"/>
                </a:lnTo>
                <a:lnTo>
                  <a:pt x="378" y="648"/>
                </a:lnTo>
                <a:lnTo>
                  <a:pt x="372" y="648"/>
                </a:lnTo>
                <a:lnTo>
                  <a:pt x="378" y="654"/>
                </a:lnTo>
                <a:lnTo>
                  <a:pt x="378" y="660"/>
                </a:lnTo>
                <a:lnTo>
                  <a:pt x="378" y="666"/>
                </a:lnTo>
                <a:lnTo>
                  <a:pt x="372" y="672"/>
                </a:lnTo>
                <a:lnTo>
                  <a:pt x="378" y="672"/>
                </a:lnTo>
                <a:lnTo>
                  <a:pt x="378" y="678"/>
                </a:lnTo>
                <a:lnTo>
                  <a:pt x="372" y="678"/>
                </a:lnTo>
                <a:lnTo>
                  <a:pt x="372" y="672"/>
                </a:lnTo>
                <a:lnTo>
                  <a:pt x="366" y="672"/>
                </a:lnTo>
                <a:lnTo>
                  <a:pt x="354" y="666"/>
                </a:lnTo>
                <a:lnTo>
                  <a:pt x="354" y="660"/>
                </a:lnTo>
                <a:lnTo>
                  <a:pt x="342" y="654"/>
                </a:lnTo>
                <a:lnTo>
                  <a:pt x="336" y="654"/>
                </a:lnTo>
                <a:lnTo>
                  <a:pt x="330" y="654"/>
                </a:lnTo>
                <a:lnTo>
                  <a:pt x="324" y="648"/>
                </a:lnTo>
                <a:lnTo>
                  <a:pt x="318" y="648"/>
                </a:lnTo>
                <a:lnTo>
                  <a:pt x="318" y="642"/>
                </a:lnTo>
                <a:lnTo>
                  <a:pt x="312" y="642"/>
                </a:lnTo>
                <a:lnTo>
                  <a:pt x="306" y="636"/>
                </a:lnTo>
                <a:lnTo>
                  <a:pt x="300" y="636"/>
                </a:lnTo>
                <a:lnTo>
                  <a:pt x="300" y="630"/>
                </a:lnTo>
                <a:lnTo>
                  <a:pt x="300" y="624"/>
                </a:lnTo>
                <a:lnTo>
                  <a:pt x="306" y="624"/>
                </a:lnTo>
                <a:lnTo>
                  <a:pt x="300" y="624"/>
                </a:lnTo>
                <a:lnTo>
                  <a:pt x="300" y="618"/>
                </a:lnTo>
                <a:lnTo>
                  <a:pt x="306" y="612"/>
                </a:lnTo>
                <a:lnTo>
                  <a:pt x="300" y="612"/>
                </a:lnTo>
                <a:lnTo>
                  <a:pt x="300" y="606"/>
                </a:lnTo>
                <a:lnTo>
                  <a:pt x="300" y="612"/>
                </a:lnTo>
                <a:lnTo>
                  <a:pt x="294" y="612"/>
                </a:lnTo>
                <a:lnTo>
                  <a:pt x="288" y="618"/>
                </a:lnTo>
                <a:lnTo>
                  <a:pt x="288" y="612"/>
                </a:lnTo>
                <a:lnTo>
                  <a:pt x="288" y="618"/>
                </a:lnTo>
                <a:lnTo>
                  <a:pt x="294" y="618"/>
                </a:lnTo>
                <a:lnTo>
                  <a:pt x="300" y="624"/>
                </a:lnTo>
                <a:lnTo>
                  <a:pt x="294" y="624"/>
                </a:lnTo>
                <a:lnTo>
                  <a:pt x="288" y="624"/>
                </a:lnTo>
                <a:lnTo>
                  <a:pt x="282" y="618"/>
                </a:lnTo>
                <a:lnTo>
                  <a:pt x="282" y="612"/>
                </a:lnTo>
                <a:lnTo>
                  <a:pt x="276" y="612"/>
                </a:lnTo>
                <a:lnTo>
                  <a:pt x="264" y="606"/>
                </a:lnTo>
                <a:lnTo>
                  <a:pt x="264" y="600"/>
                </a:lnTo>
                <a:lnTo>
                  <a:pt x="270" y="600"/>
                </a:lnTo>
                <a:lnTo>
                  <a:pt x="270" y="594"/>
                </a:lnTo>
                <a:lnTo>
                  <a:pt x="276" y="594"/>
                </a:lnTo>
                <a:lnTo>
                  <a:pt x="282" y="594"/>
                </a:lnTo>
                <a:lnTo>
                  <a:pt x="276" y="594"/>
                </a:lnTo>
                <a:lnTo>
                  <a:pt x="282" y="594"/>
                </a:lnTo>
                <a:lnTo>
                  <a:pt x="282" y="588"/>
                </a:lnTo>
                <a:lnTo>
                  <a:pt x="276" y="588"/>
                </a:lnTo>
                <a:lnTo>
                  <a:pt x="276" y="594"/>
                </a:lnTo>
                <a:lnTo>
                  <a:pt x="270" y="594"/>
                </a:lnTo>
                <a:lnTo>
                  <a:pt x="264" y="600"/>
                </a:lnTo>
                <a:lnTo>
                  <a:pt x="264" y="594"/>
                </a:lnTo>
                <a:lnTo>
                  <a:pt x="270" y="594"/>
                </a:lnTo>
                <a:lnTo>
                  <a:pt x="270" y="588"/>
                </a:lnTo>
                <a:lnTo>
                  <a:pt x="264" y="594"/>
                </a:lnTo>
                <a:lnTo>
                  <a:pt x="258" y="594"/>
                </a:lnTo>
                <a:lnTo>
                  <a:pt x="258" y="588"/>
                </a:lnTo>
                <a:lnTo>
                  <a:pt x="252" y="588"/>
                </a:lnTo>
                <a:lnTo>
                  <a:pt x="246" y="588"/>
                </a:lnTo>
                <a:lnTo>
                  <a:pt x="246" y="582"/>
                </a:lnTo>
                <a:lnTo>
                  <a:pt x="240" y="582"/>
                </a:lnTo>
                <a:lnTo>
                  <a:pt x="240" y="588"/>
                </a:lnTo>
                <a:lnTo>
                  <a:pt x="246" y="588"/>
                </a:lnTo>
                <a:lnTo>
                  <a:pt x="252" y="588"/>
                </a:lnTo>
                <a:lnTo>
                  <a:pt x="252" y="594"/>
                </a:lnTo>
                <a:lnTo>
                  <a:pt x="258" y="594"/>
                </a:lnTo>
                <a:lnTo>
                  <a:pt x="252" y="594"/>
                </a:lnTo>
                <a:lnTo>
                  <a:pt x="246" y="594"/>
                </a:lnTo>
                <a:lnTo>
                  <a:pt x="246" y="588"/>
                </a:lnTo>
                <a:lnTo>
                  <a:pt x="240" y="588"/>
                </a:lnTo>
                <a:lnTo>
                  <a:pt x="234" y="582"/>
                </a:lnTo>
                <a:lnTo>
                  <a:pt x="228" y="576"/>
                </a:lnTo>
                <a:lnTo>
                  <a:pt x="222" y="570"/>
                </a:lnTo>
                <a:lnTo>
                  <a:pt x="222" y="564"/>
                </a:lnTo>
                <a:lnTo>
                  <a:pt x="222" y="570"/>
                </a:lnTo>
                <a:lnTo>
                  <a:pt x="228" y="570"/>
                </a:lnTo>
                <a:lnTo>
                  <a:pt x="222" y="570"/>
                </a:lnTo>
                <a:lnTo>
                  <a:pt x="222" y="564"/>
                </a:lnTo>
                <a:lnTo>
                  <a:pt x="228" y="564"/>
                </a:lnTo>
                <a:lnTo>
                  <a:pt x="234" y="564"/>
                </a:lnTo>
                <a:lnTo>
                  <a:pt x="234" y="558"/>
                </a:lnTo>
                <a:lnTo>
                  <a:pt x="240" y="558"/>
                </a:lnTo>
                <a:lnTo>
                  <a:pt x="234" y="558"/>
                </a:lnTo>
                <a:lnTo>
                  <a:pt x="228" y="558"/>
                </a:lnTo>
                <a:lnTo>
                  <a:pt x="222" y="558"/>
                </a:lnTo>
                <a:lnTo>
                  <a:pt x="228" y="558"/>
                </a:lnTo>
                <a:lnTo>
                  <a:pt x="228" y="564"/>
                </a:lnTo>
                <a:lnTo>
                  <a:pt x="222" y="564"/>
                </a:lnTo>
                <a:lnTo>
                  <a:pt x="222" y="558"/>
                </a:lnTo>
                <a:lnTo>
                  <a:pt x="216" y="558"/>
                </a:lnTo>
                <a:lnTo>
                  <a:pt x="210" y="558"/>
                </a:lnTo>
                <a:lnTo>
                  <a:pt x="210" y="552"/>
                </a:lnTo>
                <a:lnTo>
                  <a:pt x="204" y="546"/>
                </a:lnTo>
                <a:lnTo>
                  <a:pt x="204" y="540"/>
                </a:lnTo>
                <a:lnTo>
                  <a:pt x="210" y="540"/>
                </a:lnTo>
                <a:lnTo>
                  <a:pt x="210" y="546"/>
                </a:lnTo>
                <a:lnTo>
                  <a:pt x="210" y="540"/>
                </a:lnTo>
                <a:lnTo>
                  <a:pt x="210" y="534"/>
                </a:lnTo>
                <a:lnTo>
                  <a:pt x="210" y="528"/>
                </a:lnTo>
                <a:lnTo>
                  <a:pt x="204" y="528"/>
                </a:lnTo>
                <a:lnTo>
                  <a:pt x="210" y="534"/>
                </a:lnTo>
                <a:lnTo>
                  <a:pt x="210" y="540"/>
                </a:lnTo>
                <a:lnTo>
                  <a:pt x="204" y="540"/>
                </a:lnTo>
                <a:lnTo>
                  <a:pt x="198" y="540"/>
                </a:lnTo>
                <a:lnTo>
                  <a:pt x="192" y="540"/>
                </a:lnTo>
                <a:lnTo>
                  <a:pt x="186" y="540"/>
                </a:lnTo>
                <a:lnTo>
                  <a:pt x="186" y="534"/>
                </a:lnTo>
                <a:lnTo>
                  <a:pt x="186" y="528"/>
                </a:lnTo>
                <a:lnTo>
                  <a:pt x="180" y="528"/>
                </a:lnTo>
                <a:lnTo>
                  <a:pt x="174" y="516"/>
                </a:lnTo>
                <a:lnTo>
                  <a:pt x="168" y="510"/>
                </a:lnTo>
                <a:lnTo>
                  <a:pt x="162" y="504"/>
                </a:lnTo>
                <a:lnTo>
                  <a:pt x="156" y="498"/>
                </a:lnTo>
                <a:lnTo>
                  <a:pt x="156" y="492"/>
                </a:lnTo>
                <a:lnTo>
                  <a:pt x="150" y="486"/>
                </a:lnTo>
                <a:lnTo>
                  <a:pt x="144" y="480"/>
                </a:lnTo>
                <a:lnTo>
                  <a:pt x="144" y="474"/>
                </a:lnTo>
                <a:lnTo>
                  <a:pt x="138" y="474"/>
                </a:lnTo>
                <a:lnTo>
                  <a:pt x="138" y="468"/>
                </a:lnTo>
                <a:lnTo>
                  <a:pt x="132" y="462"/>
                </a:lnTo>
                <a:lnTo>
                  <a:pt x="132" y="456"/>
                </a:lnTo>
                <a:lnTo>
                  <a:pt x="126" y="450"/>
                </a:lnTo>
                <a:lnTo>
                  <a:pt x="126" y="444"/>
                </a:lnTo>
                <a:lnTo>
                  <a:pt x="114" y="438"/>
                </a:lnTo>
                <a:lnTo>
                  <a:pt x="114" y="432"/>
                </a:lnTo>
                <a:lnTo>
                  <a:pt x="114" y="426"/>
                </a:lnTo>
                <a:lnTo>
                  <a:pt x="114" y="432"/>
                </a:lnTo>
                <a:lnTo>
                  <a:pt x="120" y="432"/>
                </a:lnTo>
                <a:lnTo>
                  <a:pt x="120" y="438"/>
                </a:lnTo>
                <a:lnTo>
                  <a:pt x="120" y="444"/>
                </a:lnTo>
                <a:lnTo>
                  <a:pt x="126" y="444"/>
                </a:lnTo>
                <a:lnTo>
                  <a:pt x="126" y="438"/>
                </a:lnTo>
                <a:lnTo>
                  <a:pt x="120" y="438"/>
                </a:lnTo>
                <a:lnTo>
                  <a:pt x="126" y="432"/>
                </a:lnTo>
                <a:lnTo>
                  <a:pt x="126" y="426"/>
                </a:lnTo>
                <a:lnTo>
                  <a:pt x="132" y="420"/>
                </a:lnTo>
                <a:lnTo>
                  <a:pt x="126" y="426"/>
                </a:lnTo>
                <a:lnTo>
                  <a:pt x="120" y="420"/>
                </a:lnTo>
                <a:lnTo>
                  <a:pt x="114" y="420"/>
                </a:lnTo>
                <a:lnTo>
                  <a:pt x="114" y="414"/>
                </a:lnTo>
                <a:lnTo>
                  <a:pt x="108" y="414"/>
                </a:lnTo>
                <a:lnTo>
                  <a:pt x="102" y="414"/>
                </a:lnTo>
                <a:lnTo>
                  <a:pt x="102" y="408"/>
                </a:lnTo>
                <a:lnTo>
                  <a:pt x="96" y="402"/>
                </a:lnTo>
                <a:lnTo>
                  <a:pt x="96" y="396"/>
                </a:lnTo>
                <a:lnTo>
                  <a:pt x="96" y="390"/>
                </a:lnTo>
                <a:lnTo>
                  <a:pt x="90" y="390"/>
                </a:lnTo>
                <a:lnTo>
                  <a:pt x="90" y="384"/>
                </a:lnTo>
                <a:lnTo>
                  <a:pt x="84" y="378"/>
                </a:lnTo>
                <a:lnTo>
                  <a:pt x="84" y="372"/>
                </a:lnTo>
                <a:lnTo>
                  <a:pt x="78" y="372"/>
                </a:lnTo>
                <a:lnTo>
                  <a:pt x="78" y="366"/>
                </a:lnTo>
                <a:lnTo>
                  <a:pt x="78" y="360"/>
                </a:lnTo>
                <a:lnTo>
                  <a:pt x="72" y="354"/>
                </a:lnTo>
                <a:lnTo>
                  <a:pt x="66" y="354"/>
                </a:lnTo>
                <a:lnTo>
                  <a:pt x="66" y="348"/>
                </a:lnTo>
                <a:lnTo>
                  <a:pt x="66" y="342"/>
                </a:lnTo>
                <a:lnTo>
                  <a:pt x="60" y="342"/>
                </a:lnTo>
                <a:lnTo>
                  <a:pt x="60" y="336"/>
                </a:lnTo>
                <a:lnTo>
                  <a:pt x="60" y="330"/>
                </a:lnTo>
                <a:lnTo>
                  <a:pt x="54" y="330"/>
                </a:lnTo>
                <a:lnTo>
                  <a:pt x="60" y="324"/>
                </a:lnTo>
                <a:lnTo>
                  <a:pt x="60" y="330"/>
                </a:lnTo>
                <a:lnTo>
                  <a:pt x="66" y="336"/>
                </a:lnTo>
                <a:lnTo>
                  <a:pt x="66" y="342"/>
                </a:lnTo>
                <a:lnTo>
                  <a:pt x="72" y="348"/>
                </a:lnTo>
                <a:lnTo>
                  <a:pt x="78" y="354"/>
                </a:lnTo>
                <a:lnTo>
                  <a:pt x="84" y="360"/>
                </a:lnTo>
                <a:lnTo>
                  <a:pt x="90" y="366"/>
                </a:lnTo>
                <a:lnTo>
                  <a:pt x="96" y="366"/>
                </a:lnTo>
                <a:lnTo>
                  <a:pt x="90" y="360"/>
                </a:lnTo>
                <a:lnTo>
                  <a:pt x="84" y="360"/>
                </a:lnTo>
                <a:lnTo>
                  <a:pt x="84" y="354"/>
                </a:lnTo>
                <a:lnTo>
                  <a:pt x="78" y="348"/>
                </a:lnTo>
                <a:lnTo>
                  <a:pt x="78" y="342"/>
                </a:lnTo>
                <a:lnTo>
                  <a:pt x="72" y="342"/>
                </a:lnTo>
                <a:lnTo>
                  <a:pt x="72" y="336"/>
                </a:lnTo>
                <a:lnTo>
                  <a:pt x="66" y="330"/>
                </a:lnTo>
                <a:lnTo>
                  <a:pt x="66" y="324"/>
                </a:lnTo>
                <a:lnTo>
                  <a:pt x="60" y="318"/>
                </a:lnTo>
                <a:lnTo>
                  <a:pt x="60" y="312"/>
                </a:lnTo>
                <a:lnTo>
                  <a:pt x="54" y="306"/>
                </a:lnTo>
                <a:lnTo>
                  <a:pt x="54" y="300"/>
                </a:lnTo>
                <a:lnTo>
                  <a:pt x="54" y="294"/>
                </a:lnTo>
                <a:lnTo>
                  <a:pt x="48" y="288"/>
                </a:lnTo>
                <a:lnTo>
                  <a:pt x="48" y="294"/>
                </a:lnTo>
                <a:lnTo>
                  <a:pt x="48" y="288"/>
                </a:lnTo>
                <a:lnTo>
                  <a:pt x="48" y="282"/>
                </a:lnTo>
                <a:lnTo>
                  <a:pt x="48" y="276"/>
                </a:lnTo>
                <a:lnTo>
                  <a:pt x="42" y="276"/>
                </a:lnTo>
                <a:lnTo>
                  <a:pt x="42" y="270"/>
                </a:lnTo>
                <a:lnTo>
                  <a:pt x="42" y="264"/>
                </a:lnTo>
                <a:lnTo>
                  <a:pt x="36" y="258"/>
                </a:lnTo>
                <a:lnTo>
                  <a:pt x="36" y="252"/>
                </a:lnTo>
                <a:lnTo>
                  <a:pt x="36" y="246"/>
                </a:lnTo>
                <a:lnTo>
                  <a:pt x="30" y="240"/>
                </a:lnTo>
                <a:lnTo>
                  <a:pt x="36" y="240"/>
                </a:lnTo>
                <a:lnTo>
                  <a:pt x="30" y="240"/>
                </a:lnTo>
                <a:lnTo>
                  <a:pt x="30" y="234"/>
                </a:lnTo>
                <a:lnTo>
                  <a:pt x="30" y="228"/>
                </a:lnTo>
                <a:lnTo>
                  <a:pt x="24" y="228"/>
                </a:lnTo>
                <a:lnTo>
                  <a:pt x="24" y="222"/>
                </a:lnTo>
                <a:lnTo>
                  <a:pt x="24" y="216"/>
                </a:lnTo>
                <a:lnTo>
                  <a:pt x="18" y="216"/>
                </a:lnTo>
                <a:lnTo>
                  <a:pt x="18" y="210"/>
                </a:lnTo>
                <a:lnTo>
                  <a:pt x="18" y="204"/>
                </a:lnTo>
                <a:lnTo>
                  <a:pt x="12" y="198"/>
                </a:lnTo>
                <a:lnTo>
                  <a:pt x="12" y="192"/>
                </a:lnTo>
                <a:lnTo>
                  <a:pt x="6" y="192"/>
                </a:lnTo>
                <a:lnTo>
                  <a:pt x="6" y="186"/>
                </a:lnTo>
                <a:lnTo>
                  <a:pt x="6" y="180"/>
                </a:lnTo>
                <a:lnTo>
                  <a:pt x="0" y="180"/>
                </a:lnTo>
                <a:lnTo>
                  <a:pt x="0" y="174"/>
                </a:lnTo>
                <a:lnTo>
                  <a:pt x="0" y="168"/>
                </a:lnTo>
                <a:lnTo>
                  <a:pt x="6" y="168"/>
                </a:lnTo>
                <a:lnTo>
                  <a:pt x="12" y="162"/>
                </a:lnTo>
                <a:lnTo>
                  <a:pt x="12" y="168"/>
                </a:lnTo>
                <a:lnTo>
                  <a:pt x="18" y="168"/>
                </a:lnTo>
                <a:lnTo>
                  <a:pt x="24" y="168"/>
                </a:lnTo>
                <a:lnTo>
                  <a:pt x="24" y="162"/>
                </a:lnTo>
                <a:lnTo>
                  <a:pt x="30" y="162"/>
                </a:lnTo>
                <a:lnTo>
                  <a:pt x="36" y="162"/>
                </a:lnTo>
                <a:lnTo>
                  <a:pt x="36" y="168"/>
                </a:lnTo>
                <a:lnTo>
                  <a:pt x="42" y="168"/>
                </a:lnTo>
                <a:lnTo>
                  <a:pt x="42" y="174"/>
                </a:lnTo>
                <a:lnTo>
                  <a:pt x="48" y="180"/>
                </a:lnTo>
                <a:lnTo>
                  <a:pt x="48" y="186"/>
                </a:lnTo>
                <a:lnTo>
                  <a:pt x="54" y="186"/>
                </a:lnTo>
                <a:close/>
                <a:moveTo>
                  <a:pt x="642" y="660"/>
                </a:moveTo>
                <a:lnTo>
                  <a:pt x="642" y="666"/>
                </a:lnTo>
                <a:lnTo>
                  <a:pt x="648" y="666"/>
                </a:lnTo>
                <a:lnTo>
                  <a:pt x="648" y="672"/>
                </a:lnTo>
                <a:lnTo>
                  <a:pt x="648" y="678"/>
                </a:lnTo>
                <a:lnTo>
                  <a:pt x="654" y="678"/>
                </a:lnTo>
                <a:lnTo>
                  <a:pt x="654" y="684"/>
                </a:lnTo>
                <a:lnTo>
                  <a:pt x="660" y="684"/>
                </a:lnTo>
                <a:lnTo>
                  <a:pt x="660" y="690"/>
                </a:lnTo>
                <a:lnTo>
                  <a:pt x="654" y="690"/>
                </a:lnTo>
                <a:lnTo>
                  <a:pt x="648" y="690"/>
                </a:lnTo>
                <a:lnTo>
                  <a:pt x="636" y="696"/>
                </a:lnTo>
                <a:lnTo>
                  <a:pt x="630" y="696"/>
                </a:lnTo>
                <a:lnTo>
                  <a:pt x="624" y="696"/>
                </a:lnTo>
                <a:lnTo>
                  <a:pt x="618" y="696"/>
                </a:lnTo>
                <a:lnTo>
                  <a:pt x="612" y="696"/>
                </a:lnTo>
                <a:lnTo>
                  <a:pt x="594" y="696"/>
                </a:lnTo>
                <a:lnTo>
                  <a:pt x="588" y="696"/>
                </a:lnTo>
                <a:lnTo>
                  <a:pt x="582" y="696"/>
                </a:lnTo>
                <a:lnTo>
                  <a:pt x="570" y="702"/>
                </a:lnTo>
                <a:lnTo>
                  <a:pt x="564" y="702"/>
                </a:lnTo>
                <a:lnTo>
                  <a:pt x="558" y="702"/>
                </a:lnTo>
                <a:lnTo>
                  <a:pt x="552" y="702"/>
                </a:lnTo>
                <a:lnTo>
                  <a:pt x="552" y="696"/>
                </a:lnTo>
                <a:lnTo>
                  <a:pt x="546" y="696"/>
                </a:lnTo>
                <a:lnTo>
                  <a:pt x="546" y="690"/>
                </a:lnTo>
                <a:lnTo>
                  <a:pt x="552" y="684"/>
                </a:lnTo>
                <a:lnTo>
                  <a:pt x="552" y="678"/>
                </a:lnTo>
                <a:lnTo>
                  <a:pt x="558" y="672"/>
                </a:lnTo>
                <a:lnTo>
                  <a:pt x="558" y="666"/>
                </a:lnTo>
                <a:lnTo>
                  <a:pt x="564" y="666"/>
                </a:lnTo>
                <a:lnTo>
                  <a:pt x="570" y="666"/>
                </a:lnTo>
                <a:lnTo>
                  <a:pt x="570" y="654"/>
                </a:lnTo>
                <a:lnTo>
                  <a:pt x="570" y="648"/>
                </a:lnTo>
                <a:lnTo>
                  <a:pt x="582" y="642"/>
                </a:lnTo>
                <a:lnTo>
                  <a:pt x="582" y="636"/>
                </a:lnTo>
                <a:lnTo>
                  <a:pt x="588" y="636"/>
                </a:lnTo>
                <a:lnTo>
                  <a:pt x="588" y="630"/>
                </a:lnTo>
                <a:lnTo>
                  <a:pt x="594" y="624"/>
                </a:lnTo>
                <a:lnTo>
                  <a:pt x="594" y="618"/>
                </a:lnTo>
                <a:lnTo>
                  <a:pt x="600" y="618"/>
                </a:lnTo>
                <a:lnTo>
                  <a:pt x="600" y="612"/>
                </a:lnTo>
                <a:lnTo>
                  <a:pt x="606" y="612"/>
                </a:lnTo>
                <a:lnTo>
                  <a:pt x="606" y="618"/>
                </a:lnTo>
                <a:lnTo>
                  <a:pt x="612" y="618"/>
                </a:lnTo>
                <a:lnTo>
                  <a:pt x="618" y="618"/>
                </a:lnTo>
                <a:lnTo>
                  <a:pt x="618" y="624"/>
                </a:lnTo>
                <a:lnTo>
                  <a:pt x="618" y="630"/>
                </a:lnTo>
                <a:lnTo>
                  <a:pt x="624" y="630"/>
                </a:lnTo>
                <a:lnTo>
                  <a:pt x="618" y="636"/>
                </a:lnTo>
                <a:lnTo>
                  <a:pt x="618" y="642"/>
                </a:lnTo>
                <a:lnTo>
                  <a:pt x="618" y="648"/>
                </a:lnTo>
                <a:lnTo>
                  <a:pt x="624" y="648"/>
                </a:lnTo>
                <a:lnTo>
                  <a:pt x="630" y="648"/>
                </a:lnTo>
                <a:lnTo>
                  <a:pt x="636" y="654"/>
                </a:lnTo>
                <a:lnTo>
                  <a:pt x="642" y="654"/>
                </a:lnTo>
                <a:lnTo>
                  <a:pt x="642" y="660"/>
                </a:lnTo>
                <a:close/>
              </a:path>
            </a:pathLst>
          </a:custGeom>
          <a:solidFill>
            <a:srgbClr val="33CC33"/>
          </a:solidFill>
          <a:ln w="9525">
            <a:solidFill>
              <a:schemeClr val="bg1"/>
            </a:solidFill>
            <a:round/>
            <a:headEnd/>
            <a:tailEnd/>
          </a:ln>
        </p:spPr>
        <p:txBody>
          <a:bodyPr/>
          <a:lstStyle/>
          <a:p>
            <a:endParaRPr lang="en-GB"/>
          </a:p>
        </p:txBody>
      </p:sp>
      <p:sp>
        <p:nvSpPr>
          <p:cNvPr id="18444" name="Freeform 6"/>
          <p:cNvSpPr>
            <a:spLocks noEditPoints="1"/>
          </p:cNvSpPr>
          <p:nvPr/>
        </p:nvSpPr>
        <p:spPr bwMode="gray">
          <a:xfrm>
            <a:off x="3292475" y="5707063"/>
            <a:ext cx="596900" cy="727075"/>
          </a:xfrm>
          <a:custGeom>
            <a:avLst/>
            <a:gdLst>
              <a:gd name="T0" fmla="*/ 7053 w 762"/>
              <a:gd name="T1" fmla="*/ 46897 h 900"/>
              <a:gd name="T2" fmla="*/ 3135 w 762"/>
              <a:gd name="T3" fmla="*/ 45280 h 900"/>
              <a:gd name="T4" fmla="*/ 0 w 762"/>
              <a:gd name="T5" fmla="*/ 39620 h 900"/>
              <a:gd name="T6" fmla="*/ 3135 w 762"/>
              <a:gd name="T7" fmla="*/ 29109 h 900"/>
              <a:gd name="T8" fmla="*/ 6269 w 762"/>
              <a:gd name="T9" fmla="*/ 22640 h 900"/>
              <a:gd name="T10" fmla="*/ 5485 w 762"/>
              <a:gd name="T11" fmla="*/ 10511 h 900"/>
              <a:gd name="T12" fmla="*/ 11755 w 762"/>
              <a:gd name="T13" fmla="*/ 0 h 900"/>
              <a:gd name="T14" fmla="*/ 12538 w 762"/>
              <a:gd name="T15" fmla="*/ 10511 h 900"/>
              <a:gd name="T16" fmla="*/ 24293 w 762"/>
              <a:gd name="T17" fmla="*/ 22640 h 900"/>
              <a:gd name="T18" fmla="*/ 38398 w 762"/>
              <a:gd name="T19" fmla="*/ 26683 h 900"/>
              <a:gd name="T20" fmla="*/ 32913 w 762"/>
              <a:gd name="T21" fmla="*/ 38811 h 900"/>
              <a:gd name="T22" fmla="*/ 39966 w 762"/>
              <a:gd name="T23" fmla="*/ 38811 h 900"/>
              <a:gd name="T24" fmla="*/ 47802 w 762"/>
              <a:gd name="T25" fmla="*/ 41237 h 900"/>
              <a:gd name="T26" fmla="*/ 49369 w 762"/>
              <a:gd name="T27" fmla="*/ 48514 h 900"/>
              <a:gd name="T28" fmla="*/ 49369 w 762"/>
              <a:gd name="T29" fmla="*/ 53366 h 900"/>
              <a:gd name="T30" fmla="*/ 50937 w 762"/>
              <a:gd name="T31" fmla="*/ 55791 h 900"/>
              <a:gd name="T32" fmla="*/ 51720 w 762"/>
              <a:gd name="T33" fmla="*/ 58217 h 900"/>
              <a:gd name="T34" fmla="*/ 43884 w 762"/>
              <a:gd name="T35" fmla="*/ 59026 h 900"/>
              <a:gd name="T36" fmla="*/ 43100 w 762"/>
              <a:gd name="T37" fmla="*/ 55791 h 900"/>
              <a:gd name="T38" fmla="*/ 44668 w 762"/>
              <a:gd name="T39" fmla="*/ 54174 h 900"/>
              <a:gd name="T40" fmla="*/ 43100 w 762"/>
              <a:gd name="T41" fmla="*/ 52557 h 900"/>
              <a:gd name="T42" fmla="*/ 41533 w 762"/>
              <a:gd name="T43" fmla="*/ 54983 h 900"/>
              <a:gd name="T44" fmla="*/ 38398 w 762"/>
              <a:gd name="T45" fmla="*/ 54983 h 900"/>
              <a:gd name="T46" fmla="*/ 34480 w 762"/>
              <a:gd name="T47" fmla="*/ 50940 h 900"/>
              <a:gd name="T48" fmla="*/ 31346 w 762"/>
              <a:gd name="T49" fmla="*/ 47706 h 900"/>
              <a:gd name="T50" fmla="*/ 29778 w 762"/>
              <a:gd name="T51" fmla="*/ 46088 h 900"/>
              <a:gd name="T52" fmla="*/ 33697 w 762"/>
              <a:gd name="T53" fmla="*/ 50131 h 900"/>
              <a:gd name="T54" fmla="*/ 33697 w 762"/>
              <a:gd name="T55" fmla="*/ 53366 h 900"/>
              <a:gd name="T56" fmla="*/ 32129 w 762"/>
              <a:gd name="T57" fmla="*/ 57408 h 900"/>
              <a:gd name="T58" fmla="*/ 28995 w 762"/>
              <a:gd name="T59" fmla="*/ 55791 h 900"/>
              <a:gd name="T60" fmla="*/ 27427 w 762"/>
              <a:gd name="T61" fmla="*/ 51748 h 900"/>
              <a:gd name="T62" fmla="*/ 24293 w 762"/>
              <a:gd name="T63" fmla="*/ 46088 h 900"/>
              <a:gd name="T64" fmla="*/ 23509 w 762"/>
              <a:gd name="T65" fmla="*/ 50131 h 900"/>
              <a:gd name="T66" fmla="*/ 22726 w 762"/>
              <a:gd name="T67" fmla="*/ 49323 h 900"/>
              <a:gd name="T68" fmla="*/ 24293 w 762"/>
              <a:gd name="T69" fmla="*/ 53366 h 900"/>
              <a:gd name="T70" fmla="*/ 25860 w 762"/>
              <a:gd name="T71" fmla="*/ 58217 h 900"/>
              <a:gd name="T72" fmla="*/ 25077 w 762"/>
              <a:gd name="T73" fmla="*/ 61451 h 900"/>
              <a:gd name="T74" fmla="*/ 21942 w 762"/>
              <a:gd name="T75" fmla="*/ 60643 h 900"/>
              <a:gd name="T76" fmla="*/ 18807 w 762"/>
              <a:gd name="T77" fmla="*/ 55791 h 900"/>
              <a:gd name="T78" fmla="*/ 18807 w 762"/>
              <a:gd name="T79" fmla="*/ 50131 h 900"/>
              <a:gd name="T80" fmla="*/ 18024 w 762"/>
              <a:gd name="T81" fmla="*/ 50131 h 900"/>
              <a:gd name="T82" fmla="*/ 18024 w 762"/>
              <a:gd name="T83" fmla="*/ 54983 h 900"/>
              <a:gd name="T84" fmla="*/ 19591 w 762"/>
              <a:gd name="T85" fmla="*/ 62260 h 900"/>
              <a:gd name="T86" fmla="*/ 13322 w 762"/>
              <a:gd name="T87" fmla="*/ 59834 h 900"/>
              <a:gd name="T88" fmla="*/ 13322 w 762"/>
              <a:gd name="T89" fmla="*/ 54174 h 900"/>
              <a:gd name="T90" fmla="*/ 12538 w 762"/>
              <a:gd name="T91" fmla="*/ 54174 h 900"/>
              <a:gd name="T92" fmla="*/ 11755 w 762"/>
              <a:gd name="T93" fmla="*/ 57408 h 900"/>
              <a:gd name="T94" fmla="*/ 9404 w 762"/>
              <a:gd name="T95" fmla="*/ 54983 h 900"/>
              <a:gd name="T96" fmla="*/ 11755 w 762"/>
              <a:gd name="T97" fmla="*/ 58217 h 900"/>
              <a:gd name="T98" fmla="*/ 13322 w 762"/>
              <a:gd name="T99" fmla="*/ 62260 h 900"/>
              <a:gd name="T100" fmla="*/ 8620 w 762"/>
              <a:gd name="T101" fmla="*/ 62260 h 900"/>
              <a:gd name="T102" fmla="*/ 7836 w 762"/>
              <a:gd name="T103" fmla="*/ 55791 h 900"/>
              <a:gd name="T104" fmla="*/ 8620 w 762"/>
              <a:gd name="T105" fmla="*/ 58217 h 900"/>
              <a:gd name="T106" fmla="*/ 7053 w 762"/>
              <a:gd name="T107" fmla="*/ 63068 h 900"/>
              <a:gd name="T108" fmla="*/ 33697 w 762"/>
              <a:gd name="T109" fmla="*/ 57408 h 900"/>
              <a:gd name="T110" fmla="*/ 39966 w 762"/>
              <a:gd name="T111" fmla="*/ 55791 h 900"/>
              <a:gd name="T112" fmla="*/ 33697 w 762"/>
              <a:gd name="T113" fmla="*/ 61451 h 900"/>
              <a:gd name="T114" fmla="*/ 28211 w 762"/>
              <a:gd name="T115" fmla="*/ 52557 h 900"/>
              <a:gd name="T116" fmla="*/ 29778 w 762"/>
              <a:gd name="T117" fmla="*/ 58217 h 900"/>
              <a:gd name="T118" fmla="*/ 26644 w 762"/>
              <a:gd name="T119" fmla="*/ 55791 h 900"/>
              <a:gd name="T120" fmla="*/ 22726 w 762"/>
              <a:gd name="T121" fmla="*/ 51748 h 900"/>
              <a:gd name="T122" fmla="*/ 25077 w 762"/>
              <a:gd name="T123" fmla="*/ 53366 h 9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900"/>
              <a:gd name="T188" fmla="*/ 762 w 762"/>
              <a:gd name="T189" fmla="*/ 900 h 9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900">
                <a:moveTo>
                  <a:pt x="90" y="768"/>
                </a:moveTo>
                <a:lnTo>
                  <a:pt x="102" y="756"/>
                </a:lnTo>
                <a:lnTo>
                  <a:pt x="102" y="750"/>
                </a:lnTo>
                <a:lnTo>
                  <a:pt x="90" y="744"/>
                </a:lnTo>
                <a:lnTo>
                  <a:pt x="84" y="738"/>
                </a:lnTo>
                <a:lnTo>
                  <a:pt x="90" y="726"/>
                </a:lnTo>
                <a:lnTo>
                  <a:pt x="84" y="720"/>
                </a:lnTo>
                <a:lnTo>
                  <a:pt x="78" y="720"/>
                </a:lnTo>
                <a:lnTo>
                  <a:pt x="78" y="708"/>
                </a:lnTo>
                <a:lnTo>
                  <a:pt x="78" y="702"/>
                </a:lnTo>
                <a:lnTo>
                  <a:pt x="72" y="702"/>
                </a:lnTo>
                <a:lnTo>
                  <a:pt x="72" y="696"/>
                </a:lnTo>
                <a:lnTo>
                  <a:pt x="84" y="684"/>
                </a:lnTo>
                <a:lnTo>
                  <a:pt x="96" y="672"/>
                </a:lnTo>
                <a:lnTo>
                  <a:pt x="108" y="666"/>
                </a:lnTo>
                <a:lnTo>
                  <a:pt x="102" y="666"/>
                </a:lnTo>
                <a:lnTo>
                  <a:pt x="102" y="660"/>
                </a:lnTo>
                <a:lnTo>
                  <a:pt x="102" y="654"/>
                </a:lnTo>
                <a:lnTo>
                  <a:pt x="108" y="654"/>
                </a:lnTo>
                <a:lnTo>
                  <a:pt x="114" y="648"/>
                </a:lnTo>
                <a:lnTo>
                  <a:pt x="120" y="642"/>
                </a:lnTo>
                <a:lnTo>
                  <a:pt x="120" y="636"/>
                </a:lnTo>
                <a:lnTo>
                  <a:pt x="132" y="630"/>
                </a:lnTo>
                <a:lnTo>
                  <a:pt x="132" y="624"/>
                </a:lnTo>
                <a:lnTo>
                  <a:pt x="114" y="618"/>
                </a:lnTo>
                <a:lnTo>
                  <a:pt x="102" y="618"/>
                </a:lnTo>
                <a:lnTo>
                  <a:pt x="90" y="618"/>
                </a:lnTo>
                <a:lnTo>
                  <a:pt x="78" y="624"/>
                </a:lnTo>
                <a:lnTo>
                  <a:pt x="72" y="630"/>
                </a:lnTo>
                <a:lnTo>
                  <a:pt x="54" y="642"/>
                </a:lnTo>
                <a:lnTo>
                  <a:pt x="42" y="642"/>
                </a:lnTo>
                <a:lnTo>
                  <a:pt x="36" y="642"/>
                </a:lnTo>
                <a:lnTo>
                  <a:pt x="42" y="642"/>
                </a:lnTo>
                <a:lnTo>
                  <a:pt x="42" y="636"/>
                </a:lnTo>
                <a:lnTo>
                  <a:pt x="36" y="636"/>
                </a:lnTo>
                <a:lnTo>
                  <a:pt x="30" y="642"/>
                </a:lnTo>
                <a:lnTo>
                  <a:pt x="30" y="636"/>
                </a:lnTo>
                <a:lnTo>
                  <a:pt x="30" y="630"/>
                </a:lnTo>
                <a:lnTo>
                  <a:pt x="24" y="630"/>
                </a:lnTo>
                <a:lnTo>
                  <a:pt x="30" y="624"/>
                </a:lnTo>
                <a:lnTo>
                  <a:pt x="30" y="618"/>
                </a:lnTo>
                <a:lnTo>
                  <a:pt x="30" y="612"/>
                </a:lnTo>
                <a:lnTo>
                  <a:pt x="36" y="612"/>
                </a:lnTo>
                <a:lnTo>
                  <a:pt x="36" y="606"/>
                </a:lnTo>
                <a:lnTo>
                  <a:pt x="30" y="606"/>
                </a:lnTo>
                <a:lnTo>
                  <a:pt x="24" y="612"/>
                </a:lnTo>
                <a:lnTo>
                  <a:pt x="18" y="606"/>
                </a:lnTo>
                <a:lnTo>
                  <a:pt x="12" y="594"/>
                </a:lnTo>
                <a:lnTo>
                  <a:pt x="6" y="582"/>
                </a:lnTo>
                <a:lnTo>
                  <a:pt x="6" y="570"/>
                </a:lnTo>
                <a:lnTo>
                  <a:pt x="0" y="558"/>
                </a:lnTo>
                <a:lnTo>
                  <a:pt x="6" y="552"/>
                </a:lnTo>
                <a:lnTo>
                  <a:pt x="6" y="534"/>
                </a:lnTo>
                <a:lnTo>
                  <a:pt x="18" y="516"/>
                </a:lnTo>
                <a:lnTo>
                  <a:pt x="30" y="504"/>
                </a:lnTo>
                <a:lnTo>
                  <a:pt x="30" y="492"/>
                </a:lnTo>
                <a:lnTo>
                  <a:pt x="24" y="480"/>
                </a:lnTo>
                <a:lnTo>
                  <a:pt x="12" y="480"/>
                </a:lnTo>
                <a:lnTo>
                  <a:pt x="18" y="474"/>
                </a:lnTo>
                <a:lnTo>
                  <a:pt x="18" y="468"/>
                </a:lnTo>
                <a:lnTo>
                  <a:pt x="18" y="456"/>
                </a:lnTo>
                <a:lnTo>
                  <a:pt x="24" y="450"/>
                </a:lnTo>
                <a:lnTo>
                  <a:pt x="24" y="444"/>
                </a:lnTo>
                <a:lnTo>
                  <a:pt x="30" y="438"/>
                </a:lnTo>
                <a:lnTo>
                  <a:pt x="30" y="432"/>
                </a:lnTo>
                <a:lnTo>
                  <a:pt x="30" y="426"/>
                </a:lnTo>
                <a:lnTo>
                  <a:pt x="42" y="420"/>
                </a:lnTo>
                <a:lnTo>
                  <a:pt x="42" y="414"/>
                </a:lnTo>
                <a:lnTo>
                  <a:pt x="54" y="408"/>
                </a:lnTo>
                <a:lnTo>
                  <a:pt x="54" y="396"/>
                </a:lnTo>
                <a:lnTo>
                  <a:pt x="54" y="384"/>
                </a:lnTo>
                <a:lnTo>
                  <a:pt x="60" y="378"/>
                </a:lnTo>
                <a:lnTo>
                  <a:pt x="66" y="378"/>
                </a:lnTo>
                <a:lnTo>
                  <a:pt x="66" y="372"/>
                </a:lnTo>
                <a:lnTo>
                  <a:pt x="60" y="366"/>
                </a:lnTo>
                <a:lnTo>
                  <a:pt x="60" y="360"/>
                </a:lnTo>
                <a:lnTo>
                  <a:pt x="66" y="360"/>
                </a:lnTo>
                <a:lnTo>
                  <a:pt x="72" y="354"/>
                </a:lnTo>
                <a:lnTo>
                  <a:pt x="78" y="354"/>
                </a:lnTo>
                <a:lnTo>
                  <a:pt x="84" y="348"/>
                </a:lnTo>
                <a:lnTo>
                  <a:pt x="96" y="348"/>
                </a:lnTo>
                <a:lnTo>
                  <a:pt x="96" y="342"/>
                </a:lnTo>
                <a:lnTo>
                  <a:pt x="96" y="336"/>
                </a:lnTo>
                <a:lnTo>
                  <a:pt x="96" y="330"/>
                </a:lnTo>
                <a:lnTo>
                  <a:pt x="96" y="324"/>
                </a:lnTo>
                <a:lnTo>
                  <a:pt x="102" y="318"/>
                </a:lnTo>
                <a:lnTo>
                  <a:pt x="108" y="312"/>
                </a:lnTo>
                <a:lnTo>
                  <a:pt x="96" y="306"/>
                </a:lnTo>
                <a:lnTo>
                  <a:pt x="84" y="288"/>
                </a:lnTo>
                <a:lnTo>
                  <a:pt x="108" y="258"/>
                </a:lnTo>
                <a:lnTo>
                  <a:pt x="102" y="222"/>
                </a:lnTo>
                <a:lnTo>
                  <a:pt x="84" y="222"/>
                </a:lnTo>
                <a:lnTo>
                  <a:pt x="54" y="216"/>
                </a:lnTo>
                <a:lnTo>
                  <a:pt x="54" y="204"/>
                </a:lnTo>
                <a:lnTo>
                  <a:pt x="54" y="198"/>
                </a:lnTo>
                <a:lnTo>
                  <a:pt x="60" y="192"/>
                </a:lnTo>
                <a:lnTo>
                  <a:pt x="72" y="192"/>
                </a:lnTo>
                <a:lnTo>
                  <a:pt x="84" y="186"/>
                </a:lnTo>
                <a:lnTo>
                  <a:pt x="90" y="186"/>
                </a:lnTo>
                <a:lnTo>
                  <a:pt x="90" y="174"/>
                </a:lnTo>
                <a:lnTo>
                  <a:pt x="84" y="162"/>
                </a:lnTo>
                <a:lnTo>
                  <a:pt x="84" y="150"/>
                </a:lnTo>
                <a:lnTo>
                  <a:pt x="84" y="126"/>
                </a:lnTo>
                <a:lnTo>
                  <a:pt x="84" y="114"/>
                </a:lnTo>
                <a:lnTo>
                  <a:pt x="90" y="102"/>
                </a:lnTo>
                <a:lnTo>
                  <a:pt x="96" y="96"/>
                </a:lnTo>
                <a:lnTo>
                  <a:pt x="108" y="96"/>
                </a:lnTo>
                <a:lnTo>
                  <a:pt x="120" y="90"/>
                </a:lnTo>
                <a:lnTo>
                  <a:pt x="126" y="78"/>
                </a:lnTo>
                <a:lnTo>
                  <a:pt x="138" y="66"/>
                </a:lnTo>
                <a:lnTo>
                  <a:pt x="138" y="48"/>
                </a:lnTo>
                <a:lnTo>
                  <a:pt x="138" y="42"/>
                </a:lnTo>
                <a:lnTo>
                  <a:pt x="126" y="30"/>
                </a:lnTo>
                <a:lnTo>
                  <a:pt x="120" y="18"/>
                </a:lnTo>
                <a:lnTo>
                  <a:pt x="132" y="12"/>
                </a:lnTo>
                <a:lnTo>
                  <a:pt x="144" y="0"/>
                </a:lnTo>
                <a:lnTo>
                  <a:pt x="150" y="6"/>
                </a:lnTo>
                <a:lnTo>
                  <a:pt x="162" y="6"/>
                </a:lnTo>
                <a:lnTo>
                  <a:pt x="174" y="6"/>
                </a:lnTo>
                <a:lnTo>
                  <a:pt x="168" y="54"/>
                </a:lnTo>
                <a:lnTo>
                  <a:pt x="162" y="48"/>
                </a:lnTo>
                <a:lnTo>
                  <a:pt x="156" y="48"/>
                </a:lnTo>
                <a:lnTo>
                  <a:pt x="156" y="54"/>
                </a:lnTo>
                <a:lnTo>
                  <a:pt x="162" y="54"/>
                </a:lnTo>
                <a:lnTo>
                  <a:pt x="162" y="60"/>
                </a:lnTo>
                <a:lnTo>
                  <a:pt x="168" y="60"/>
                </a:lnTo>
                <a:lnTo>
                  <a:pt x="174" y="60"/>
                </a:lnTo>
                <a:lnTo>
                  <a:pt x="168" y="66"/>
                </a:lnTo>
                <a:lnTo>
                  <a:pt x="174" y="66"/>
                </a:lnTo>
                <a:lnTo>
                  <a:pt x="174" y="72"/>
                </a:lnTo>
                <a:lnTo>
                  <a:pt x="174" y="78"/>
                </a:lnTo>
                <a:lnTo>
                  <a:pt x="168" y="72"/>
                </a:lnTo>
                <a:lnTo>
                  <a:pt x="156" y="150"/>
                </a:lnTo>
                <a:lnTo>
                  <a:pt x="168" y="144"/>
                </a:lnTo>
                <a:lnTo>
                  <a:pt x="180" y="150"/>
                </a:lnTo>
                <a:lnTo>
                  <a:pt x="186" y="150"/>
                </a:lnTo>
                <a:lnTo>
                  <a:pt x="186" y="144"/>
                </a:lnTo>
                <a:lnTo>
                  <a:pt x="192" y="150"/>
                </a:lnTo>
                <a:lnTo>
                  <a:pt x="222" y="150"/>
                </a:lnTo>
                <a:lnTo>
                  <a:pt x="222" y="168"/>
                </a:lnTo>
                <a:lnTo>
                  <a:pt x="222" y="186"/>
                </a:lnTo>
                <a:lnTo>
                  <a:pt x="234" y="198"/>
                </a:lnTo>
                <a:lnTo>
                  <a:pt x="234" y="234"/>
                </a:lnTo>
                <a:lnTo>
                  <a:pt x="228" y="270"/>
                </a:lnTo>
                <a:lnTo>
                  <a:pt x="246" y="282"/>
                </a:lnTo>
                <a:lnTo>
                  <a:pt x="258" y="294"/>
                </a:lnTo>
                <a:lnTo>
                  <a:pt x="270" y="300"/>
                </a:lnTo>
                <a:lnTo>
                  <a:pt x="294" y="300"/>
                </a:lnTo>
                <a:lnTo>
                  <a:pt x="288" y="306"/>
                </a:lnTo>
                <a:lnTo>
                  <a:pt x="300" y="312"/>
                </a:lnTo>
                <a:lnTo>
                  <a:pt x="306" y="318"/>
                </a:lnTo>
                <a:lnTo>
                  <a:pt x="324" y="324"/>
                </a:lnTo>
                <a:lnTo>
                  <a:pt x="354" y="318"/>
                </a:lnTo>
                <a:lnTo>
                  <a:pt x="354" y="312"/>
                </a:lnTo>
                <a:lnTo>
                  <a:pt x="366" y="312"/>
                </a:lnTo>
                <a:lnTo>
                  <a:pt x="384" y="312"/>
                </a:lnTo>
                <a:lnTo>
                  <a:pt x="390" y="306"/>
                </a:lnTo>
                <a:lnTo>
                  <a:pt x="396" y="306"/>
                </a:lnTo>
                <a:lnTo>
                  <a:pt x="408" y="306"/>
                </a:lnTo>
                <a:lnTo>
                  <a:pt x="426" y="312"/>
                </a:lnTo>
                <a:lnTo>
                  <a:pt x="456" y="324"/>
                </a:lnTo>
                <a:lnTo>
                  <a:pt x="504" y="330"/>
                </a:lnTo>
                <a:lnTo>
                  <a:pt x="510" y="336"/>
                </a:lnTo>
                <a:lnTo>
                  <a:pt x="534" y="336"/>
                </a:lnTo>
                <a:lnTo>
                  <a:pt x="540" y="336"/>
                </a:lnTo>
                <a:lnTo>
                  <a:pt x="546" y="324"/>
                </a:lnTo>
                <a:lnTo>
                  <a:pt x="558" y="330"/>
                </a:lnTo>
                <a:lnTo>
                  <a:pt x="564" y="330"/>
                </a:lnTo>
                <a:lnTo>
                  <a:pt x="570" y="354"/>
                </a:lnTo>
                <a:lnTo>
                  <a:pt x="564" y="378"/>
                </a:lnTo>
                <a:lnTo>
                  <a:pt x="558" y="396"/>
                </a:lnTo>
                <a:lnTo>
                  <a:pt x="546" y="414"/>
                </a:lnTo>
                <a:lnTo>
                  <a:pt x="546" y="438"/>
                </a:lnTo>
                <a:lnTo>
                  <a:pt x="540" y="456"/>
                </a:lnTo>
                <a:lnTo>
                  <a:pt x="540" y="474"/>
                </a:lnTo>
                <a:lnTo>
                  <a:pt x="528" y="480"/>
                </a:lnTo>
                <a:lnTo>
                  <a:pt x="522" y="492"/>
                </a:lnTo>
                <a:lnTo>
                  <a:pt x="504" y="498"/>
                </a:lnTo>
                <a:lnTo>
                  <a:pt x="498" y="498"/>
                </a:lnTo>
                <a:lnTo>
                  <a:pt x="492" y="504"/>
                </a:lnTo>
                <a:lnTo>
                  <a:pt x="486" y="510"/>
                </a:lnTo>
                <a:lnTo>
                  <a:pt x="480" y="510"/>
                </a:lnTo>
                <a:lnTo>
                  <a:pt x="480" y="516"/>
                </a:lnTo>
                <a:lnTo>
                  <a:pt x="474" y="522"/>
                </a:lnTo>
                <a:lnTo>
                  <a:pt x="474" y="528"/>
                </a:lnTo>
                <a:lnTo>
                  <a:pt x="474" y="534"/>
                </a:lnTo>
                <a:lnTo>
                  <a:pt x="480" y="540"/>
                </a:lnTo>
                <a:lnTo>
                  <a:pt x="492" y="540"/>
                </a:lnTo>
                <a:lnTo>
                  <a:pt x="498" y="546"/>
                </a:lnTo>
                <a:lnTo>
                  <a:pt x="504" y="552"/>
                </a:lnTo>
                <a:lnTo>
                  <a:pt x="510" y="552"/>
                </a:lnTo>
                <a:lnTo>
                  <a:pt x="516" y="558"/>
                </a:lnTo>
                <a:lnTo>
                  <a:pt x="528" y="558"/>
                </a:lnTo>
                <a:lnTo>
                  <a:pt x="534" y="552"/>
                </a:lnTo>
                <a:lnTo>
                  <a:pt x="540" y="552"/>
                </a:lnTo>
                <a:lnTo>
                  <a:pt x="546" y="552"/>
                </a:lnTo>
                <a:lnTo>
                  <a:pt x="558" y="546"/>
                </a:lnTo>
                <a:lnTo>
                  <a:pt x="564" y="540"/>
                </a:lnTo>
                <a:lnTo>
                  <a:pt x="564" y="546"/>
                </a:lnTo>
                <a:lnTo>
                  <a:pt x="570" y="546"/>
                </a:lnTo>
                <a:lnTo>
                  <a:pt x="570" y="540"/>
                </a:lnTo>
                <a:lnTo>
                  <a:pt x="570" y="546"/>
                </a:lnTo>
                <a:lnTo>
                  <a:pt x="576" y="546"/>
                </a:lnTo>
                <a:lnTo>
                  <a:pt x="582" y="546"/>
                </a:lnTo>
                <a:lnTo>
                  <a:pt x="588" y="540"/>
                </a:lnTo>
                <a:lnTo>
                  <a:pt x="594" y="546"/>
                </a:lnTo>
                <a:lnTo>
                  <a:pt x="606" y="546"/>
                </a:lnTo>
                <a:lnTo>
                  <a:pt x="612" y="546"/>
                </a:lnTo>
                <a:lnTo>
                  <a:pt x="612" y="552"/>
                </a:lnTo>
                <a:lnTo>
                  <a:pt x="618" y="552"/>
                </a:lnTo>
                <a:lnTo>
                  <a:pt x="624" y="552"/>
                </a:lnTo>
                <a:lnTo>
                  <a:pt x="630" y="552"/>
                </a:lnTo>
                <a:lnTo>
                  <a:pt x="648" y="546"/>
                </a:lnTo>
                <a:lnTo>
                  <a:pt x="654" y="546"/>
                </a:lnTo>
                <a:lnTo>
                  <a:pt x="654" y="552"/>
                </a:lnTo>
                <a:lnTo>
                  <a:pt x="660" y="558"/>
                </a:lnTo>
                <a:lnTo>
                  <a:pt x="666" y="564"/>
                </a:lnTo>
                <a:lnTo>
                  <a:pt x="672" y="564"/>
                </a:lnTo>
                <a:lnTo>
                  <a:pt x="678" y="564"/>
                </a:lnTo>
                <a:lnTo>
                  <a:pt x="696" y="576"/>
                </a:lnTo>
                <a:lnTo>
                  <a:pt x="696" y="582"/>
                </a:lnTo>
                <a:lnTo>
                  <a:pt x="708" y="588"/>
                </a:lnTo>
                <a:lnTo>
                  <a:pt x="708" y="594"/>
                </a:lnTo>
                <a:lnTo>
                  <a:pt x="720" y="606"/>
                </a:lnTo>
                <a:lnTo>
                  <a:pt x="720" y="618"/>
                </a:lnTo>
                <a:lnTo>
                  <a:pt x="720" y="624"/>
                </a:lnTo>
                <a:lnTo>
                  <a:pt x="726" y="630"/>
                </a:lnTo>
                <a:lnTo>
                  <a:pt x="732" y="636"/>
                </a:lnTo>
                <a:lnTo>
                  <a:pt x="732" y="642"/>
                </a:lnTo>
                <a:lnTo>
                  <a:pt x="732" y="648"/>
                </a:lnTo>
                <a:lnTo>
                  <a:pt x="726" y="654"/>
                </a:lnTo>
                <a:lnTo>
                  <a:pt x="720" y="660"/>
                </a:lnTo>
                <a:lnTo>
                  <a:pt x="714" y="666"/>
                </a:lnTo>
                <a:lnTo>
                  <a:pt x="714" y="672"/>
                </a:lnTo>
                <a:lnTo>
                  <a:pt x="714" y="678"/>
                </a:lnTo>
                <a:lnTo>
                  <a:pt x="720" y="678"/>
                </a:lnTo>
                <a:lnTo>
                  <a:pt x="720" y="684"/>
                </a:lnTo>
                <a:lnTo>
                  <a:pt x="714" y="690"/>
                </a:lnTo>
                <a:lnTo>
                  <a:pt x="714" y="696"/>
                </a:lnTo>
                <a:lnTo>
                  <a:pt x="714" y="702"/>
                </a:lnTo>
                <a:lnTo>
                  <a:pt x="714" y="708"/>
                </a:lnTo>
                <a:lnTo>
                  <a:pt x="720" y="708"/>
                </a:lnTo>
                <a:lnTo>
                  <a:pt x="720" y="720"/>
                </a:lnTo>
                <a:lnTo>
                  <a:pt x="720" y="726"/>
                </a:lnTo>
                <a:lnTo>
                  <a:pt x="726" y="726"/>
                </a:lnTo>
                <a:lnTo>
                  <a:pt x="726" y="732"/>
                </a:lnTo>
                <a:lnTo>
                  <a:pt x="732" y="732"/>
                </a:lnTo>
                <a:lnTo>
                  <a:pt x="732" y="738"/>
                </a:lnTo>
                <a:lnTo>
                  <a:pt x="726" y="738"/>
                </a:lnTo>
                <a:lnTo>
                  <a:pt x="720" y="738"/>
                </a:lnTo>
                <a:lnTo>
                  <a:pt x="720" y="744"/>
                </a:lnTo>
                <a:lnTo>
                  <a:pt x="720" y="750"/>
                </a:lnTo>
                <a:lnTo>
                  <a:pt x="714" y="750"/>
                </a:lnTo>
                <a:lnTo>
                  <a:pt x="714" y="756"/>
                </a:lnTo>
                <a:lnTo>
                  <a:pt x="720" y="756"/>
                </a:lnTo>
                <a:lnTo>
                  <a:pt x="714" y="762"/>
                </a:lnTo>
                <a:lnTo>
                  <a:pt x="720" y="762"/>
                </a:lnTo>
                <a:lnTo>
                  <a:pt x="726" y="768"/>
                </a:lnTo>
                <a:lnTo>
                  <a:pt x="726" y="774"/>
                </a:lnTo>
                <a:lnTo>
                  <a:pt x="732" y="774"/>
                </a:lnTo>
                <a:lnTo>
                  <a:pt x="732" y="780"/>
                </a:lnTo>
                <a:lnTo>
                  <a:pt x="726" y="780"/>
                </a:lnTo>
                <a:lnTo>
                  <a:pt x="726" y="786"/>
                </a:lnTo>
                <a:lnTo>
                  <a:pt x="720" y="786"/>
                </a:lnTo>
                <a:lnTo>
                  <a:pt x="726" y="786"/>
                </a:lnTo>
                <a:lnTo>
                  <a:pt x="732" y="780"/>
                </a:lnTo>
                <a:lnTo>
                  <a:pt x="738" y="780"/>
                </a:lnTo>
                <a:lnTo>
                  <a:pt x="744" y="780"/>
                </a:lnTo>
                <a:lnTo>
                  <a:pt x="744" y="786"/>
                </a:lnTo>
                <a:lnTo>
                  <a:pt x="750" y="786"/>
                </a:lnTo>
                <a:lnTo>
                  <a:pt x="744" y="786"/>
                </a:lnTo>
                <a:lnTo>
                  <a:pt x="744" y="792"/>
                </a:lnTo>
                <a:lnTo>
                  <a:pt x="744" y="786"/>
                </a:lnTo>
                <a:lnTo>
                  <a:pt x="738" y="792"/>
                </a:lnTo>
                <a:lnTo>
                  <a:pt x="744" y="792"/>
                </a:lnTo>
                <a:lnTo>
                  <a:pt x="750" y="792"/>
                </a:lnTo>
                <a:lnTo>
                  <a:pt x="750" y="786"/>
                </a:lnTo>
                <a:lnTo>
                  <a:pt x="756" y="786"/>
                </a:lnTo>
                <a:lnTo>
                  <a:pt x="756" y="792"/>
                </a:lnTo>
                <a:lnTo>
                  <a:pt x="762" y="792"/>
                </a:lnTo>
                <a:lnTo>
                  <a:pt x="756" y="798"/>
                </a:lnTo>
                <a:lnTo>
                  <a:pt x="756" y="804"/>
                </a:lnTo>
                <a:lnTo>
                  <a:pt x="756" y="810"/>
                </a:lnTo>
                <a:lnTo>
                  <a:pt x="750" y="810"/>
                </a:lnTo>
                <a:lnTo>
                  <a:pt x="756" y="810"/>
                </a:lnTo>
                <a:lnTo>
                  <a:pt x="756" y="804"/>
                </a:lnTo>
                <a:lnTo>
                  <a:pt x="756" y="810"/>
                </a:lnTo>
                <a:lnTo>
                  <a:pt x="756" y="816"/>
                </a:lnTo>
                <a:lnTo>
                  <a:pt x="750" y="816"/>
                </a:lnTo>
                <a:lnTo>
                  <a:pt x="738" y="810"/>
                </a:lnTo>
                <a:lnTo>
                  <a:pt x="732" y="810"/>
                </a:lnTo>
                <a:lnTo>
                  <a:pt x="732" y="816"/>
                </a:lnTo>
                <a:lnTo>
                  <a:pt x="726" y="810"/>
                </a:lnTo>
                <a:lnTo>
                  <a:pt x="714" y="816"/>
                </a:lnTo>
                <a:lnTo>
                  <a:pt x="708" y="816"/>
                </a:lnTo>
                <a:lnTo>
                  <a:pt x="702" y="816"/>
                </a:lnTo>
                <a:lnTo>
                  <a:pt x="696" y="816"/>
                </a:lnTo>
                <a:lnTo>
                  <a:pt x="690" y="822"/>
                </a:lnTo>
                <a:lnTo>
                  <a:pt x="684" y="822"/>
                </a:lnTo>
                <a:lnTo>
                  <a:pt x="678" y="822"/>
                </a:lnTo>
                <a:lnTo>
                  <a:pt x="672" y="822"/>
                </a:lnTo>
                <a:lnTo>
                  <a:pt x="666" y="822"/>
                </a:lnTo>
                <a:lnTo>
                  <a:pt x="666" y="828"/>
                </a:lnTo>
                <a:lnTo>
                  <a:pt x="654" y="828"/>
                </a:lnTo>
                <a:lnTo>
                  <a:pt x="648" y="828"/>
                </a:lnTo>
                <a:lnTo>
                  <a:pt x="642" y="828"/>
                </a:lnTo>
                <a:lnTo>
                  <a:pt x="630" y="828"/>
                </a:lnTo>
                <a:lnTo>
                  <a:pt x="624" y="822"/>
                </a:lnTo>
                <a:lnTo>
                  <a:pt x="618" y="822"/>
                </a:lnTo>
                <a:lnTo>
                  <a:pt x="612" y="822"/>
                </a:lnTo>
                <a:lnTo>
                  <a:pt x="606" y="822"/>
                </a:lnTo>
                <a:lnTo>
                  <a:pt x="600" y="822"/>
                </a:lnTo>
                <a:lnTo>
                  <a:pt x="594" y="822"/>
                </a:lnTo>
                <a:lnTo>
                  <a:pt x="594" y="816"/>
                </a:lnTo>
                <a:lnTo>
                  <a:pt x="594" y="810"/>
                </a:lnTo>
                <a:lnTo>
                  <a:pt x="600" y="804"/>
                </a:lnTo>
                <a:lnTo>
                  <a:pt x="600" y="798"/>
                </a:lnTo>
                <a:lnTo>
                  <a:pt x="600" y="792"/>
                </a:lnTo>
                <a:lnTo>
                  <a:pt x="606" y="792"/>
                </a:lnTo>
                <a:lnTo>
                  <a:pt x="612" y="792"/>
                </a:lnTo>
                <a:lnTo>
                  <a:pt x="612" y="786"/>
                </a:lnTo>
                <a:lnTo>
                  <a:pt x="618" y="786"/>
                </a:lnTo>
                <a:lnTo>
                  <a:pt x="624" y="786"/>
                </a:lnTo>
                <a:lnTo>
                  <a:pt x="624" y="780"/>
                </a:lnTo>
                <a:lnTo>
                  <a:pt x="630" y="780"/>
                </a:lnTo>
                <a:lnTo>
                  <a:pt x="630" y="774"/>
                </a:lnTo>
                <a:lnTo>
                  <a:pt x="636" y="774"/>
                </a:lnTo>
                <a:lnTo>
                  <a:pt x="642" y="780"/>
                </a:lnTo>
                <a:lnTo>
                  <a:pt x="642" y="786"/>
                </a:lnTo>
                <a:lnTo>
                  <a:pt x="642" y="792"/>
                </a:lnTo>
                <a:lnTo>
                  <a:pt x="648" y="792"/>
                </a:lnTo>
                <a:lnTo>
                  <a:pt x="648" y="786"/>
                </a:lnTo>
                <a:lnTo>
                  <a:pt x="642" y="786"/>
                </a:lnTo>
                <a:lnTo>
                  <a:pt x="642" y="780"/>
                </a:lnTo>
                <a:lnTo>
                  <a:pt x="642" y="774"/>
                </a:lnTo>
                <a:lnTo>
                  <a:pt x="648" y="768"/>
                </a:lnTo>
                <a:lnTo>
                  <a:pt x="642" y="768"/>
                </a:lnTo>
                <a:lnTo>
                  <a:pt x="648" y="768"/>
                </a:lnTo>
                <a:lnTo>
                  <a:pt x="648" y="762"/>
                </a:lnTo>
                <a:lnTo>
                  <a:pt x="654" y="762"/>
                </a:lnTo>
                <a:lnTo>
                  <a:pt x="660" y="762"/>
                </a:lnTo>
                <a:lnTo>
                  <a:pt x="654" y="762"/>
                </a:lnTo>
                <a:lnTo>
                  <a:pt x="660" y="762"/>
                </a:lnTo>
                <a:lnTo>
                  <a:pt x="666" y="762"/>
                </a:lnTo>
                <a:lnTo>
                  <a:pt x="672" y="756"/>
                </a:lnTo>
                <a:lnTo>
                  <a:pt x="666" y="756"/>
                </a:lnTo>
                <a:lnTo>
                  <a:pt x="660" y="756"/>
                </a:lnTo>
                <a:lnTo>
                  <a:pt x="660" y="750"/>
                </a:lnTo>
                <a:lnTo>
                  <a:pt x="654" y="750"/>
                </a:lnTo>
                <a:lnTo>
                  <a:pt x="648" y="750"/>
                </a:lnTo>
                <a:lnTo>
                  <a:pt x="648" y="756"/>
                </a:lnTo>
                <a:lnTo>
                  <a:pt x="642" y="756"/>
                </a:lnTo>
                <a:lnTo>
                  <a:pt x="642" y="750"/>
                </a:lnTo>
                <a:lnTo>
                  <a:pt x="642" y="744"/>
                </a:lnTo>
                <a:lnTo>
                  <a:pt x="642" y="750"/>
                </a:lnTo>
                <a:lnTo>
                  <a:pt x="636" y="750"/>
                </a:lnTo>
                <a:lnTo>
                  <a:pt x="636" y="744"/>
                </a:lnTo>
                <a:lnTo>
                  <a:pt x="630" y="744"/>
                </a:lnTo>
                <a:lnTo>
                  <a:pt x="630" y="738"/>
                </a:lnTo>
                <a:lnTo>
                  <a:pt x="630" y="744"/>
                </a:lnTo>
                <a:lnTo>
                  <a:pt x="630" y="750"/>
                </a:lnTo>
                <a:lnTo>
                  <a:pt x="636" y="750"/>
                </a:lnTo>
                <a:lnTo>
                  <a:pt x="636" y="756"/>
                </a:lnTo>
                <a:lnTo>
                  <a:pt x="630" y="756"/>
                </a:lnTo>
                <a:lnTo>
                  <a:pt x="636" y="762"/>
                </a:lnTo>
                <a:lnTo>
                  <a:pt x="630" y="762"/>
                </a:lnTo>
                <a:lnTo>
                  <a:pt x="624" y="762"/>
                </a:lnTo>
                <a:lnTo>
                  <a:pt x="624" y="774"/>
                </a:lnTo>
                <a:lnTo>
                  <a:pt x="624" y="780"/>
                </a:lnTo>
                <a:lnTo>
                  <a:pt x="624" y="786"/>
                </a:lnTo>
                <a:lnTo>
                  <a:pt x="618" y="786"/>
                </a:lnTo>
                <a:lnTo>
                  <a:pt x="618" y="780"/>
                </a:lnTo>
                <a:lnTo>
                  <a:pt x="618" y="786"/>
                </a:lnTo>
                <a:lnTo>
                  <a:pt x="612" y="780"/>
                </a:lnTo>
                <a:lnTo>
                  <a:pt x="612" y="774"/>
                </a:lnTo>
                <a:lnTo>
                  <a:pt x="612" y="780"/>
                </a:lnTo>
                <a:lnTo>
                  <a:pt x="606" y="780"/>
                </a:lnTo>
                <a:lnTo>
                  <a:pt x="600" y="780"/>
                </a:lnTo>
                <a:lnTo>
                  <a:pt x="600" y="774"/>
                </a:lnTo>
                <a:lnTo>
                  <a:pt x="594" y="768"/>
                </a:lnTo>
                <a:lnTo>
                  <a:pt x="594" y="762"/>
                </a:lnTo>
                <a:lnTo>
                  <a:pt x="594" y="756"/>
                </a:lnTo>
                <a:lnTo>
                  <a:pt x="594" y="762"/>
                </a:lnTo>
                <a:lnTo>
                  <a:pt x="594" y="768"/>
                </a:lnTo>
                <a:lnTo>
                  <a:pt x="594" y="774"/>
                </a:lnTo>
                <a:lnTo>
                  <a:pt x="594" y="780"/>
                </a:lnTo>
                <a:lnTo>
                  <a:pt x="588" y="780"/>
                </a:lnTo>
                <a:lnTo>
                  <a:pt x="582" y="780"/>
                </a:lnTo>
                <a:lnTo>
                  <a:pt x="576" y="780"/>
                </a:lnTo>
                <a:lnTo>
                  <a:pt x="570" y="780"/>
                </a:lnTo>
                <a:lnTo>
                  <a:pt x="564" y="780"/>
                </a:lnTo>
                <a:lnTo>
                  <a:pt x="564" y="786"/>
                </a:lnTo>
                <a:lnTo>
                  <a:pt x="558" y="786"/>
                </a:lnTo>
                <a:lnTo>
                  <a:pt x="552" y="786"/>
                </a:lnTo>
                <a:lnTo>
                  <a:pt x="552" y="780"/>
                </a:lnTo>
                <a:lnTo>
                  <a:pt x="552" y="774"/>
                </a:lnTo>
                <a:lnTo>
                  <a:pt x="552" y="768"/>
                </a:lnTo>
                <a:lnTo>
                  <a:pt x="546" y="768"/>
                </a:lnTo>
                <a:lnTo>
                  <a:pt x="540" y="762"/>
                </a:lnTo>
                <a:lnTo>
                  <a:pt x="540" y="756"/>
                </a:lnTo>
                <a:lnTo>
                  <a:pt x="534" y="756"/>
                </a:lnTo>
                <a:lnTo>
                  <a:pt x="534" y="750"/>
                </a:lnTo>
                <a:lnTo>
                  <a:pt x="534" y="744"/>
                </a:lnTo>
                <a:lnTo>
                  <a:pt x="528" y="738"/>
                </a:lnTo>
                <a:lnTo>
                  <a:pt x="522" y="738"/>
                </a:lnTo>
                <a:lnTo>
                  <a:pt x="522" y="732"/>
                </a:lnTo>
                <a:lnTo>
                  <a:pt x="510" y="726"/>
                </a:lnTo>
                <a:lnTo>
                  <a:pt x="510" y="720"/>
                </a:lnTo>
                <a:lnTo>
                  <a:pt x="504" y="720"/>
                </a:lnTo>
                <a:lnTo>
                  <a:pt x="504" y="714"/>
                </a:lnTo>
                <a:lnTo>
                  <a:pt x="504" y="708"/>
                </a:lnTo>
                <a:lnTo>
                  <a:pt x="498" y="708"/>
                </a:lnTo>
                <a:lnTo>
                  <a:pt x="498" y="702"/>
                </a:lnTo>
                <a:lnTo>
                  <a:pt x="498" y="696"/>
                </a:lnTo>
                <a:lnTo>
                  <a:pt x="492" y="690"/>
                </a:lnTo>
                <a:lnTo>
                  <a:pt x="492" y="684"/>
                </a:lnTo>
                <a:lnTo>
                  <a:pt x="486" y="684"/>
                </a:lnTo>
                <a:lnTo>
                  <a:pt x="486" y="690"/>
                </a:lnTo>
                <a:lnTo>
                  <a:pt x="480" y="684"/>
                </a:lnTo>
                <a:lnTo>
                  <a:pt x="480" y="678"/>
                </a:lnTo>
                <a:lnTo>
                  <a:pt x="474" y="678"/>
                </a:lnTo>
                <a:lnTo>
                  <a:pt x="468" y="678"/>
                </a:lnTo>
                <a:lnTo>
                  <a:pt x="462" y="678"/>
                </a:lnTo>
                <a:lnTo>
                  <a:pt x="462" y="672"/>
                </a:lnTo>
                <a:lnTo>
                  <a:pt x="456" y="672"/>
                </a:lnTo>
                <a:lnTo>
                  <a:pt x="450" y="672"/>
                </a:lnTo>
                <a:lnTo>
                  <a:pt x="450" y="666"/>
                </a:lnTo>
                <a:lnTo>
                  <a:pt x="444" y="666"/>
                </a:lnTo>
                <a:lnTo>
                  <a:pt x="438" y="660"/>
                </a:lnTo>
                <a:lnTo>
                  <a:pt x="438" y="648"/>
                </a:lnTo>
                <a:lnTo>
                  <a:pt x="438" y="642"/>
                </a:lnTo>
                <a:lnTo>
                  <a:pt x="438" y="636"/>
                </a:lnTo>
                <a:lnTo>
                  <a:pt x="432" y="636"/>
                </a:lnTo>
                <a:lnTo>
                  <a:pt x="432" y="630"/>
                </a:lnTo>
                <a:lnTo>
                  <a:pt x="432" y="636"/>
                </a:lnTo>
                <a:lnTo>
                  <a:pt x="426" y="636"/>
                </a:lnTo>
                <a:lnTo>
                  <a:pt x="420" y="636"/>
                </a:lnTo>
                <a:lnTo>
                  <a:pt x="420" y="642"/>
                </a:lnTo>
                <a:lnTo>
                  <a:pt x="426" y="642"/>
                </a:lnTo>
                <a:lnTo>
                  <a:pt x="432" y="642"/>
                </a:lnTo>
                <a:lnTo>
                  <a:pt x="432" y="648"/>
                </a:lnTo>
                <a:lnTo>
                  <a:pt x="432" y="654"/>
                </a:lnTo>
                <a:lnTo>
                  <a:pt x="432" y="660"/>
                </a:lnTo>
                <a:lnTo>
                  <a:pt x="432" y="666"/>
                </a:lnTo>
                <a:lnTo>
                  <a:pt x="438" y="666"/>
                </a:lnTo>
                <a:lnTo>
                  <a:pt x="438" y="672"/>
                </a:lnTo>
                <a:lnTo>
                  <a:pt x="444" y="672"/>
                </a:lnTo>
                <a:lnTo>
                  <a:pt x="444" y="678"/>
                </a:lnTo>
                <a:lnTo>
                  <a:pt x="450" y="678"/>
                </a:lnTo>
                <a:lnTo>
                  <a:pt x="456" y="678"/>
                </a:lnTo>
                <a:lnTo>
                  <a:pt x="456" y="684"/>
                </a:lnTo>
                <a:lnTo>
                  <a:pt x="462" y="684"/>
                </a:lnTo>
                <a:lnTo>
                  <a:pt x="468" y="684"/>
                </a:lnTo>
                <a:lnTo>
                  <a:pt x="468" y="690"/>
                </a:lnTo>
                <a:lnTo>
                  <a:pt x="474" y="690"/>
                </a:lnTo>
                <a:lnTo>
                  <a:pt x="480" y="690"/>
                </a:lnTo>
                <a:lnTo>
                  <a:pt x="480" y="696"/>
                </a:lnTo>
                <a:lnTo>
                  <a:pt x="486" y="702"/>
                </a:lnTo>
                <a:lnTo>
                  <a:pt x="486" y="708"/>
                </a:lnTo>
                <a:lnTo>
                  <a:pt x="492" y="714"/>
                </a:lnTo>
                <a:lnTo>
                  <a:pt x="492" y="720"/>
                </a:lnTo>
                <a:lnTo>
                  <a:pt x="492" y="726"/>
                </a:lnTo>
                <a:lnTo>
                  <a:pt x="498" y="732"/>
                </a:lnTo>
                <a:lnTo>
                  <a:pt x="492" y="738"/>
                </a:lnTo>
                <a:lnTo>
                  <a:pt x="492" y="744"/>
                </a:lnTo>
                <a:lnTo>
                  <a:pt x="492" y="750"/>
                </a:lnTo>
                <a:lnTo>
                  <a:pt x="486" y="750"/>
                </a:lnTo>
                <a:lnTo>
                  <a:pt x="480" y="750"/>
                </a:lnTo>
                <a:lnTo>
                  <a:pt x="480" y="744"/>
                </a:lnTo>
                <a:lnTo>
                  <a:pt x="474" y="744"/>
                </a:lnTo>
                <a:lnTo>
                  <a:pt x="474" y="738"/>
                </a:lnTo>
                <a:lnTo>
                  <a:pt x="468" y="738"/>
                </a:lnTo>
                <a:lnTo>
                  <a:pt x="468" y="744"/>
                </a:lnTo>
                <a:lnTo>
                  <a:pt x="474" y="750"/>
                </a:lnTo>
                <a:lnTo>
                  <a:pt x="480" y="756"/>
                </a:lnTo>
                <a:lnTo>
                  <a:pt x="486" y="756"/>
                </a:lnTo>
                <a:lnTo>
                  <a:pt x="492" y="762"/>
                </a:lnTo>
                <a:lnTo>
                  <a:pt x="498" y="768"/>
                </a:lnTo>
                <a:lnTo>
                  <a:pt x="492" y="774"/>
                </a:lnTo>
                <a:lnTo>
                  <a:pt x="492" y="780"/>
                </a:lnTo>
                <a:lnTo>
                  <a:pt x="498" y="780"/>
                </a:lnTo>
                <a:lnTo>
                  <a:pt x="492" y="786"/>
                </a:lnTo>
                <a:lnTo>
                  <a:pt x="492" y="792"/>
                </a:lnTo>
                <a:lnTo>
                  <a:pt x="492" y="798"/>
                </a:lnTo>
                <a:lnTo>
                  <a:pt x="486" y="804"/>
                </a:lnTo>
                <a:lnTo>
                  <a:pt x="480" y="804"/>
                </a:lnTo>
                <a:lnTo>
                  <a:pt x="480" y="810"/>
                </a:lnTo>
                <a:lnTo>
                  <a:pt x="480" y="804"/>
                </a:lnTo>
                <a:lnTo>
                  <a:pt x="474" y="804"/>
                </a:lnTo>
                <a:lnTo>
                  <a:pt x="474" y="798"/>
                </a:lnTo>
                <a:lnTo>
                  <a:pt x="474" y="804"/>
                </a:lnTo>
                <a:lnTo>
                  <a:pt x="468" y="804"/>
                </a:lnTo>
                <a:lnTo>
                  <a:pt x="468" y="810"/>
                </a:lnTo>
                <a:lnTo>
                  <a:pt x="462" y="810"/>
                </a:lnTo>
                <a:lnTo>
                  <a:pt x="456" y="810"/>
                </a:lnTo>
                <a:lnTo>
                  <a:pt x="450" y="810"/>
                </a:lnTo>
                <a:lnTo>
                  <a:pt x="450" y="816"/>
                </a:lnTo>
                <a:lnTo>
                  <a:pt x="456" y="816"/>
                </a:lnTo>
                <a:lnTo>
                  <a:pt x="456" y="822"/>
                </a:lnTo>
                <a:lnTo>
                  <a:pt x="450" y="822"/>
                </a:lnTo>
                <a:lnTo>
                  <a:pt x="450" y="816"/>
                </a:lnTo>
                <a:lnTo>
                  <a:pt x="444" y="816"/>
                </a:lnTo>
                <a:lnTo>
                  <a:pt x="438" y="810"/>
                </a:lnTo>
                <a:lnTo>
                  <a:pt x="432" y="810"/>
                </a:lnTo>
                <a:lnTo>
                  <a:pt x="426" y="804"/>
                </a:lnTo>
                <a:lnTo>
                  <a:pt x="426" y="798"/>
                </a:lnTo>
                <a:lnTo>
                  <a:pt x="420" y="798"/>
                </a:lnTo>
                <a:lnTo>
                  <a:pt x="426" y="798"/>
                </a:lnTo>
                <a:lnTo>
                  <a:pt x="426" y="792"/>
                </a:lnTo>
                <a:lnTo>
                  <a:pt x="426" y="786"/>
                </a:lnTo>
                <a:lnTo>
                  <a:pt x="432" y="786"/>
                </a:lnTo>
                <a:lnTo>
                  <a:pt x="432" y="780"/>
                </a:lnTo>
                <a:lnTo>
                  <a:pt x="426" y="774"/>
                </a:lnTo>
                <a:lnTo>
                  <a:pt x="420" y="768"/>
                </a:lnTo>
                <a:lnTo>
                  <a:pt x="420" y="762"/>
                </a:lnTo>
                <a:lnTo>
                  <a:pt x="420" y="756"/>
                </a:lnTo>
                <a:lnTo>
                  <a:pt x="420" y="750"/>
                </a:lnTo>
                <a:lnTo>
                  <a:pt x="414" y="750"/>
                </a:lnTo>
                <a:lnTo>
                  <a:pt x="420" y="750"/>
                </a:lnTo>
                <a:lnTo>
                  <a:pt x="420" y="744"/>
                </a:lnTo>
                <a:lnTo>
                  <a:pt x="414" y="744"/>
                </a:lnTo>
                <a:lnTo>
                  <a:pt x="414" y="738"/>
                </a:lnTo>
                <a:lnTo>
                  <a:pt x="414" y="732"/>
                </a:lnTo>
                <a:lnTo>
                  <a:pt x="408" y="732"/>
                </a:lnTo>
                <a:lnTo>
                  <a:pt x="408" y="726"/>
                </a:lnTo>
                <a:lnTo>
                  <a:pt x="402" y="726"/>
                </a:lnTo>
                <a:lnTo>
                  <a:pt x="396" y="726"/>
                </a:lnTo>
                <a:lnTo>
                  <a:pt x="390" y="726"/>
                </a:lnTo>
                <a:lnTo>
                  <a:pt x="390" y="720"/>
                </a:lnTo>
                <a:lnTo>
                  <a:pt x="390" y="714"/>
                </a:lnTo>
                <a:lnTo>
                  <a:pt x="384" y="708"/>
                </a:lnTo>
                <a:lnTo>
                  <a:pt x="384" y="702"/>
                </a:lnTo>
                <a:lnTo>
                  <a:pt x="378" y="702"/>
                </a:lnTo>
                <a:lnTo>
                  <a:pt x="378" y="696"/>
                </a:lnTo>
                <a:lnTo>
                  <a:pt x="378" y="690"/>
                </a:lnTo>
                <a:lnTo>
                  <a:pt x="372" y="684"/>
                </a:lnTo>
                <a:lnTo>
                  <a:pt x="372" y="678"/>
                </a:lnTo>
                <a:lnTo>
                  <a:pt x="372" y="672"/>
                </a:lnTo>
                <a:lnTo>
                  <a:pt x="366" y="672"/>
                </a:lnTo>
                <a:lnTo>
                  <a:pt x="366" y="666"/>
                </a:lnTo>
                <a:lnTo>
                  <a:pt x="366" y="660"/>
                </a:lnTo>
                <a:lnTo>
                  <a:pt x="366" y="654"/>
                </a:lnTo>
                <a:lnTo>
                  <a:pt x="360" y="648"/>
                </a:lnTo>
                <a:lnTo>
                  <a:pt x="360" y="654"/>
                </a:lnTo>
                <a:lnTo>
                  <a:pt x="360" y="660"/>
                </a:lnTo>
                <a:lnTo>
                  <a:pt x="360" y="666"/>
                </a:lnTo>
                <a:lnTo>
                  <a:pt x="360" y="672"/>
                </a:lnTo>
                <a:lnTo>
                  <a:pt x="360" y="678"/>
                </a:lnTo>
                <a:lnTo>
                  <a:pt x="366" y="678"/>
                </a:lnTo>
                <a:lnTo>
                  <a:pt x="366" y="684"/>
                </a:lnTo>
                <a:lnTo>
                  <a:pt x="366" y="690"/>
                </a:lnTo>
                <a:lnTo>
                  <a:pt x="372" y="696"/>
                </a:lnTo>
                <a:lnTo>
                  <a:pt x="372" y="702"/>
                </a:lnTo>
                <a:lnTo>
                  <a:pt x="372" y="708"/>
                </a:lnTo>
                <a:lnTo>
                  <a:pt x="372" y="714"/>
                </a:lnTo>
                <a:lnTo>
                  <a:pt x="366" y="714"/>
                </a:lnTo>
                <a:lnTo>
                  <a:pt x="360" y="714"/>
                </a:lnTo>
                <a:lnTo>
                  <a:pt x="354" y="714"/>
                </a:lnTo>
                <a:lnTo>
                  <a:pt x="348" y="714"/>
                </a:lnTo>
                <a:lnTo>
                  <a:pt x="348" y="708"/>
                </a:lnTo>
                <a:lnTo>
                  <a:pt x="342" y="708"/>
                </a:lnTo>
                <a:lnTo>
                  <a:pt x="342" y="702"/>
                </a:lnTo>
                <a:lnTo>
                  <a:pt x="342" y="696"/>
                </a:lnTo>
                <a:lnTo>
                  <a:pt x="336" y="696"/>
                </a:lnTo>
                <a:lnTo>
                  <a:pt x="336" y="690"/>
                </a:lnTo>
                <a:lnTo>
                  <a:pt x="336" y="684"/>
                </a:lnTo>
                <a:lnTo>
                  <a:pt x="330" y="684"/>
                </a:lnTo>
                <a:lnTo>
                  <a:pt x="330" y="678"/>
                </a:lnTo>
                <a:lnTo>
                  <a:pt x="324" y="672"/>
                </a:lnTo>
                <a:lnTo>
                  <a:pt x="324" y="666"/>
                </a:lnTo>
                <a:lnTo>
                  <a:pt x="318" y="666"/>
                </a:lnTo>
                <a:lnTo>
                  <a:pt x="318" y="672"/>
                </a:lnTo>
                <a:lnTo>
                  <a:pt x="324" y="672"/>
                </a:lnTo>
                <a:lnTo>
                  <a:pt x="324" y="678"/>
                </a:lnTo>
                <a:lnTo>
                  <a:pt x="324" y="684"/>
                </a:lnTo>
                <a:lnTo>
                  <a:pt x="330" y="684"/>
                </a:lnTo>
                <a:lnTo>
                  <a:pt x="330" y="690"/>
                </a:lnTo>
                <a:lnTo>
                  <a:pt x="330" y="696"/>
                </a:lnTo>
                <a:lnTo>
                  <a:pt x="336" y="702"/>
                </a:lnTo>
                <a:lnTo>
                  <a:pt x="342" y="708"/>
                </a:lnTo>
                <a:lnTo>
                  <a:pt x="342" y="714"/>
                </a:lnTo>
                <a:lnTo>
                  <a:pt x="348" y="720"/>
                </a:lnTo>
                <a:lnTo>
                  <a:pt x="342" y="720"/>
                </a:lnTo>
                <a:lnTo>
                  <a:pt x="336" y="720"/>
                </a:lnTo>
                <a:lnTo>
                  <a:pt x="330" y="720"/>
                </a:lnTo>
                <a:lnTo>
                  <a:pt x="330" y="726"/>
                </a:lnTo>
                <a:lnTo>
                  <a:pt x="336" y="726"/>
                </a:lnTo>
                <a:lnTo>
                  <a:pt x="330" y="732"/>
                </a:lnTo>
                <a:lnTo>
                  <a:pt x="330" y="738"/>
                </a:lnTo>
                <a:lnTo>
                  <a:pt x="330" y="744"/>
                </a:lnTo>
                <a:lnTo>
                  <a:pt x="336" y="744"/>
                </a:lnTo>
                <a:lnTo>
                  <a:pt x="342" y="744"/>
                </a:lnTo>
                <a:lnTo>
                  <a:pt x="348" y="744"/>
                </a:lnTo>
                <a:lnTo>
                  <a:pt x="348" y="750"/>
                </a:lnTo>
                <a:lnTo>
                  <a:pt x="354" y="750"/>
                </a:lnTo>
                <a:lnTo>
                  <a:pt x="360" y="756"/>
                </a:lnTo>
                <a:lnTo>
                  <a:pt x="360" y="762"/>
                </a:lnTo>
                <a:lnTo>
                  <a:pt x="366" y="762"/>
                </a:lnTo>
                <a:lnTo>
                  <a:pt x="366" y="768"/>
                </a:lnTo>
                <a:lnTo>
                  <a:pt x="366" y="774"/>
                </a:lnTo>
                <a:lnTo>
                  <a:pt x="366" y="780"/>
                </a:lnTo>
                <a:lnTo>
                  <a:pt x="366" y="786"/>
                </a:lnTo>
                <a:lnTo>
                  <a:pt x="366" y="780"/>
                </a:lnTo>
                <a:lnTo>
                  <a:pt x="366" y="786"/>
                </a:lnTo>
                <a:lnTo>
                  <a:pt x="372" y="792"/>
                </a:lnTo>
                <a:lnTo>
                  <a:pt x="372" y="798"/>
                </a:lnTo>
                <a:lnTo>
                  <a:pt x="372" y="804"/>
                </a:lnTo>
                <a:lnTo>
                  <a:pt x="378" y="804"/>
                </a:lnTo>
                <a:lnTo>
                  <a:pt x="378" y="810"/>
                </a:lnTo>
                <a:lnTo>
                  <a:pt x="378" y="816"/>
                </a:lnTo>
                <a:lnTo>
                  <a:pt x="372" y="816"/>
                </a:lnTo>
                <a:lnTo>
                  <a:pt x="378" y="816"/>
                </a:lnTo>
                <a:lnTo>
                  <a:pt x="378" y="822"/>
                </a:lnTo>
                <a:lnTo>
                  <a:pt x="378" y="828"/>
                </a:lnTo>
                <a:lnTo>
                  <a:pt x="378" y="834"/>
                </a:lnTo>
                <a:lnTo>
                  <a:pt x="384" y="834"/>
                </a:lnTo>
                <a:lnTo>
                  <a:pt x="384" y="840"/>
                </a:lnTo>
                <a:lnTo>
                  <a:pt x="390" y="840"/>
                </a:lnTo>
                <a:lnTo>
                  <a:pt x="390" y="846"/>
                </a:lnTo>
                <a:lnTo>
                  <a:pt x="396" y="846"/>
                </a:lnTo>
                <a:lnTo>
                  <a:pt x="396" y="852"/>
                </a:lnTo>
                <a:lnTo>
                  <a:pt x="396" y="858"/>
                </a:lnTo>
                <a:lnTo>
                  <a:pt x="396" y="852"/>
                </a:lnTo>
                <a:lnTo>
                  <a:pt x="396" y="858"/>
                </a:lnTo>
                <a:lnTo>
                  <a:pt x="390" y="864"/>
                </a:lnTo>
                <a:lnTo>
                  <a:pt x="384" y="864"/>
                </a:lnTo>
                <a:lnTo>
                  <a:pt x="384" y="870"/>
                </a:lnTo>
                <a:lnTo>
                  <a:pt x="378" y="864"/>
                </a:lnTo>
                <a:lnTo>
                  <a:pt x="372" y="864"/>
                </a:lnTo>
                <a:lnTo>
                  <a:pt x="366" y="858"/>
                </a:lnTo>
                <a:lnTo>
                  <a:pt x="366" y="852"/>
                </a:lnTo>
                <a:lnTo>
                  <a:pt x="360" y="852"/>
                </a:lnTo>
                <a:lnTo>
                  <a:pt x="360" y="858"/>
                </a:lnTo>
                <a:lnTo>
                  <a:pt x="366" y="858"/>
                </a:lnTo>
                <a:lnTo>
                  <a:pt x="366" y="864"/>
                </a:lnTo>
                <a:lnTo>
                  <a:pt x="360" y="864"/>
                </a:lnTo>
                <a:lnTo>
                  <a:pt x="354" y="864"/>
                </a:lnTo>
                <a:lnTo>
                  <a:pt x="354" y="870"/>
                </a:lnTo>
                <a:lnTo>
                  <a:pt x="354" y="864"/>
                </a:lnTo>
                <a:lnTo>
                  <a:pt x="348" y="864"/>
                </a:lnTo>
                <a:lnTo>
                  <a:pt x="342" y="864"/>
                </a:lnTo>
                <a:lnTo>
                  <a:pt x="342" y="858"/>
                </a:lnTo>
                <a:lnTo>
                  <a:pt x="336" y="858"/>
                </a:lnTo>
                <a:lnTo>
                  <a:pt x="330" y="858"/>
                </a:lnTo>
                <a:lnTo>
                  <a:pt x="324" y="858"/>
                </a:lnTo>
                <a:lnTo>
                  <a:pt x="318" y="858"/>
                </a:lnTo>
                <a:lnTo>
                  <a:pt x="312" y="852"/>
                </a:lnTo>
                <a:lnTo>
                  <a:pt x="306" y="852"/>
                </a:lnTo>
                <a:lnTo>
                  <a:pt x="300" y="852"/>
                </a:lnTo>
                <a:lnTo>
                  <a:pt x="294" y="852"/>
                </a:lnTo>
                <a:lnTo>
                  <a:pt x="294" y="846"/>
                </a:lnTo>
                <a:lnTo>
                  <a:pt x="288" y="840"/>
                </a:lnTo>
                <a:lnTo>
                  <a:pt x="288" y="828"/>
                </a:lnTo>
                <a:lnTo>
                  <a:pt x="288" y="822"/>
                </a:lnTo>
                <a:lnTo>
                  <a:pt x="282" y="822"/>
                </a:lnTo>
                <a:lnTo>
                  <a:pt x="288" y="822"/>
                </a:lnTo>
                <a:lnTo>
                  <a:pt x="282" y="822"/>
                </a:lnTo>
                <a:lnTo>
                  <a:pt x="282" y="816"/>
                </a:lnTo>
                <a:lnTo>
                  <a:pt x="282" y="810"/>
                </a:lnTo>
                <a:lnTo>
                  <a:pt x="276" y="810"/>
                </a:lnTo>
                <a:lnTo>
                  <a:pt x="276" y="804"/>
                </a:lnTo>
                <a:lnTo>
                  <a:pt x="276" y="798"/>
                </a:lnTo>
                <a:lnTo>
                  <a:pt x="276" y="792"/>
                </a:lnTo>
                <a:lnTo>
                  <a:pt x="270" y="786"/>
                </a:lnTo>
                <a:lnTo>
                  <a:pt x="270" y="780"/>
                </a:lnTo>
                <a:lnTo>
                  <a:pt x="270" y="774"/>
                </a:lnTo>
                <a:lnTo>
                  <a:pt x="264" y="768"/>
                </a:lnTo>
                <a:lnTo>
                  <a:pt x="264" y="762"/>
                </a:lnTo>
                <a:lnTo>
                  <a:pt x="264" y="756"/>
                </a:lnTo>
                <a:lnTo>
                  <a:pt x="264" y="750"/>
                </a:lnTo>
                <a:lnTo>
                  <a:pt x="264" y="744"/>
                </a:lnTo>
                <a:lnTo>
                  <a:pt x="264" y="738"/>
                </a:lnTo>
                <a:lnTo>
                  <a:pt x="264" y="732"/>
                </a:lnTo>
                <a:lnTo>
                  <a:pt x="270" y="732"/>
                </a:lnTo>
                <a:lnTo>
                  <a:pt x="276" y="726"/>
                </a:lnTo>
                <a:lnTo>
                  <a:pt x="276" y="720"/>
                </a:lnTo>
                <a:lnTo>
                  <a:pt x="282" y="720"/>
                </a:lnTo>
                <a:lnTo>
                  <a:pt x="282" y="714"/>
                </a:lnTo>
                <a:lnTo>
                  <a:pt x="282" y="708"/>
                </a:lnTo>
                <a:lnTo>
                  <a:pt x="276" y="708"/>
                </a:lnTo>
                <a:lnTo>
                  <a:pt x="276" y="702"/>
                </a:lnTo>
                <a:lnTo>
                  <a:pt x="270" y="702"/>
                </a:lnTo>
                <a:lnTo>
                  <a:pt x="270" y="696"/>
                </a:lnTo>
                <a:lnTo>
                  <a:pt x="264" y="690"/>
                </a:lnTo>
                <a:lnTo>
                  <a:pt x="258" y="690"/>
                </a:lnTo>
                <a:lnTo>
                  <a:pt x="258" y="684"/>
                </a:lnTo>
                <a:lnTo>
                  <a:pt x="252" y="684"/>
                </a:lnTo>
                <a:lnTo>
                  <a:pt x="252" y="678"/>
                </a:lnTo>
                <a:lnTo>
                  <a:pt x="246" y="678"/>
                </a:lnTo>
                <a:lnTo>
                  <a:pt x="240" y="678"/>
                </a:lnTo>
                <a:lnTo>
                  <a:pt x="240" y="684"/>
                </a:lnTo>
                <a:lnTo>
                  <a:pt x="246" y="684"/>
                </a:lnTo>
                <a:lnTo>
                  <a:pt x="252" y="690"/>
                </a:lnTo>
                <a:lnTo>
                  <a:pt x="258" y="690"/>
                </a:lnTo>
                <a:lnTo>
                  <a:pt x="258" y="696"/>
                </a:lnTo>
                <a:lnTo>
                  <a:pt x="258" y="702"/>
                </a:lnTo>
                <a:lnTo>
                  <a:pt x="264" y="702"/>
                </a:lnTo>
                <a:lnTo>
                  <a:pt x="270" y="708"/>
                </a:lnTo>
                <a:lnTo>
                  <a:pt x="270" y="714"/>
                </a:lnTo>
                <a:lnTo>
                  <a:pt x="270" y="720"/>
                </a:lnTo>
                <a:lnTo>
                  <a:pt x="276" y="720"/>
                </a:lnTo>
                <a:lnTo>
                  <a:pt x="270" y="720"/>
                </a:lnTo>
                <a:lnTo>
                  <a:pt x="270" y="726"/>
                </a:lnTo>
                <a:lnTo>
                  <a:pt x="264" y="726"/>
                </a:lnTo>
                <a:lnTo>
                  <a:pt x="264" y="732"/>
                </a:lnTo>
                <a:lnTo>
                  <a:pt x="258" y="732"/>
                </a:lnTo>
                <a:lnTo>
                  <a:pt x="252" y="738"/>
                </a:lnTo>
                <a:lnTo>
                  <a:pt x="252" y="744"/>
                </a:lnTo>
                <a:lnTo>
                  <a:pt x="252" y="750"/>
                </a:lnTo>
                <a:lnTo>
                  <a:pt x="252" y="756"/>
                </a:lnTo>
                <a:lnTo>
                  <a:pt x="258" y="762"/>
                </a:lnTo>
                <a:lnTo>
                  <a:pt x="258" y="768"/>
                </a:lnTo>
                <a:lnTo>
                  <a:pt x="258" y="774"/>
                </a:lnTo>
                <a:lnTo>
                  <a:pt x="258" y="780"/>
                </a:lnTo>
                <a:lnTo>
                  <a:pt x="264" y="786"/>
                </a:lnTo>
                <a:lnTo>
                  <a:pt x="264" y="792"/>
                </a:lnTo>
                <a:lnTo>
                  <a:pt x="264" y="798"/>
                </a:lnTo>
                <a:lnTo>
                  <a:pt x="270" y="810"/>
                </a:lnTo>
                <a:lnTo>
                  <a:pt x="270" y="816"/>
                </a:lnTo>
                <a:lnTo>
                  <a:pt x="270" y="822"/>
                </a:lnTo>
                <a:lnTo>
                  <a:pt x="276" y="822"/>
                </a:lnTo>
                <a:lnTo>
                  <a:pt x="276" y="828"/>
                </a:lnTo>
                <a:lnTo>
                  <a:pt x="276" y="834"/>
                </a:lnTo>
                <a:lnTo>
                  <a:pt x="276" y="840"/>
                </a:lnTo>
                <a:lnTo>
                  <a:pt x="276" y="846"/>
                </a:lnTo>
                <a:lnTo>
                  <a:pt x="282" y="852"/>
                </a:lnTo>
                <a:lnTo>
                  <a:pt x="282" y="858"/>
                </a:lnTo>
                <a:lnTo>
                  <a:pt x="294" y="864"/>
                </a:lnTo>
                <a:lnTo>
                  <a:pt x="300" y="870"/>
                </a:lnTo>
                <a:lnTo>
                  <a:pt x="300" y="876"/>
                </a:lnTo>
                <a:lnTo>
                  <a:pt x="288" y="876"/>
                </a:lnTo>
                <a:lnTo>
                  <a:pt x="282" y="876"/>
                </a:lnTo>
                <a:lnTo>
                  <a:pt x="276" y="876"/>
                </a:lnTo>
                <a:lnTo>
                  <a:pt x="264" y="876"/>
                </a:lnTo>
                <a:lnTo>
                  <a:pt x="258" y="876"/>
                </a:lnTo>
                <a:lnTo>
                  <a:pt x="252" y="882"/>
                </a:lnTo>
                <a:lnTo>
                  <a:pt x="246" y="882"/>
                </a:lnTo>
                <a:lnTo>
                  <a:pt x="240" y="882"/>
                </a:lnTo>
                <a:lnTo>
                  <a:pt x="234" y="882"/>
                </a:lnTo>
                <a:lnTo>
                  <a:pt x="222" y="882"/>
                </a:lnTo>
                <a:lnTo>
                  <a:pt x="216" y="882"/>
                </a:lnTo>
                <a:lnTo>
                  <a:pt x="210" y="882"/>
                </a:lnTo>
                <a:lnTo>
                  <a:pt x="204" y="882"/>
                </a:lnTo>
                <a:lnTo>
                  <a:pt x="204" y="876"/>
                </a:lnTo>
                <a:lnTo>
                  <a:pt x="198" y="876"/>
                </a:lnTo>
                <a:lnTo>
                  <a:pt x="198" y="870"/>
                </a:lnTo>
                <a:lnTo>
                  <a:pt x="198" y="852"/>
                </a:lnTo>
                <a:lnTo>
                  <a:pt x="198" y="846"/>
                </a:lnTo>
                <a:lnTo>
                  <a:pt x="204" y="846"/>
                </a:lnTo>
                <a:lnTo>
                  <a:pt x="198" y="840"/>
                </a:lnTo>
                <a:lnTo>
                  <a:pt x="198" y="834"/>
                </a:lnTo>
                <a:lnTo>
                  <a:pt x="198" y="828"/>
                </a:lnTo>
                <a:lnTo>
                  <a:pt x="198" y="822"/>
                </a:lnTo>
                <a:lnTo>
                  <a:pt x="198" y="816"/>
                </a:lnTo>
                <a:lnTo>
                  <a:pt x="198" y="810"/>
                </a:lnTo>
                <a:lnTo>
                  <a:pt x="192" y="810"/>
                </a:lnTo>
                <a:lnTo>
                  <a:pt x="192" y="804"/>
                </a:lnTo>
                <a:lnTo>
                  <a:pt x="192" y="798"/>
                </a:lnTo>
                <a:lnTo>
                  <a:pt x="186" y="786"/>
                </a:lnTo>
                <a:lnTo>
                  <a:pt x="192" y="786"/>
                </a:lnTo>
                <a:lnTo>
                  <a:pt x="192" y="780"/>
                </a:lnTo>
                <a:lnTo>
                  <a:pt x="192" y="774"/>
                </a:lnTo>
                <a:lnTo>
                  <a:pt x="192" y="768"/>
                </a:lnTo>
                <a:lnTo>
                  <a:pt x="198" y="768"/>
                </a:lnTo>
                <a:lnTo>
                  <a:pt x="198" y="762"/>
                </a:lnTo>
                <a:lnTo>
                  <a:pt x="198" y="756"/>
                </a:lnTo>
                <a:lnTo>
                  <a:pt x="204" y="756"/>
                </a:lnTo>
                <a:lnTo>
                  <a:pt x="204" y="750"/>
                </a:lnTo>
                <a:lnTo>
                  <a:pt x="210" y="744"/>
                </a:lnTo>
                <a:lnTo>
                  <a:pt x="210" y="738"/>
                </a:lnTo>
                <a:lnTo>
                  <a:pt x="210" y="732"/>
                </a:lnTo>
                <a:lnTo>
                  <a:pt x="210" y="726"/>
                </a:lnTo>
                <a:lnTo>
                  <a:pt x="210" y="720"/>
                </a:lnTo>
                <a:lnTo>
                  <a:pt x="204" y="714"/>
                </a:lnTo>
                <a:lnTo>
                  <a:pt x="204" y="720"/>
                </a:lnTo>
                <a:lnTo>
                  <a:pt x="204" y="732"/>
                </a:lnTo>
                <a:lnTo>
                  <a:pt x="204" y="738"/>
                </a:lnTo>
                <a:lnTo>
                  <a:pt x="198" y="738"/>
                </a:lnTo>
                <a:lnTo>
                  <a:pt x="198" y="744"/>
                </a:lnTo>
                <a:lnTo>
                  <a:pt x="198" y="750"/>
                </a:lnTo>
                <a:lnTo>
                  <a:pt x="192" y="756"/>
                </a:lnTo>
                <a:lnTo>
                  <a:pt x="186" y="762"/>
                </a:lnTo>
                <a:lnTo>
                  <a:pt x="186" y="768"/>
                </a:lnTo>
                <a:lnTo>
                  <a:pt x="186" y="774"/>
                </a:lnTo>
                <a:lnTo>
                  <a:pt x="186" y="780"/>
                </a:lnTo>
                <a:lnTo>
                  <a:pt x="186" y="786"/>
                </a:lnTo>
                <a:lnTo>
                  <a:pt x="186" y="792"/>
                </a:lnTo>
                <a:lnTo>
                  <a:pt x="186" y="798"/>
                </a:lnTo>
                <a:lnTo>
                  <a:pt x="186" y="804"/>
                </a:lnTo>
                <a:lnTo>
                  <a:pt x="186" y="810"/>
                </a:lnTo>
                <a:lnTo>
                  <a:pt x="192" y="816"/>
                </a:lnTo>
                <a:lnTo>
                  <a:pt x="192" y="828"/>
                </a:lnTo>
                <a:lnTo>
                  <a:pt x="192" y="834"/>
                </a:lnTo>
                <a:lnTo>
                  <a:pt x="186" y="834"/>
                </a:lnTo>
                <a:lnTo>
                  <a:pt x="186" y="828"/>
                </a:lnTo>
                <a:lnTo>
                  <a:pt x="180" y="822"/>
                </a:lnTo>
                <a:lnTo>
                  <a:pt x="180" y="816"/>
                </a:lnTo>
                <a:lnTo>
                  <a:pt x="180" y="810"/>
                </a:lnTo>
                <a:lnTo>
                  <a:pt x="174" y="810"/>
                </a:lnTo>
                <a:lnTo>
                  <a:pt x="174" y="804"/>
                </a:lnTo>
                <a:lnTo>
                  <a:pt x="174" y="798"/>
                </a:lnTo>
                <a:lnTo>
                  <a:pt x="174" y="792"/>
                </a:lnTo>
                <a:lnTo>
                  <a:pt x="168" y="786"/>
                </a:lnTo>
                <a:lnTo>
                  <a:pt x="168" y="780"/>
                </a:lnTo>
                <a:lnTo>
                  <a:pt x="162" y="780"/>
                </a:lnTo>
                <a:lnTo>
                  <a:pt x="168" y="774"/>
                </a:lnTo>
                <a:lnTo>
                  <a:pt x="168" y="768"/>
                </a:lnTo>
                <a:lnTo>
                  <a:pt x="174" y="768"/>
                </a:lnTo>
                <a:lnTo>
                  <a:pt x="168" y="768"/>
                </a:lnTo>
                <a:lnTo>
                  <a:pt x="162" y="774"/>
                </a:lnTo>
                <a:lnTo>
                  <a:pt x="162" y="780"/>
                </a:lnTo>
                <a:lnTo>
                  <a:pt x="156" y="780"/>
                </a:lnTo>
                <a:lnTo>
                  <a:pt x="150" y="780"/>
                </a:lnTo>
                <a:lnTo>
                  <a:pt x="150" y="774"/>
                </a:lnTo>
                <a:lnTo>
                  <a:pt x="144" y="774"/>
                </a:lnTo>
                <a:lnTo>
                  <a:pt x="144" y="768"/>
                </a:lnTo>
                <a:lnTo>
                  <a:pt x="144" y="762"/>
                </a:lnTo>
                <a:lnTo>
                  <a:pt x="138" y="756"/>
                </a:lnTo>
                <a:lnTo>
                  <a:pt x="132" y="756"/>
                </a:lnTo>
                <a:lnTo>
                  <a:pt x="138" y="756"/>
                </a:lnTo>
                <a:lnTo>
                  <a:pt x="138" y="762"/>
                </a:lnTo>
                <a:lnTo>
                  <a:pt x="138" y="768"/>
                </a:lnTo>
                <a:lnTo>
                  <a:pt x="144" y="768"/>
                </a:lnTo>
                <a:lnTo>
                  <a:pt x="144" y="774"/>
                </a:lnTo>
                <a:lnTo>
                  <a:pt x="150" y="780"/>
                </a:lnTo>
                <a:lnTo>
                  <a:pt x="156" y="780"/>
                </a:lnTo>
                <a:lnTo>
                  <a:pt x="156" y="786"/>
                </a:lnTo>
                <a:lnTo>
                  <a:pt x="162" y="786"/>
                </a:lnTo>
                <a:lnTo>
                  <a:pt x="168" y="792"/>
                </a:lnTo>
                <a:lnTo>
                  <a:pt x="168" y="798"/>
                </a:lnTo>
                <a:lnTo>
                  <a:pt x="168" y="804"/>
                </a:lnTo>
                <a:lnTo>
                  <a:pt x="174" y="810"/>
                </a:lnTo>
                <a:lnTo>
                  <a:pt x="174" y="816"/>
                </a:lnTo>
                <a:lnTo>
                  <a:pt x="174" y="822"/>
                </a:lnTo>
                <a:lnTo>
                  <a:pt x="168" y="822"/>
                </a:lnTo>
                <a:lnTo>
                  <a:pt x="174" y="822"/>
                </a:lnTo>
                <a:lnTo>
                  <a:pt x="168" y="822"/>
                </a:lnTo>
                <a:lnTo>
                  <a:pt x="168" y="828"/>
                </a:lnTo>
                <a:lnTo>
                  <a:pt x="168" y="834"/>
                </a:lnTo>
                <a:lnTo>
                  <a:pt x="174" y="840"/>
                </a:lnTo>
                <a:lnTo>
                  <a:pt x="180" y="840"/>
                </a:lnTo>
                <a:lnTo>
                  <a:pt x="180" y="846"/>
                </a:lnTo>
                <a:lnTo>
                  <a:pt x="186" y="846"/>
                </a:lnTo>
                <a:lnTo>
                  <a:pt x="186" y="852"/>
                </a:lnTo>
                <a:lnTo>
                  <a:pt x="186" y="858"/>
                </a:lnTo>
                <a:lnTo>
                  <a:pt x="186" y="864"/>
                </a:lnTo>
                <a:lnTo>
                  <a:pt x="192" y="864"/>
                </a:lnTo>
                <a:lnTo>
                  <a:pt x="192" y="870"/>
                </a:lnTo>
                <a:lnTo>
                  <a:pt x="192" y="876"/>
                </a:lnTo>
                <a:lnTo>
                  <a:pt x="192" y="882"/>
                </a:lnTo>
                <a:lnTo>
                  <a:pt x="192" y="888"/>
                </a:lnTo>
                <a:lnTo>
                  <a:pt x="186" y="888"/>
                </a:lnTo>
                <a:lnTo>
                  <a:pt x="180" y="888"/>
                </a:lnTo>
                <a:lnTo>
                  <a:pt x="174" y="888"/>
                </a:lnTo>
                <a:lnTo>
                  <a:pt x="168" y="894"/>
                </a:lnTo>
                <a:lnTo>
                  <a:pt x="162" y="894"/>
                </a:lnTo>
                <a:lnTo>
                  <a:pt x="156" y="894"/>
                </a:lnTo>
                <a:lnTo>
                  <a:pt x="150" y="894"/>
                </a:lnTo>
                <a:lnTo>
                  <a:pt x="144" y="894"/>
                </a:lnTo>
                <a:lnTo>
                  <a:pt x="144" y="900"/>
                </a:lnTo>
                <a:lnTo>
                  <a:pt x="138" y="894"/>
                </a:lnTo>
                <a:lnTo>
                  <a:pt x="138" y="900"/>
                </a:lnTo>
                <a:lnTo>
                  <a:pt x="132" y="894"/>
                </a:lnTo>
                <a:lnTo>
                  <a:pt x="132" y="888"/>
                </a:lnTo>
                <a:lnTo>
                  <a:pt x="126" y="888"/>
                </a:lnTo>
                <a:lnTo>
                  <a:pt x="126" y="882"/>
                </a:lnTo>
                <a:lnTo>
                  <a:pt x="126" y="876"/>
                </a:lnTo>
                <a:lnTo>
                  <a:pt x="120" y="876"/>
                </a:lnTo>
                <a:lnTo>
                  <a:pt x="126" y="870"/>
                </a:lnTo>
                <a:lnTo>
                  <a:pt x="126" y="864"/>
                </a:lnTo>
                <a:lnTo>
                  <a:pt x="126" y="858"/>
                </a:lnTo>
                <a:lnTo>
                  <a:pt x="126" y="852"/>
                </a:lnTo>
                <a:lnTo>
                  <a:pt x="126" y="846"/>
                </a:lnTo>
                <a:lnTo>
                  <a:pt x="126" y="840"/>
                </a:lnTo>
                <a:lnTo>
                  <a:pt x="126" y="828"/>
                </a:lnTo>
                <a:lnTo>
                  <a:pt x="126" y="822"/>
                </a:lnTo>
                <a:lnTo>
                  <a:pt x="126" y="816"/>
                </a:lnTo>
                <a:lnTo>
                  <a:pt x="126" y="810"/>
                </a:lnTo>
                <a:lnTo>
                  <a:pt x="126" y="804"/>
                </a:lnTo>
                <a:lnTo>
                  <a:pt x="126" y="798"/>
                </a:lnTo>
                <a:lnTo>
                  <a:pt x="120" y="798"/>
                </a:lnTo>
                <a:lnTo>
                  <a:pt x="120" y="792"/>
                </a:lnTo>
                <a:lnTo>
                  <a:pt x="114" y="792"/>
                </a:lnTo>
                <a:lnTo>
                  <a:pt x="114" y="786"/>
                </a:lnTo>
                <a:lnTo>
                  <a:pt x="108" y="786"/>
                </a:lnTo>
                <a:lnTo>
                  <a:pt x="108" y="780"/>
                </a:lnTo>
                <a:lnTo>
                  <a:pt x="102" y="780"/>
                </a:lnTo>
                <a:lnTo>
                  <a:pt x="96" y="780"/>
                </a:lnTo>
                <a:lnTo>
                  <a:pt x="96" y="774"/>
                </a:lnTo>
                <a:lnTo>
                  <a:pt x="90" y="774"/>
                </a:lnTo>
                <a:lnTo>
                  <a:pt x="90" y="768"/>
                </a:lnTo>
                <a:close/>
                <a:moveTo>
                  <a:pt x="96" y="780"/>
                </a:moveTo>
                <a:lnTo>
                  <a:pt x="102" y="780"/>
                </a:lnTo>
                <a:lnTo>
                  <a:pt x="102" y="786"/>
                </a:lnTo>
                <a:lnTo>
                  <a:pt x="108" y="786"/>
                </a:lnTo>
                <a:lnTo>
                  <a:pt x="114" y="792"/>
                </a:lnTo>
                <a:lnTo>
                  <a:pt x="120" y="798"/>
                </a:lnTo>
                <a:lnTo>
                  <a:pt x="120" y="804"/>
                </a:lnTo>
                <a:lnTo>
                  <a:pt x="126" y="810"/>
                </a:lnTo>
                <a:lnTo>
                  <a:pt x="126" y="816"/>
                </a:lnTo>
                <a:lnTo>
                  <a:pt x="126" y="822"/>
                </a:lnTo>
                <a:lnTo>
                  <a:pt x="120" y="828"/>
                </a:lnTo>
                <a:lnTo>
                  <a:pt x="120" y="840"/>
                </a:lnTo>
                <a:lnTo>
                  <a:pt x="120" y="852"/>
                </a:lnTo>
                <a:lnTo>
                  <a:pt x="120" y="858"/>
                </a:lnTo>
                <a:lnTo>
                  <a:pt x="120" y="864"/>
                </a:lnTo>
                <a:lnTo>
                  <a:pt x="120" y="870"/>
                </a:lnTo>
                <a:lnTo>
                  <a:pt x="114" y="870"/>
                </a:lnTo>
                <a:lnTo>
                  <a:pt x="108" y="870"/>
                </a:lnTo>
                <a:lnTo>
                  <a:pt x="108" y="876"/>
                </a:lnTo>
                <a:lnTo>
                  <a:pt x="114" y="876"/>
                </a:lnTo>
                <a:lnTo>
                  <a:pt x="120" y="876"/>
                </a:lnTo>
                <a:lnTo>
                  <a:pt x="120" y="882"/>
                </a:lnTo>
                <a:lnTo>
                  <a:pt x="114" y="888"/>
                </a:lnTo>
                <a:lnTo>
                  <a:pt x="120" y="888"/>
                </a:lnTo>
                <a:lnTo>
                  <a:pt x="120" y="894"/>
                </a:lnTo>
                <a:lnTo>
                  <a:pt x="114" y="894"/>
                </a:lnTo>
                <a:lnTo>
                  <a:pt x="108" y="894"/>
                </a:lnTo>
                <a:lnTo>
                  <a:pt x="96" y="894"/>
                </a:lnTo>
                <a:lnTo>
                  <a:pt x="96" y="882"/>
                </a:lnTo>
                <a:lnTo>
                  <a:pt x="96" y="876"/>
                </a:lnTo>
                <a:lnTo>
                  <a:pt x="84" y="870"/>
                </a:lnTo>
                <a:lnTo>
                  <a:pt x="72" y="864"/>
                </a:lnTo>
                <a:lnTo>
                  <a:pt x="72" y="852"/>
                </a:lnTo>
                <a:lnTo>
                  <a:pt x="72" y="840"/>
                </a:lnTo>
                <a:lnTo>
                  <a:pt x="78" y="828"/>
                </a:lnTo>
                <a:lnTo>
                  <a:pt x="84" y="822"/>
                </a:lnTo>
                <a:lnTo>
                  <a:pt x="84" y="816"/>
                </a:lnTo>
                <a:lnTo>
                  <a:pt x="84" y="810"/>
                </a:lnTo>
                <a:lnTo>
                  <a:pt x="84" y="804"/>
                </a:lnTo>
                <a:lnTo>
                  <a:pt x="90" y="792"/>
                </a:lnTo>
                <a:lnTo>
                  <a:pt x="96" y="780"/>
                </a:lnTo>
                <a:close/>
                <a:moveTo>
                  <a:pt x="492" y="810"/>
                </a:moveTo>
                <a:lnTo>
                  <a:pt x="498" y="810"/>
                </a:lnTo>
                <a:lnTo>
                  <a:pt x="498" y="804"/>
                </a:lnTo>
                <a:lnTo>
                  <a:pt x="504" y="804"/>
                </a:lnTo>
                <a:lnTo>
                  <a:pt x="504" y="798"/>
                </a:lnTo>
                <a:lnTo>
                  <a:pt x="510" y="792"/>
                </a:lnTo>
                <a:lnTo>
                  <a:pt x="516" y="786"/>
                </a:lnTo>
                <a:lnTo>
                  <a:pt x="522" y="780"/>
                </a:lnTo>
                <a:lnTo>
                  <a:pt x="522" y="774"/>
                </a:lnTo>
                <a:lnTo>
                  <a:pt x="528" y="768"/>
                </a:lnTo>
                <a:lnTo>
                  <a:pt x="528" y="762"/>
                </a:lnTo>
                <a:lnTo>
                  <a:pt x="534" y="762"/>
                </a:lnTo>
                <a:lnTo>
                  <a:pt x="540" y="768"/>
                </a:lnTo>
                <a:lnTo>
                  <a:pt x="546" y="774"/>
                </a:lnTo>
                <a:lnTo>
                  <a:pt x="546" y="780"/>
                </a:lnTo>
                <a:lnTo>
                  <a:pt x="552" y="786"/>
                </a:lnTo>
                <a:lnTo>
                  <a:pt x="558" y="786"/>
                </a:lnTo>
                <a:lnTo>
                  <a:pt x="564" y="786"/>
                </a:lnTo>
                <a:lnTo>
                  <a:pt x="576" y="786"/>
                </a:lnTo>
                <a:lnTo>
                  <a:pt x="582" y="786"/>
                </a:lnTo>
                <a:lnTo>
                  <a:pt x="588" y="786"/>
                </a:lnTo>
                <a:lnTo>
                  <a:pt x="594" y="786"/>
                </a:lnTo>
                <a:lnTo>
                  <a:pt x="588" y="792"/>
                </a:lnTo>
                <a:lnTo>
                  <a:pt x="588" y="798"/>
                </a:lnTo>
                <a:lnTo>
                  <a:pt x="582" y="804"/>
                </a:lnTo>
                <a:lnTo>
                  <a:pt x="582" y="810"/>
                </a:lnTo>
                <a:lnTo>
                  <a:pt x="582" y="822"/>
                </a:lnTo>
                <a:lnTo>
                  <a:pt x="588" y="828"/>
                </a:lnTo>
                <a:lnTo>
                  <a:pt x="588" y="834"/>
                </a:lnTo>
                <a:lnTo>
                  <a:pt x="582" y="840"/>
                </a:lnTo>
                <a:lnTo>
                  <a:pt x="570" y="840"/>
                </a:lnTo>
                <a:lnTo>
                  <a:pt x="558" y="846"/>
                </a:lnTo>
                <a:lnTo>
                  <a:pt x="552" y="846"/>
                </a:lnTo>
                <a:lnTo>
                  <a:pt x="534" y="852"/>
                </a:lnTo>
                <a:lnTo>
                  <a:pt x="522" y="858"/>
                </a:lnTo>
                <a:lnTo>
                  <a:pt x="510" y="858"/>
                </a:lnTo>
                <a:lnTo>
                  <a:pt x="498" y="864"/>
                </a:lnTo>
                <a:lnTo>
                  <a:pt x="474" y="864"/>
                </a:lnTo>
                <a:lnTo>
                  <a:pt x="468" y="858"/>
                </a:lnTo>
                <a:lnTo>
                  <a:pt x="468" y="852"/>
                </a:lnTo>
                <a:lnTo>
                  <a:pt x="468" y="846"/>
                </a:lnTo>
                <a:lnTo>
                  <a:pt x="474" y="840"/>
                </a:lnTo>
                <a:lnTo>
                  <a:pt x="474" y="834"/>
                </a:lnTo>
                <a:lnTo>
                  <a:pt x="480" y="828"/>
                </a:lnTo>
                <a:lnTo>
                  <a:pt x="492" y="822"/>
                </a:lnTo>
                <a:lnTo>
                  <a:pt x="492" y="810"/>
                </a:lnTo>
                <a:close/>
                <a:moveTo>
                  <a:pt x="384" y="720"/>
                </a:moveTo>
                <a:lnTo>
                  <a:pt x="384" y="726"/>
                </a:lnTo>
                <a:lnTo>
                  <a:pt x="390" y="726"/>
                </a:lnTo>
                <a:lnTo>
                  <a:pt x="396" y="726"/>
                </a:lnTo>
                <a:lnTo>
                  <a:pt x="402" y="732"/>
                </a:lnTo>
                <a:lnTo>
                  <a:pt x="408" y="732"/>
                </a:lnTo>
                <a:lnTo>
                  <a:pt x="414" y="732"/>
                </a:lnTo>
                <a:lnTo>
                  <a:pt x="414" y="738"/>
                </a:lnTo>
                <a:lnTo>
                  <a:pt x="414" y="744"/>
                </a:lnTo>
                <a:lnTo>
                  <a:pt x="414" y="750"/>
                </a:lnTo>
                <a:lnTo>
                  <a:pt x="414" y="756"/>
                </a:lnTo>
                <a:lnTo>
                  <a:pt x="414" y="762"/>
                </a:lnTo>
                <a:lnTo>
                  <a:pt x="420" y="768"/>
                </a:lnTo>
                <a:lnTo>
                  <a:pt x="420" y="774"/>
                </a:lnTo>
                <a:lnTo>
                  <a:pt x="426" y="780"/>
                </a:lnTo>
                <a:lnTo>
                  <a:pt x="426" y="786"/>
                </a:lnTo>
                <a:lnTo>
                  <a:pt x="420" y="786"/>
                </a:lnTo>
                <a:lnTo>
                  <a:pt x="420" y="792"/>
                </a:lnTo>
                <a:lnTo>
                  <a:pt x="420" y="798"/>
                </a:lnTo>
                <a:lnTo>
                  <a:pt x="420" y="804"/>
                </a:lnTo>
                <a:lnTo>
                  <a:pt x="426" y="804"/>
                </a:lnTo>
                <a:lnTo>
                  <a:pt x="426" y="810"/>
                </a:lnTo>
                <a:lnTo>
                  <a:pt x="426" y="816"/>
                </a:lnTo>
                <a:lnTo>
                  <a:pt x="432" y="816"/>
                </a:lnTo>
                <a:lnTo>
                  <a:pt x="438" y="816"/>
                </a:lnTo>
                <a:lnTo>
                  <a:pt x="438" y="822"/>
                </a:lnTo>
                <a:lnTo>
                  <a:pt x="432" y="822"/>
                </a:lnTo>
                <a:lnTo>
                  <a:pt x="426" y="828"/>
                </a:lnTo>
                <a:lnTo>
                  <a:pt x="420" y="828"/>
                </a:lnTo>
                <a:lnTo>
                  <a:pt x="414" y="828"/>
                </a:lnTo>
                <a:lnTo>
                  <a:pt x="408" y="828"/>
                </a:lnTo>
                <a:lnTo>
                  <a:pt x="402" y="828"/>
                </a:lnTo>
                <a:lnTo>
                  <a:pt x="402" y="822"/>
                </a:lnTo>
                <a:lnTo>
                  <a:pt x="396" y="822"/>
                </a:lnTo>
                <a:lnTo>
                  <a:pt x="402" y="822"/>
                </a:lnTo>
                <a:lnTo>
                  <a:pt x="402" y="816"/>
                </a:lnTo>
                <a:lnTo>
                  <a:pt x="396" y="816"/>
                </a:lnTo>
                <a:lnTo>
                  <a:pt x="396" y="810"/>
                </a:lnTo>
                <a:lnTo>
                  <a:pt x="396" y="804"/>
                </a:lnTo>
                <a:lnTo>
                  <a:pt x="390" y="798"/>
                </a:lnTo>
                <a:lnTo>
                  <a:pt x="390" y="792"/>
                </a:lnTo>
                <a:lnTo>
                  <a:pt x="390" y="786"/>
                </a:lnTo>
                <a:lnTo>
                  <a:pt x="390" y="780"/>
                </a:lnTo>
                <a:lnTo>
                  <a:pt x="390" y="774"/>
                </a:lnTo>
                <a:lnTo>
                  <a:pt x="390" y="768"/>
                </a:lnTo>
                <a:lnTo>
                  <a:pt x="390" y="762"/>
                </a:lnTo>
                <a:lnTo>
                  <a:pt x="384" y="756"/>
                </a:lnTo>
                <a:lnTo>
                  <a:pt x="384" y="750"/>
                </a:lnTo>
                <a:lnTo>
                  <a:pt x="384" y="744"/>
                </a:lnTo>
                <a:lnTo>
                  <a:pt x="378" y="744"/>
                </a:lnTo>
                <a:lnTo>
                  <a:pt x="384" y="744"/>
                </a:lnTo>
                <a:lnTo>
                  <a:pt x="384" y="738"/>
                </a:lnTo>
                <a:lnTo>
                  <a:pt x="378" y="738"/>
                </a:lnTo>
                <a:lnTo>
                  <a:pt x="378" y="732"/>
                </a:lnTo>
                <a:lnTo>
                  <a:pt x="378" y="726"/>
                </a:lnTo>
                <a:lnTo>
                  <a:pt x="378" y="720"/>
                </a:lnTo>
                <a:lnTo>
                  <a:pt x="384" y="720"/>
                </a:lnTo>
                <a:close/>
                <a:moveTo>
                  <a:pt x="330" y="738"/>
                </a:moveTo>
                <a:lnTo>
                  <a:pt x="336" y="732"/>
                </a:lnTo>
                <a:lnTo>
                  <a:pt x="336" y="726"/>
                </a:lnTo>
                <a:lnTo>
                  <a:pt x="342" y="720"/>
                </a:lnTo>
                <a:lnTo>
                  <a:pt x="348" y="720"/>
                </a:lnTo>
                <a:lnTo>
                  <a:pt x="360" y="720"/>
                </a:lnTo>
                <a:lnTo>
                  <a:pt x="366" y="726"/>
                </a:lnTo>
                <a:lnTo>
                  <a:pt x="372" y="732"/>
                </a:lnTo>
                <a:lnTo>
                  <a:pt x="372" y="738"/>
                </a:lnTo>
                <a:lnTo>
                  <a:pt x="366" y="750"/>
                </a:lnTo>
                <a:lnTo>
                  <a:pt x="372" y="756"/>
                </a:lnTo>
                <a:lnTo>
                  <a:pt x="372" y="762"/>
                </a:lnTo>
                <a:lnTo>
                  <a:pt x="372" y="768"/>
                </a:lnTo>
                <a:lnTo>
                  <a:pt x="372" y="774"/>
                </a:lnTo>
                <a:lnTo>
                  <a:pt x="372" y="780"/>
                </a:lnTo>
                <a:lnTo>
                  <a:pt x="372" y="774"/>
                </a:lnTo>
                <a:lnTo>
                  <a:pt x="366" y="768"/>
                </a:lnTo>
                <a:lnTo>
                  <a:pt x="366" y="762"/>
                </a:lnTo>
                <a:lnTo>
                  <a:pt x="366" y="756"/>
                </a:lnTo>
                <a:lnTo>
                  <a:pt x="360" y="756"/>
                </a:lnTo>
                <a:lnTo>
                  <a:pt x="360" y="750"/>
                </a:lnTo>
                <a:lnTo>
                  <a:pt x="354" y="750"/>
                </a:lnTo>
                <a:lnTo>
                  <a:pt x="348" y="744"/>
                </a:lnTo>
                <a:lnTo>
                  <a:pt x="342" y="744"/>
                </a:lnTo>
                <a:lnTo>
                  <a:pt x="336" y="744"/>
                </a:lnTo>
                <a:lnTo>
                  <a:pt x="330" y="738"/>
                </a:lnTo>
                <a:close/>
              </a:path>
            </a:pathLst>
          </a:custGeom>
          <a:solidFill>
            <a:srgbClr val="33CC33"/>
          </a:solidFill>
          <a:ln w="9525">
            <a:solidFill>
              <a:schemeClr val="bg1"/>
            </a:solidFill>
            <a:round/>
            <a:headEnd/>
            <a:tailEnd/>
          </a:ln>
        </p:spPr>
        <p:txBody>
          <a:bodyPr/>
          <a:lstStyle/>
          <a:p>
            <a:endParaRPr lang="en-GB"/>
          </a:p>
        </p:txBody>
      </p:sp>
      <p:sp>
        <p:nvSpPr>
          <p:cNvPr id="18445" name="Freeform 7"/>
          <p:cNvSpPr>
            <a:spLocks/>
          </p:cNvSpPr>
          <p:nvPr/>
        </p:nvSpPr>
        <p:spPr bwMode="gray">
          <a:xfrm>
            <a:off x="3414713" y="5602288"/>
            <a:ext cx="393700" cy="377825"/>
          </a:xfrm>
          <a:custGeom>
            <a:avLst/>
            <a:gdLst>
              <a:gd name="T0" fmla="*/ 25796 w 504"/>
              <a:gd name="T1" fmla="*/ 32992 h 468"/>
              <a:gd name="T2" fmla="*/ 20324 w 504"/>
              <a:gd name="T3" fmla="*/ 31383 h 468"/>
              <a:gd name="T4" fmla="*/ 16415 w 504"/>
              <a:gd name="T5" fmla="*/ 30578 h 468"/>
              <a:gd name="T6" fmla="*/ 14070 w 504"/>
              <a:gd name="T7" fmla="*/ 30578 h 468"/>
              <a:gd name="T8" fmla="*/ 11725 w 504"/>
              <a:gd name="T9" fmla="*/ 31383 h 468"/>
              <a:gd name="T10" fmla="*/ 9380 w 504"/>
              <a:gd name="T11" fmla="*/ 30578 h 468"/>
              <a:gd name="T12" fmla="*/ 7035 w 504"/>
              <a:gd name="T13" fmla="*/ 29773 h 468"/>
              <a:gd name="T14" fmla="*/ 5472 w 504"/>
              <a:gd name="T15" fmla="*/ 25750 h 468"/>
              <a:gd name="T16" fmla="*/ 4690 w 504"/>
              <a:gd name="T17" fmla="*/ 20922 h 468"/>
              <a:gd name="T18" fmla="*/ 2345 w 504"/>
              <a:gd name="T19" fmla="*/ 19312 h 468"/>
              <a:gd name="T20" fmla="*/ 782 w 504"/>
              <a:gd name="T21" fmla="*/ 19312 h 468"/>
              <a:gd name="T22" fmla="*/ 1563 w 504"/>
              <a:gd name="T23" fmla="*/ 14484 h 468"/>
              <a:gd name="T24" fmla="*/ 782 w 504"/>
              <a:gd name="T25" fmla="*/ 13680 h 468"/>
              <a:gd name="T26" fmla="*/ 0 w 504"/>
              <a:gd name="T27" fmla="*/ 13680 h 468"/>
              <a:gd name="T28" fmla="*/ 0 w 504"/>
              <a:gd name="T29" fmla="*/ 12070 h 468"/>
              <a:gd name="T30" fmla="*/ 1563 w 504"/>
              <a:gd name="T31" fmla="*/ 9656 h 468"/>
              <a:gd name="T32" fmla="*/ 3127 w 504"/>
              <a:gd name="T33" fmla="*/ 8047 h 468"/>
              <a:gd name="T34" fmla="*/ 4690 w 504"/>
              <a:gd name="T35" fmla="*/ 6437 h 468"/>
              <a:gd name="T36" fmla="*/ 6253 w 504"/>
              <a:gd name="T37" fmla="*/ 6437 h 468"/>
              <a:gd name="T38" fmla="*/ 7817 w 504"/>
              <a:gd name="T39" fmla="*/ 7242 h 468"/>
              <a:gd name="T40" fmla="*/ 9380 w 504"/>
              <a:gd name="T41" fmla="*/ 8047 h 468"/>
              <a:gd name="T42" fmla="*/ 9380 w 504"/>
              <a:gd name="T43" fmla="*/ 8852 h 468"/>
              <a:gd name="T44" fmla="*/ 10944 w 504"/>
              <a:gd name="T45" fmla="*/ 6437 h 468"/>
              <a:gd name="T46" fmla="*/ 11725 w 504"/>
              <a:gd name="T47" fmla="*/ 5633 h 468"/>
              <a:gd name="T48" fmla="*/ 13289 w 504"/>
              <a:gd name="T49" fmla="*/ 4828 h 468"/>
              <a:gd name="T50" fmla="*/ 14852 w 504"/>
              <a:gd name="T51" fmla="*/ 2414 h 468"/>
              <a:gd name="T52" fmla="*/ 15634 w 504"/>
              <a:gd name="T53" fmla="*/ 1609 h 468"/>
              <a:gd name="T54" fmla="*/ 17197 w 504"/>
              <a:gd name="T55" fmla="*/ 805 h 468"/>
              <a:gd name="T56" fmla="*/ 21105 w 504"/>
              <a:gd name="T57" fmla="*/ 805 h 468"/>
              <a:gd name="T58" fmla="*/ 23450 w 504"/>
              <a:gd name="T59" fmla="*/ 1609 h 468"/>
              <a:gd name="T60" fmla="*/ 24232 w 504"/>
              <a:gd name="T61" fmla="*/ 1609 h 468"/>
              <a:gd name="T62" fmla="*/ 26577 w 504"/>
              <a:gd name="T63" fmla="*/ 0 h 468"/>
              <a:gd name="T64" fmla="*/ 28922 w 504"/>
              <a:gd name="T65" fmla="*/ 805 h 468"/>
              <a:gd name="T66" fmla="*/ 32049 w 504"/>
              <a:gd name="T67" fmla="*/ 1609 h 468"/>
              <a:gd name="T68" fmla="*/ 32831 w 504"/>
              <a:gd name="T69" fmla="*/ 3219 h 468"/>
              <a:gd name="T70" fmla="*/ 32831 w 504"/>
              <a:gd name="T71" fmla="*/ 8047 h 468"/>
              <a:gd name="T72" fmla="*/ 32049 w 504"/>
              <a:gd name="T73" fmla="*/ 11266 h 468"/>
              <a:gd name="T74" fmla="*/ 32831 w 504"/>
              <a:gd name="T75" fmla="*/ 12070 h 468"/>
              <a:gd name="T76" fmla="*/ 34394 w 504"/>
              <a:gd name="T77" fmla="*/ 14484 h 468"/>
              <a:gd name="T78" fmla="*/ 33612 w 504"/>
              <a:gd name="T79" fmla="*/ 15289 h 468"/>
              <a:gd name="T80" fmla="*/ 32831 w 504"/>
              <a:gd name="T81" fmla="*/ 16898 h 468"/>
              <a:gd name="T82" fmla="*/ 32831 w 504"/>
              <a:gd name="T83" fmla="*/ 18508 h 468"/>
              <a:gd name="T84" fmla="*/ 30486 w 504"/>
              <a:gd name="T85" fmla="*/ 21726 h 468"/>
              <a:gd name="T86" fmla="*/ 29704 w 504"/>
              <a:gd name="T87" fmla="*/ 23336 h 468"/>
              <a:gd name="T88" fmla="*/ 29704 w 504"/>
              <a:gd name="T89" fmla="*/ 24945 h 468"/>
              <a:gd name="T90" fmla="*/ 28141 w 504"/>
              <a:gd name="T91" fmla="*/ 25750 h 468"/>
              <a:gd name="T92" fmla="*/ 27359 w 504"/>
              <a:gd name="T93" fmla="*/ 27359 h 468"/>
              <a:gd name="T94" fmla="*/ 26577 w 504"/>
              <a:gd name="T95" fmla="*/ 30578 h 4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4"/>
              <a:gd name="T145" fmla="*/ 0 h 468"/>
              <a:gd name="T146" fmla="*/ 504 w 504"/>
              <a:gd name="T147" fmla="*/ 468 h 4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4" h="468">
                <a:moveTo>
                  <a:pt x="390" y="456"/>
                </a:moveTo>
                <a:lnTo>
                  <a:pt x="384" y="468"/>
                </a:lnTo>
                <a:lnTo>
                  <a:pt x="378" y="468"/>
                </a:lnTo>
                <a:lnTo>
                  <a:pt x="354" y="468"/>
                </a:lnTo>
                <a:lnTo>
                  <a:pt x="348" y="462"/>
                </a:lnTo>
                <a:lnTo>
                  <a:pt x="300" y="456"/>
                </a:lnTo>
                <a:lnTo>
                  <a:pt x="270" y="444"/>
                </a:lnTo>
                <a:lnTo>
                  <a:pt x="252" y="438"/>
                </a:lnTo>
                <a:lnTo>
                  <a:pt x="240" y="438"/>
                </a:lnTo>
                <a:lnTo>
                  <a:pt x="234" y="438"/>
                </a:lnTo>
                <a:lnTo>
                  <a:pt x="228" y="444"/>
                </a:lnTo>
                <a:lnTo>
                  <a:pt x="210" y="444"/>
                </a:lnTo>
                <a:lnTo>
                  <a:pt x="198" y="444"/>
                </a:lnTo>
                <a:lnTo>
                  <a:pt x="198" y="450"/>
                </a:lnTo>
                <a:lnTo>
                  <a:pt x="168" y="456"/>
                </a:lnTo>
                <a:lnTo>
                  <a:pt x="150" y="450"/>
                </a:lnTo>
                <a:lnTo>
                  <a:pt x="144" y="444"/>
                </a:lnTo>
                <a:lnTo>
                  <a:pt x="132" y="438"/>
                </a:lnTo>
                <a:lnTo>
                  <a:pt x="138" y="432"/>
                </a:lnTo>
                <a:lnTo>
                  <a:pt x="114" y="432"/>
                </a:lnTo>
                <a:lnTo>
                  <a:pt x="102" y="426"/>
                </a:lnTo>
                <a:lnTo>
                  <a:pt x="90" y="414"/>
                </a:lnTo>
                <a:lnTo>
                  <a:pt x="72" y="402"/>
                </a:lnTo>
                <a:lnTo>
                  <a:pt x="78" y="366"/>
                </a:lnTo>
                <a:lnTo>
                  <a:pt x="78" y="330"/>
                </a:lnTo>
                <a:lnTo>
                  <a:pt x="66" y="318"/>
                </a:lnTo>
                <a:lnTo>
                  <a:pt x="66" y="300"/>
                </a:lnTo>
                <a:lnTo>
                  <a:pt x="66" y="282"/>
                </a:lnTo>
                <a:lnTo>
                  <a:pt x="36" y="282"/>
                </a:lnTo>
                <a:lnTo>
                  <a:pt x="30" y="276"/>
                </a:lnTo>
                <a:lnTo>
                  <a:pt x="30" y="282"/>
                </a:lnTo>
                <a:lnTo>
                  <a:pt x="24" y="282"/>
                </a:lnTo>
                <a:lnTo>
                  <a:pt x="12" y="276"/>
                </a:lnTo>
                <a:lnTo>
                  <a:pt x="0" y="282"/>
                </a:lnTo>
                <a:lnTo>
                  <a:pt x="12" y="204"/>
                </a:lnTo>
                <a:lnTo>
                  <a:pt x="18" y="210"/>
                </a:lnTo>
                <a:lnTo>
                  <a:pt x="18" y="204"/>
                </a:lnTo>
                <a:lnTo>
                  <a:pt x="18" y="198"/>
                </a:lnTo>
                <a:lnTo>
                  <a:pt x="12" y="198"/>
                </a:lnTo>
                <a:lnTo>
                  <a:pt x="18" y="192"/>
                </a:lnTo>
                <a:lnTo>
                  <a:pt x="12" y="192"/>
                </a:lnTo>
                <a:lnTo>
                  <a:pt x="6" y="192"/>
                </a:lnTo>
                <a:lnTo>
                  <a:pt x="6" y="186"/>
                </a:lnTo>
                <a:lnTo>
                  <a:pt x="0" y="186"/>
                </a:lnTo>
                <a:lnTo>
                  <a:pt x="0" y="180"/>
                </a:lnTo>
                <a:lnTo>
                  <a:pt x="6" y="180"/>
                </a:lnTo>
                <a:lnTo>
                  <a:pt x="12" y="186"/>
                </a:lnTo>
                <a:lnTo>
                  <a:pt x="18" y="138"/>
                </a:lnTo>
                <a:lnTo>
                  <a:pt x="24" y="126"/>
                </a:lnTo>
                <a:lnTo>
                  <a:pt x="30" y="126"/>
                </a:lnTo>
                <a:lnTo>
                  <a:pt x="42" y="120"/>
                </a:lnTo>
                <a:lnTo>
                  <a:pt x="48" y="114"/>
                </a:lnTo>
                <a:lnTo>
                  <a:pt x="60" y="102"/>
                </a:lnTo>
                <a:lnTo>
                  <a:pt x="72" y="96"/>
                </a:lnTo>
                <a:lnTo>
                  <a:pt x="78" y="96"/>
                </a:lnTo>
                <a:lnTo>
                  <a:pt x="90" y="96"/>
                </a:lnTo>
                <a:lnTo>
                  <a:pt x="96" y="90"/>
                </a:lnTo>
                <a:lnTo>
                  <a:pt x="102" y="96"/>
                </a:lnTo>
                <a:lnTo>
                  <a:pt x="108" y="96"/>
                </a:lnTo>
                <a:lnTo>
                  <a:pt x="120" y="102"/>
                </a:lnTo>
                <a:lnTo>
                  <a:pt x="126" y="108"/>
                </a:lnTo>
                <a:lnTo>
                  <a:pt x="126" y="114"/>
                </a:lnTo>
                <a:lnTo>
                  <a:pt x="132" y="114"/>
                </a:lnTo>
                <a:lnTo>
                  <a:pt x="138" y="120"/>
                </a:lnTo>
                <a:lnTo>
                  <a:pt x="144" y="120"/>
                </a:lnTo>
                <a:lnTo>
                  <a:pt x="144" y="126"/>
                </a:lnTo>
                <a:lnTo>
                  <a:pt x="150" y="126"/>
                </a:lnTo>
                <a:lnTo>
                  <a:pt x="156" y="120"/>
                </a:lnTo>
                <a:lnTo>
                  <a:pt x="156" y="96"/>
                </a:lnTo>
                <a:lnTo>
                  <a:pt x="156" y="84"/>
                </a:lnTo>
                <a:lnTo>
                  <a:pt x="162" y="84"/>
                </a:lnTo>
                <a:lnTo>
                  <a:pt x="168" y="78"/>
                </a:lnTo>
                <a:lnTo>
                  <a:pt x="174" y="72"/>
                </a:lnTo>
                <a:lnTo>
                  <a:pt x="180" y="72"/>
                </a:lnTo>
                <a:lnTo>
                  <a:pt x="198" y="66"/>
                </a:lnTo>
                <a:lnTo>
                  <a:pt x="198" y="60"/>
                </a:lnTo>
                <a:lnTo>
                  <a:pt x="216" y="42"/>
                </a:lnTo>
                <a:lnTo>
                  <a:pt x="222" y="36"/>
                </a:lnTo>
                <a:lnTo>
                  <a:pt x="228" y="36"/>
                </a:lnTo>
                <a:lnTo>
                  <a:pt x="228" y="30"/>
                </a:lnTo>
                <a:lnTo>
                  <a:pt x="228" y="24"/>
                </a:lnTo>
                <a:lnTo>
                  <a:pt x="246" y="18"/>
                </a:lnTo>
                <a:lnTo>
                  <a:pt x="252" y="18"/>
                </a:lnTo>
                <a:lnTo>
                  <a:pt x="258" y="12"/>
                </a:lnTo>
                <a:lnTo>
                  <a:pt x="270" y="6"/>
                </a:lnTo>
                <a:lnTo>
                  <a:pt x="288" y="6"/>
                </a:lnTo>
                <a:lnTo>
                  <a:pt x="312" y="12"/>
                </a:lnTo>
                <a:lnTo>
                  <a:pt x="324" y="12"/>
                </a:lnTo>
                <a:lnTo>
                  <a:pt x="336" y="18"/>
                </a:lnTo>
                <a:lnTo>
                  <a:pt x="348" y="24"/>
                </a:lnTo>
                <a:lnTo>
                  <a:pt x="354" y="24"/>
                </a:lnTo>
                <a:lnTo>
                  <a:pt x="354" y="18"/>
                </a:lnTo>
                <a:lnTo>
                  <a:pt x="360" y="18"/>
                </a:lnTo>
                <a:lnTo>
                  <a:pt x="360" y="6"/>
                </a:lnTo>
                <a:lnTo>
                  <a:pt x="372" y="6"/>
                </a:lnTo>
                <a:lnTo>
                  <a:pt x="390" y="6"/>
                </a:lnTo>
                <a:lnTo>
                  <a:pt x="396" y="0"/>
                </a:lnTo>
                <a:lnTo>
                  <a:pt x="414" y="12"/>
                </a:lnTo>
                <a:lnTo>
                  <a:pt x="426" y="12"/>
                </a:lnTo>
                <a:lnTo>
                  <a:pt x="444" y="18"/>
                </a:lnTo>
                <a:lnTo>
                  <a:pt x="462" y="18"/>
                </a:lnTo>
                <a:lnTo>
                  <a:pt x="474" y="18"/>
                </a:lnTo>
                <a:lnTo>
                  <a:pt x="480" y="18"/>
                </a:lnTo>
                <a:lnTo>
                  <a:pt x="486" y="36"/>
                </a:lnTo>
                <a:lnTo>
                  <a:pt x="480" y="42"/>
                </a:lnTo>
                <a:lnTo>
                  <a:pt x="480" y="54"/>
                </a:lnTo>
                <a:lnTo>
                  <a:pt x="486" y="78"/>
                </a:lnTo>
                <a:lnTo>
                  <a:pt x="486" y="114"/>
                </a:lnTo>
                <a:lnTo>
                  <a:pt x="486" y="150"/>
                </a:lnTo>
                <a:lnTo>
                  <a:pt x="468" y="150"/>
                </a:lnTo>
                <a:lnTo>
                  <a:pt x="474" y="162"/>
                </a:lnTo>
                <a:lnTo>
                  <a:pt x="480" y="162"/>
                </a:lnTo>
                <a:lnTo>
                  <a:pt x="486" y="174"/>
                </a:lnTo>
                <a:lnTo>
                  <a:pt x="492" y="174"/>
                </a:lnTo>
                <a:lnTo>
                  <a:pt x="492" y="192"/>
                </a:lnTo>
                <a:lnTo>
                  <a:pt x="498" y="198"/>
                </a:lnTo>
                <a:lnTo>
                  <a:pt x="504" y="204"/>
                </a:lnTo>
                <a:lnTo>
                  <a:pt x="504" y="210"/>
                </a:lnTo>
                <a:lnTo>
                  <a:pt x="498" y="210"/>
                </a:lnTo>
                <a:lnTo>
                  <a:pt x="498" y="222"/>
                </a:lnTo>
                <a:lnTo>
                  <a:pt x="492" y="228"/>
                </a:lnTo>
                <a:lnTo>
                  <a:pt x="492" y="234"/>
                </a:lnTo>
                <a:lnTo>
                  <a:pt x="492" y="240"/>
                </a:lnTo>
                <a:lnTo>
                  <a:pt x="486" y="246"/>
                </a:lnTo>
                <a:lnTo>
                  <a:pt x="486" y="258"/>
                </a:lnTo>
                <a:lnTo>
                  <a:pt x="480" y="264"/>
                </a:lnTo>
                <a:lnTo>
                  <a:pt x="474" y="276"/>
                </a:lnTo>
                <a:lnTo>
                  <a:pt x="468" y="288"/>
                </a:lnTo>
                <a:lnTo>
                  <a:pt x="456" y="306"/>
                </a:lnTo>
                <a:lnTo>
                  <a:pt x="456" y="312"/>
                </a:lnTo>
                <a:lnTo>
                  <a:pt x="444" y="318"/>
                </a:lnTo>
                <a:lnTo>
                  <a:pt x="432" y="336"/>
                </a:lnTo>
                <a:lnTo>
                  <a:pt x="432" y="342"/>
                </a:lnTo>
                <a:lnTo>
                  <a:pt x="432" y="348"/>
                </a:lnTo>
                <a:lnTo>
                  <a:pt x="432" y="354"/>
                </a:lnTo>
                <a:lnTo>
                  <a:pt x="426" y="366"/>
                </a:lnTo>
                <a:lnTo>
                  <a:pt x="420" y="366"/>
                </a:lnTo>
                <a:lnTo>
                  <a:pt x="420" y="372"/>
                </a:lnTo>
                <a:lnTo>
                  <a:pt x="414" y="378"/>
                </a:lnTo>
                <a:lnTo>
                  <a:pt x="414" y="390"/>
                </a:lnTo>
                <a:lnTo>
                  <a:pt x="408" y="390"/>
                </a:lnTo>
                <a:lnTo>
                  <a:pt x="408" y="402"/>
                </a:lnTo>
                <a:lnTo>
                  <a:pt x="402" y="414"/>
                </a:lnTo>
                <a:lnTo>
                  <a:pt x="396" y="438"/>
                </a:lnTo>
                <a:lnTo>
                  <a:pt x="396" y="444"/>
                </a:lnTo>
                <a:lnTo>
                  <a:pt x="390" y="456"/>
                </a:lnTo>
                <a:close/>
              </a:path>
            </a:pathLst>
          </a:custGeom>
          <a:solidFill>
            <a:srgbClr val="33CC33"/>
          </a:solidFill>
          <a:ln w="9525">
            <a:solidFill>
              <a:schemeClr val="bg1"/>
            </a:solidFill>
            <a:round/>
            <a:headEnd/>
            <a:tailEnd/>
          </a:ln>
        </p:spPr>
        <p:txBody>
          <a:bodyPr/>
          <a:lstStyle/>
          <a:p>
            <a:endParaRPr lang="en-GB"/>
          </a:p>
        </p:txBody>
      </p:sp>
      <p:sp>
        <p:nvSpPr>
          <p:cNvPr id="119" name="Freeform 8">
            <a:extLst>
              <a:ext uri="{FF2B5EF4-FFF2-40B4-BE49-F238E27FC236}"/>
            </a:extLst>
          </p:cNvPr>
          <p:cNvSpPr>
            <a:spLocks/>
          </p:cNvSpPr>
          <p:nvPr/>
        </p:nvSpPr>
        <p:spPr bwMode="gray">
          <a:xfrm>
            <a:off x="3662363" y="5548313"/>
            <a:ext cx="419100" cy="623887"/>
          </a:xfrm>
          <a:custGeom>
            <a:avLst/>
            <a:gdLst>
              <a:gd name="T0" fmla="*/ 39 w 534"/>
              <a:gd name="T1" fmla="*/ 35 h 774"/>
              <a:gd name="T2" fmla="*/ 35 w 534"/>
              <a:gd name="T3" fmla="*/ 31 h 774"/>
              <a:gd name="T4" fmla="*/ 32 w 534"/>
              <a:gd name="T5" fmla="*/ 29 h 774"/>
              <a:gd name="T6" fmla="*/ 32 w 534"/>
              <a:gd name="T7" fmla="*/ 31 h 774"/>
              <a:gd name="T8" fmla="*/ 29 w 534"/>
              <a:gd name="T9" fmla="*/ 33 h 774"/>
              <a:gd name="T10" fmla="*/ 27 w 534"/>
              <a:gd name="T11" fmla="*/ 36 h 774"/>
              <a:gd name="T12" fmla="*/ 30 w 534"/>
              <a:gd name="T13" fmla="*/ 38 h 774"/>
              <a:gd name="T14" fmla="*/ 29 w 534"/>
              <a:gd name="T15" fmla="*/ 40 h 774"/>
              <a:gd name="T16" fmla="*/ 25 w 534"/>
              <a:gd name="T17" fmla="*/ 40 h 774"/>
              <a:gd name="T18" fmla="*/ 23 w 534"/>
              <a:gd name="T19" fmla="*/ 42 h 774"/>
              <a:gd name="T20" fmla="*/ 22 w 534"/>
              <a:gd name="T21" fmla="*/ 47 h 774"/>
              <a:gd name="T22" fmla="*/ 22 w 534"/>
              <a:gd name="T23" fmla="*/ 51 h 774"/>
              <a:gd name="T24" fmla="*/ 22 w 534"/>
              <a:gd name="T25" fmla="*/ 54 h 774"/>
              <a:gd name="T26" fmla="*/ 21 w 534"/>
              <a:gd name="T27" fmla="*/ 56 h 774"/>
              <a:gd name="T28" fmla="*/ 19 w 534"/>
              <a:gd name="T29" fmla="*/ 58 h 774"/>
              <a:gd name="T30" fmla="*/ 20 w 534"/>
              <a:gd name="T31" fmla="*/ 59 h 774"/>
              <a:gd name="T32" fmla="*/ 19 w 534"/>
              <a:gd name="T33" fmla="*/ 62 h 774"/>
              <a:gd name="T34" fmla="*/ 19 w 534"/>
              <a:gd name="T35" fmla="*/ 64 h 774"/>
              <a:gd name="T36" fmla="*/ 20 w 534"/>
              <a:gd name="T37" fmla="*/ 66 h 774"/>
              <a:gd name="T38" fmla="*/ 17 w 534"/>
              <a:gd name="T39" fmla="*/ 66 h 774"/>
              <a:gd name="T40" fmla="*/ 16 w 534"/>
              <a:gd name="T41" fmla="*/ 65 h 774"/>
              <a:gd name="T42" fmla="*/ 13 w 534"/>
              <a:gd name="T43" fmla="*/ 65 h 774"/>
              <a:gd name="T44" fmla="*/ 11 w 534"/>
              <a:gd name="T45" fmla="*/ 65 h 774"/>
              <a:gd name="T46" fmla="*/ 8 w 534"/>
              <a:gd name="T47" fmla="*/ 65 h 774"/>
              <a:gd name="T48" fmla="*/ 8 w 534"/>
              <a:gd name="T49" fmla="*/ 64 h 774"/>
              <a:gd name="T50" fmla="*/ 5 w 534"/>
              <a:gd name="T51" fmla="*/ 65 h 774"/>
              <a:gd name="T52" fmla="*/ 3 w 534"/>
              <a:gd name="T53" fmla="*/ 65 h 774"/>
              <a:gd name="T54" fmla="*/ 0 w 534"/>
              <a:gd name="T55" fmla="*/ 64 h 774"/>
              <a:gd name="T56" fmla="*/ 0 w 534"/>
              <a:gd name="T57" fmla="*/ 62 h 774"/>
              <a:gd name="T58" fmla="*/ 3 w 534"/>
              <a:gd name="T59" fmla="*/ 60 h 774"/>
              <a:gd name="T60" fmla="*/ 6 w 534"/>
              <a:gd name="T61" fmla="*/ 57 h 774"/>
              <a:gd name="T62" fmla="*/ 8 w 534"/>
              <a:gd name="T63" fmla="*/ 50 h 774"/>
              <a:gd name="T64" fmla="*/ 6 w 534"/>
              <a:gd name="T65" fmla="*/ 45 h 774"/>
              <a:gd name="T66" fmla="*/ 8 w 534"/>
              <a:gd name="T67" fmla="*/ 41 h 774"/>
              <a:gd name="T68" fmla="*/ 9 w 534"/>
              <a:gd name="T69" fmla="*/ 38 h 774"/>
              <a:gd name="T70" fmla="*/ 10 w 534"/>
              <a:gd name="T71" fmla="*/ 36 h 774"/>
              <a:gd name="T72" fmla="*/ 12 w 534"/>
              <a:gd name="T73" fmla="*/ 33 h 774"/>
              <a:gd name="T74" fmla="*/ 14 w 534"/>
              <a:gd name="T75" fmla="*/ 29 h 774"/>
              <a:gd name="T76" fmla="*/ 16 w 534"/>
              <a:gd name="T77" fmla="*/ 26 h 774"/>
              <a:gd name="T78" fmla="*/ 16 w 534"/>
              <a:gd name="T79" fmla="*/ 24 h 774"/>
              <a:gd name="T80" fmla="*/ 16 w 534"/>
              <a:gd name="T81" fmla="*/ 21 h 774"/>
              <a:gd name="T82" fmla="*/ 13 w 534"/>
              <a:gd name="T83" fmla="*/ 19 h 774"/>
              <a:gd name="T84" fmla="*/ 14 w 534"/>
              <a:gd name="T85" fmla="*/ 10 h 774"/>
              <a:gd name="T86" fmla="*/ 14 w 534"/>
              <a:gd name="T87" fmla="*/ 7 h 774"/>
              <a:gd name="T88" fmla="*/ 8 w 534"/>
              <a:gd name="T89" fmla="*/ 7 h 774"/>
              <a:gd name="T90" fmla="*/ 7 w 534"/>
              <a:gd name="T91" fmla="*/ 3 h 774"/>
              <a:gd name="T92" fmla="*/ 11 w 534"/>
              <a:gd name="T93" fmla="*/ 1 h 774"/>
              <a:gd name="T94" fmla="*/ 12 w 534"/>
              <a:gd name="T95" fmla="*/ 0 h 774"/>
              <a:gd name="T96" fmla="*/ 16 w 534"/>
              <a:gd name="T97" fmla="*/ 2 h 774"/>
              <a:gd name="T98" fmla="*/ 20 w 534"/>
              <a:gd name="T99" fmla="*/ 2 h 774"/>
              <a:gd name="T100" fmla="*/ 23 w 534"/>
              <a:gd name="T101" fmla="*/ 3 h 774"/>
              <a:gd name="T102" fmla="*/ 23 w 534"/>
              <a:gd name="T103" fmla="*/ 10 h 774"/>
              <a:gd name="T104" fmla="*/ 29 w 534"/>
              <a:gd name="T105" fmla="*/ 12 h 774"/>
              <a:gd name="T106" fmla="*/ 35 w 534"/>
              <a:gd name="T107" fmla="*/ 12 h 774"/>
              <a:gd name="T108" fmla="*/ 38 w 534"/>
              <a:gd name="T109" fmla="*/ 17 h 774"/>
              <a:gd name="T110" fmla="*/ 40 w 534"/>
              <a:gd name="T111" fmla="*/ 19 h 774"/>
              <a:gd name="T112" fmla="*/ 44 w 534"/>
              <a:gd name="T113" fmla="*/ 23 h 774"/>
              <a:gd name="T114" fmla="*/ 44 w 534"/>
              <a:gd name="T115" fmla="*/ 30 h 774"/>
              <a:gd name="T116" fmla="*/ 46 w 534"/>
              <a:gd name="T117" fmla="*/ 36 h 774"/>
              <a:gd name="T118" fmla="*/ 41 w 534"/>
              <a:gd name="T119" fmla="*/ 37 h 7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4"/>
              <a:gd name="T181" fmla="*/ 0 h 774"/>
              <a:gd name="T182" fmla="*/ 534 w 534"/>
              <a:gd name="T183" fmla="*/ 774 h 77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4" h="774">
                <a:moveTo>
                  <a:pt x="462" y="426"/>
                </a:moveTo>
                <a:lnTo>
                  <a:pt x="462" y="414"/>
                </a:lnTo>
                <a:lnTo>
                  <a:pt x="450" y="402"/>
                </a:lnTo>
                <a:lnTo>
                  <a:pt x="444" y="396"/>
                </a:lnTo>
                <a:lnTo>
                  <a:pt x="420" y="396"/>
                </a:lnTo>
                <a:lnTo>
                  <a:pt x="408" y="390"/>
                </a:lnTo>
                <a:lnTo>
                  <a:pt x="402" y="366"/>
                </a:lnTo>
                <a:lnTo>
                  <a:pt x="390" y="354"/>
                </a:lnTo>
                <a:lnTo>
                  <a:pt x="384" y="336"/>
                </a:lnTo>
                <a:lnTo>
                  <a:pt x="378" y="336"/>
                </a:lnTo>
                <a:lnTo>
                  <a:pt x="366" y="336"/>
                </a:lnTo>
                <a:lnTo>
                  <a:pt x="360" y="336"/>
                </a:lnTo>
                <a:lnTo>
                  <a:pt x="354" y="336"/>
                </a:lnTo>
                <a:lnTo>
                  <a:pt x="348" y="336"/>
                </a:lnTo>
                <a:lnTo>
                  <a:pt x="348" y="348"/>
                </a:lnTo>
                <a:lnTo>
                  <a:pt x="360" y="354"/>
                </a:lnTo>
                <a:lnTo>
                  <a:pt x="360" y="390"/>
                </a:lnTo>
                <a:lnTo>
                  <a:pt x="348" y="390"/>
                </a:lnTo>
                <a:lnTo>
                  <a:pt x="342" y="384"/>
                </a:lnTo>
                <a:lnTo>
                  <a:pt x="330" y="378"/>
                </a:lnTo>
                <a:lnTo>
                  <a:pt x="324" y="378"/>
                </a:lnTo>
                <a:lnTo>
                  <a:pt x="318" y="390"/>
                </a:lnTo>
                <a:lnTo>
                  <a:pt x="312" y="402"/>
                </a:lnTo>
                <a:lnTo>
                  <a:pt x="306" y="420"/>
                </a:lnTo>
                <a:lnTo>
                  <a:pt x="324" y="414"/>
                </a:lnTo>
                <a:lnTo>
                  <a:pt x="330" y="414"/>
                </a:lnTo>
                <a:lnTo>
                  <a:pt x="336" y="420"/>
                </a:lnTo>
                <a:lnTo>
                  <a:pt x="336" y="432"/>
                </a:lnTo>
                <a:lnTo>
                  <a:pt x="330" y="438"/>
                </a:lnTo>
                <a:lnTo>
                  <a:pt x="330" y="444"/>
                </a:lnTo>
                <a:lnTo>
                  <a:pt x="330" y="450"/>
                </a:lnTo>
                <a:lnTo>
                  <a:pt x="324" y="456"/>
                </a:lnTo>
                <a:lnTo>
                  <a:pt x="318" y="456"/>
                </a:lnTo>
                <a:lnTo>
                  <a:pt x="300" y="456"/>
                </a:lnTo>
                <a:lnTo>
                  <a:pt x="288" y="462"/>
                </a:lnTo>
                <a:lnTo>
                  <a:pt x="276" y="462"/>
                </a:lnTo>
                <a:lnTo>
                  <a:pt x="270" y="462"/>
                </a:lnTo>
                <a:lnTo>
                  <a:pt x="270" y="468"/>
                </a:lnTo>
                <a:lnTo>
                  <a:pt x="252" y="468"/>
                </a:lnTo>
                <a:lnTo>
                  <a:pt x="258" y="480"/>
                </a:lnTo>
                <a:lnTo>
                  <a:pt x="258" y="492"/>
                </a:lnTo>
                <a:lnTo>
                  <a:pt x="258" y="498"/>
                </a:lnTo>
                <a:lnTo>
                  <a:pt x="258" y="510"/>
                </a:lnTo>
                <a:lnTo>
                  <a:pt x="252" y="540"/>
                </a:lnTo>
                <a:lnTo>
                  <a:pt x="246" y="564"/>
                </a:lnTo>
                <a:lnTo>
                  <a:pt x="246" y="570"/>
                </a:lnTo>
                <a:lnTo>
                  <a:pt x="252" y="576"/>
                </a:lnTo>
                <a:lnTo>
                  <a:pt x="246" y="582"/>
                </a:lnTo>
                <a:lnTo>
                  <a:pt x="252" y="600"/>
                </a:lnTo>
                <a:lnTo>
                  <a:pt x="258" y="606"/>
                </a:lnTo>
                <a:lnTo>
                  <a:pt x="258" y="612"/>
                </a:lnTo>
                <a:lnTo>
                  <a:pt x="252" y="618"/>
                </a:lnTo>
                <a:lnTo>
                  <a:pt x="246" y="624"/>
                </a:lnTo>
                <a:lnTo>
                  <a:pt x="246" y="630"/>
                </a:lnTo>
                <a:lnTo>
                  <a:pt x="246" y="636"/>
                </a:lnTo>
                <a:lnTo>
                  <a:pt x="240" y="642"/>
                </a:lnTo>
                <a:lnTo>
                  <a:pt x="234" y="654"/>
                </a:lnTo>
                <a:lnTo>
                  <a:pt x="228" y="654"/>
                </a:lnTo>
                <a:lnTo>
                  <a:pt x="222" y="660"/>
                </a:lnTo>
                <a:lnTo>
                  <a:pt x="216" y="666"/>
                </a:lnTo>
                <a:lnTo>
                  <a:pt x="210" y="666"/>
                </a:lnTo>
                <a:lnTo>
                  <a:pt x="204" y="678"/>
                </a:lnTo>
                <a:lnTo>
                  <a:pt x="210" y="678"/>
                </a:lnTo>
                <a:lnTo>
                  <a:pt x="222" y="684"/>
                </a:lnTo>
                <a:lnTo>
                  <a:pt x="222" y="690"/>
                </a:lnTo>
                <a:lnTo>
                  <a:pt x="222" y="696"/>
                </a:lnTo>
                <a:lnTo>
                  <a:pt x="222" y="702"/>
                </a:lnTo>
                <a:lnTo>
                  <a:pt x="216" y="708"/>
                </a:lnTo>
                <a:lnTo>
                  <a:pt x="210" y="720"/>
                </a:lnTo>
                <a:lnTo>
                  <a:pt x="216" y="732"/>
                </a:lnTo>
                <a:lnTo>
                  <a:pt x="210" y="732"/>
                </a:lnTo>
                <a:lnTo>
                  <a:pt x="216" y="738"/>
                </a:lnTo>
                <a:lnTo>
                  <a:pt x="216" y="744"/>
                </a:lnTo>
                <a:lnTo>
                  <a:pt x="222" y="750"/>
                </a:lnTo>
                <a:lnTo>
                  <a:pt x="228" y="756"/>
                </a:lnTo>
                <a:lnTo>
                  <a:pt x="222" y="762"/>
                </a:lnTo>
                <a:lnTo>
                  <a:pt x="228" y="768"/>
                </a:lnTo>
                <a:lnTo>
                  <a:pt x="222" y="774"/>
                </a:lnTo>
                <a:lnTo>
                  <a:pt x="204" y="762"/>
                </a:lnTo>
                <a:lnTo>
                  <a:pt x="198" y="762"/>
                </a:lnTo>
                <a:lnTo>
                  <a:pt x="192" y="762"/>
                </a:lnTo>
                <a:lnTo>
                  <a:pt x="186" y="756"/>
                </a:lnTo>
                <a:lnTo>
                  <a:pt x="180" y="750"/>
                </a:lnTo>
                <a:lnTo>
                  <a:pt x="180" y="744"/>
                </a:lnTo>
                <a:lnTo>
                  <a:pt x="174" y="744"/>
                </a:lnTo>
                <a:lnTo>
                  <a:pt x="156" y="750"/>
                </a:lnTo>
                <a:lnTo>
                  <a:pt x="150" y="750"/>
                </a:lnTo>
                <a:lnTo>
                  <a:pt x="144" y="750"/>
                </a:lnTo>
                <a:lnTo>
                  <a:pt x="138" y="750"/>
                </a:lnTo>
                <a:lnTo>
                  <a:pt x="138" y="744"/>
                </a:lnTo>
                <a:lnTo>
                  <a:pt x="132" y="744"/>
                </a:lnTo>
                <a:lnTo>
                  <a:pt x="120" y="744"/>
                </a:lnTo>
                <a:lnTo>
                  <a:pt x="114" y="738"/>
                </a:lnTo>
                <a:lnTo>
                  <a:pt x="108" y="744"/>
                </a:lnTo>
                <a:lnTo>
                  <a:pt x="102" y="744"/>
                </a:lnTo>
                <a:lnTo>
                  <a:pt x="96" y="744"/>
                </a:lnTo>
                <a:lnTo>
                  <a:pt x="96" y="738"/>
                </a:lnTo>
                <a:lnTo>
                  <a:pt x="96" y="744"/>
                </a:lnTo>
                <a:lnTo>
                  <a:pt x="90" y="744"/>
                </a:lnTo>
                <a:lnTo>
                  <a:pt x="90" y="738"/>
                </a:lnTo>
                <a:lnTo>
                  <a:pt x="84" y="744"/>
                </a:lnTo>
                <a:lnTo>
                  <a:pt x="72" y="750"/>
                </a:lnTo>
                <a:lnTo>
                  <a:pt x="66" y="750"/>
                </a:lnTo>
                <a:lnTo>
                  <a:pt x="60" y="750"/>
                </a:lnTo>
                <a:lnTo>
                  <a:pt x="54" y="756"/>
                </a:lnTo>
                <a:lnTo>
                  <a:pt x="42" y="756"/>
                </a:lnTo>
                <a:lnTo>
                  <a:pt x="36" y="750"/>
                </a:lnTo>
                <a:lnTo>
                  <a:pt x="30" y="750"/>
                </a:lnTo>
                <a:lnTo>
                  <a:pt x="24" y="744"/>
                </a:lnTo>
                <a:lnTo>
                  <a:pt x="18" y="738"/>
                </a:lnTo>
                <a:lnTo>
                  <a:pt x="6" y="738"/>
                </a:lnTo>
                <a:lnTo>
                  <a:pt x="0" y="732"/>
                </a:lnTo>
                <a:lnTo>
                  <a:pt x="0" y="726"/>
                </a:lnTo>
                <a:lnTo>
                  <a:pt x="0" y="720"/>
                </a:lnTo>
                <a:lnTo>
                  <a:pt x="6" y="714"/>
                </a:lnTo>
                <a:lnTo>
                  <a:pt x="6" y="708"/>
                </a:lnTo>
                <a:lnTo>
                  <a:pt x="12" y="708"/>
                </a:lnTo>
                <a:lnTo>
                  <a:pt x="18" y="702"/>
                </a:lnTo>
                <a:lnTo>
                  <a:pt x="24" y="696"/>
                </a:lnTo>
                <a:lnTo>
                  <a:pt x="30" y="696"/>
                </a:lnTo>
                <a:lnTo>
                  <a:pt x="48" y="690"/>
                </a:lnTo>
                <a:lnTo>
                  <a:pt x="54" y="678"/>
                </a:lnTo>
                <a:lnTo>
                  <a:pt x="66" y="672"/>
                </a:lnTo>
                <a:lnTo>
                  <a:pt x="66" y="654"/>
                </a:lnTo>
                <a:lnTo>
                  <a:pt x="72" y="636"/>
                </a:lnTo>
                <a:lnTo>
                  <a:pt x="72" y="612"/>
                </a:lnTo>
                <a:lnTo>
                  <a:pt x="84" y="594"/>
                </a:lnTo>
                <a:lnTo>
                  <a:pt x="90" y="576"/>
                </a:lnTo>
                <a:lnTo>
                  <a:pt x="96" y="552"/>
                </a:lnTo>
                <a:lnTo>
                  <a:pt x="90" y="528"/>
                </a:lnTo>
                <a:lnTo>
                  <a:pt x="84" y="528"/>
                </a:lnTo>
                <a:lnTo>
                  <a:pt x="72" y="522"/>
                </a:lnTo>
                <a:lnTo>
                  <a:pt x="78" y="510"/>
                </a:lnTo>
                <a:lnTo>
                  <a:pt x="78" y="504"/>
                </a:lnTo>
                <a:lnTo>
                  <a:pt x="84" y="480"/>
                </a:lnTo>
                <a:lnTo>
                  <a:pt x="90" y="468"/>
                </a:lnTo>
                <a:lnTo>
                  <a:pt x="90" y="456"/>
                </a:lnTo>
                <a:lnTo>
                  <a:pt x="96" y="456"/>
                </a:lnTo>
                <a:lnTo>
                  <a:pt x="96" y="444"/>
                </a:lnTo>
                <a:lnTo>
                  <a:pt x="102" y="438"/>
                </a:lnTo>
                <a:lnTo>
                  <a:pt x="102" y="432"/>
                </a:lnTo>
                <a:lnTo>
                  <a:pt x="108" y="432"/>
                </a:lnTo>
                <a:lnTo>
                  <a:pt x="114" y="420"/>
                </a:lnTo>
                <a:lnTo>
                  <a:pt x="114" y="414"/>
                </a:lnTo>
                <a:lnTo>
                  <a:pt x="114" y="408"/>
                </a:lnTo>
                <a:lnTo>
                  <a:pt x="114" y="402"/>
                </a:lnTo>
                <a:lnTo>
                  <a:pt x="126" y="384"/>
                </a:lnTo>
                <a:lnTo>
                  <a:pt x="138" y="378"/>
                </a:lnTo>
                <a:lnTo>
                  <a:pt x="138" y="372"/>
                </a:lnTo>
                <a:lnTo>
                  <a:pt x="150" y="354"/>
                </a:lnTo>
                <a:lnTo>
                  <a:pt x="156" y="342"/>
                </a:lnTo>
                <a:lnTo>
                  <a:pt x="162" y="330"/>
                </a:lnTo>
                <a:lnTo>
                  <a:pt x="168" y="324"/>
                </a:lnTo>
                <a:lnTo>
                  <a:pt x="168" y="312"/>
                </a:lnTo>
                <a:lnTo>
                  <a:pt x="174" y="306"/>
                </a:lnTo>
                <a:lnTo>
                  <a:pt x="174" y="300"/>
                </a:lnTo>
                <a:lnTo>
                  <a:pt x="174" y="294"/>
                </a:lnTo>
                <a:lnTo>
                  <a:pt x="180" y="288"/>
                </a:lnTo>
                <a:lnTo>
                  <a:pt x="180" y="276"/>
                </a:lnTo>
                <a:lnTo>
                  <a:pt x="186" y="276"/>
                </a:lnTo>
                <a:lnTo>
                  <a:pt x="186" y="270"/>
                </a:lnTo>
                <a:lnTo>
                  <a:pt x="180" y="264"/>
                </a:lnTo>
                <a:lnTo>
                  <a:pt x="174" y="258"/>
                </a:lnTo>
                <a:lnTo>
                  <a:pt x="174" y="240"/>
                </a:lnTo>
                <a:lnTo>
                  <a:pt x="168" y="240"/>
                </a:lnTo>
                <a:lnTo>
                  <a:pt x="162" y="228"/>
                </a:lnTo>
                <a:lnTo>
                  <a:pt x="156" y="228"/>
                </a:lnTo>
                <a:lnTo>
                  <a:pt x="150" y="216"/>
                </a:lnTo>
                <a:lnTo>
                  <a:pt x="168" y="216"/>
                </a:lnTo>
                <a:lnTo>
                  <a:pt x="168" y="180"/>
                </a:lnTo>
                <a:lnTo>
                  <a:pt x="168" y="144"/>
                </a:lnTo>
                <a:lnTo>
                  <a:pt x="162" y="120"/>
                </a:lnTo>
                <a:lnTo>
                  <a:pt x="162" y="108"/>
                </a:lnTo>
                <a:lnTo>
                  <a:pt x="168" y="102"/>
                </a:lnTo>
                <a:lnTo>
                  <a:pt x="162" y="84"/>
                </a:lnTo>
                <a:lnTo>
                  <a:pt x="156" y="84"/>
                </a:lnTo>
                <a:lnTo>
                  <a:pt x="144" y="84"/>
                </a:lnTo>
                <a:lnTo>
                  <a:pt x="126" y="84"/>
                </a:lnTo>
                <a:lnTo>
                  <a:pt x="108" y="78"/>
                </a:lnTo>
                <a:lnTo>
                  <a:pt x="96" y="78"/>
                </a:lnTo>
                <a:lnTo>
                  <a:pt x="78" y="66"/>
                </a:lnTo>
                <a:lnTo>
                  <a:pt x="84" y="60"/>
                </a:lnTo>
                <a:lnTo>
                  <a:pt x="78" y="54"/>
                </a:lnTo>
                <a:lnTo>
                  <a:pt x="78" y="36"/>
                </a:lnTo>
                <a:lnTo>
                  <a:pt x="96" y="24"/>
                </a:lnTo>
                <a:lnTo>
                  <a:pt x="120" y="24"/>
                </a:lnTo>
                <a:lnTo>
                  <a:pt x="126" y="18"/>
                </a:lnTo>
                <a:lnTo>
                  <a:pt x="126" y="12"/>
                </a:lnTo>
                <a:lnTo>
                  <a:pt x="126" y="6"/>
                </a:lnTo>
                <a:lnTo>
                  <a:pt x="132" y="6"/>
                </a:lnTo>
                <a:lnTo>
                  <a:pt x="138" y="6"/>
                </a:lnTo>
                <a:lnTo>
                  <a:pt x="138" y="0"/>
                </a:lnTo>
                <a:lnTo>
                  <a:pt x="156" y="0"/>
                </a:lnTo>
                <a:lnTo>
                  <a:pt x="156" y="6"/>
                </a:lnTo>
                <a:lnTo>
                  <a:pt x="168" y="24"/>
                </a:lnTo>
                <a:lnTo>
                  <a:pt x="180" y="24"/>
                </a:lnTo>
                <a:lnTo>
                  <a:pt x="192" y="18"/>
                </a:lnTo>
                <a:lnTo>
                  <a:pt x="198" y="18"/>
                </a:lnTo>
                <a:lnTo>
                  <a:pt x="210" y="18"/>
                </a:lnTo>
                <a:lnTo>
                  <a:pt x="222" y="18"/>
                </a:lnTo>
                <a:lnTo>
                  <a:pt x="234" y="12"/>
                </a:lnTo>
                <a:lnTo>
                  <a:pt x="252" y="18"/>
                </a:lnTo>
                <a:lnTo>
                  <a:pt x="252" y="24"/>
                </a:lnTo>
                <a:lnTo>
                  <a:pt x="258" y="36"/>
                </a:lnTo>
                <a:lnTo>
                  <a:pt x="258" y="66"/>
                </a:lnTo>
                <a:lnTo>
                  <a:pt x="252" y="84"/>
                </a:lnTo>
                <a:lnTo>
                  <a:pt x="252" y="120"/>
                </a:lnTo>
                <a:lnTo>
                  <a:pt x="258" y="120"/>
                </a:lnTo>
                <a:lnTo>
                  <a:pt x="282" y="126"/>
                </a:lnTo>
                <a:lnTo>
                  <a:pt x="294" y="132"/>
                </a:lnTo>
                <a:lnTo>
                  <a:pt x="306" y="138"/>
                </a:lnTo>
                <a:lnTo>
                  <a:pt x="324" y="138"/>
                </a:lnTo>
                <a:lnTo>
                  <a:pt x="348" y="138"/>
                </a:lnTo>
                <a:lnTo>
                  <a:pt x="354" y="138"/>
                </a:lnTo>
                <a:lnTo>
                  <a:pt x="360" y="144"/>
                </a:lnTo>
                <a:lnTo>
                  <a:pt x="396" y="144"/>
                </a:lnTo>
                <a:lnTo>
                  <a:pt x="408" y="150"/>
                </a:lnTo>
                <a:lnTo>
                  <a:pt x="414" y="180"/>
                </a:lnTo>
                <a:lnTo>
                  <a:pt x="420" y="186"/>
                </a:lnTo>
                <a:lnTo>
                  <a:pt x="426" y="192"/>
                </a:lnTo>
                <a:lnTo>
                  <a:pt x="426" y="198"/>
                </a:lnTo>
                <a:lnTo>
                  <a:pt x="432" y="198"/>
                </a:lnTo>
                <a:lnTo>
                  <a:pt x="438" y="210"/>
                </a:lnTo>
                <a:lnTo>
                  <a:pt x="450" y="216"/>
                </a:lnTo>
                <a:lnTo>
                  <a:pt x="468" y="228"/>
                </a:lnTo>
                <a:lnTo>
                  <a:pt x="492" y="234"/>
                </a:lnTo>
                <a:lnTo>
                  <a:pt x="492" y="246"/>
                </a:lnTo>
                <a:lnTo>
                  <a:pt x="492" y="270"/>
                </a:lnTo>
                <a:lnTo>
                  <a:pt x="486" y="294"/>
                </a:lnTo>
                <a:lnTo>
                  <a:pt x="486" y="312"/>
                </a:lnTo>
                <a:lnTo>
                  <a:pt x="486" y="330"/>
                </a:lnTo>
                <a:lnTo>
                  <a:pt x="492" y="348"/>
                </a:lnTo>
                <a:lnTo>
                  <a:pt x="498" y="360"/>
                </a:lnTo>
                <a:lnTo>
                  <a:pt x="510" y="366"/>
                </a:lnTo>
                <a:lnTo>
                  <a:pt x="516" y="384"/>
                </a:lnTo>
                <a:lnTo>
                  <a:pt x="522" y="414"/>
                </a:lnTo>
                <a:lnTo>
                  <a:pt x="528" y="414"/>
                </a:lnTo>
                <a:lnTo>
                  <a:pt x="534" y="426"/>
                </a:lnTo>
                <a:lnTo>
                  <a:pt x="528" y="432"/>
                </a:lnTo>
                <a:lnTo>
                  <a:pt x="468" y="426"/>
                </a:lnTo>
                <a:lnTo>
                  <a:pt x="462" y="426"/>
                </a:lnTo>
                <a:close/>
              </a:path>
            </a:pathLst>
          </a:custGeom>
          <a:solidFill>
            <a:schemeClr val="accent6">
              <a:lumMod val="20000"/>
              <a:lumOff val="80000"/>
            </a:schemeClr>
          </a:solidFill>
          <a:ln w="9525" cap="flat" cmpd="sng">
            <a:solidFill>
              <a:schemeClr val="bg1"/>
            </a:solidFill>
            <a:prstDash val="solid"/>
            <a:round/>
            <a:headEnd type="none" w="med" len="med"/>
            <a:tailEnd type="none" w="med" len="med"/>
          </a:ln>
          <a:effectLst/>
          <a:extLst/>
        </p:spPr>
        <p:txBody>
          <a:bodyPr/>
          <a:lstStyle/>
          <a:p>
            <a:pPr>
              <a:defRPr/>
            </a:pPr>
            <a:endParaRPr lang="en-GB" dirty="0">
              <a:latin typeface="Arial" charset="0"/>
              <a:cs typeface="+mn-cs"/>
            </a:endParaRPr>
          </a:p>
        </p:txBody>
      </p:sp>
      <p:sp>
        <p:nvSpPr>
          <p:cNvPr id="18447" name="Freeform 9"/>
          <p:cNvSpPr>
            <a:spLocks noEditPoints="1"/>
          </p:cNvSpPr>
          <p:nvPr/>
        </p:nvSpPr>
        <p:spPr bwMode="gray">
          <a:xfrm>
            <a:off x="3822700" y="5819775"/>
            <a:ext cx="431800" cy="530225"/>
          </a:xfrm>
          <a:custGeom>
            <a:avLst/>
            <a:gdLst>
              <a:gd name="T0" fmla="*/ 2352 w 552"/>
              <a:gd name="T1" fmla="*/ 37025 h 660"/>
              <a:gd name="T2" fmla="*/ 3136 w 552"/>
              <a:gd name="T3" fmla="*/ 33806 h 660"/>
              <a:gd name="T4" fmla="*/ 1568 w 552"/>
              <a:gd name="T5" fmla="*/ 30586 h 660"/>
              <a:gd name="T6" fmla="*/ 0 w 552"/>
              <a:gd name="T7" fmla="*/ 27366 h 660"/>
              <a:gd name="T8" fmla="*/ 1568 w 552"/>
              <a:gd name="T9" fmla="*/ 24147 h 660"/>
              <a:gd name="T10" fmla="*/ 2352 w 552"/>
              <a:gd name="T11" fmla="*/ 21732 h 660"/>
              <a:gd name="T12" fmla="*/ 3921 w 552"/>
              <a:gd name="T13" fmla="*/ 18513 h 660"/>
              <a:gd name="T14" fmla="*/ 3921 w 552"/>
              <a:gd name="T15" fmla="*/ 12073 h 660"/>
              <a:gd name="T16" fmla="*/ 4705 w 552"/>
              <a:gd name="T17" fmla="*/ 8854 h 660"/>
              <a:gd name="T18" fmla="*/ 8625 w 552"/>
              <a:gd name="T19" fmla="*/ 7244 h 660"/>
              <a:gd name="T20" fmla="*/ 7841 w 552"/>
              <a:gd name="T21" fmla="*/ 4024 h 660"/>
              <a:gd name="T22" fmla="*/ 9409 w 552"/>
              <a:gd name="T23" fmla="*/ 805 h 660"/>
              <a:gd name="T24" fmla="*/ 12546 w 552"/>
              <a:gd name="T25" fmla="*/ 1610 h 660"/>
              <a:gd name="T26" fmla="*/ 18035 w 552"/>
              <a:gd name="T27" fmla="*/ 6439 h 660"/>
              <a:gd name="T28" fmla="*/ 18035 w 552"/>
              <a:gd name="T29" fmla="*/ 8854 h 660"/>
              <a:gd name="T30" fmla="*/ 21171 w 552"/>
              <a:gd name="T31" fmla="*/ 9659 h 660"/>
              <a:gd name="T32" fmla="*/ 22740 w 552"/>
              <a:gd name="T33" fmla="*/ 13683 h 660"/>
              <a:gd name="T34" fmla="*/ 24308 w 552"/>
              <a:gd name="T35" fmla="*/ 12073 h 660"/>
              <a:gd name="T36" fmla="*/ 25876 w 552"/>
              <a:gd name="T37" fmla="*/ 13683 h 660"/>
              <a:gd name="T38" fmla="*/ 28228 w 552"/>
              <a:gd name="T39" fmla="*/ 18513 h 660"/>
              <a:gd name="T40" fmla="*/ 32149 w 552"/>
              <a:gd name="T41" fmla="*/ 26562 h 660"/>
              <a:gd name="T42" fmla="*/ 33717 w 552"/>
              <a:gd name="T43" fmla="*/ 28976 h 660"/>
              <a:gd name="T44" fmla="*/ 33717 w 552"/>
              <a:gd name="T45" fmla="*/ 29781 h 660"/>
              <a:gd name="T46" fmla="*/ 32149 w 552"/>
              <a:gd name="T47" fmla="*/ 28171 h 660"/>
              <a:gd name="T48" fmla="*/ 33717 w 552"/>
              <a:gd name="T49" fmla="*/ 29781 h 660"/>
              <a:gd name="T50" fmla="*/ 34501 w 552"/>
              <a:gd name="T51" fmla="*/ 31391 h 660"/>
              <a:gd name="T52" fmla="*/ 36854 w 552"/>
              <a:gd name="T53" fmla="*/ 33001 h 660"/>
              <a:gd name="T54" fmla="*/ 36854 w 552"/>
              <a:gd name="T55" fmla="*/ 35415 h 660"/>
              <a:gd name="T56" fmla="*/ 37638 w 552"/>
              <a:gd name="T57" fmla="*/ 37025 h 660"/>
              <a:gd name="T58" fmla="*/ 36854 w 552"/>
              <a:gd name="T59" fmla="*/ 37025 h 660"/>
              <a:gd name="T60" fmla="*/ 34501 w 552"/>
              <a:gd name="T61" fmla="*/ 37025 h 660"/>
              <a:gd name="T62" fmla="*/ 36854 w 552"/>
              <a:gd name="T63" fmla="*/ 37830 h 660"/>
              <a:gd name="T64" fmla="*/ 36854 w 552"/>
              <a:gd name="T65" fmla="*/ 39440 h 660"/>
              <a:gd name="T66" fmla="*/ 36854 w 552"/>
              <a:gd name="T67" fmla="*/ 41855 h 660"/>
              <a:gd name="T68" fmla="*/ 36070 w 552"/>
              <a:gd name="T69" fmla="*/ 42659 h 660"/>
              <a:gd name="T70" fmla="*/ 33717 w 552"/>
              <a:gd name="T71" fmla="*/ 43464 h 660"/>
              <a:gd name="T72" fmla="*/ 29012 w 552"/>
              <a:gd name="T73" fmla="*/ 43464 h 660"/>
              <a:gd name="T74" fmla="*/ 23524 w 552"/>
              <a:gd name="T75" fmla="*/ 43464 h 660"/>
              <a:gd name="T76" fmla="*/ 22740 w 552"/>
              <a:gd name="T77" fmla="*/ 42659 h 660"/>
              <a:gd name="T78" fmla="*/ 21171 w 552"/>
              <a:gd name="T79" fmla="*/ 42659 h 660"/>
              <a:gd name="T80" fmla="*/ 22740 w 552"/>
              <a:gd name="T81" fmla="*/ 42659 h 660"/>
              <a:gd name="T82" fmla="*/ 21955 w 552"/>
              <a:gd name="T83" fmla="*/ 43464 h 660"/>
              <a:gd name="T84" fmla="*/ 18819 w 552"/>
              <a:gd name="T85" fmla="*/ 43464 h 660"/>
              <a:gd name="T86" fmla="*/ 15682 w 552"/>
              <a:gd name="T87" fmla="*/ 44269 h 660"/>
              <a:gd name="T88" fmla="*/ 11762 w 552"/>
              <a:gd name="T89" fmla="*/ 45074 h 660"/>
              <a:gd name="T90" fmla="*/ 9409 w 552"/>
              <a:gd name="T91" fmla="*/ 45074 h 660"/>
              <a:gd name="T92" fmla="*/ 8625 w 552"/>
              <a:gd name="T93" fmla="*/ 45879 h 660"/>
              <a:gd name="T94" fmla="*/ 7057 w 552"/>
              <a:gd name="T95" fmla="*/ 45879 h 660"/>
              <a:gd name="T96" fmla="*/ 5489 w 552"/>
              <a:gd name="T97" fmla="*/ 45074 h 660"/>
              <a:gd name="T98" fmla="*/ 3921 w 552"/>
              <a:gd name="T99" fmla="*/ 44269 h 660"/>
              <a:gd name="T100" fmla="*/ 5489 w 552"/>
              <a:gd name="T101" fmla="*/ 43464 h 660"/>
              <a:gd name="T102" fmla="*/ 3921 w 552"/>
              <a:gd name="T103" fmla="*/ 43464 h 660"/>
              <a:gd name="T104" fmla="*/ 3921 w 552"/>
              <a:gd name="T105" fmla="*/ 42659 h 660"/>
              <a:gd name="T106" fmla="*/ 3136 w 552"/>
              <a:gd name="T107" fmla="*/ 39440 h 660"/>
              <a:gd name="T108" fmla="*/ 35285 w 552"/>
              <a:gd name="T109" fmla="*/ 30586 h 6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52"/>
              <a:gd name="T166" fmla="*/ 0 h 660"/>
              <a:gd name="T167" fmla="*/ 552 w 552"/>
              <a:gd name="T168" fmla="*/ 660 h 6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52" h="660">
                <a:moveTo>
                  <a:pt x="36" y="564"/>
                </a:moveTo>
                <a:lnTo>
                  <a:pt x="36" y="558"/>
                </a:lnTo>
                <a:lnTo>
                  <a:pt x="36" y="552"/>
                </a:lnTo>
                <a:lnTo>
                  <a:pt x="42" y="546"/>
                </a:lnTo>
                <a:lnTo>
                  <a:pt x="42" y="540"/>
                </a:lnTo>
                <a:lnTo>
                  <a:pt x="36" y="540"/>
                </a:lnTo>
                <a:lnTo>
                  <a:pt x="36" y="534"/>
                </a:lnTo>
                <a:lnTo>
                  <a:pt x="36" y="528"/>
                </a:lnTo>
                <a:lnTo>
                  <a:pt x="42" y="522"/>
                </a:lnTo>
                <a:lnTo>
                  <a:pt x="48" y="516"/>
                </a:lnTo>
                <a:lnTo>
                  <a:pt x="54" y="510"/>
                </a:lnTo>
                <a:lnTo>
                  <a:pt x="54" y="504"/>
                </a:lnTo>
                <a:lnTo>
                  <a:pt x="54" y="498"/>
                </a:lnTo>
                <a:lnTo>
                  <a:pt x="48" y="492"/>
                </a:lnTo>
                <a:lnTo>
                  <a:pt x="42" y="486"/>
                </a:lnTo>
                <a:lnTo>
                  <a:pt x="42" y="480"/>
                </a:lnTo>
                <a:lnTo>
                  <a:pt x="42" y="468"/>
                </a:lnTo>
                <a:lnTo>
                  <a:pt x="30" y="456"/>
                </a:lnTo>
                <a:lnTo>
                  <a:pt x="30" y="450"/>
                </a:lnTo>
                <a:lnTo>
                  <a:pt x="18" y="444"/>
                </a:lnTo>
                <a:lnTo>
                  <a:pt x="18" y="438"/>
                </a:lnTo>
                <a:lnTo>
                  <a:pt x="24" y="432"/>
                </a:lnTo>
                <a:lnTo>
                  <a:pt x="18" y="426"/>
                </a:lnTo>
                <a:lnTo>
                  <a:pt x="24" y="420"/>
                </a:lnTo>
                <a:lnTo>
                  <a:pt x="18" y="414"/>
                </a:lnTo>
                <a:lnTo>
                  <a:pt x="12" y="408"/>
                </a:lnTo>
                <a:lnTo>
                  <a:pt x="12" y="402"/>
                </a:lnTo>
                <a:lnTo>
                  <a:pt x="6" y="396"/>
                </a:lnTo>
                <a:lnTo>
                  <a:pt x="12" y="396"/>
                </a:lnTo>
                <a:lnTo>
                  <a:pt x="6" y="384"/>
                </a:lnTo>
                <a:lnTo>
                  <a:pt x="12" y="372"/>
                </a:lnTo>
                <a:lnTo>
                  <a:pt x="18" y="366"/>
                </a:lnTo>
                <a:lnTo>
                  <a:pt x="18" y="360"/>
                </a:lnTo>
                <a:lnTo>
                  <a:pt x="18" y="354"/>
                </a:lnTo>
                <a:lnTo>
                  <a:pt x="18" y="348"/>
                </a:lnTo>
                <a:lnTo>
                  <a:pt x="6" y="342"/>
                </a:lnTo>
                <a:lnTo>
                  <a:pt x="0" y="342"/>
                </a:lnTo>
                <a:lnTo>
                  <a:pt x="6" y="330"/>
                </a:lnTo>
                <a:lnTo>
                  <a:pt x="12" y="330"/>
                </a:lnTo>
                <a:lnTo>
                  <a:pt x="18" y="324"/>
                </a:lnTo>
                <a:lnTo>
                  <a:pt x="24" y="318"/>
                </a:lnTo>
                <a:lnTo>
                  <a:pt x="30" y="318"/>
                </a:lnTo>
                <a:lnTo>
                  <a:pt x="36" y="306"/>
                </a:lnTo>
                <a:lnTo>
                  <a:pt x="42" y="300"/>
                </a:lnTo>
                <a:lnTo>
                  <a:pt x="42" y="294"/>
                </a:lnTo>
                <a:lnTo>
                  <a:pt x="42" y="288"/>
                </a:lnTo>
                <a:lnTo>
                  <a:pt x="48" y="282"/>
                </a:lnTo>
                <a:lnTo>
                  <a:pt x="54" y="276"/>
                </a:lnTo>
                <a:lnTo>
                  <a:pt x="54" y="270"/>
                </a:lnTo>
                <a:lnTo>
                  <a:pt x="48" y="264"/>
                </a:lnTo>
                <a:lnTo>
                  <a:pt x="42" y="246"/>
                </a:lnTo>
                <a:lnTo>
                  <a:pt x="48" y="240"/>
                </a:lnTo>
                <a:lnTo>
                  <a:pt x="42" y="234"/>
                </a:lnTo>
                <a:lnTo>
                  <a:pt x="42" y="228"/>
                </a:lnTo>
                <a:lnTo>
                  <a:pt x="48" y="204"/>
                </a:lnTo>
                <a:lnTo>
                  <a:pt x="54" y="174"/>
                </a:lnTo>
                <a:lnTo>
                  <a:pt x="54" y="162"/>
                </a:lnTo>
                <a:lnTo>
                  <a:pt x="54" y="156"/>
                </a:lnTo>
                <a:lnTo>
                  <a:pt x="54" y="144"/>
                </a:lnTo>
                <a:lnTo>
                  <a:pt x="48" y="132"/>
                </a:lnTo>
                <a:lnTo>
                  <a:pt x="66" y="132"/>
                </a:lnTo>
                <a:lnTo>
                  <a:pt x="66" y="126"/>
                </a:lnTo>
                <a:lnTo>
                  <a:pt x="72" y="126"/>
                </a:lnTo>
                <a:lnTo>
                  <a:pt x="84" y="126"/>
                </a:lnTo>
                <a:lnTo>
                  <a:pt x="96" y="120"/>
                </a:lnTo>
                <a:lnTo>
                  <a:pt x="114" y="120"/>
                </a:lnTo>
                <a:lnTo>
                  <a:pt x="120" y="120"/>
                </a:lnTo>
                <a:lnTo>
                  <a:pt x="126" y="114"/>
                </a:lnTo>
                <a:lnTo>
                  <a:pt x="126" y="108"/>
                </a:lnTo>
                <a:lnTo>
                  <a:pt x="126" y="102"/>
                </a:lnTo>
                <a:lnTo>
                  <a:pt x="132" y="96"/>
                </a:lnTo>
                <a:lnTo>
                  <a:pt x="132" y="84"/>
                </a:lnTo>
                <a:lnTo>
                  <a:pt x="126" y="78"/>
                </a:lnTo>
                <a:lnTo>
                  <a:pt x="120" y="78"/>
                </a:lnTo>
                <a:lnTo>
                  <a:pt x="102" y="84"/>
                </a:lnTo>
                <a:lnTo>
                  <a:pt x="108" y="66"/>
                </a:lnTo>
                <a:lnTo>
                  <a:pt x="114" y="54"/>
                </a:lnTo>
                <a:lnTo>
                  <a:pt x="120" y="42"/>
                </a:lnTo>
                <a:lnTo>
                  <a:pt x="126" y="42"/>
                </a:lnTo>
                <a:lnTo>
                  <a:pt x="138" y="48"/>
                </a:lnTo>
                <a:lnTo>
                  <a:pt x="144" y="54"/>
                </a:lnTo>
                <a:lnTo>
                  <a:pt x="156" y="54"/>
                </a:lnTo>
                <a:lnTo>
                  <a:pt x="156" y="18"/>
                </a:lnTo>
                <a:lnTo>
                  <a:pt x="144" y="12"/>
                </a:lnTo>
                <a:lnTo>
                  <a:pt x="144" y="0"/>
                </a:lnTo>
                <a:lnTo>
                  <a:pt x="150" y="0"/>
                </a:lnTo>
                <a:lnTo>
                  <a:pt x="156" y="0"/>
                </a:lnTo>
                <a:lnTo>
                  <a:pt x="162" y="0"/>
                </a:lnTo>
                <a:lnTo>
                  <a:pt x="174" y="0"/>
                </a:lnTo>
                <a:lnTo>
                  <a:pt x="180" y="0"/>
                </a:lnTo>
                <a:lnTo>
                  <a:pt x="186" y="18"/>
                </a:lnTo>
                <a:lnTo>
                  <a:pt x="198" y="30"/>
                </a:lnTo>
                <a:lnTo>
                  <a:pt x="204" y="54"/>
                </a:lnTo>
                <a:lnTo>
                  <a:pt x="216" y="60"/>
                </a:lnTo>
                <a:lnTo>
                  <a:pt x="240" y="60"/>
                </a:lnTo>
                <a:lnTo>
                  <a:pt x="246" y="66"/>
                </a:lnTo>
                <a:lnTo>
                  <a:pt x="258" y="78"/>
                </a:lnTo>
                <a:lnTo>
                  <a:pt x="258" y="90"/>
                </a:lnTo>
                <a:lnTo>
                  <a:pt x="252" y="96"/>
                </a:lnTo>
                <a:lnTo>
                  <a:pt x="258" y="102"/>
                </a:lnTo>
                <a:lnTo>
                  <a:pt x="258" y="108"/>
                </a:lnTo>
                <a:lnTo>
                  <a:pt x="252" y="120"/>
                </a:lnTo>
                <a:lnTo>
                  <a:pt x="252" y="126"/>
                </a:lnTo>
                <a:lnTo>
                  <a:pt x="258" y="126"/>
                </a:lnTo>
                <a:lnTo>
                  <a:pt x="264" y="126"/>
                </a:lnTo>
                <a:lnTo>
                  <a:pt x="276" y="126"/>
                </a:lnTo>
                <a:lnTo>
                  <a:pt x="282" y="120"/>
                </a:lnTo>
                <a:lnTo>
                  <a:pt x="282" y="126"/>
                </a:lnTo>
                <a:lnTo>
                  <a:pt x="294" y="126"/>
                </a:lnTo>
                <a:lnTo>
                  <a:pt x="300" y="132"/>
                </a:lnTo>
                <a:lnTo>
                  <a:pt x="306" y="144"/>
                </a:lnTo>
                <a:lnTo>
                  <a:pt x="312" y="144"/>
                </a:lnTo>
                <a:lnTo>
                  <a:pt x="312" y="150"/>
                </a:lnTo>
                <a:lnTo>
                  <a:pt x="312" y="162"/>
                </a:lnTo>
                <a:lnTo>
                  <a:pt x="312" y="174"/>
                </a:lnTo>
                <a:lnTo>
                  <a:pt x="324" y="180"/>
                </a:lnTo>
                <a:lnTo>
                  <a:pt x="324" y="186"/>
                </a:lnTo>
                <a:lnTo>
                  <a:pt x="324" y="192"/>
                </a:lnTo>
                <a:lnTo>
                  <a:pt x="330" y="192"/>
                </a:lnTo>
                <a:lnTo>
                  <a:pt x="336" y="198"/>
                </a:lnTo>
                <a:lnTo>
                  <a:pt x="342" y="192"/>
                </a:lnTo>
                <a:lnTo>
                  <a:pt x="348" y="192"/>
                </a:lnTo>
                <a:lnTo>
                  <a:pt x="348" y="186"/>
                </a:lnTo>
                <a:lnTo>
                  <a:pt x="348" y="180"/>
                </a:lnTo>
                <a:lnTo>
                  <a:pt x="354" y="180"/>
                </a:lnTo>
                <a:lnTo>
                  <a:pt x="354" y="174"/>
                </a:lnTo>
                <a:lnTo>
                  <a:pt x="360" y="168"/>
                </a:lnTo>
                <a:lnTo>
                  <a:pt x="366" y="168"/>
                </a:lnTo>
                <a:lnTo>
                  <a:pt x="372" y="174"/>
                </a:lnTo>
                <a:lnTo>
                  <a:pt x="372" y="180"/>
                </a:lnTo>
                <a:lnTo>
                  <a:pt x="378" y="186"/>
                </a:lnTo>
                <a:lnTo>
                  <a:pt x="378" y="192"/>
                </a:lnTo>
                <a:lnTo>
                  <a:pt x="384" y="192"/>
                </a:lnTo>
                <a:lnTo>
                  <a:pt x="390" y="204"/>
                </a:lnTo>
                <a:lnTo>
                  <a:pt x="390" y="210"/>
                </a:lnTo>
                <a:lnTo>
                  <a:pt x="390" y="216"/>
                </a:lnTo>
                <a:lnTo>
                  <a:pt x="384" y="234"/>
                </a:lnTo>
                <a:lnTo>
                  <a:pt x="390" y="240"/>
                </a:lnTo>
                <a:lnTo>
                  <a:pt x="408" y="252"/>
                </a:lnTo>
                <a:lnTo>
                  <a:pt x="414" y="264"/>
                </a:lnTo>
                <a:lnTo>
                  <a:pt x="408" y="300"/>
                </a:lnTo>
                <a:lnTo>
                  <a:pt x="414" y="312"/>
                </a:lnTo>
                <a:lnTo>
                  <a:pt x="426" y="336"/>
                </a:lnTo>
                <a:lnTo>
                  <a:pt x="438" y="354"/>
                </a:lnTo>
                <a:lnTo>
                  <a:pt x="444" y="366"/>
                </a:lnTo>
                <a:lnTo>
                  <a:pt x="456" y="366"/>
                </a:lnTo>
                <a:lnTo>
                  <a:pt x="474" y="378"/>
                </a:lnTo>
                <a:lnTo>
                  <a:pt x="474" y="384"/>
                </a:lnTo>
                <a:lnTo>
                  <a:pt x="480" y="390"/>
                </a:lnTo>
                <a:lnTo>
                  <a:pt x="486" y="396"/>
                </a:lnTo>
                <a:lnTo>
                  <a:pt x="486" y="402"/>
                </a:lnTo>
                <a:lnTo>
                  <a:pt x="480" y="408"/>
                </a:lnTo>
                <a:lnTo>
                  <a:pt x="486" y="408"/>
                </a:lnTo>
                <a:lnTo>
                  <a:pt x="486" y="414"/>
                </a:lnTo>
                <a:lnTo>
                  <a:pt x="492" y="414"/>
                </a:lnTo>
                <a:lnTo>
                  <a:pt x="492" y="420"/>
                </a:lnTo>
                <a:lnTo>
                  <a:pt x="498" y="426"/>
                </a:lnTo>
                <a:lnTo>
                  <a:pt x="498" y="432"/>
                </a:lnTo>
                <a:lnTo>
                  <a:pt x="498" y="438"/>
                </a:lnTo>
                <a:lnTo>
                  <a:pt x="492" y="432"/>
                </a:lnTo>
                <a:lnTo>
                  <a:pt x="486" y="426"/>
                </a:lnTo>
                <a:lnTo>
                  <a:pt x="486" y="420"/>
                </a:lnTo>
                <a:lnTo>
                  <a:pt x="486" y="414"/>
                </a:lnTo>
                <a:lnTo>
                  <a:pt x="480" y="414"/>
                </a:lnTo>
                <a:lnTo>
                  <a:pt x="480" y="408"/>
                </a:lnTo>
                <a:lnTo>
                  <a:pt x="474" y="408"/>
                </a:lnTo>
                <a:lnTo>
                  <a:pt x="468" y="408"/>
                </a:lnTo>
                <a:lnTo>
                  <a:pt x="468" y="402"/>
                </a:lnTo>
                <a:lnTo>
                  <a:pt x="462" y="402"/>
                </a:lnTo>
                <a:lnTo>
                  <a:pt x="462" y="408"/>
                </a:lnTo>
                <a:lnTo>
                  <a:pt x="468" y="408"/>
                </a:lnTo>
                <a:lnTo>
                  <a:pt x="474" y="414"/>
                </a:lnTo>
                <a:lnTo>
                  <a:pt x="480" y="420"/>
                </a:lnTo>
                <a:lnTo>
                  <a:pt x="480" y="426"/>
                </a:lnTo>
                <a:lnTo>
                  <a:pt x="486" y="426"/>
                </a:lnTo>
                <a:lnTo>
                  <a:pt x="486" y="432"/>
                </a:lnTo>
                <a:lnTo>
                  <a:pt x="492" y="438"/>
                </a:lnTo>
                <a:lnTo>
                  <a:pt x="498" y="438"/>
                </a:lnTo>
                <a:lnTo>
                  <a:pt x="504" y="444"/>
                </a:lnTo>
                <a:lnTo>
                  <a:pt x="510" y="444"/>
                </a:lnTo>
                <a:lnTo>
                  <a:pt x="510" y="450"/>
                </a:lnTo>
                <a:lnTo>
                  <a:pt x="510" y="456"/>
                </a:lnTo>
                <a:lnTo>
                  <a:pt x="516" y="456"/>
                </a:lnTo>
                <a:lnTo>
                  <a:pt x="516" y="462"/>
                </a:lnTo>
                <a:lnTo>
                  <a:pt x="522" y="462"/>
                </a:lnTo>
                <a:lnTo>
                  <a:pt x="522" y="468"/>
                </a:lnTo>
                <a:lnTo>
                  <a:pt x="528" y="468"/>
                </a:lnTo>
                <a:lnTo>
                  <a:pt x="534" y="468"/>
                </a:lnTo>
                <a:lnTo>
                  <a:pt x="534" y="474"/>
                </a:lnTo>
                <a:lnTo>
                  <a:pt x="540" y="474"/>
                </a:lnTo>
                <a:lnTo>
                  <a:pt x="540" y="480"/>
                </a:lnTo>
                <a:lnTo>
                  <a:pt x="546" y="486"/>
                </a:lnTo>
                <a:lnTo>
                  <a:pt x="546" y="492"/>
                </a:lnTo>
                <a:lnTo>
                  <a:pt x="546" y="498"/>
                </a:lnTo>
                <a:lnTo>
                  <a:pt x="546" y="504"/>
                </a:lnTo>
                <a:lnTo>
                  <a:pt x="540" y="504"/>
                </a:lnTo>
                <a:lnTo>
                  <a:pt x="546" y="504"/>
                </a:lnTo>
                <a:lnTo>
                  <a:pt x="540" y="510"/>
                </a:lnTo>
                <a:lnTo>
                  <a:pt x="546" y="510"/>
                </a:lnTo>
                <a:lnTo>
                  <a:pt x="552" y="510"/>
                </a:lnTo>
                <a:lnTo>
                  <a:pt x="552" y="516"/>
                </a:lnTo>
                <a:lnTo>
                  <a:pt x="552" y="522"/>
                </a:lnTo>
                <a:lnTo>
                  <a:pt x="552" y="528"/>
                </a:lnTo>
                <a:lnTo>
                  <a:pt x="552" y="534"/>
                </a:lnTo>
                <a:lnTo>
                  <a:pt x="552" y="540"/>
                </a:lnTo>
                <a:lnTo>
                  <a:pt x="546" y="540"/>
                </a:lnTo>
                <a:lnTo>
                  <a:pt x="546" y="546"/>
                </a:lnTo>
                <a:lnTo>
                  <a:pt x="546" y="540"/>
                </a:lnTo>
                <a:lnTo>
                  <a:pt x="546" y="534"/>
                </a:lnTo>
                <a:lnTo>
                  <a:pt x="540" y="534"/>
                </a:lnTo>
                <a:lnTo>
                  <a:pt x="540" y="528"/>
                </a:lnTo>
                <a:lnTo>
                  <a:pt x="534" y="528"/>
                </a:lnTo>
                <a:lnTo>
                  <a:pt x="528" y="528"/>
                </a:lnTo>
                <a:lnTo>
                  <a:pt x="522" y="528"/>
                </a:lnTo>
                <a:lnTo>
                  <a:pt x="516" y="528"/>
                </a:lnTo>
                <a:lnTo>
                  <a:pt x="510" y="528"/>
                </a:lnTo>
                <a:lnTo>
                  <a:pt x="510" y="534"/>
                </a:lnTo>
                <a:lnTo>
                  <a:pt x="510" y="528"/>
                </a:lnTo>
                <a:lnTo>
                  <a:pt x="516" y="528"/>
                </a:lnTo>
                <a:lnTo>
                  <a:pt x="522" y="528"/>
                </a:lnTo>
                <a:lnTo>
                  <a:pt x="528" y="528"/>
                </a:lnTo>
                <a:lnTo>
                  <a:pt x="534" y="534"/>
                </a:lnTo>
                <a:lnTo>
                  <a:pt x="540" y="534"/>
                </a:lnTo>
                <a:lnTo>
                  <a:pt x="540" y="540"/>
                </a:lnTo>
                <a:lnTo>
                  <a:pt x="540" y="546"/>
                </a:lnTo>
                <a:lnTo>
                  <a:pt x="546" y="546"/>
                </a:lnTo>
                <a:lnTo>
                  <a:pt x="546" y="552"/>
                </a:lnTo>
                <a:lnTo>
                  <a:pt x="552" y="552"/>
                </a:lnTo>
                <a:lnTo>
                  <a:pt x="552" y="558"/>
                </a:lnTo>
                <a:lnTo>
                  <a:pt x="552" y="564"/>
                </a:lnTo>
                <a:lnTo>
                  <a:pt x="546" y="564"/>
                </a:lnTo>
                <a:lnTo>
                  <a:pt x="546" y="570"/>
                </a:lnTo>
                <a:lnTo>
                  <a:pt x="546" y="576"/>
                </a:lnTo>
                <a:lnTo>
                  <a:pt x="540" y="576"/>
                </a:lnTo>
                <a:lnTo>
                  <a:pt x="540" y="582"/>
                </a:lnTo>
                <a:lnTo>
                  <a:pt x="540" y="588"/>
                </a:lnTo>
                <a:lnTo>
                  <a:pt x="534" y="594"/>
                </a:lnTo>
                <a:lnTo>
                  <a:pt x="534" y="600"/>
                </a:lnTo>
                <a:lnTo>
                  <a:pt x="528" y="600"/>
                </a:lnTo>
                <a:lnTo>
                  <a:pt x="522" y="594"/>
                </a:lnTo>
                <a:lnTo>
                  <a:pt x="528" y="600"/>
                </a:lnTo>
                <a:lnTo>
                  <a:pt x="534" y="600"/>
                </a:lnTo>
                <a:lnTo>
                  <a:pt x="534" y="606"/>
                </a:lnTo>
                <a:lnTo>
                  <a:pt x="528" y="606"/>
                </a:lnTo>
                <a:lnTo>
                  <a:pt x="528" y="612"/>
                </a:lnTo>
                <a:lnTo>
                  <a:pt x="522" y="612"/>
                </a:lnTo>
                <a:lnTo>
                  <a:pt x="522" y="618"/>
                </a:lnTo>
                <a:lnTo>
                  <a:pt x="522" y="624"/>
                </a:lnTo>
                <a:lnTo>
                  <a:pt x="510" y="624"/>
                </a:lnTo>
                <a:lnTo>
                  <a:pt x="498" y="624"/>
                </a:lnTo>
                <a:lnTo>
                  <a:pt x="492" y="624"/>
                </a:lnTo>
                <a:lnTo>
                  <a:pt x="486" y="624"/>
                </a:lnTo>
                <a:lnTo>
                  <a:pt x="480" y="624"/>
                </a:lnTo>
                <a:lnTo>
                  <a:pt x="474" y="624"/>
                </a:lnTo>
                <a:lnTo>
                  <a:pt x="468" y="618"/>
                </a:lnTo>
                <a:lnTo>
                  <a:pt x="456" y="618"/>
                </a:lnTo>
                <a:lnTo>
                  <a:pt x="450" y="618"/>
                </a:lnTo>
                <a:lnTo>
                  <a:pt x="426" y="618"/>
                </a:lnTo>
                <a:lnTo>
                  <a:pt x="420" y="618"/>
                </a:lnTo>
                <a:lnTo>
                  <a:pt x="414" y="618"/>
                </a:lnTo>
                <a:lnTo>
                  <a:pt x="408" y="618"/>
                </a:lnTo>
                <a:lnTo>
                  <a:pt x="396" y="618"/>
                </a:lnTo>
                <a:lnTo>
                  <a:pt x="366" y="618"/>
                </a:lnTo>
                <a:lnTo>
                  <a:pt x="348" y="624"/>
                </a:lnTo>
                <a:lnTo>
                  <a:pt x="342" y="624"/>
                </a:lnTo>
                <a:lnTo>
                  <a:pt x="342" y="618"/>
                </a:lnTo>
                <a:lnTo>
                  <a:pt x="336" y="618"/>
                </a:lnTo>
                <a:lnTo>
                  <a:pt x="336" y="612"/>
                </a:lnTo>
                <a:lnTo>
                  <a:pt x="342" y="612"/>
                </a:lnTo>
                <a:lnTo>
                  <a:pt x="348" y="612"/>
                </a:lnTo>
                <a:lnTo>
                  <a:pt x="342" y="612"/>
                </a:lnTo>
                <a:lnTo>
                  <a:pt x="336" y="612"/>
                </a:lnTo>
                <a:lnTo>
                  <a:pt x="336" y="606"/>
                </a:lnTo>
                <a:lnTo>
                  <a:pt x="330" y="606"/>
                </a:lnTo>
                <a:lnTo>
                  <a:pt x="330" y="600"/>
                </a:lnTo>
                <a:lnTo>
                  <a:pt x="324" y="600"/>
                </a:lnTo>
                <a:lnTo>
                  <a:pt x="324" y="606"/>
                </a:lnTo>
                <a:lnTo>
                  <a:pt x="318" y="606"/>
                </a:lnTo>
                <a:lnTo>
                  <a:pt x="318" y="612"/>
                </a:lnTo>
                <a:lnTo>
                  <a:pt x="312" y="612"/>
                </a:lnTo>
                <a:lnTo>
                  <a:pt x="306" y="606"/>
                </a:lnTo>
                <a:lnTo>
                  <a:pt x="306" y="612"/>
                </a:lnTo>
                <a:lnTo>
                  <a:pt x="312" y="612"/>
                </a:lnTo>
                <a:lnTo>
                  <a:pt x="318" y="612"/>
                </a:lnTo>
                <a:lnTo>
                  <a:pt x="324" y="612"/>
                </a:lnTo>
                <a:lnTo>
                  <a:pt x="324" y="606"/>
                </a:lnTo>
                <a:lnTo>
                  <a:pt x="330" y="606"/>
                </a:lnTo>
                <a:lnTo>
                  <a:pt x="336" y="612"/>
                </a:lnTo>
                <a:lnTo>
                  <a:pt x="336" y="618"/>
                </a:lnTo>
                <a:lnTo>
                  <a:pt x="330" y="618"/>
                </a:lnTo>
                <a:lnTo>
                  <a:pt x="336" y="618"/>
                </a:lnTo>
                <a:lnTo>
                  <a:pt x="336" y="624"/>
                </a:lnTo>
                <a:lnTo>
                  <a:pt x="330" y="624"/>
                </a:lnTo>
                <a:lnTo>
                  <a:pt x="318" y="624"/>
                </a:lnTo>
                <a:lnTo>
                  <a:pt x="306" y="624"/>
                </a:lnTo>
                <a:lnTo>
                  <a:pt x="300" y="624"/>
                </a:lnTo>
                <a:lnTo>
                  <a:pt x="306" y="624"/>
                </a:lnTo>
                <a:lnTo>
                  <a:pt x="300" y="624"/>
                </a:lnTo>
                <a:lnTo>
                  <a:pt x="288" y="624"/>
                </a:lnTo>
                <a:lnTo>
                  <a:pt x="282" y="624"/>
                </a:lnTo>
                <a:lnTo>
                  <a:pt x="270" y="630"/>
                </a:lnTo>
                <a:lnTo>
                  <a:pt x="264" y="630"/>
                </a:lnTo>
                <a:lnTo>
                  <a:pt x="258" y="630"/>
                </a:lnTo>
                <a:lnTo>
                  <a:pt x="252" y="630"/>
                </a:lnTo>
                <a:lnTo>
                  <a:pt x="246" y="630"/>
                </a:lnTo>
                <a:lnTo>
                  <a:pt x="240" y="630"/>
                </a:lnTo>
                <a:lnTo>
                  <a:pt x="228" y="636"/>
                </a:lnTo>
                <a:lnTo>
                  <a:pt x="222" y="636"/>
                </a:lnTo>
                <a:lnTo>
                  <a:pt x="210" y="636"/>
                </a:lnTo>
                <a:lnTo>
                  <a:pt x="204" y="636"/>
                </a:lnTo>
                <a:lnTo>
                  <a:pt x="198" y="636"/>
                </a:lnTo>
                <a:lnTo>
                  <a:pt x="192" y="642"/>
                </a:lnTo>
                <a:lnTo>
                  <a:pt x="186" y="642"/>
                </a:lnTo>
                <a:lnTo>
                  <a:pt x="180" y="642"/>
                </a:lnTo>
                <a:lnTo>
                  <a:pt x="168" y="642"/>
                </a:lnTo>
                <a:lnTo>
                  <a:pt x="162" y="642"/>
                </a:lnTo>
                <a:lnTo>
                  <a:pt x="162" y="648"/>
                </a:lnTo>
                <a:lnTo>
                  <a:pt x="156" y="648"/>
                </a:lnTo>
                <a:lnTo>
                  <a:pt x="150" y="648"/>
                </a:lnTo>
                <a:lnTo>
                  <a:pt x="144" y="648"/>
                </a:lnTo>
                <a:lnTo>
                  <a:pt x="138" y="648"/>
                </a:lnTo>
                <a:lnTo>
                  <a:pt x="132" y="648"/>
                </a:lnTo>
                <a:lnTo>
                  <a:pt x="126" y="642"/>
                </a:lnTo>
                <a:lnTo>
                  <a:pt x="126" y="636"/>
                </a:lnTo>
                <a:lnTo>
                  <a:pt x="120" y="636"/>
                </a:lnTo>
                <a:lnTo>
                  <a:pt x="126" y="642"/>
                </a:lnTo>
                <a:lnTo>
                  <a:pt x="126" y="648"/>
                </a:lnTo>
                <a:lnTo>
                  <a:pt x="132" y="648"/>
                </a:lnTo>
                <a:lnTo>
                  <a:pt x="126" y="654"/>
                </a:lnTo>
                <a:lnTo>
                  <a:pt x="120" y="654"/>
                </a:lnTo>
                <a:lnTo>
                  <a:pt x="114" y="654"/>
                </a:lnTo>
                <a:lnTo>
                  <a:pt x="108" y="654"/>
                </a:lnTo>
                <a:lnTo>
                  <a:pt x="108" y="660"/>
                </a:lnTo>
                <a:lnTo>
                  <a:pt x="108" y="654"/>
                </a:lnTo>
                <a:lnTo>
                  <a:pt x="102" y="654"/>
                </a:lnTo>
                <a:lnTo>
                  <a:pt x="102" y="660"/>
                </a:lnTo>
                <a:lnTo>
                  <a:pt x="108" y="660"/>
                </a:lnTo>
                <a:lnTo>
                  <a:pt x="102" y="660"/>
                </a:lnTo>
                <a:lnTo>
                  <a:pt x="96" y="660"/>
                </a:lnTo>
                <a:lnTo>
                  <a:pt x="90" y="660"/>
                </a:lnTo>
                <a:lnTo>
                  <a:pt x="90" y="654"/>
                </a:lnTo>
                <a:lnTo>
                  <a:pt x="84" y="648"/>
                </a:lnTo>
                <a:lnTo>
                  <a:pt x="84" y="642"/>
                </a:lnTo>
                <a:lnTo>
                  <a:pt x="78" y="642"/>
                </a:lnTo>
                <a:lnTo>
                  <a:pt x="72" y="642"/>
                </a:lnTo>
                <a:lnTo>
                  <a:pt x="72" y="636"/>
                </a:lnTo>
                <a:lnTo>
                  <a:pt x="78" y="636"/>
                </a:lnTo>
                <a:lnTo>
                  <a:pt x="72" y="636"/>
                </a:lnTo>
                <a:lnTo>
                  <a:pt x="66" y="636"/>
                </a:lnTo>
                <a:lnTo>
                  <a:pt x="60" y="636"/>
                </a:lnTo>
                <a:lnTo>
                  <a:pt x="54" y="630"/>
                </a:lnTo>
                <a:lnTo>
                  <a:pt x="54" y="624"/>
                </a:lnTo>
                <a:lnTo>
                  <a:pt x="54" y="618"/>
                </a:lnTo>
                <a:lnTo>
                  <a:pt x="60" y="618"/>
                </a:lnTo>
                <a:lnTo>
                  <a:pt x="66" y="618"/>
                </a:lnTo>
                <a:lnTo>
                  <a:pt x="72" y="618"/>
                </a:lnTo>
                <a:lnTo>
                  <a:pt x="78" y="618"/>
                </a:lnTo>
                <a:lnTo>
                  <a:pt x="78" y="612"/>
                </a:lnTo>
                <a:lnTo>
                  <a:pt x="72" y="612"/>
                </a:lnTo>
                <a:lnTo>
                  <a:pt x="72" y="618"/>
                </a:lnTo>
                <a:lnTo>
                  <a:pt x="66" y="618"/>
                </a:lnTo>
                <a:lnTo>
                  <a:pt x="66" y="612"/>
                </a:lnTo>
                <a:lnTo>
                  <a:pt x="66" y="618"/>
                </a:lnTo>
                <a:lnTo>
                  <a:pt x="60" y="618"/>
                </a:lnTo>
                <a:lnTo>
                  <a:pt x="54" y="618"/>
                </a:lnTo>
                <a:lnTo>
                  <a:pt x="54" y="624"/>
                </a:lnTo>
                <a:lnTo>
                  <a:pt x="48" y="618"/>
                </a:lnTo>
                <a:lnTo>
                  <a:pt x="42" y="618"/>
                </a:lnTo>
                <a:lnTo>
                  <a:pt x="42" y="612"/>
                </a:lnTo>
                <a:lnTo>
                  <a:pt x="48" y="606"/>
                </a:lnTo>
                <a:lnTo>
                  <a:pt x="54" y="606"/>
                </a:lnTo>
                <a:lnTo>
                  <a:pt x="54" y="600"/>
                </a:lnTo>
                <a:lnTo>
                  <a:pt x="54" y="594"/>
                </a:lnTo>
                <a:lnTo>
                  <a:pt x="54" y="588"/>
                </a:lnTo>
                <a:lnTo>
                  <a:pt x="48" y="588"/>
                </a:lnTo>
                <a:lnTo>
                  <a:pt x="48" y="582"/>
                </a:lnTo>
                <a:lnTo>
                  <a:pt x="42" y="582"/>
                </a:lnTo>
                <a:lnTo>
                  <a:pt x="42" y="570"/>
                </a:lnTo>
                <a:lnTo>
                  <a:pt x="42" y="564"/>
                </a:lnTo>
                <a:lnTo>
                  <a:pt x="36" y="564"/>
                </a:lnTo>
                <a:close/>
                <a:moveTo>
                  <a:pt x="498" y="420"/>
                </a:moveTo>
                <a:lnTo>
                  <a:pt x="504" y="426"/>
                </a:lnTo>
                <a:lnTo>
                  <a:pt x="510" y="432"/>
                </a:lnTo>
                <a:lnTo>
                  <a:pt x="516" y="432"/>
                </a:lnTo>
                <a:lnTo>
                  <a:pt x="516" y="438"/>
                </a:lnTo>
                <a:lnTo>
                  <a:pt x="510" y="438"/>
                </a:lnTo>
                <a:lnTo>
                  <a:pt x="504" y="438"/>
                </a:lnTo>
                <a:lnTo>
                  <a:pt x="504" y="432"/>
                </a:lnTo>
                <a:lnTo>
                  <a:pt x="498" y="432"/>
                </a:lnTo>
                <a:lnTo>
                  <a:pt x="498" y="426"/>
                </a:lnTo>
                <a:lnTo>
                  <a:pt x="498" y="420"/>
                </a:lnTo>
                <a:close/>
              </a:path>
            </a:pathLst>
          </a:custGeom>
          <a:solidFill>
            <a:srgbClr val="FF9900"/>
          </a:solidFill>
          <a:ln w="9525">
            <a:solidFill>
              <a:schemeClr val="bg1"/>
            </a:solidFill>
            <a:round/>
            <a:headEnd/>
            <a:tailEnd/>
          </a:ln>
        </p:spPr>
        <p:txBody>
          <a:bodyPr/>
          <a:lstStyle/>
          <a:p>
            <a:endParaRPr lang="en-GB"/>
          </a:p>
        </p:txBody>
      </p:sp>
      <p:sp>
        <p:nvSpPr>
          <p:cNvPr id="18448" name="Freeform 10"/>
          <p:cNvSpPr>
            <a:spLocks/>
          </p:cNvSpPr>
          <p:nvPr/>
        </p:nvSpPr>
        <p:spPr bwMode="gray">
          <a:xfrm>
            <a:off x="5756275" y="3030538"/>
            <a:ext cx="1179513" cy="1831975"/>
          </a:xfrm>
          <a:custGeom>
            <a:avLst/>
            <a:gdLst>
              <a:gd name="T0" fmla="*/ 18779 w 1506"/>
              <a:gd name="T1" fmla="*/ 153071 h 2274"/>
              <a:gd name="T2" fmla="*/ 19561 w 1506"/>
              <a:gd name="T3" fmla="*/ 145015 h 2274"/>
              <a:gd name="T4" fmla="*/ 16431 w 1506"/>
              <a:gd name="T5" fmla="*/ 140181 h 2274"/>
              <a:gd name="T6" fmla="*/ 13302 w 1506"/>
              <a:gd name="T7" fmla="*/ 136958 h 2274"/>
              <a:gd name="T8" fmla="*/ 9389 w 1506"/>
              <a:gd name="T9" fmla="*/ 135347 h 2274"/>
              <a:gd name="T10" fmla="*/ 7825 w 1506"/>
              <a:gd name="T11" fmla="*/ 139375 h 2274"/>
              <a:gd name="T12" fmla="*/ 5477 w 1506"/>
              <a:gd name="T13" fmla="*/ 140181 h 2274"/>
              <a:gd name="T14" fmla="*/ 0 w 1506"/>
              <a:gd name="T15" fmla="*/ 131319 h 2274"/>
              <a:gd name="T16" fmla="*/ 12519 w 1506"/>
              <a:gd name="T17" fmla="*/ 112789 h 2274"/>
              <a:gd name="T18" fmla="*/ 14867 w 1506"/>
              <a:gd name="T19" fmla="*/ 110372 h 2274"/>
              <a:gd name="T20" fmla="*/ 18779 w 1506"/>
              <a:gd name="T21" fmla="*/ 101510 h 2274"/>
              <a:gd name="T22" fmla="*/ 17996 w 1506"/>
              <a:gd name="T23" fmla="*/ 84592 h 2274"/>
              <a:gd name="T24" fmla="*/ 10954 w 1506"/>
              <a:gd name="T25" fmla="*/ 69285 h 2274"/>
              <a:gd name="T26" fmla="*/ 6260 w 1506"/>
              <a:gd name="T27" fmla="*/ 67674 h 2274"/>
              <a:gd name="T28" fmla="*/ 3912 w 1506"/>
              <a:gd name="T29" fmla="*/ 63645 h 2274"/>
              <a:gd name="T30" fmla="*/ 12519 w 1506"/>
              <a:gd name="T31" fmla="*/ 57200 h 2274"/>
              <a:gd name="T32" fmla="*/ 21909 w 1506"/>
              <a:gd name="T33" fmla="*/ 44310 h 2274"/>
              <a:gd name="T34" fmla="*/ 22691 w 1506"/>
              <a:gd name="T35" fmla="*/ 38671 h 2274"/>
              <a:gd name="T36" fmla="*/ 27386 w 1506"/>
              <a:gd name="T37" fmla="*/ 40282 h 2274"/>
              <a:gd name="T38" fmla="*/ 32863 w 1506"/>
              <a:gd name="T39" fmla="*/ 37865 h 2274"/>
              <a:gd name="T40" fmla="*/ 49294 w 1506"/>
              <a:gd name="T41" fmla="*/ 27392 h 2274"/>
              <a:gd name="T42" fmla="*/ 57901 w 1506"/>
              <a:gd name="T43" fmla="*/ 21752 h 2274"/>
              <a:gd name="T44" fmla="*/ 63379 w 1506"/>
              <a:gd name="T45" fmla="*/ 16113 h 2274"/>
              <a:gd name="T46" fmla="*/ 69638 w 1506"/>
              <a:gd name="T47" fmla="*/ 16113 h 2274"/>
              <a:gd name="T48" fmla="*/ 76680 w 1506"/>
              <a:gd name="T49" fmla="*/ 21752 h 2274"/>
              <a:gd name="T50" fmla="*/ 82940 w 1506"/>
              <a:gd name="T51" fmla="*/ 13696 h 2274"/>
              <a:gd name="T52" fmla="*/ 86852 w 1506"/>
              <a:gd name="T53" fmla="*/ 6445 h 2274"/>
              <a:gd name="T54" fmla="*/ 94677 w 1506"/>
              <a:gd name="T55" fmla="*/ 1611 h 2274"/>
              <a:gd name="T56" fmla="*/ 100936 w 1506"/>
              <a:gd name="T57" fmla="*/ 4028 h 2274"/>
              <a:gd name="T58" fmla="*/ 97806 w 1506"/>
              <a:gd name="T59" fmla="*/ 9668 h 2274"/>
              <a:gd name="T60" fmla="*/ 95459 w 1506"/>
              <a:gd name="T61" fmla="*/ 16113 h 2274"/>
              <a:gd name="T62" fmla="*/ 95459 w 1506"/>
              <a:gd name="T63" fmla="*/ 21752 h 2274"/>
              <a:gd name="T64" fmla="*/ 93894 w 1506"/>
              <a:gd name="T65" fmla="*/ 29003 h 2274"/>
              <a:gd name="T66" fmla="*/ 90764 w 1506"/>
              <a:gd name="T67" fmla="*/ 34642 h 2274"/>
              <a:gd name="T68" fmla="*/ 85287 w 1506"/>
              <a:gd name="T69" fmla="*/ 37865 h 2274"/>
              <a:gd name="T70" fmla="*/ 84505 w 1506"/>
              <a:gd name="T71" fmla="*/ 43504 h 2274"/>
              <a:gd name="T72" fmla="*/ 82940 w 1506"/>
              <a:gd name="T73" fmla="*/ 47533 h 2274"/>
              <a:gd name="T74" fmla="*/ 85287 w 1506"/>
              <a:gd name="T75" fmla="*/ 51561 h 2274"/>
              <a:gd name="T76" fmla="*/ 82940 w 1506"/>
              <a:gd name="T77" fmla="*/ 56395 h 2274"/>
              <a:gd name="T78" fmla="*/ 82157 w 1506"/>
              <a:gd name="T79" fmla="*/ 60423 h 2274"/>
              <a:gd name="T80" fmla="*/ 79028 w 1506"/>
              <a:gd name="T81" fmla="*/ 62840 h 2274"/>
              <a:gd name="T82" fmla="*/ 71985 w 1506"/>
              <a:gd name="T83" fmla="*/ 65257 h 2274"/>
              <a:gd name="T84" fmla="*/ 66508 w 1506"/>
              <a:gd name="T85" fmla="*/ 68479 h 2274"/>
              <a:gd name="T86" fmla="*/ 68073 w 1506"/>
              <a:gd name="T87" fmla="*/ 73313 h 2274"/>
              <a:gd name="T88" fmla="*/ 67291 w 1506"/>
              <a:gd name="T89" fmla="*/ 78952 h 2274"/>
              <a:gd name="T90" fmla="*/ 67291 w 1506"/>
              <a:gd name="T91" fmla="*/ 82981 h 2274"/>
              <a:gd name="T92" fmla="*/ 64161 w 1506"/>
              <a:gd name="T93" fmla="*/ 89426 h 2274"/>
              <a:gd name="T94" fmla="*/ 63379 w 1506"/>
              <a:gd name="T95" fmla="*/ 93454 h 2274"/>
              <a:gd name="T96" fmla="*/ 61031 w 1506"/>
              <a:gd name="T97" fmla="*/ 96676 h 2274"/>
              <a:gd name="T98" fmla="*/ 59466 w 1506"/>
              <a:gd name="T99" fmla="*/ 101510 h 2274"/>
              <a:gd name="T100" fmla="*/ 53207 w 1506"/>
              <a:gd name="T101" fmla="*/ 103927 h 2274"/>
              <a:gd name="T102" fmla="*/ 48512 w 1506"/>
              <a:gd name="T103" fmla="*/ 105538 h 2274"/>
              <a:gd name="T104" fmla="*/ 45382 w 1506"/>
              <a:gd name="T105" fmla="*/ 109567 h 2274"/>
              <a:gd name="T106" fmla="*/ 39905 w 1506"/>
              <a:gd name="T107" fmla="*/ 111178 h 2274"/>
              <a:gd name="T108" fmla="*/ 39905 w 1506"/>
              <a:gd name="T109" fmla="*/ 118429 h 2274"/>
              <a:gd name="T110" fmla="*/ 38340 w 1506"/>
              <a:gd name="T111" fmla="*/ 128096 h 2274"/>
              <a:gd name="T112" fmla="*/ 37558 w 1506"/>
              <a:gd name="T113" fmla="*/ 133736 h 2274"/>
              <a:gd name="T114" fmla="*/ 32080 w 1506"/>
              <a:gd name="T115" fmla="*/ 140181 h 2274"/>
              <a:gd name="T116" fmla="*/ 30516 w 1506"/>
              <a:gd name="T117" fmla="*/ 145820 h 2274"/>
              <a:gd name="T118" fmla="*/ 28951 w 1506"/>
              <a:gd name="T119" fmla="*/ 153071 h 2274"/>
              <a:gd name="T120" fmla="*/ 22691 w 1506"/>
              <a:gd name="T121" fmla="*/ 159516 h 22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06"/>
              <a:gd name="T184" fmla="*/ 0 h 2274"/>
              <a:gd name="T185" fmla="*/ 1506 w 1506"/>
              <a:gd name="T186" fmla="*/ 2274 h 22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06" h="2274">
                <a:moveTo>
                  <a:pt x="330" y="2274"/>
                </a:moveTo>
                <a:lnTo>
                  <a:pt x="318" y="2262"/>
                </a:lnTo>
                <a:lnTo>
                  <a:pt x="312" y="2238"/>
                </a:lnTo>
                <a:lnTo>
                  <a:pt x="312" y="2232"/>
                </a:lnTo>
                <a:lnTo>
                  <a:pt x="294" y="2214"/>
                </a:lnTo>
                <a:lnTo>
                  <a:pt x="288" y="2208"/>
                </a:lnTo>
                <a:lnTo>
                  <a:pt x="288" y="2202"/>
                </a:lnTo>
                <a:lnTo>
                  <a:pt x="276" y="2196"/>
                </a:lnTo>
                <a:lnTo>
                  <a:pt x="276" y="2190"/>
                </a:lnTo>
                <a:lnTo>
                  <a:pt x="282" y="2190"/>
                </a:lnTo>
                <a:lnTo>
                  <a:pt x="282" y="2184"/>
                </a:lnTo>
                <a:lnTo>
                  <a:pt x="276" y="2172"/>
                </a:lnTo>
                <a:lnTo>
                  <a:pt x="276" y="2166"/>
                </a:lnTo>
                <a:lnTo>
                  <a:pt x="282" y="2166"/>
                </a:lnTo>
                <a:lnTo>
                  <a:pt x="282" y="2154"/>
                </a:lnTo>
                <a:lnTo>
                  <a:pt x="276" y="2136"/>
                </a:lnTo>
                <a:lnTo>
                  <a:pt x="276" y="2112"/>
                </a:lnTo>
                <a:lnTo>
                  <a:pt x="282" y="2088"/>
                </a:lnTo>
                <a:lnTo>
                  <a:pt x="282" y="2082"/>
                </a:lnTo>
                <a:lnTo>
                  <a:pt x="282" y="2076"/>
                </a:lnTo>
                <a:lnTo>
                  <a:pt x="282" y="2070"/>
                </a:lnTo>
                <a:lnTo>
                  <a:pt x="288" y="2070"/>
                </a:lnTo>
                <a:lnTo>
                  <a:pt x="288" y="2064"/>
                </a:lnTo>
                <a:lnTo>
                  <a:pt x="282" y="2052"/>
                </a:lnTo>
                <a:lnTo>
                  <a:pt x="282" y="2046"/>
                </a:lnTo>
                <a:lnTo>
                  <a:pt x="276" y="2040"/>
                </a:lnTo>
                <a:lnTo>
                  <a:pt x="270" y="2034"/>
                </a:lnTo>
                <a:lnTo>
                  <a:pt x="264" y="2022"/>
                </a:lnTo>
                <a:lnTo>
                  <a:pt x="258" y="2022"/>
                </a:lnTo>
                <a:lnTo>
                  <a:pt x="258" y="2016"/>
                </a:lnTo>
                <a:lnTo>
                  <a:pt x="252" y="2016"/>
                </a:lnTo>
                <a:lnTo>
                  <a:pt x="246" y="2016"/>
                </a:lnTo>
                <a:lnTo>
                  <a:pt x="240" y="2010"/>
                </a:lnTo>
                <a:lnTo>
                  <a:pt x="234" y="2004"/>
                </a:lnTo>
                <a:lnTo>
                  <a:pt x="228" y="2004"/>
                </a:lnTo>
                <a:lnTo>
                  <a:pt x="228" y="1998"/>
                </a:lnTo>
                <a:lnTo>
                  <a:pt x="228" y="1992"/>
                </a:lnTo>
                <a:lnTo>
                  <a:pt x="222" y="1992"/>
                </a:lnTo>
                <a:lnTo>
                  <a:pt x="222" y="1986"/>
                </a:lnTo>
                <a:lnTo>
                  <a:pt x="216" y="1986"/>
                </a:lnTo>
                <a:lnTo>
                  <a:pt x="210" y="1980"/>
                </a:lnTo>
                <a:lnTo>
                  <a:pt x="216" y="1974"/>
                </a:lnTo>
                <a:lnTo>
                  <a:pt x="210" y="1968"/>
                </a:lnTo>
                <a:lnTo>
                  <a:pt x="198" y="1956"/>
                </a:lnTo>
                <a:lnTo>
                  <a:pt x="192" y="1956"/>
                </a:lnTo>
                <a:lnTo>
                  <a:pt x="186" y="1956"/>
                </a:lnTo>
                <a:lnTo>
                  <a:pt x="180" y="1944"/>
                </a:lnTo>
                <a:lnTo>
                  <a:pt x="180" y="1938"/>
                </a:lnTo>
                <a:lnTo>
                  <a:pt x="174" y="1932"/>
                </a:lnTo>
                <a:lnTo>
                  <a:pt x="168" y="1932"/>
                </a:lnTo>
                <a:lnTo>
                  <a:pt x="162" y="1932"/>
                </a:lnTo>
                <a:lnTo>
                  <a:pt x="150" y="1932"/>
                </a:lnTo>
                <a:lnTo>
                  <a:pt x="150" y="1926"/>
                </a:lnTo>
                <a:lnTo>
                  <a:pt x="150" y="1932"/>
                </a:lnTo>
                <a:lnTo>
                  <a:pt x="144" y="1932"/>
                </a:lnTo>
                <a:lnTo>
                  <a:pt x="138" y="1932"/>
                </a:lnTo>
                <a:lnTo>
                  <a:pt x="132" y="1932"/>
                </a:lnTo>
                <a:lnTo>
                  <a:pt x="132" y="1938"/>
                </a:lnTo>
                <a:lnTo>
                  <a:pt x="126" y="1944"/>
                </a:lnTo>
                <a:lnTo>
                  <a:pt x="126" y="1956"/>
                </a:lnTo>
                <a:lnTo>
                  <a:pt x="120" y="1968"/>
                </a:lnTo>
                <a:lnTo>
                  <a:pt x="120" y="1974"/>
                </a:lnTo>
                <a:lnTo>
                  <a:pt x="120" y="1980"/>
                </a:lnTo>
                <a:lnTo>
                  <a:pt x="126" y="1980"/>
                </a:lnTo>
                <a:lnTo>
                  <a:pt x="120" y="1986"/>
                </a:lnTo>
                <a:lnTo>
                  <a:pt x="120" y="1992"/>
                </a:lnTo>
                <a:lnTo>
                  <a:pt x="114" y="1992"/>
                </a:lnTo>
                <a:lnTo>
                  <a:pt x="114" y="1986"/>
                </a:lnTo>
                <a:lnTo>
                  <a:pt x="108" y="1992"/>
                </a:lnTo>
                <a:lnTo>
                  <a:pt x="108" y="1998"/>
                </a:lnTo>
                <a:lnTo>
                  <a:pt x="114" y="2004"/>
                </a:lnTo>
                <a:lnTo>
                  <a:pt x="108" y="2004"/>
                </a:lnTo>
                <a:lnTo>
                  <a:pt x="102" y="2010"/>
                </a:lnTo>
                <a:lnTo>
                  <a:pt x="102" y="2004"/>
                </a:lnTo>
                <a:lnTo>
                  <a:pt x="90" y="2004"/>
                </a:lnTo>
                <a:lnTo>
                  <a:pt x="84" y="2004"/>
                </a:lnTo>
                <a:lnTo>
                  <a:pt x="78" y="1998"/>
                </a:lnTo>
                <a:lnTo>
                  <a:pt x="78" y="1992"/>
                </a:lnTo>
                <a:lnTo>
                  <a:pt x="78" y="1986"/>
                </a:lnTo>
                <a:lnTo>
                  <a:pt x="72" y="1986"/>
                </a:lnTo>
                <a:lnTo>
                  <a:pt x="66" y="1980"/>
                </a:lnTo>
                <a:lnTo>
                  <a:pt x="66" y="1968"/>
                </a:lnTo>
                <a:lnTo>
                  <a:pt x="60" y="1956"/>
                </a:lnTo>
                <a:lnTo>
                  <a:pt x="60" y="1950"/>
                </a:lnTo>
                <a:lnTo>
                  <a:pt x="48" y="1944"/>
                </a:lnTo>
                <a:lnTo>
                  <a:pt x="30" y="1926"/>
                </a:lnTo>
                <a:lnTo>
                  <a:pt x="12" y="1890"/>
                </a:lnTo>
                <a:lnTo>
                  <a:pt x="6" y="1872"/>
                </a:lnTo>
                <a:lnTo>
                  <a:pt x="0" y="1854"/>
                </a:lnTo>
                <a:lnTo>
                  <a:pt x="6" y="1824"/>
                </a:lnTo>
                <a:lnTo>
                  <a:pt x="30" y="1794"/>
                </a:lnTo>
                <a:lnTo>
                  <a:pt x="66" y="1752"/>
                </a:lnTo>
                <a:lnTo>
                  <a:pt x="72" y="1752"/>
                </a:lnTo>
                <a:lnTo>
                  <a:pt x="78" y="1746"/>
                </a:lnTo>
                <a:lnTo>
                  <a:pt x="84" y="1746"/>
                </a:lnTo>
                <a:lnTo>
                  <a:pt x="90" y="1746"/>
                </a:lnTo>
                <a:lnTo>
                  <a:pt x="138" y="1674"/>
                </a:lnTo>
                <a:lnTo>
                  <a:pt x="186" y="1620"/>
                </a:lnTo>
                <a:lnTo>
                  <a:pt x="186" y="1614"/>
                </a:lnTo>
                <a:lnTo>
                  <a:pt x="186" y="1608"/>
                </a:lnTo>
                <a:lnTo>
                  <a:pt x="192" y="1608"/>
                </a:lnTo>
                <a:lnTo>
                  <a:pt x="192" y="1614"/>
                </a:lnTo>
                <a:lnTo>
                  <a:pt x="198" y="1614"/>
                </a:lnTo>
                <a:lnTo>
                  <a:pt x="198" y="1608"/>
                </a:lnTo>
                <a:lnTo>
                  <a:pt x="198" y="1602"/>
                </a:lnTo>
                <a:lnTo>
                  <a:pt x="204" y="1602"/>
                </a:lnTo>
                <a:lnTo>
                  <a:pt x="204" y="1596"/>
                </a:lnTo>
                <a:lnTo>
                  <a:pt x="210" y="1590"/>
                </a:lnTo>
                <a:lnTo>
                  <a:pt x="216" y="1590"/>
                </a:lnTo>
                <a:lnTo>
                  <a:pt x="216" y="1584"/>
                </a:lnTo>
                <a:lnTo>
                  <a:pt x="222" y="1584"/>
                </a:lnTo>
                <a:lnTo>
                  <a:pt x="228" y="1572"/>
                </a:lnTo>
                <a:lnTo>
                  <a:pt x="222" y="1572"/>
                </a:lnTo>
                <a:lnTo>
                  <a:pt x="228" y="1566"/>
                </a:lnTo>
                <a:lnTo>
                  <a:pt x="228" y="1560"/>
                </a:lnTo>
                <a:lnTo>
                  <a:pt x="252" y="1548"/>
                </a:lnTo>
                <a:lnTo>
                  <a:pt x="276" y="1530"/>
                </a:lnTo>
                <a:lnTo>
                  <a:pt x="282" y="1512"/>
                </a:lnTo>
                <a:lnTo>
                  <a:pt x="282" y="1506"/>
                </a:lnTo>
                <a:lnTo>
                  <a:pt x="282" y="1494"/>
                </a:lnTo>
                <a:lnTo>
                  <a:pt x="282" y="1452"/>
                </a:lnTo>
                <a:lnTo>
                  <a:pt x="288" y="1440"/>
                </a:lnTo>
                <a:lnTo>
                  <a:pt x="294" y="1440"/>
                </a:lnTo>
                <a:lnTo>
                  <a:pt x="294" y="1428"/>
                </a:lnTo>
                <a:lnTo>
                  <a:pt x="324" y="1368"/>
                </a:lnTo>
                <a:lnTo>
                  <a:pt x="330" y="1362"/>
                </a:lnTo>
                <a:lnTo>
                  <a:pt x="330" y="1356"/>
                </a:lnTo>
                <a:lnTo>
                  <a:pt x="360" y="1338"/>
                </a:lnTo>
                <a:lnTo>
                  <a:pt x="366" y="1296"/>
                </a:lnTo>
                <a:lnTo>
                  <a:pt x="354" y="1278"/>
                </a:lnTo>
                <a:lnTo>
                  <a:pt x="336" y="1230"/>
                </a:lnTo>
                <a:lnTo>
                  <a:pt x="270" y="1212"/>
                </a:lnTo>
                <a:lnTo>
                  <a:pt x="264" y="1212"/>
                </a:lnTo>
                <a:lnTo>
                  <a:pt x="252" y="1200"/>
                </a:lnTo>
                <a:lnTo>
                  <a:pt x="234" y="1188"/>
                </a:lnTo>
                <a:lnTo>
                  <a:pt x="222" y="1182"/>
                </a:lnTo>
                <a:lnTo>
                  <a:pt x="228" y="1104"/>
                </a:lnTo>
                <a:lnTo>
                  <a:pt x="228" y="1098"/>
                </a:lnTo>
                <a:lnTo>
                  <a:pt x="198" y="1038"/>
                </a:lnTo>
                <a:lnTo>
                  <a:pt x="192" y="1032"/>
                </a:lnTo>
                <a:lnTo>
                  <a:pt x="180" y="1020"/>
                </a:lnTo>
                <a:lnTo>
                  <a:pt x="168" y="996"/>
                </a:lnTo>
                <a:lnTo>
                  <a:pt x="162" y="990"/>
                </a:lnTo>
                <a:lnTo>
                  <a:pt x="156" y="990"/>
                </a:lnTo>
                <a:lnTo>
                  <a:pt x="150" y="990"/>
                </a:lnTo>
                <a:lnTo>
                  <a:pt x="132" y="990"/>
                </a:lnTo>
                <a:lnTo>
                  <a:pt x="120" y="984"/>
                </a:lnTo>
                <a:lnTo>
                  <a:pt x="120" y="990"/>
                </a:lnTo>
                <a:lnTo>
                  <a:pt x="114" y="990"/>
                </a:lnTo>
                <a:lnTo>
                  <a:pt x="102" y="984"/>
                </a:lnTo>
                <a:lnTo>
                  <a:pt x="96" y="984"/>
                </a:lnTo>
                <a:lnTo>
                  <a:pt x="96" y="978"/>
                </a:lnTo>
                <a:lnTo>
                  <a:pt x="90" y="978"/>
                </a:lnTo>
                <a:lnTo>
                  <a:pt x="90" y="966"/>
                </a:lnTo>
                <a:lnTo>
                  <a:pt x="84" y="966"/>
                </a:lnTo>
                <a:lnTo>
                  <a:pt x="84" y="960"/>
                </a:lnTo>
                <a:lnTo>
                  <a:pt x="84" y="954"/>
                </a:lnTo>
                <a:lnTo>
                  <a:pt x="78" y="948"/>
                </a:lnTo>
                <a:lnTo>
                  <a:pt x="72" y="948"/>
                </a:lnTo>
                <a:lnTo>
                  <a:pt x="72" y="942"/>
                </a:lnTo>
                <a:lnTo>
                  <a:pt x="78" y="942"/>
                </a:lnTo>
                <a:lnTo>
                  <a:pt x="78" y="936"/>
                </a:lnTo>
                <a:lnTo>
                  <a:pt x="78" y="930"/>
                </a:lnTo>
                <a:lnTo>
                  <a:pt x="78" y="924"/>
                </a:lnTo>
                <a:lnTo>
                  <a:pt x="60" y="906"/>
                </a:lnTo>
                <a:lnTo>
                  <a:pt x="60" y="888"/>
                </a:lnTo>
                <a:lnTo>
                  <a:pt x="54" y="882"/>
                </a:lnTo>
                <a:lnTo>
                  <a:pt x="60" y="882"/>
                </a:lnTo>
                <a:lnTo>
                  <a:pt x="72" y="876"/>
                </a:lnTo>
                <a:lnTo>
                  <a:pt x="78" y="876"/>
                </a:lnTo>
                <a:lnTo>
                  <a:pt x="90" y="870"/>
                </a:lnTo>
                <a:lnTo>
                  <a:pt x="90" y="864"/>
                </a:lnTo>
                <a:lnTo>
                  <a:pt x="96" y="840"/>
                </a:lnTo>
                <a:lnTo>
                  <a:pt x="120" y="828"/>
                </a:lnTo>
                <a:lnTo>
                  <a:pt x="144" y="828"/>
                </a:lnTo>
                <a:lnTo>
                  <a:pt x="180" y="822"/>
                </a:lnTo>
                <a:lnTo>
                  <a:pt x="204" y="798"/>
                </a:lnTo>
                <a:lnTo>
                  <a:pt x="222" y="786"/>
                </a:lnTo>
                <a:lnTo>
                  <a:pt x="252" y="780"/>
                </a:lnTo>
                <a:lnTo>
                  <a:pt x="264" y="762"/>
                </a:lnTo>
                <a:lnTo>
                  <a:pt x="276" y="762"/>
                </a:lnTo>
                <a:lnTo>
                  <a:pt x="288" y="744"/>
                </a:lnTo>
                <a:lnTo>
                  <a:pt x="306" y="738"/>
                </a:lnTo>
                <a:lnTo>
                  <a:pt x="318" y="732"/>
                </a:lnTo>
                <a:lnTo>
                  <a:pt x="324" y="648"/>
                </a:lnTo>
                <a:lnTo>
                  <a:pt x="324" y="636"/>
                </a:lnTo>
                <a:lnTo>
                  <a:pt x="324" y="630"/>
                </a:lnTo>
                <a:lnTo>
                  <a:pt x="330" y="624"/>
                </a:lnTo>
                <a:lnTo>
                  <a:pt x="324" y="618"/>
                </a:lnTo>
                <a:lnTo>
                  <a:pt x="324" y="612"/>
                </a:lnTo>
                <a:lnTo>
                  <a:pt x="324" y="606"/>
                </a:lnTo>
                <a:lnTo>
                  <a:pt x="324" y="588"/>
                </a:lnTo>
                <a:lnTo>
                  <a:pt x="318" y="576"/>
                </a:lnTo>
                <a:lnTo>
                  <a:pt x="318" y="570"/>
                </a:lnTo>
                <a:lnTo>
                  <a:pt x="324" y="570"/>
                </a:lnTo>
                <a:lnTo>
                  <a:pt x="324" y="564"/>
                </a:lnTo>
                <a:lnTo>
                  <a:pt x="324" y="558"/>
                </a:lnTo>
                <a:lnTo>
                  <a:pt x="330" y="558"/>
                </a:lnTo>
                <a:lnTo>
                  <a:pt x="336" y="558"/>
                </a:lnTo>
                <a:lnTo>
                  <a:pt x="342" y="558"/>
                </a:lnTo>
                <a:lnTo>
                  <a:pt x="348" y="558"/>
                </a:lnTo>
                <a:lnTo>
                  <a:pt x="354" y="564"/>
                </a:lnTo>
                <a:lnTo>
                  <a:pt x="360" y="564"/>
                </a:lnTo>
                <a:lnTo>
                  <a:pt x="366" y="570"/>
                </a:lnTo>
                <a:lnTo>
                  <a:pt x="366" y="576"/>
                </a:lnTo>
                <a:lnTo>
                  <a:pt x="372" y="570"/>
                </a:lnTo>
                <a:lnTo>
                  <a:pt x="378" y="570"/>
                </a:lnTo>
                <a:lnTo>
                  <a:pt x="390" y="570"/>
                </a:lnTo>
                <a:lnTo>
                  <a:pt x="402" y="570"/>
                </a:lnTo>
                <a:lnTo>
                  <a:pt x="408" y="570"/>
                </a:lnTo>
                <a:lnTo>
                  <a:pt x="414" y="564"/>
                </a:lnTo>
                <a:lnTo>
                  <a:pt x="420" y="564"/>
                </a:lnTo>
                <a:lnTo>
                  <a:pt x="420" y="570"/>
                </a:lnTo>
                <a:lnTo>
                  <a:pt x="426" y="570"/>
                </a:lnTo>
                <a:lnTo>
                  <a:pt x="432" y="570"/>
                </a:lnTo>
                <a:lnTo>
                  <a:pt x="438" y="570"/>
                </a:lnTo>
                <a:lnTo>
                  <a:pt x="444" y="570"/>
                </a:lnTo>
                <a:lnTo>
                  <a:pt x="450" y="564"/>
                </a:lnTo>
                <a:lnTo>
                  <a:pt x="474" y="558"/>
                </a:lnTo>
                <a:lnTo>
                  <a:pt x="486" y="546"/>
                </a:lnTo>
                <a:lnTo>
                  <a:pt x="510" y="492"/>
                </a:lnTo>
                <a:lnTo>
                  <a:pt x="522" y="492"/>
                </a:lnTo>
                <a:lnTo>
                  <a:pt x="540" y="474"/>
                </a:lnTo>
                <a:lnTo>
                  <a:pt x="558" y="456"/>
                </a:lnTo>
                <a:lnTo>
                  <a:pt x="582" y="450"/>
                </a:lnTo>
                <a:lnTo>
                  <a:pt x="594" y="414"/>
                </a:lnTo>
                <a:lnTo>
                  <a:pt x="612" y="390"/>
                </a:lnTo>
                <a:lnTo>
                  <a:pt x="636" y="390"/>
                </a:lnTo>
                <a:lnTo>
                  <a:pt x="666" y="390"/>
                </a:lnTo>
                <a:lnTo>
                  <a:pt x="696" y="390"/>
                </a:lnTo>
                <a:lnTo>
                  <a:pt x="726" y="390"/>
                </a:lnTo>
                <a:lnTo>
                  <a:pt x="762" y="378"/>
                </a:lnTo>
                <a:lnTo>
                  <a:pt x="780" y="366"/>
                </a:lnTo>
                <a:lnTo>
                  <a:pt x="780" y="342"/>
                </a:lnTo>
                <a:lnTo>
                  <a:pt x="786" y="342"/>
                </a:lnTo>
                <a:lnTo>
                  <a:pt x="786" y="336"/>
                </a:lnTo>
                <a:lnTo>
                  <a:pt x="786" y="330"/>
                </a:lnTo>
                <a:lnTo>
                  <a:pt x="786" y="324"/>
                </a:lnTo>
                <a:lnTo>
                  <a:pt x="816" y="318"/>
                </a:lnTo>
                <a:lnTo>
                  <a:pt x="834" y="312"/>
                </a:lnTo>
                <a:lnTo>
                  <a:pt x="840" y="318"/>
                </a:lnTo>
                <a:lnTo>
                  <a:pt x="852" y="318"/>
                </a:lnTo>
                <a:lnTo>
                  <a:pt x="858" y="306"/>
                </a:lnTo>
                <a:lnTo>
                  <a:pt x="864" y="288"/>
                </a:lnTo>
                <a:lnTo>
                  <a:pt x="870" y="282"/>
                </a:lnTo>
                <a:lnTo>
                  <a:pt x="876" y="276"/>
                </a:lnTo>
                <a:lnTo>
                  <a:pt x="882" y="264"/>
                </a:lnTo>
                <a:lnTo>
                  <a:pt x="882" y="258"/>
                </a:lnTo>
                <a:lnTo>
                  <a:pt x="888" y="252"/>
                </a:lnTo>
                <a:lnTo>
                  <a:pt x="894" y="240"/>
                </a:lnTo>
                <a:lnTo>
                  <a:pt x="906" y="228"/>
                </a:lnTo>
                <a:lnTo>
                  <a:pt x="912" y="228"/>
                </a:lnTo>
                <a:lnTo>
                  <a:pt x="936" y="228"/>
                </a:lnTo>
                <a:lnTo>
                  <a:pt x="942" y="222"/>
                </a:lnTo>
                <a:lnTo>
                  <a:pt x="948" y="216"/>
                </a:lnTo>
                <a:lnTo>
                  <a:pt x="954" y="216"/>
                </a:lnTo>
                <a:lnTo>
                  <a:pt x="960" y="216"/>
                </a:lnTo>
                <a:lnTo>
                  <a:pt x="966" y="216"/>
                </a:lnTo>
                <a:lnTo>
                  <a:pt x="978" y="216"/>
                </a:lnTo>
                <a:lnTo>
                  <a:pt x="990" y="222"/>
                </a:lnTo>
                <a:lnTo>
                  <a:pt x="996" y="222"/>
                </a:lnTo>
                <a:lnTo>
                  <a:pt x="1002" y="228"/>
                </a:lnTo>
                <a:lnTo>
                  <a:pt x="1014" y="234"/>
                </a:lnTo>
                <a:lnTo>
                  <a:pt x="1020" y="234"/>
                </a:lnTo>
                <a:lnTo>
                  <a:pt x="1032" y="240"/>
                </a:lnTo>
                <a:lnTo>
                  <a:pt x="1044" y="240"/>
                </a:lnTo>
                <a:lnTo>
                  <a:pt x="1050" y="240"/>
                </a:lnTo>
                <a:lnTo>
                  <a:pt x="1056" y="246"/>
                </a:lnTo>
                <a:lnTo>
                  <a:pt x="1068" y="264"/>
                </a:lnTo>
                <a:lnTo>
                  <a:pt x="1086" y="276"/>
                </a:lnTo>
                <a:lnTo>
                  <a:pt x="1092" y="276"/>
                </a:lnTo>
                <a:lnTo>
                  <a:pt x="1104" y="282"/>
                </a:lnTo>
                <a:lnTo>
                  <a:pt x="1116" y="288"/>
                </a:lnTo>
                <a:lnTo>
                  <a:pt x="1122" y="300"/>
                </a:lnTo>
                <a:lnTo>
                  <a:pt x="1128" y="312"/>
                </a:lnTo>
                <a:lnTo>
                  <a:pt x="1152" y="324"/>
                </a:lnTo>
                <a:lnTo>
                  <a:pt x="1188" y="324"/>
                </a:lnTo>
                <a:lnTo>
                  <a:pt x="1206" y="318"/>
                </a:lnTo>
                <a:lnTo>
                  <a:pt x="1200" y="294"/>
                </a:lnTo>
                <a:lnTo>
                  <a:pt x="1206" y="252"/>
                </a:lnTo>
                <a:lnTo>
                  <a:pt x="1218" y="222"/>
                </a:lnTo>
                <a:lnTo>
                  <a:pt x="1212" y="222"/>
                </a:lnTo>
                <a:lnTo>
                  <a:pt x="1212" y="216"/>
                </a:lnTo>
                <a:lnTo>
                  <a:pt x="1218" y="204"/>
                </a:lnTo>
                <a:lnTo>
                  <a:pt x="1224" y="198"/>
                </a:lnTo>
                <a:lnTo>
                  <a:pt x="1224" y="192"/>
                </a:lnTo>
                <a:lnTo>
                  <a:pt x="1236" y="180"/>
                </a:lnTo>
                <a:lnTo>
                  <a:pt x="1254" y="156"/>
                </a:lnTo>
                <a:lnTo>
                  <a:pt x="1260" y="150"/>
                </a:lnTo>
                <a:lnTo>
                  <a:pt x="1260" y="144"/>
                </a:lnTo>
                <a:lnTo>
                  <a:pt x="1266" y="138"/>
                </a:lnTo>
                <a:lnTo>
                  <a:pt x="1272" y="138"/>
                </a:lnTo>
                <a:lnTo>
                  <a:pt x="1272" y="120"/>
                </a:lnTo>
                <a:lnTo>
                  <a:pt x="1278" y="114"/>
                </a:lnTo>
                <a:lnTo>
                  <a:pt x="1278" y="108"/>
                </a:lnTo>
                <a:lnTo>
                  <a:pt x="1278" y="102"/>
                </a:lnTo>
                <a:lnTo>
                  <a:pt x="1278" y="90"/>
                </a:lnTo>
                <a:lnTo>
                  <a:pt x="1278" y="84"/>
                </a:lnTo>
                <a:lnTo>
                  <a:pt x="1278" y="78"/>
                </a:lnTo>
                <a:lnTo>
                  <a:pt x="1278" y="72"/>
                </a:lnTo>
                <a:lnTo>
                  <a:pt x="1278" y="60"/>
                </a:lnTo>
                <a:lnTo>
                  <a:pt x="1284" y="48"/>
                </a:lnTo>
                <a:lnTo>
                  <a:pt x="1284" y="24"/>
                </a:lnTo>
                <a:lnTo>
                  <a:pt x="1284" y="18"/>
                </a:lnTo>
                <a:lnTo>
                  <a:pt x="1308" y="24"/>
                </a:lnTo>
                <a:lnTo>
                  <a:pt x="1332" y="30"/>
                </a:lnTo>
                <a:lnTo>
                  <a:pt x="1368" y="30"/>
                </a:lnTo>
                <a:lnTo>
                  <a:pt x="1392" y="24"/>
                </a:lnTo>
                <a:lnTo>
                  <a:pt x="1410" y="18"/>
                </a:lnTo>
                <a:lnTo>
                  <a:pt x="1416" y="6"/>
                </a:lnTo>
                <a:lnTo>
                  <a:pt x="1500" y="6"/>
                </a:lnTo>
                <a:lnTo>
                  <a:pt x="1506" y="0"/>
                </a:lnTo>
                <a:lnTo>
                  <a:pt x="1506" y="6"/>
                </a:lnTo>
                <a:lnTo>
                  <a:pt x="1506" y="18"/>
                </a:lnTo>
                <a:lnTo>
                  <a:pt x="1506" y="24"/>
                </a:lnTo>
                <a:lnTo>
                  <a:pt x="1500" y="30"/>
                </a:lnTo>
                <a:lnTo>
                  <a:pt x="1500" y="42"/>
                </a:lnTo>
                <a:lnTo>
                  <a:pt x="1494" y="54"/>
                </a:lnTo>
                <a:lnTo>
                  <a:pt x="1488" y="60"/>
                </a:lnTo>
                <a:lnTo>
                  <a:pt x="1482" y="60"/>
                </a:lnTo>
                <a:lnTo>
                  <a:pt x="1476" y="66"/>
                </a:lnTo>
                <a:lnTo>
                  <a:pt x="1476" y="72"/>
                </a:lnTo>
                <a:lnTo>
                  <a:pt x="1476" y="78"/>
                </a:lnTo>
                <a:lnTo>
                  <a:pt x="1470" y="78"/>
                </a:lnTo>
                <a:lnTo>
                  <a:pt x="1464" y="90"/>
                </a:lnTo>
                <a:lnTo>
                  <a:pt x="1458" y="96"/>
                </a:lnTo>
                <a:lnTo>
                  <a:pt x="1458" y="102"/>
                </a:lnTo>
                <a:lnTo>
                  <a:pt x="1452" y="120"/>
                </a:lnTo>
                <a:lnTo>
                  <a:pt x="1452" y="132"/>
                </a:lnTo>
                <a:lnTo>
                  <a:pt x="1446" y="144"/>
                </a:lnTo>
                <a:lnTo>
                  <a:pt x="1446" y="150"/>
                </a:lnTo>
                <a:lnTo>
                  <a:pt x="1440" y="150"/>
                </a:lnTo>
                <a:lnTo>
                  <a:pt x="1434" y="156"/>
                </a:lnTo>
                <a:lnTo>
                  <a:pt x="1428" y="168"/>
                </a:lnTo>
                <a:lnTo>
                  <a:pt x="1422" y="168"/>
                </a:lnTo>
                <a:lnTo>
                  <a:pt x="1416" y="174"/>
                </a:lnTo>
                <a:lnTo>
                  <a:pt x="1410" y="186"/>
                </a:lnTo>
                <a:lnTo>
                  <a:pt x="1410" y="204"/>
                </a:lnTo>
                <a:lnTo>
                  <a:pt x="1404" y="210"/>
                </a:lnTo>
                <a:lnTo>
                  <a:pt x="1404" y="216"/>
                </a:lnTo>
                <a:lnTo>
                  <a:pt x="1410" y="228"/>
                </a:lnTo>
                <a:lnTo>
                  <a:pt x="1410" y="234"/>
                </a:lnTo>
                <a:lnTo>
                  <a:pt x="1410" y="240"/>
                </a:lnTo>
                <a:lnTo>
                  <a:pt x="1416" y="252"/>
                </a:lnTo>
                <a:lnTo>
                  <a:pt x="1416" y="258"/>
                </a:lnTo>
                <a:lnTo>
                  <a:pt x="1422" y="264"/>
                </a:lnTo>
                <a:lnTo>
                  <a:pt x="1422" y="270"/>
                </a:lnTo>
                <a:lnTo>
                  <a:pt x="1422" y="282"/>
                </a:lnTo>
                <a:lnTo>
                  <a:pt x="1416" y="288"/>
                </a:lnTo>
                <a:lnTo>
                  <a:pt x="1410" y="294"/>
                </a:lnTo>
                <a:lnTo>
                  <a:pt x="1404" y="300"/>
                </a:lnTo>
                <a:lnTo>
                  <a:pt x="1404" y="306"/>
                </a:lnTo>
                <a:lnTo>
                  <a:pt x="1398" y="324"/>
                </a:lnTo>
                <a:lnTo>
                  <a:pt x="1404" y="330"/>
                </a:lnTo>
                <a:lnTo>
                  <a:pt x="1404" y="342"/>
                </a:lnTo>
                <a:lnTo>
                  <a:pt x="1392" y="354"/>
                </a:lnTo>
                <a:lnTo>
                  <a:pt x="1392" y="360"/>
                </a:lnTo>
                <a:lnTo>
                  <a:pt x="1392" y="372"/>
                </a:lnTo>
                <a:lnTo>
                  <a:pt x="1392" y="384"/>
                </a:lnTo>
                <a:lnTo>
                  <a:pt x="1392" y="396"/>
                </a:lnTo>
                <a:lnTo>
                  <a:pt x="1392" y="408"/>
                </a:lnTo>
                <a:lnTo>
                  <a:pt x="1386" y="414"/>
                </a:lnTo>
                <a:lnTo>
                  <a:pt x="1380" y="420"/>
                </a:lnTo>
                <a:lnTo>
                  <a:pt x="1380" y="426"/>
                </a:lnTo>
                <a:lnTo>
                  <a:pt x="1368" y="432"/>
                </a:lnTo>
                <a:lnTo>
                  <a:pt x="1362" y="444"/>
                </a:lnTo>
                <a:lnTo>
                  <a:pt x="1362" y="450"/>
                </a:lnTo>
                <a:lnTo>
                  <a:pt x="1362" y="462"/>
                </a:lnTo>
                <a:lnTo>
                  <a:pt x="1362" y="468"/>
                </a:lnTo>
                <a:lnTo>
                  <a:pt x="1362" y="474"/>
                </a:lnTo>
                <a:lnTo>
                  <a:pt x="1356" y="474"/>
                </a:lnTo>
                <a:lnTo>
                  <a:pt x="1350" y="480"/>
                </a:lnTo>
                <a:lnTo>
                  <a:pt x="1344" y="486"/>
                </a:lnTo>
                <a:lnTo>
                  <a:pt x="1338" y="498"/>
                </a:lnTo>
                <a:lnTo>
                  <a:pt x="1332" y="510"/>
                </a:lnTo>
                <a:lnTo>
                  <a:pt x="1320" y="510"/>
                </a:lnTo>
                <a:lnTo>
                  <a:pt x="1314" y="516"/>
                </a:lnTo>
                <a:lnTo>
                  <a:pt x="1302" y="522"/>
                </a:lnTo>
                <a:lnTo>
                  <a:pt x="1296" y="522"/>
                </a:lnTo>
                <a:lnTo>
                  <a:pt x="1284" y="516"/>
                </a:lnTo>
                <a:lnTo>
                  <a:pt x="1278" y="516"/>
                </a:lnTo>
                <a:lnTo>
                  <a:pt x="1272" y="522"/>
                </a:lnTo>
                <a:lnTo>
                  <a:pt x="1266" y="522"/>
                </a:lnTo>
                <a:lnTo>
                  <a:pt x="1266" y="528"/>
                </a:lnTo>
                <a:lnTo>
                  <a:pt x="1254" y="540"/>
                </a:lnTo>
                <a:lnTo>
                  <a:pt x="1248" y="546"/>
                </a:lnTo>
                <a:lnTo>
                  <a:pt x="1242" y="558"/>
                </a:lnTo>
                <a:lnTo>
                  <a:pt x="1230" y="576"/>
                </a:lnTo>
                <a:lnTo>
                  <a:pt x="1224" y="582"/>
                </a:lnTo>
                <a:lnTo>
                  <a:pt x="1224" y="588"/>
                </a:lnTo>
                <a:lnTo>
                  <a:pt x="1230" y="594"/>
                </a:lnTo>
                <a:lnTo>
                  <a:pt x="1230" y="600"/>
                </a:lnTo>
                <a:lnTo>
                  <a:pt x="1236" y="606"/>
                </a:lnTo>
                <a:lnTo>
                  <a:pt x="1242" y="606"/>
                </a:lnTo>
                <a:lnTo>
                  <a:pt x="1242" y="612"/>
                </a:lnTo>
                <a:lnTo>
                  <a:pt x="1242" y="618"/>
                </a:lnTo>
                <a:lnTo>
                  <a:pt x="1242" y="624"/>
                </a:lnTo>
                <a:lnTo>
                  <a:pt x="1236" y="630"/>
                </a:lnTo>
                <a:lnTo>
                  <a:pt x="1230" y="642"/>
                </a:lnTo>
                <a:lnTo>
                  <a:pt x="1230" y="648"/>
                </a:lnTo>
                <a:lnTo>
                  <a:pt x="1218" y="654"/>
                </a:lnTo>
                <a:lnTo>
                  <a:pt x="1212" y="654"/>
                </a:lnTo>
                <a:lnTo>
                  <a:pt x="1212" y="660"/>
                </a:lnTo>
                <a:lnTo>
                  <a:pt x="1212" y="666"/>
                </a:lnTo>
                <a:lnTo>
                  <a:pt x="1212" y="672"/>
                </a:lnTo>
                <a:lnTo>
                  <a:pt x="1212" y="678"/>
                </a:lnTo>
                <a:lnTo>
                  <a:pt x="1218" y="684"/>
                </a:lnTo>
                <a:lnTo>
                  <a:pt x="1218" y="690"/>
                </a:lnTo>
                <a:lnTo>
                  <a:pt x="1224" y="696"/>
                </a:lnTo>
                <a:lnTo>
                  <a:pt x="1230" y="702"/>
                </a:lnTo>
                <a:lnTo>
                  <a:pt x="1236" y="696"/>
                </a:lnTo>
                <a:lnTo>
                  <a:pt x="1242" y="702"/>
                </a:lnTo>
                <a:lnTo>
                  <a:pt x="1248" y="708"/>
                </a:lnTo>
                <a:lnTo>
                  <a:pt x="1254" y="714"/>
                </a:lnTo>
                <a:lnTo>
                  <a:pt x="1254" y="720"/>
                </a:lnTo>
                <a:lnTo>
                  <a:pt x="1260" y="720"/>
                </a:lnTo>
                <a:lnTo>
                  <a:pt x="1254" y="732"/>
                </a:lnTo>
                <a:lnTo>
                  <a:pt x="1248" y="738"/>
                </a:lnTo>
                <a:lnTo>
                  <a:pt x="1242" y="744"/>
                </a:lnTo>
                <a:lnTo>
                  <a:pt x="1236" y="750"/>
                </a:lnTo>
                <a:lnTo>
                  <a:pt x="1236" y="756"/>
                </a:lnTo>
                <a:lnTo>
                  <a:pt x="1236" y="762"/>
                </a:lnTo>
                <a:lnTo>
                  <a:pt x="1236" y="768"/>
                </a:lnTo>
                <a:lnTo>
                  <a:pt x="1236" y="780"/>
                </a:lnTo>
                <a:lnTo>
                  <a:pt x="1230" y="780"/>
                </a:lnTo>
                <a:lnTo>
                  <a:pt x="1230" y="786"/>
                </a:lnTo>
                <a:lnTo>
                  <a:pt x="1230" y="792"/>
                </a:lnTo>
                <a:lnTo>
                  <a:pt x="1230" y="804"/>
                </a:lnTo>
                <a:lnTo>
                  <a:pt x="1224" y="810"/>
                </a:lnTo>
                <a:lnTo>
                  <a:pt x="1218" y="816"/>
                </a:lnTo>
                <a:lnTo>
                  <a:pt x="1224" y="822"/>
                </a:lnTo>
                <a:lnTo>
                  <a:pt x="1224" y="828"/>
                </a:lnTo>
                <a:lnTo>
                  <a:pt x="1218" y="834"/>
                </a:lnTo>
                <a:lnTo>
                  <a:pt x="1224" y="834"/>
                </a:lnTo>
                <a:lnTo>
                  <a:pt x="1224" y="840"/>
                </a:lnTo>
                <a:lnTo>
                  <a:pt x="1224" y="846"/>
                </a:lnTo>
                <a:lnTo>
                  <a:pt x="1224" y="852"/>
                </a:lnTo>
                <a:lnTo>
                  <a:pt x="1218" y="858"/>
                </a:lnTo>
                <a:lnTo>
                  <a:pt x="1218" y="870"/>
                </a:lnTo>
                <a:lnTo>
                  <a:pt x="1212" y="870"/>
                </a:lnTo>
                <a:lnTo>
                  <a:pt x="1212" y="876"/>
                </a:lnTo>
                <a:lnTo>
                  <a:pt x="1206" y="888"/>
                </a:lnTo>
                <a:lnTo>
                  <a:pt x="1200" y="882"/>
                </a:lnTo>
                <a:lnTo>
                  <a:pt x="1194" y="888"/>
                </a:lnTo>
                <a:lnTo>
                  <a:pt x="1188" y="894"/>
                </a:lnTo>
                <a:lnTo>
                  <a:pt x="1182" y="894"/>
                </a:lnTo>
                <a:lnTo>
                  <a:pt x="1182" y="900"/>
                </a:lnTo>
                <a:lnTo>
                  <a:pt x="1176" y="900"/>
                </a:lnTo>
                <a:lnTo>
                  <a:pt x="1170" y="894"/>
                </a:lnTo>
                <a:lnTo>
                  <a:pt x="1164" y="900"/>
                </a:lnTo>
                <a:lnTo>
                  <a:pt x="1158" y="900"/>
                </a:lnTo>
                <a:lnTo>
                  <a:pt x="1152" y="900"/>
                </a:lnTo>
                <a:lnTo>
                  <a:pt x="1140" y="900"/>
                </a:lnTo>
                <a:lnTo>
                  <a:pt x="1134" y="900"/>
                </a:lnTo>
                <a:lnTo>
                  <a:pt x="1128" y="906"/>
                </a:lnTo>
                <a:lnTo>
                  <a:pt x="1110" y="906"/>
                </a:lnTo>
                <a:lnTo>
                  <a:pt x="1104" y="906"/>
                </a:lnTo>
                <a:lnTo>
                  <a:pt x="1098" y="906"/>
                </a:lnTo>
                <a:lnTo>
                  <a:pt x="1092" y="912"/>
                </a:lnTo>
                <a:lnTo>
                  <a:pt x="1080" y="918"/>
                </a:lnTo>
                <a:lnTo>
                  <a:pt x="1068" y="930"/>
                </a:lnTo>
                <a:lnTo>
                  <a:pt x="1062" y="930"/>
                </a:lnTo>
                <a:lnTo>
                  <a:pt x="1056" y="930"/>
                </a:lnTo>
                <a:lnTo>
                  <a:pt x="1050" y="930"/>
                </a:lnTo>
                <a:lnTo>
                  <a:pt x="1050" y="936"/>
                </a:lnTo>
                <a:lnTo>
                  <a:pt x="1038" y="942"/>
                </a:lnTo>
                <a:lnTo>
                  <a:pt x="1032" y="948"/>
                </a:lnTo>
                <a:lnTo>
                  <a:pt x="1026" y="954"/>
                </a:lnTo>
                <a:lnTo>
                  <a:pt x="1020" y="960"/>
                </a:lnTo>
                <a:lnTo>
                  <a:pt x="1014" y="966"/>
                </a:lnTo>
                <a:lnTo>
                  <a:pt x="1002" y="966"/>
                </a:lnTo>
                <a:lnTo>
                  <a:pt x="990" y="978"/>
                </a:lnTo>
                <a:lnTo>
                  <a:pt x="984" y="978"/>
                </a:lnTo>
                <a:lnTo>
                  <a:pt x="978" y="984"/>
                </a:lnTo>
                <a:lnTo>
                  <a:pt x="972" y="984"/>
                </a:lnTo>
                <a:lnTo>
                  <a:pt x="978" y="990"/>
                </a:lnTo>
                <a:lnTo>
                  <a:pt x="972" y="996"/>
                </a:lnTo>
                <a:lnTo>
                  <a:pt x="978" y="1002"/>
                </a:lnTo>
                <a:lnTo>
                  <a:pt x="1002" y="1002"/>
                </a:lnTo>
                <a:lnTo>
                  <a:pt x="1002" y="1008"/>
                </a:lnTo>
                <a:lnTo>
                  <a:pt x="1008" y="1020"/>
                </a:lnTo>
                <a:lnTo>
                  <a:pt x="1002" y="1026"/>
                </a:lnTo>
                <a:lnTo>
                  <a:pt x="1002" y="1032"/>
                </a:lnTo>
                <a:lnTo>
                  <a:pt x="1002" y="1050"/>
                </a:lnTo>
                <a:lnTo>
                  <a:pt x="1002" y="1056"/>
                </a:lnTo>
                <a:lnTo>
                  <a:pt x="1008" y="1062"/>
                </a:lnTo>
                <a:lnTo>
                  <a:pt x="1008" y="1074"/>
                </a:lnTo>
                <a:lnTo>
                  <a:pt x="1008" y="1086"/>
                </a:lnTo>
                <a:lnTo>
                  <a:pt x="996" y="1092"/>
                </a:lnTo>
                <a:lnTo>
                  <a:pt x="996" y="1098"/>
                </a:lnTo>
                <a:lnTo>
                  <a:pt x="996" y="1104"/>
                </a:lnTo>
                <a:lnTo>
                  <a:pt x="990" y="1110"/>
                </a:lnTo>
                <a:lnTo>
                  <a:pt x="990" y="1116"/>
                </a:lnTo>
                <a:lnTo>
                  <a:pt x="996" y="1122"/>
                </a:lnTo>
                <a:lnTo>
                  <a:pt x="990" y="1128"/>
                </a:lnTo>
                <a:lnTo>
                  <a:pt x="990" y="1134"/>
                </a:lnTo>
                <a:lnTo>
                  <a:pt x="990" y="1140"/>
                </a:lnTo>
                <a:lnTo>
                  <a:pt x="996" y="1140"/>
                </a:lnTo>
                <a:lnTo>
                  <a:pt x="996" y="1146"/>
                </a:lnTo>
                <a:lnTo>
                  <a:pt x="996" y="1152"/>
                </a:lnTo>
                <a:lnTo>
                  <a:pt x="996" y="1158"/>
                </a:lnTo>
                <a:lnTo>
                  <a:pt x="996" y="1164"/>
                </a:lnTo>
                <a:lnTo>
                  <a:pt x="996" y="1170"/>
                </a:lnTo>
                <a:lnTo>
                  <a:pt x="996" y="1176"/>
                </a:lnTo>
                <a:lnTo>
                  <a:pt x="990" y="1182"/>
                </a:lnTo>
                <a:lnTo>
                  <a:pt x="990" y="1188"/>
                </a:lnTo>
                <a:lnTo>
                  <a:pt x="984" y="1200"/>
                </a:lnTo>
                <a:lnTo>
                  <a:pt x="990" y="1206"/>
                </a:lnTo>
                <a:lnTo>
                  <a:pt x="990" y="1212"/>
                </a:lnTo>
                <a:lnTo>
                  <a:pt x="990" y="1218"/>
                </a:lnTo>
                <a:lnTo>
                  <a:pt x="978" y="1230"/>
                </a:lnTo>
                <a:lnTo>
                  <a:pt x="972" y="1236"/>
                </a:lnTo>
                <a:lnTo>
                  <a:pt x="972" y="1242"/>
                </a:lnTo>
                <a:lnTo>
                  <a:pt x="966" y="1248"/>
                </a:lnTo>
                <a:lnTo>
                  <a:pt x="960" y="1260"/>
                </a:lnTo>
                <a:lnTo>
                  <a:pt x="954" y="1266"/>
                </a:lnTo>
                <a:lnTo>
                  <a:pt x="942" y="1278"/>
                </a:lnTo>
                <a:lnTo>
                  <a:pt x="936" y="1278"/>
                </a:lnTo>
                <a:lnTo>
                  <a:pt x="936" y="1284"/>
                </a:lnTo>
                <a:lnTo>
                  <a:pt x="936" y="1296"/>
                </a:lnTo>
                <a:lnTo>
                  <a:pt x="936" y="1302"/>
                </a:lnTo>
                <a:lnTo>
                  <a:pt x="942" y="1302"/>
                </a:lnTo>
                <a:lnTo>
                  <a:pt x="942" y="1308"/>
                </a:lnTo>
                <a:lnTo>
                  <a:pt x="936" y="1314"/>
                </a:lnTo>
                <a:lnTo>
                  <a:pt x="930" y="1320"/>
                </a:lnTo>
                <a:lnTo>
                  <a:pt x="930" y="1326"/>
                </a:lnTo>
                <a:lnTo>
                  <a:pt x="930" y="1332"/>
                </a:lnTo>
                <a:lnTo>
                  <a:pt x="936" y="1338"/>
                </a:lnTo>
                <a:lnTo>
                  <a:pt x="936" y="1344"/>
                </a:lnTo>
                <a:lnTo>
                  <a:pt x="942" y="1356"/>
                </a:lnTo>
                <a:lnTo>
                  <a:pt x="948" y="1368"/>
                </a:lnTo>
                <a:lnTo>
                  <a:pt x="942" y="1380"/>
                </a:lnTo>
                <a:lnTo>
                  <a:pt x="936" y="1386"/>
                </a:lnTo>
                <a:lnTo>
                  <a:pt x="930" y="1392"/>
                </a:lnTo>
                <a:lnTo>
                  <a:pt x="924" y="1392"/>
                </a:lnTo>
                <a:lnTo>
                  <a:pt x="918" y="1386"/>
                </a:lnTo>
                <a:lnTo>
                  <a:pt x="912" y="1386"/>
                </a:lnTo>
                <a:lnTo>
                  <a:pt x="906" y="1386"/>
                </a:lnTo>
                <a:lnTo>
                  <a:pt x="900" y="1386"/>
                </a:lnTo>
                <a:lnTo>
                  <a:pt x="900" y="1392"/>
                </a:lnTo>
                <a:lnTo>
                  <a:pt x="894" y="1392"/>
                </a:lnTo>
                <a:lnTo>
                  <a:pt x="888" y="1392"/>
                </a:lnTo>
                <a:lnTo>
                  <a:pt x="888" y="1398"/>
                </a:lnTo>
                <a:lnTo>
                  <a:pt x="882" y="1404"/>
                </a:lnTo>
                <a:lnTo>
                  <a:pt x="882" y="1416"/>
                </a:lnTo>
                <a:lnTo>
                  <a:pt x="882" y="1428"/>
                </a:lnTo>
                <a:lnTo>
                  <a:pt x="882" y="1434"/>
                </a:lnTo>
                <a:lnTo>
                  <a:pt x="870" y="1440"/>
                </a:lnTo>
                <a:lnTo>
                  <a:pt x="864" y="1452"/>
                </a:lnTo>
                <a:lnTo>
                  <a:pt x="870" y="1452"/>
                </a:lnTo>
                <a:lnTo>
                  <a:pt x="864" y="1458"/>
                </a:lnTo>
                <a:lnTo>
                  <a:pt x="858" y="1464"/>
                </a:lnTo>
                <a:lnTo>
                  <a:pt x="852" y="1464"/>
                </a:lnTo>
                <a:lnTo>
                  <a:pt x="846" y="1458"/>
                </a:lnTo>
                <a:lnTo>
                  <a:pt x="840" y="1458"/>
                </a:lnTo>
                <a:lnTo>
                  <a:pt x="828" y="1470"/>
                </a:lnTo>
                <a:lnTo>
                  <a:pt x="810" y="1482"/>
                </a:lnTo>
                <a:lnTo>
                  <a:pt x="804" y="1488"/>
                </a:lnTo>
                <a:lnTo>
                  <a:pt x="798" y="1488"/>
                </a:lnTo>
                <a:lnTo>
                  <a:pt x="792" y="1488"/>
                </a:lnTo>
                <a:lnTo>
                  <a:pt x="786" y="1488"/>
                </a:lnTo>
                <a:lnTo>
                  <a:pt x="768" y="1482"/>
                </a:lnTo>
                <a:lnTo>
                  <a:pt x="762" y="1476"/>
                </a:lnTo>
                <a:lnTo>
                  <a:pt x="744" y="1476"/>
                </a:lnTo>
                <a:lnTo>
                  <a:pt x="738" y="1476"/>
                </a:lnTo>
                <a:lnTo>
                  <a:pt x="732" y="1476"/>
                </a:lnTo>
                <a:lnTo>
                  <a:pt x="726" y="1482"/>
                </a:lnTo>
                <a:lnTo>
                  <a:pt x="726" y="1488"/>
                </a:lnTo>
                <a:lnTo>
                  <a:pt x="726" y="1494"/>
                </a:lnTo>
                <a:lnTo>
                  <a:pt x="726" y="1500"/>
                </a:lnTo>
                <a:lnTo>
                  <a:pt x="720" y="1500"/>
                </a:lnTo>
                <a:lnTo>
                  <a:pt x="720" y="1506"/>
                </a:lnTo>
                <a:lnTo>
                  <a:pt x="714" y="1512"/>
                </a:lnTo>
                <a:lnTo>
                  <a:pt x="714" y="1518"/>
                </a:lnTo>
                <a:lnTo>
                  <a:pt x="708" y="1518"/>
                </a:lnTo>
                <a:lnTo>
                  <a:pt x="708" y="1530"/>
                </a:lnTo>
                <a:lnTo>
                  <a:pt x="708" y="1536"/>
                </a:lnTo>
                <a:lnTo>
                  <a:pt x="708" y="1542"/>
                </a:lnTo>
                <a:lnTo>
                  <a:pt x="696" y="1554"/>
                </a:lnTo>
                <a:lnTo>
                  <a:pt x="690" y="1560"/>
                </a:lnTo>
                <a:lnTo>
                  <a:pt x="684" y="1566"/>
                </a:lnTo>
                <a:lnTo>
                  <a:pt x="672" y="1566"/>
                </a:lnTo>
                <a:lnTo>
                  <a:pt x="666" y="1566"/>
                </a:lnTo>
                <a:lnTo>
                  <a:pt x="660" y="1566"/>
                </a:lnTo>
                <a:lnTo>
                  <a:pt x="654" y="1572"/>
                </a:lnTo>
                <a:lnTo>
                  <a:pt x="654" y="1578"/>
                </a:lnTo>
                <a:lnTo>
                  <a:pt x="642" y="1578"/>
                </a:lnTo>
                <a:lnTo>
                  <a:pt x="630" y="1572"/>
                </a:lnTo>
                <a:lnTo>
                  <a:pt x="624" y="1572"/>
                </a:lnTo>
                <a:lnTo>
                  <a:pt x="618" y="1578"/>
                </a:lnTo>
                <a:lnTo>
                  <a:pt x="612" y="1584"/>
                </a:lnTo>
                <a:lnTo>
                  <a:pt x="606" y="1584"/>
                </a:lnTo>
                <a:lnTo>
                  <a:pt x="600" y="1590"/>
                </a:lnTo>
                <a:lnTo>
                  <a:pt x="594" y="1590"/>
                </a:lnTo>
                <a:lnTo>
                  <a:pt x="588" y="1590"/>
                </a:lnTo>
                <a:lnTo>
                  <a:pt x="582" y="1590"/>
                </a:lnTo>
                <a:lnTo>
                  <a:pt x="582" y="1596"/>
                </a:lnTo>
                <a:lnTo>
                  <a:pt x="576" y="1614"/>
                </a:lnTo>
                <a:lnTo>
                  <a:pt x="570" y="1632"/>
                </a:lnTo>
                <a:lnTo>
                  <a:pt x="570" y="1638"/>
                </a:lnTo>
                <a:lnTo>
                  <a:pt x="576" y="1644"/>
                </a:lnTo>
                <a:lnTo>
                  <a:pt x="576" y="1650"/>
                </a:lnTo>
                <a:lnTo>
                  <a:pt x="582" y="1662"/>
                </a:lnTo>
                <a:lnTo>
                  <a:pt x="582" y="1668"/>
                </a:lnTo>
                <a:lnTo>
                  <a:pt x="588" y="1692"/>
                </a:lnTo>
                <a:lnTo>
                  <a:pt x="594" y="1728"/>
                </a:lnTo>
                <a:lnTo>
                  <a:pt x="594" y="1752"/>
                </a:lnTo>
                <a:lnTo>
                  <a:pt x="594" y="1764"/>
                </a:lnTo>
                <a:lnTo>
                  <a:pt x="582" y="1770"/>
                </a:lnTo>
                <a:lnTo>
                  <a:pt x="582" y="1782"/>
                </a:lnTo>
                <a:lnTo>
                  <a:pt x="576" y="1788"/>
                </a:lnTo>
                <a:lnTo>
                  <a:pt x="570" y="1794"/>
                </a:lnTo>
                <a:lnTo>
                  <a:pt x="564" y="1806"/>
                </a:lnTo>
                <a:lnTo>
                  <a:pt x="564" y="1812"/>
                </a:lnTo>
                <a:lnTo>
                  <a:pt x="558" y="1812"/>
                </a:lnTo>
                <a:lnTo>
                  <a:pt x="564" y="1824"/>
                </a:lnTo>
                <a:lnTo>
                  <a:pt x="564" y="1830"/>
                </a:lnTo>
                <a:lnTo>
                  <a:pt x="564" y="1842"/>
                </a:lnTo>
                <a:lnTo>
                  <a:pt x="564" y="1848"/>
                </a:lnTo>
                <a:lnTo>
                  <a:pt x="564" y="1854"/>
                </a:lnTo>
                <a:lnTo>
                  <a:pt x="570" y="1860"/>
                </a:lnTo>
                <a:lnTo>
                  <a:pt x="570" y="1866"/>
                </a:lnTo>
                <a:lnTo>
                  <a:pt x="570" y="1872"/>
                </a:lnTo>
                <a:lnTo>
                  <a:pt x="570" y="1878"/>
                </a:lnTo>
                <a:lnTo>
                  <a:pt x="564" y="1890"/>
                </a:lnTo>
                <a:lnTo>
                  <a:pt x="558" y="1896"/>
                </a:lnTo>
                <a:lnTo>
                  <a:pt x="552" y="1908"/>
                </a:lnTo>
                <a:lnTo>
                  <a:pt x="546" y="1914"/>
                </a:lnTo>
                <a:lnTo>
                  <a:pt x="540" y="1920"/>
                </a:lnTo>
                <a:lnTo>
                  <a:pt x="534" y="1932"/>
                </a:lnTo>
                <a:lnTo>
                  <a:pt x="528" y="1944"/>
                </a:lnTo>
                <a:lnTo>
                  <a:pt x="516" y="1950"/>
                </a:lnTo>
                <a:lnTo>
                  <a:pt x="510" y="1956"/>
                </a:lnTo>
                <a:lnTo>
                  <a:pt x="498" y="1962"/>
                </a:lnTo>
                <a:lnTo>
                  <a:pt x="492" y="1974"/>
                </a:lnTo>
                <a:lnTo>
                  <a:pt x="486" y="1980"/>
                </a:lnTo>
                <a:lnTo>
                  <a:pt x="480" y="1998"/>
                </a:lnTo>
                <a:lnTo>
                  <a:pt x="474" y="2004"/>
                </a:lnTo>
                <a:lnTo>
                  <a:pt x="474" y="2010"/>
                </a:lnTo>
                <a:lnTo>
                  <a:pt x="474" y="2016"/>
                </a:lnTo>
                <a:lnTo>
                  <a:pt x="468" y="2016"/>
                </a:lnTo>
                <a:lnTo>
                  <a:pt x="468" y="2028"/>
                </a:lnTo>
                <a:lnTo>
                  <a:pt x="462" y="2034"/>
                </a:lnTo>
                <a:lnTo>
                  <a:pt x="456" y="2040"/>
                </a:lnTo>
                <a:lnTo>
                  <a:pt x="456" y="2052"/>
                </a:lnTo>
                <a:lnTo>
                  <a:pt x="450" y="2058"/>
                </a:lnTo>
                <a:lnTo>
                  <a:pt x="450" y="2070"/>
                </a:lnTo>
                <a:lnTo>
                  <a:pt x="450" y="2076"/>
                </a:lnTo>
                <a:lnTo>
                  <a:pt x="450" y="2082"/>
                </a:lnTo>
                <a:lnTo>
                  <a:pt x="444" y="2088"/>
                </a:lnTo>
                <a:lnTo>
                  <a:pt x="438" y="2094"/>
                </a:lnTo>
                <a:lnTo>
                  <a:pt x="444" y="2100"/>
                </a:lnTo>
                <a:lnTo>
                  <a:pt x="444" y="2124"/>
                </a:lnTo>
                <a:lnTo>
                  <a:pt x="444" y="2142"/>
                </a:lnTo>
                <a:lnTo>
                  <a:pt x="444" y="2160"/>
                </a:lnTo>
                <a:lnTo>
                  <a:pt x="450" y="2166"/>
                </a:lnTo>
                <a:lnTo>
                  <a:pt x="456" y="2178"/>
                </a:lnTo>
                <a:lnTo>
                  <a:pt x="438" y="2184"/>
                </a:lnTo>
                <a:lnTo>
                  <a:pt x="432" y="2184"/>
                </a:lnTo>
                <a:lnTo>
                  <a:pt x="426" y="2190"/>
                </a:lnTo>
                <a:lnTo>
                  <a:pt x="408" y="2190"/>
                </a:lnTo>
                <a:lnTo>
                  <a:pt x="402" y="2196"/>
                </a:lnTo>
                <a:lnTo>
                  <a:pt x="396" y="2196"/>
                </a:lnTo>
                <a:lnTo>
                  <a:pt x="384" y="2208"/>
                </a:lnTo>
                <a:lnTo>
                  <a:pt x="378" y="2220"/>
                </a:lnTo>
                <a:lnTo>
                  <a:pt x="366" y="2232"/>
                </a:lnTo>
                <a:lnTo>
                  <a:pt x="366" y="2238"/>
                </a:lnTo>
                <a:lnTo>
                  <a:pt x="360" y="2238"/>
                </a:lnTo>
                <a:lnTo>
                  <a:pt x="360" y="2244"/>
                </a:lnTo>
                <a:lnTo>
                  <a:pt x="354" y="2244"/>
                </a:lnTo>
                <a:lnTo>
                  <a:pt x="330" y="2274"/>
                </a:lnTo>
                <a:close/>
              </a:path>
            </a:pathLst>
          </a:custGeom>
          <a:solidFill>
            <a:srgbClr val="FF9900"/>
          </a:solidFill>
          <a:ln w="9525">
            <a:solidFill>
              <a:schemeClr val="bg1"/>
            </a:solidFill>
            <a:round/>
            <a:headEnd/>
            <a:tailEnd/>
          </a:ln>
        </p:spPr>
        <p:txBody>
          <a:bodyPr/>
          <a:lstStyle/>
          <a:p>
            <a:endParaRPr lang="en-GB"/>
          </a:p>
        </p:txBody>
      </p:sp>
      <p:sp>
        <p:nvSpPr>
          <p:cNvPr id="18449" name="Freeform 11"/>
          <p:cNvSpPr>
            <a:spLocks/>
          </p:cNvSpPr>
          <p:nvPr/>
        </p:nvSpPr>
        <p:spPr bwMode="gray">
          <a:xfrm>
            <a:off x="4460875" y="2217738"/>
            <a:ext cx="1184275" cy="1574800"/>
          </a:xfrm>
          <a:custGeom>
            <a:avLst/>
            <a:gdLst>
              <a:gd name="T0" fmla="*/ 97218 w 1512"/>
              <a:gd name="T1" fmla="*/ 61216 h 1956"/>
              <a:gd name="T2" fmla="*/ 94082 w 1512"/>
              <a:gd name="T3" fmla="*/ 64438 h 1956"/>
              <a:gd name="T4" fmla="*/ 83106 w 1512"/>
              <a:gd name="T5" fmla="*/ 67660 h 1956"/>
              <a:gd name="T6" fmla="*/ 82322 w 1512"/>
              <a:gd name="T7" fmla="*/ 73298 h 1956"/>
              <a:gd name="T8" fmla="*/ 79186 w 1512"/>
              <a:gd name="T9" fmla="*/ 79742 h 1956"/>
              <a:gd name="T10" fmla="*/ 82322 w 1512"/>
              <a:gd name="T11" fmla="*/ 86185 h 1956"/>
              <a:gd name="T12" fmla="*/ 93298 w 1512"/>
              <a:gd name="T13" fmla="*/ 93435 h 1956"/>
              <a:gd name="T14" fmla="*/ 94866 w 1512"/>
              <a:gd name="T15" fmla="*/ 103100 h 1956"/>
              <a:gd name="T16" fmla="*/ 87810 w 1512"/>
              <a:gd name="T17" fmla="*/ 109544 h 1956"/>
              <a:gd name="T18" fmla="*/ 93298 w 1512"/>
              <a:gd name="T19" fmla="*/ 115182 h 1956"/>
              <a:gd name="T20" fmla="*/ 98786 w 1512"/>
              <a:gd name="T21" fmla="*/ 119210 h 1956"/>
              <a:gd name="T22" fmla="*/ 98786 w 1512"/>
              <a:gd name="T23" fmla="*/ 128875 h 1956"/>
              <a:gd name="T24" fmla="*/ 81538 w 1512"/>
              <a:gd name="T25" fmla="*/ 136930 h 1956"/>
              <a:gd name="T26" fmla="*/ 77618 w 1512"/>
              <a:gd name="T27" fmla="*/ 132097 h 1956"/>
              <a:gd name="T28" fmla="*/ 57233 w 1512"/>
              <a:gd name="T29" fmla="*/ 122432 h 1956"/>
              <a:gd name="T30" fmla="*/ 43905 w 1512"/>
              <a:gd name="T31" fmla="*/ 132903 h 1956"/>
              <a:gd name="T32" fmla="*/ 25873 w 1512"/>
              <a:gd name="T33" fmla="*/ 130486 h 1956"/>
              <a:gd name="T34" fmla="*/ 19600 w 1512"/>
              <a:gd name="T35" fmla="*/ 124848 h 1956"/>
              <a:gd name="T36" fmla="*/ 24305 w 1512"/>
              <a:gd name="T37" fmla="*/ 114377 h 1956"/>
              <a:gd name="T38" fmla="*/ 18816 w 1512"/>
              <a:gd name="T39" fmla="*/ 110349 h 1956"/>
              <a:gd name="T40" fmla="*/ 10976 w 1512"/>
              <a:gd name="T41" fmla="*/ 109544 h 1956"/>
              <a:gd name="T42" fmla="*/ 8624 w 1512"/>
              <a:gd name="T43" fmla="*/ 100684 h 1956"/>
              <a:gd name="T44" fmla="*/ 2352 w 1512"/>
              <a:gd name="T45" fmla="*/ 93435 h 1956"/>
              <a:gd name="T46" fmla="*/ 1568 w 1512"/>
              <a:gd name="T47" fmla="*/ 85380 h 1956"/>
              <a:gd name="T48" fmla="*/ 3920 w 1512"/>
              <a:gd name="T49" fmla="*/ 81353 h 1956"/>
              <a:gd name="T50" fmla="*/ 1568 w 1512"/>
              <a:gd name="T51" fmla="*/ 76520 h 1956"/>
              <a:gd name="T52" fmla="*/ 784 w 1512"/>
              <a:gd name="T53" fmla="*/ 70881 h 1956"/>
              <a:gd name="T54" fmla="*/ 3136 w 1512"/>
              <a:gd name="T55" fmla="*/ 64438 h 1956"/>
              <a:gd name="T56" fmla="*/ 9408 w 1512"/>
              <a:gd name="T57" fmla="*/ 58799 h 1956"/>
              <a:gd name="T58" fmla="*/ 12544 w 1512"/>
              <a:gd name="T59" fmla="*/ 54772 h 1956"/>
              <a:gd name="T60" fmla="*/ 17248 w 1512"/>
              <a:gd name="T61" fmla="*/ 53161 h 1956"/>
              <a:gd name="T62" fmla="*/ 25089 w 1512"/>
              <a:gd name="T63" fmla="*/ 52356 h 1956"/>
              <a:gd name="T64" fmla="*/ 35281 w 1512"/>
              <a:gd name="T65" fmla="*/ 53161 h 1956"/>
              <a:gd name="T66" fmla="*/ 39201 w 1512"/>
              <a:gd name="T67" fmla="*/ 56383 h 1956"/>
              <a:gd name="T68" fmla="*/ 43121 w 1512"/>
              <a:gd name="T69" fmla="*/ 56383 h 1956"/>
              <a:gd name="T70" fmla="*/ 49393 w 1512"/>
              <a:gd name="T71" fmla="*/ 57188 h 1956"/>
              <a:gd name="T72" fmla="*/ 47825 w 1512"/>
              <a:gd name="T73" fmla="*/ 60410 h 1956"/>
              <a:gd name="T74" fmla="*/ 51745 w 1512"/>
              <a:gd name="T75" fmla="*/ 67660 h 1956"/>
              <a:gd name="T76" fmla="*/ 63506 w 1512"/>
              <a:gd name="T77" fmla="*/ 68465 h 1956"/>
              <a:gd name="T78" fmla="*/ 65074 w 1512"/>
              <a:gd name="T79" fmla="*/ 63632 h 1956"/>
              <a:gd name="T80" fmla="*/ 69778 w 1512"/>
              <a:gd name="T81" fmla="*/ 62021 h 1956"/>
              <a:gd name="T82" fmla="*/ 69778 w 1512"/>
              <a:gd name="T83" fmla="*/ 58799 h 1956"/>
              <a:gd name="T84" fmla="*/ 65074 w 1512"/>
              <a:gd name="T85" fmla="*/ 57994 h 1956"/>
              <a:gd name="T86" fmla="*/ 60370 w 1512"/>
              <a:gd name="T87" fmla="*/ 56383 h 1956"/>
              <a:gd name="T88" fmla="*/ 55665 w 1512"/>
              <a:gd name="T89" fmla="*/ 56383 h 1956"/>
              <a:gd name="T90" fmla="*/ 46257 w 1512"/>
              <a:gd name="T91" fmla="*/ 46717 h 1956"/>
              <a:gd name="T92" fmla="*/ 42337 w 1512"/>
              <a:gd name="T93" fmla="*/ 36246 h 1956"/>
              <a:gd name="T94" fmla="*/ 38417 w 1512"/>
              <a:gd name="T95" fmla="*/ 33830 h 1956"/>
              <a:gd name="T96" fmla="*/ 39985 w 1512"/>
              <a:gd name="T97" fmla="*/ 31413 h 1956"/>
              <a:gd name="T98" fmla="*/ 43121 w 1512"/>
              <a:gd name="T99" fmla="*/ 28997 h 1956"/>
              <a:gd name="T100" fmla="*/ 49393 w 1512"/>
              <a:gd name="T101" fmla="*/ 27386 h 1956"/>
              <a:gd name="T102" fmla="*/ 53313 w 1512"/>
              <a:gd name="T103" fmla="*/ 25775 h 1956"/>
              <a:gd name="T104" fmla="*/ 57233 w 1512"/>
              <a:gd name="T105" fmla="*/ 23359 h 1956"/>
              <a:gd name="T106" fmla="*/ 61154 w 1512"/>
              <a:gd name="T107" fmla="*/ 21748 h 1956"/>
              <a:gd name="T108" fmla="*/ 63506 w 1512"/>
              <a:gd name="T109" fmla="*/ 13693 h 1956"/>
              <a:gd name="T110" fmla="*/ 65858 w 1512"/>
              <a:gd name="T111" fmla="*/ 4833 h 1956"/>
              <a:gd name="T112" fmla="*/ 74482 w 1512"/>
              <a:gd name="T113" fmla="*/ 4833 h 1956"/>
              <a:gd name="T114" fmla="*/ 77618 w 1512"/>
              <a:gd name="T115" fmla="*/ 2416 h 1956"/>
              <a:gd name="T116" fmla="*/ 80754 w 1512"/>
              <a:gd name="T117" fmla="*/ 0 h 1956"/>
              <a:gd name="T118" fmla="*/ 86242 w 1512"/>
              <a:gd name="T119" fmla="*/ 3222 h 1956"/>
              <a:gd name="T120" fmla="*/ 89378 w 1512"/>
              <a:gd name="T121" fmla="*/ 26581 h 1956"/>
              <a:gd name="T122" fmla="*/ 91730 w 1512"/>
              <a:gd name="T123" fmla="*/ 33024 h 1956"/>
              <a:gd name="T124" fmla="*/ 93298 w 1512"/>
              <a:gd name="T125" fmla="*/ 49939 h 1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12"/>
              <a:gd name="T190" fmla="*/ 0 h 1956"/>
              <a:gd name="T191" fmla="*/ 1512 w 1512"/>
              <a:gd name="T192" fmla="*/ 1956 h 1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12" h="1956">
                <a:moveTo>
                  <a:pt x="1512" y="780"/>
                </a:moveTo>
                <a:lnTo>
                  <a:pt x="1482" y="786"/>
                </a:lnTo>
                <a:lnTo>
                  <a:pt x="1476" y="792"/>
                </a:lnTo>
                <a:lnTo>
                  <a:pt x="1476" y="798"/>
                </a:lnTo>
                <a:lnTo>
                  <a:pt x="1476" y="804"/>
                </a:lnTo>
                <a:lnTo>
                  <a:pt x="1476" y="816"/>
                </a:lnTo>
                <a:lnTo>
                  <a:pt x="1470" y="834"/>
                </a:lnTo>
                <a:lnTo>
                  <a:pt x="1464" y="840"/>
                </a:lnTo>
                <a:lnTo>
                  <a:pt x="1452" y="852"/>
                </a:lnTo>
                <a:lnTo>
                  <a:pt x="1440" y="864"/>
                </a:lnTo>
                <a:lnTo>
                  <a:pt x="1434" y="864"/>
                </a:lnTo>
                <a:lnTo>
                  <a:pt x="1434" y="870"/>
                </a:lnTo>
                <a:lnTo>
                  <a:pt x="1422" y="876"/>
                </a:lnTo>
                <a:lnTo>
                  <a:pt x="1410" y="894"/>
                </a:lnTo>
                <a:lnTo>
                  <a:pt x="1404" y="894"/>
                </a:lnTo>
                <a:lnTo>
                  <a:pt x="1404" y="900"/>
                </a:lnTo>
                <a:lnTo>
                  <a:pt x="1404" y="906"/>
                </a:lnTo>
                <a:lnTo>
                  <a:pt x="1410" y="918"/>
                </a:lnTo>
                <a:lnTo>
                  <a:pt x="1404" y="918"/>
                </a:lnTo>
                <a:lnTo>
                  <a:pt x="1392" y="924"/>
                </a:lnTo>
                <a:lnTo>
                  <a:pt x="1386" y="924"/>
                </a:lnTo>
                <a:lnTo>
                  <a:pt x="1380" y="924"/>
                </a:lnTo>
                <a:lnTo>
                  <a:pt x="1380" y="930"/>
                </a:lnTo>
                <a:lnTo>
                  <a:pt x="1374" y="930"/>
                </a:lnTo>
                <a:lnTo>
                  <a:pt x="1374" y="924"/>
                </a:lnTo>
                <a:lnTo>
                  <a:pt x="1374" y="918"/>
                </a:lnTo>
                <a:lnTo>
                  <a:pt x="1368" y="912"/>
                </a:lnTo>
                <a:lnTo>
                  <a:pt x="1368" y="906"/>
                </a:lnTo>
                <a:lnTo>
                  <a:pt x="1368" y="900"/>
                </a:lnTo>
                <a:lnTo>
                  <a:pt x="1368" y="894"/>
                </a:lnTo>
                <a:lnTo>
                  <a:pt x="1362" y="894"/>
                </a:lnTo>
                <a:lnTo>
                  <a:pt x="1326" y="894"/>
                </a:lnTo>
                <a:lnTo>
                  <a:pt x="1302" y="906"/>
                </a:lnTo>
                <a:lnTo>
                  <a:pt x="1284" y="918"/>
                </a:lnTo>
                <a:lnTo>
                  <a:pt x="1284" y="924"/>
                </a:lnTo>
                <a:lnTo>
                  <a:pt x="1278" y="930"/>
                </a:lnTo>
                <a:lnTo>
                  <a:pt x="1266" y="930"/>
                </a:lnTo>
                <a:lnTo>
                  <a:pt x="1236" y="954"/>
                </a:lnTo>
                <a:lnTo>
                  <a:pt x="1212" y="972"/>
                </a:lnTo>
                <a:lnTo>
                  <a:pt x="1218" y="996"/>
                </a:lnTo>
                <a:lnTo>
                  <a:pt x="1224" y="1008"/>
                </a:lnTo>
                <a:lnTo>
                  <a:pt x="1236" y="1014"/>
                </a:lnTo>
                <a:lnTo>
                  <a:pt x="1242" y="1026"/>
                </a:lnTo>
                <a:lnTo>
                  <a:pt x="1248" y="1038"/>
                </a:lnTo>
                <a:lnTo>
                  <a:pt x="1260" y="1050"/>
                </a:lnTo>
                <a:lnTo>
                  <a:pt x="1260" y="1056"/>
                </a:lnTo>
                <a:lnTo>
                  <a:pt x="1260" y="1074"/>
                </a:lnTo>
                <a:lnTo>
                  <a:pt x="1254" y="1074"/>
                </a:lnTo>
                <a:lnTo>
                  <a:pt x="1236" y="1056"/>
                </a:lnTo>
                <a:lnTo>
                  <a:pt x="1224" y="1050"/>
                </a:lnTo>
                <a:lnTo>
                  <a:pt x="1212" y="1050"/>
                </a:lnTo>
                <a:lnTo>
                  <a:pt x="1206" y="1050"/>
                </a:lnTo>
                <a:lnTo>
                  <a:pt x="1200" y="1056"/>
                </a:lnTo>
                <a:lnTo>
                  <a:pt x="1194" y="1062"/>
                </a:lnTo>
                <a:lnTo>
                  <a:pt x="1188" y="1068"/>
                </a:lnTo>
                <a:lnTo>
                  <a:pt x="1188" y="1074"/>
                </a:lnTo>
                <a:lnTo>
                  <a:pt x="1176" y="1086"/>
                </a:lnTo>
                <a:lnTo>
                  <a:pt x="1170" y="1086"/>
                </a:lnTo>
                <a:lnTo>
                  <a:pt x="1170" y="1092"/>
                </a:lnTo>
                <a:lnTo>
                  <a:pt x="1164" y="1098"/>
                </a:lnTo>
                <a:lnTo>
                  <a:pt x="1158" y="1110"/>
                </a:lnTo>
                <a:lnTo>
                  <a:pt x="1152" y="1116"/>
                </a:lnTo>
                <a:lnTo>
                  <a:pt x="1152" y="1122"/>
                </a:lnTo>
                <a:lnTo>
                  <a:pt x="1146" y="1128"/>
                </a:lnTo>
                <a:lnTo>
                  <a:pt x="1152" y="1140"/>
                </a:lnTo>
                <a:lnTo>
                  <a:pt x="1158" y="1140"/>
                </a:lnTo>
                <a:lnTo>
                  <a:pt x="1164" y="1146"/>
                </a:lnTo>
                <a:lnTo>
                  <a:pt x="1164" y="1152"/>
                </a:lnTo>
                <a:lnTo>
                  <a:pt x="1170" y="1164"/>
                </a:lnTo>
                <a:lnTo>
                  <a:pt x="1164" y="1176"/>
                </a:lnTo>
                <a:lnTo>
                  <a:pt x="1170" y="1182"/>
                </a:lnTo>
                <a:lnTo>
                  <a:pt x="1170" y="1194"/>
                </a:lnTo>
                <a:lnTo>
                  <a:pt x="1170" y="1200"/>
                </a:lnTo>
                <a:lnTo>
                  <a:pt x="1182" y="1218"/>
                </a:lnTo>
                <a:lnTo>
                  <a:pt x="1188" y="1218"/>
                </a:lnTo>
                <a:lnTo>
                  <a:pt x="1194" y="1218"/>
                </a:lnTo>
                <a:lnTo>
                  <a:pt x="1194" y="1224"/>
                </a:lnTo>
                <a:lnTo>
                  <a:pt x="1200" y="1230"/>
                </a:lnTo>
                <a:lnTo>
                  <a:pt x="1200" y="1248"/>
                </a:lnTo>
                <a:lnTo>
                  <a:pt x="1212" y="1266"/>
                </a:lnTo>
                <a:lnTo>
                  <a:pt x="1218" y="1278"/>
                </a:lnTo>
                <a:lnTo>
                  <a:pt x="1224" y="1284"/>
                </a:lnTo>
                <a:lnTo>
                  <a:pt x="1236" y="1296"/>
                </a:lnTo>
                <a:lnTo>
                  <a:pt x="1242" y="1302"/>
                </a:lnTo>
                <a:lnTo>
                  <a:pt x="1242" y="1308"/>
                </a:lnTo>
                <a:lnTo>
                  <a:pt x="1272" y="1308"/>
                </a:lnTo>
                <a:lnTo>
                  <a:pt x="1296" y="1314"/>
                </a:lnTo>
                <a:lnTo>
                  <a:pt x="1320" y="1320"/>
                </a:lnTo>
                <a:lnTo>
                  <a:pt x="1338" y="1320"/>
                </a:lnTo>
                <a:lnTo>
                  <a:pt x="1356" y="1332"/>
                </a:lnTo>
                <a:lnTo>
                  <a:pt x="1368" y="1344"/>
                </a:lnTo>
                <a:lnTo>
                  <a:pt x="1374" y="1362"/>
                </a:lnTo>
                <a:lnTo>
                  <a:pt x="1368" y="1362"/>
                </a:lnTo>
                <a:lnTo>
                  <a:pt x="1368" y="1398"/>
                </a:lnTo>
                <a:lnTo>
                  <a:pt x="1368" y="1410"/>
                </a:lnTo>
                <a:lnTo>
                  <a:pt x="1368" y="1428"/>
                </a:lnTo>
                <a:lnTo>
                  <a:pt x="1368" y="1434"/>
                </a:lnTo>
                <a:lnTo>
                  <a:pt x="1368" y="1440"/>
                </a:lnTo>
                <a:lnTo>
                  <a:pt x="1374" y="1446"/>
                </a:lnTo>
                <a:lnTo>
                  <a:pt x="1374" y="1452"/>
                </a:lnTo>
                <a:lnTo>
                  <a:pt x="1380" y="1458"/>
                </a:lnTo>
                <a:lnTo>
                  <a:pt x="1386" y="1464"/>
                </a:lnTo>
                <a:lnTo>
                  <a:pt x="1386" y="1470"/>
                </a:lnTo>
                <a:lnTo>
                  <a:pt x="1380" y="1476"/>
                </a:lnTo>
                <a:lnTo>
                  <a:pt x="1374" y="1482"/>
                </a:lnTo>
                <a:lnTo>
                  <a:pt x="1362" y="1500"/>
                </a:lnTo>
                <a:lnTo>
                  <a:pt x="1362" y="1506"/>
                </a:lnTo>
                <a:lnTo>
                  <a:pt x="1362" y="1512"/>
                </a:lnTo>
                <a:lnTo>
                  <a:pt x="1362" y="1518"/>
                </a:lnTo>
                <a:lnTo>
                  <a:pt x="1362" y="1524"/>
                </a:lnTo>
                <a:lnTo>
                  <a:pt x="1362" y="1536"/>
                </a:lnTo>
                <a:lnTo>
                  <a:pt x="1356" y="1542"/>
                </a:lnTo>
                <a:lnTo>
                  <a:pt x="1338" y="1548"/>
                </a:lnTo>
                <a:lnTo>
                  <a:pt x="1296" y="1548"/>
                </a:lnTo>
                <a:lnTo>
                  <a:pt x="1290" y="1554"/>
                </a:lnTo>
                <a:lnTo>
                  <a:pt x="1284" y="1560"/>
                </a:lnTo>
                <a:lnTo>
                  <a:pt x="1284" y="1566"/>
                </a:lnTo>
                <a:lnTo>
                  <a:pt x="1290" y="1578"/>
                </a:lnTo>
                <a:lnTo>
                  <a:pt x="1296" y="1590"/>
                </a:lnTo>
                <a:lnTo>
                  <a:pt x="1302" y="1590"/>
                </a:lnTo>
                <a:lnTo>
                  <a:pt x="1308" y="1596"/>
                </a:lnTo>
                <a:lnTo>
                  <a:pt x="1320" y="1602"/>
                </a:lnTo>
                <a:lnTo>
                  <a:pt x="1326" y="1602"/>
                </a:lnTo>
                <a:lnTo>
                  <a:pt x="1326" y="1608"/>
                </a:lnTo>
                <a:lnTo>
                  <a:pt x="1332" y="1614"/>
                </a:lnTo>
                <a:lnTo>
                  <a:pt x="1344" y="1620"/>
                </a:lnTo>
                <a:lnTo>
                  <a:pt x="1356" y="1626"/>
                </a:lnTo>
                <a:lnTo>
                  <a:pt x="1356" y="1632"/>
                </a:lnTo>
                <a:lnTo>
                  <a:pt x="1356" y="1638"/>
                </a:lnTo>
                <a:lnTo>
                  <a:pt x="1362" y="1644"/>
                </a:lnTo>
                <a:lnTo>
                  <a:pt x="1368" y="1644"/>
                </a:lnTo>
                <a:lnTo>
                  <a:pt x="1380" y="1650"/>
                </a:lnTo>
                <a:lnTo>
                  <a:pt x="1386" y="1650"/>
                </a:lnTo>
                <a:lnTo>
                  <a:pt x="1386" y="1656"/>
                </a:lnTo>
                <a:lnTo>
                  <a:pt x="1392" y="1656"/>
                </a:lnTo>
                <a:lnTo>
                  <a:pt x="1398" y="1662"/>
                </a:lnTo>
                <a:lnTo>
                  <a:pt x="1410" y="1674"/>
                </a:lnTo>
                <a:lnTo>
                  <a:pt x="1428" y="1680"/>
                </a:lnTo>
                <a:lnTo>
                  <a:pt x="1428" y="1686"/>
                </a:lnTo>
                <a:lnTo>
                  <a:pt x="1428" y="1698"/>
                </a:lnTo>
                <a:lnTo>
                  <a:pt x="1434" y="1704"/>
                </a:lnTo>
                <a:lnTo>
                  <a:pt x="1434" y="1710"/>
                </a:lnTo>
                <a:lnTo>
                  <a:pt x="1440" y="1710"/>
                </a:lnTo>
                <a:lnTo>
                  <a:pt x="1446" y="1710"/>
                </a:lnTo>
                <a:lnTo>
                  <a:pt x="1446" y="1716"/>
                </a:lnTo>
                <a:lnTo>
                  <a:pt x="1440" y="1722"/>
                </a:lnTo>
                <a:lnTo>
                  <a:pt x="1440" y="1728"/>
                </a:lnTo>
                <a:lnTo>
                  <a:pt x="1440" y="1734"/>
                </a:lnTo>
                <a:lnTo>
                  <a:pt x="1440" y="1740"/>
                </a:lnTo>
                <a:lnTo>
                  <a:pt x="1440" y="1746"/>
                </a:lnTo>
                <a:lnTo>
                  <a:pt x="1440" y="1788"/>
                </a:lnTo>
                <a:lnTo>
                  <a:pt x="1440" y="1800"/>
                </a:lnTo>
                <a:lnTo>
                  <a:pt x="1440" y="1806"/>
                </a:lnTo>
                <a:lnTo>
                  <a:pt x="1440" y="1836"/>
                </a:lnTo>
                <a:lnTo>
                  <a:pt x="1440" y="1848"/>
                </a:lnTo>
                <a:lnTo>
                  <a:pt x="1446" y="1848"/>
                </a:lnTo>
                <a:lnTo>
                  <a:pt x="1446" y="1854"/>
                </a:lnTo>
                <a:lnTo>
                  <a:pt x="1452" y="1848"/>
                </a:lnTo>
                <a:lnTo>
                  <a:pt x="1458" y="1854"/>
                </a:lnTo>
                <a:lnTo>
                  <a:pt x="1452" y="1860"/>
                </a:lnTo>
                <a:lnTo>
                  <a:pt x="1452" y="1866"/>
                </a:lnTo>
                <a:lnTo>
                  <a:pt x="1458" y="1872"/>
                </a:lnTo>
                <a:lnTo>
                  <a:pt x="1464" y="1884"/>
                </a:lnTo>
                <a:lnTo>
                  <a:pt x="1428" y="1878"/>
                </a:lnTo>
                <a:lnTo>
                  <a:pt x="1356" y="1890"/>
                </a:lnTo>
                <a:lnTo>
                  <a:pt x="1296" y="1926"/>
                </a:lnTo>
                <a:lnTo>
                  <a:pt x="1266" y="1944"/>
                </a:lnTo>
                <a:lnTo>
                  <a:pt x="1224" y="1944"/>
                </a:lnTo>
                <a:lnTo>
                  <a:pt x="1188" y="1956"/>
                </a:lnTo>
                <a:lnTo>
                  <a:pt x="1188" y="1950"/>
                </a:lnTo>
                <a:lnTo>
                  <a:pt x="1176" y="1944"/>
                </a:lnTo>
                <a:lnTo>
                  <a:pt x="1176" y="1938"/>
                </a:lnTo>
                <a:lnTo>
                  <a:pt x="1170" y="1938"/>
                </a:lnTo>
                <a:lnTo>
                  <a:pt x="1164" y="1932"/>
                </a:lnTo>
                <a:lnTo>
                  <a:pt x="1158" y="1926"/>
                </a:lnTo>
                <a:lnTo>
                  <a:pt x="1158" y="1920"/>
                </a:lnTo>
                <a:lnTo>
                  <a:pt x="1152" y="1920"/>
                </a:lnTo>
                <a:lnTo>
                  <a:pt x="1146" y="1914"/>
                </a:lnTo>
                <a:lnTo>
                  <a:pt x="1146" y="1908"/>
                </a:lnTo>
                <a:lnTo>
                  <a:pt x="1140" y="1908"/>
                </a:lnTo>
                <a:lnTo>
                  <a:pt x="1134" y="1902"/>
                </a:lnTo>
                <a:lnTo>
                  <a:pt x="1134" y="1896"/>
                </a:lnTo>
                <a:lnTo>
                  <a:pt x="1116" y="1896"/>
                </a:lnTo>
                <a:lnTo>
                  <a:pt x="1104" y="1884"/>
                </a:lnTo>
                <a:lnTo>
                  <a:pt x="1092" y="1860"/>
                </a:lnTo>
                <a:lnTo>
                  <a:pt x="1068" y="1854"/>
                </a:lnTo>
                <a:lnTo>
                  <a:pt x="1032" y="1842"/>
                </a:lnTo>
                <a:lnTo>
                  <a:pt x="1008" y="1836"/>
                </a:lnTo>
                <a:lnTo>
                  <a:pt x="978" y="1824"/>
                </a:lnTo>
                <a:lnTo>
                  <a:pt x="942" y="1818"/>
                </a:lnTo>
                <a:lnTo>
                  <a:pt x="924" y="1806"/>
                </a:lnTo>
                <a:lnTo>
                  <a:pt x="906" y="1788"/>
                </a:lnTo>
                <a:lnTo>
                  <a:pt x="894" y="1776"/>
                </a:lnTo>
                <a:lnTo>
                  <a:pt x="864" y="1758"/>
                </a:lnTo>
                <a:lnTo>
                  <a:pt x="834" y="1752"/>
                </a:lnTo>
                <a:lnTo>
                  <a:pt x="798" y="1746"/>
                </a:lnTo>
                <a:lnTo>
                  <a:pt x="792" y="1806"/>
                </a:lnTo>
                <a:lnTo>
                  <a:pt x="798" y="1812"/>
                </a:lnTo>
                <a:lnTo>
                  <a:pt x="810" y="1830"/>
                </a:lnTo>
                <a:lnTo>
                  <a:pt x="792" y="1842"/>
                </a:lnTo>
                <a:lnTo>
                  <a:pt x="768" y="1842"/>
                </a:lnTo>
                <a:lnTo>
                  <a:pt x="708" y="1848"/>
                </a:lnTo>
                <a:lnTo>
                  <a:pt x="690" y="1860"/>
                </a:lnTo>
                <a:lnTo>
                  <a:pt x="690" y="1866"/>
                </a:lnTo>
                <a:lnTo>
                  <a:pt x="678" y="1878"/>
                </a:lnTo>
                <a:lnTo>
                  <a:pt x="660" y="1884"/>
                </a:lnTo>
                <a:lnTo>
                  <a:pt x="660" y="1902"/>
                </a:lnTo>
                <a:lnTo>
                  <a:pt x="642" y="1902"/>
                </a:lnTo>
                <a:lnTo>
                  <a:pt x="582" y="1914"/>
                </a:lnTo>
                <a:lnTo>
                  <a:pt x="534" y="1908"/>
                </a:lnTo>
                <a:lnTo>
                  <a:pt x="510" y="1908"/>
                </a:lnTo>
                <a:lnTo>
                  <a:pt x="510" y="1896"/>
                </a:lnTo>
                <a:lnTo>
                  <a:pt x="492" y="1896"/>
                </a:lnTo>
                <a:lnTo>
                  <a:pt x="486" y="1902"/>
                </a:lnTo>
                <a:lnTo>
                  <a:pt x="474" y="1908"/>
                </a:lnTo>
                <a:lnTo>
                  <a:pt x="450" y="1908"/>
                </a:lnTo>
                <a:lnTo>
                  <a:pt x="432" y="1902"/>
                </a:lnTo>
                <a:lnTo>
                  <a:pt x="426" y="1896"/>
                </a:lnTo>
                <a:lnTo>
                  <a:pt x="402" y="1884"/>
                </a:lnTo>
                <a:lnTo>
                  <a:pt x="390" y="1872"/>
                </a:lnTo>
                <a:lnTo>
                  <a:pt x="384" y="1872"/>
                </a:lnTo>
                <a:lnTo>
                  <a:pt x="378" y="1872"/>
                </a:lnTo>
                <a:lnTo>
                  <a:pt x="378" y="1866"/>
                </a:lnTo>
                <a:lnTo>
                  <a:pt x="372" y="1860"/>
                </a:lnTo>
                <a:lnTo>
                  <a:pt x="372" y="1854"/>
                </a:lnTo>
                <a:lnTo>
                  <a:pt x="366" y="1842"/>
                </a:lnTo>
                <a:lnTo>
                  <a:pt x="366" y="1836"/>
                </a:lnTo>
                <a:lnTo>
                  <a:pt x="348" y="1830"/>
                </a:lnTo>
                <a:lnTo>
                  <a:pt x="348" y="1806"/>
                </a:lnTo>
                <a:lnTo>
                  <a:pt x="348" y="1800"/>
                </a:lnTo>
                <a:lnTo>
                  <a:pt x="348" y="1782"/>
                </a:lnTo>
                <a:lnTo>
                  <a:pt x="336" y="1788"/>
                </a:lnTo>
                <a:lnTo>
                  <a:pt x="312" y="1794"/>
                </a:lnTo>
                <a:lnTo>
                  <a:pt x="288" y="1788"/>
                </a:lnTo>
                <a:lnTo>
                  <a:pt x="264" y="1758"/>
                </a:lnTo>
                <a:lnTo>
                  <a:pt x="270" y="1758"/>
                </a:lnTo>
                <a:lnTo>
                  <a:pt x="270" y="1752"/>
                </a:lnTo>
                <a:lnTo>
                  <a:pt x="276" y="1752"/>
                </a:lnTo>
                <a:lnTo>
                  <a:pt x="282" y="1746"/>
                </a:lnTo>
                <a:lnTo>
                  <a:pt x="300" y="1746"/>
                </a:lnTo>
                <a:lnTo>
                  <a:pt x="312" y="1746"/>
                </a:lnTo>
                <a:lnTo>
                  <a:pt x="336" y="1710"/>
                </a:lnTo>
                <a:lnTo>
                  <a:pt x="342" y="1692"/>
                </a:lnTo>
                <a:lnTo>
                  <a:pt x="348" y="1680"/>
                </a:lnTo>
                <a:lnTo>
                  <a:pt x="342" y="1650"/>
                </a:lnTo>
                <a:lnTo>
                  <a:pt x="354" y="1644"/>
                </a:lnTo>
                <a:lnTo>
                  <a:pt x="354" y="1638"/>
                </a:lnTo>
                <a:lnTo>
                  <a:pt x="360" y="1632"/>
                </a:lnTo>
                <a:lnTo>
                  <a:pt x="354" y="1626"/>
                </a:lnTo>
                <a:lnTo>
                  <a:pt x="348" y="1626"/>
                </a:lnTo>
                <a:lnTo>
                  <a:pt x="348" y="1620"/>
                </a:lnTo>
                <a:lnTo>
                  <a:pt x="342" y="1620"/>
                </a:lnTo>
                <a:lnTo>
                  <a:pt x="348" y="1614"/>
                </a:lnTo>
                <a:lnTo>
                  <a:pt x="324" y="1566"/>
                </a:lnTo>
                <a:lnTo>
                  <a:pt x="318" y="1566"/>
                </a:lnTo>
                <a:lnTo>
                  <a:pt x="306" y="1572"/>
                </a:lnTo>
                <a:lnTo>
                  <a:pt x="300" y="1572"/>
                </a:lnTo>
                <a:lnTo>
                  <a:pt x="294" y="1578"/>
                </a:lnTo>
                <a:lnTo>
                  <a:pt x="288" y="1584"/>
                </a:lnTo>
                <a:lnTo>
                  <a:pt x="282" y="1584"/>
                </a:lnTo>
                <a:lnTo>
                  <a:pt x="282" y="1578"/>
                </a:lnTo>
                <a:lnTo>
                  <a:pt x="276" y="1578"/>
                </a:lnTo>
                <a:lnTo>
                  <a:pt x="270" y="1578"/>
                </a:lnTo>
                <a:lnTo>
                  <a:pt x="264" y="1578"/>
                </a:lnTo>
                <a:lnTo>
                  <a:pt x="258" y="1578"/>
                </a:lnTo>
                <a:lnTo>
                  <a:pt x="252" y="1578"/>
                </a:lnTo>
                <a:lnTo>
                  <a:pt x="252" y="1584"/>
                </a:lnTo>
                <a:lnTo>
                  <a:pt x="246" y="1584"/>
                </a:lnTo>
                <a:lnTo>
                  <a:pt x="210" y="1584"/>
                </a:lnTo>
                <a:lnTo>
                  <a:pt x="204" y="1584"/>
                </a:lnTo>
                <a:lnTo>
                  <a:pt x="192" y="1584"/>
                </a:lnTo>
                <a:lnTo>
                  <a:pt x="168" y="1596"/>
                </a:lnTo>
                <a:lnTo>
                  <a:pt x="156" y="1572"/>
                </a:lnTo>
                <a:lnTo>
                  <a:pt x="156" y="1566"/>
                </a:lnTo>
                <a:lnTo>
                  <a:pt x="156" y="1560"/>
                </a:lnTo>
                <a:lnTo>
                  <a:pt x="162" y="1548"/>
                </a:lnTo>
                <a:lnTo>
                  <a:pt x="162" y="1542"/>
                </a:lnTo>
                <a:lnTo>
                  <a:pt x="162" y="1536"/>
                </a:lnTo>
                <a:lnTo>
                  <a:pt x="168" y="1530"/>
                </a:lnTo>
                <a:lnTo>
                  <a:pt x="168" y="1524"/>
                </a:lnTo>
                <a:lnTo>
                  <a:pt x="168" y="1518"/>
                </a:lnTo>
                <a:lnTo>
                  <a:pt x="174" y="1518"/>
                </a:lnTo>
                <a:lnTo>
                  <a:pt x="174" y="1506"/>
                </a:lnTo>
                <a:lnTo>
                  <a:pt x="156" y="1470"/>
                </a:lnTo>
                <a:lnTo>
                  <a:pt x="138" y="1464"/>
                </a:lnTo>
                <a:lnTo>
                  <a:pt x="126" y="1446"/>
                </a:lnTo>
                <a:lnTo>
                  <a:pt x="126" y="1440"/>
                </a:lnTo>
                <a:lnTo>
                  <a:pt x="126" y="1434"/>
                </a:lnTo>
                <a:lnTo>
                  <a:pt x="120" y="1428"/>
                </a:lnTo>
                <a:lnTo>
                  <a:pt x="126" y="1398"/>
                </a:lnTo>
                <a:lnTo>
                  <a:pt x="120" y="1374"/>
                </a:lnTo>
                <a:lnTo>
                  <a:pt x="60" y="1374"/>
                </a:lnTo>
                <a:lnTo>
                  <a:pt x="60" y="1368"/>
                </a:lnTo>
                <a:lnTo>
                  <a:pt x="54" y="1362"/>
                </a:lnTo>
                <a:lnTo>
                  <a:pt x="48" y="1356"/>
                </a:lnTo>
                <a:lnTo>
                  <a:pt x="42" y="1356"/>
                </a:lnTo>
                <a:lnTo>
                  <a:pt x="42" y="1350"/>
                </a:lnTo>
                <a:lnTo>
                  <a:pt x="36" y="1344"/>
                </a:lnTo>
                <a:lnTo>
                  <a:pt x="36" y="1338"/>
                </a:lnTo>
                <a:lnTo>
                  <a:pt x="30" y="1332"/>
                </a:lnTo>
                <a:lnTo>
                  <a:pt x="30" y="1326"/>
                </a:lnTo>
                <a:lnTo>
                  <a:pt x="18" y="1326"/>
                </a:lnTo>
                <a:lnTo>
                  <a:pt x="18" y="1320"/>
                </a:lnTo>
                <a:lnTo>
                  <a:pt x="18" y="1326"/>
                </a:lnTo>
                <a:lnTo>
                  <a:pt x="6" y="1320"/>
                </a:lnTo>
                <a:lnTo>
                  <a:pt x="0" y="1314"/>
                </a:lnTo>
                <a:lnTo>
                  <a:pt x="12" y="1266"/>
                </a:lnTo>
                <a:lnTo>
                  <a:pt x="6" y="1242"/>
                </a:lnTo>
                <a:lnTo>
                  <a:pt x="12" y="1236"/>
                </a:lnTo>
                <a:lnTo>
                  <a:pt x="12" y="1230"/>
                </a:lnTo>
                <a:lnTo>
                  <a:pt x="18" y="1230"/>
                </a:lnTo>
                <a:lnTo>
                  <a:pt x="18" y="1224"/>
                </a:lnTo>
                <a:lnTo>
                  <a:pt x="24" y="1218"/>
                </a:lnTo>
                <a:lnTo>
                  <a:pt x="24" y="1212"/>
                </a:lnTo>
                <a:lnTo>
                  <a:pt x="30" y="1212"/>
                </a:lnTo>
                <a:lnTo>
                  <a:pt x="36" y="1200"/>
                </a:lnTo>
                <a:lnTo>
                  <a:pt x="42" y="1194"/>
                </a:lnTo>
                <a:lnTo>
                  <a:pt x="42" y="1188"/>
                </a:lnTo>
                <a:lnTo>
                  <a:pt x="48" y="1188"/>
                </a:lnTo>
                <a:lnTo>
                  <a:pt x="48" y="1182"/>
                </a:lnTo>
                <a:lnTo>
                  <a:pt x="48" y="1176"/>
                </a:lnTo>
                <a:lnTo>
                  <a:pt x="48" y="1170"/>
                </a:lnTo>
                <a:lnTo>
                  <a:pt x="54" y="1170"/>
                </a:lnTo>
                <a:lnTo>
                  <a:pt x="60" y="1164"/>
                </a:lnTo>
                <a:lnTo>
                  <a:pt x="60" y="1158"/>
                </a:lnTo>
                <a:lnTo>
                  <a:pt x="66" y="1152"/>
                </a:lnTo>
                <a:lnTo>
                  <a:pt x="60" y="1140"/>
                </a:lnTo>
                <a:lnTo>
                  <a:pt x="60" y="1134"/>
                </a:lnTo>
                <a:lnTo>
                  <a:pt x="54" y="1134"/>
                </a:lnTo>
                <a:lnTo>
                  <a:pt x="54" y="1128"/>
                </a:lnTo>
                <a:lnTo>
                  <a:pt x="48" y="1122"/>
                </a:lnTo>
                <a:lnTo>
                  <a:pt x="48" y="1116"/>
                </a:lnTo>
                <a:lnTo>
                  <a:pt x="48" y="1110"/>
                </a:lnTo>
                <a:lnTo>
                  <a:pt x="42" y="1104"/>
                </a:lnTo>
                <a:lnTo>
                  <a:pt x="42" y="1098"/>
                </a:lnTo>
                <a:lnTo>
                  <a:pt x="36" y="1092"/>
                </a:lnTo>
                <a:lnTo>
                  <a:pt x="30" y="1092"/>
                </a:lnTo>
                <a:lnTo>
                  <a:pt x="24" y="1092"/>
                </a:lnTo>
                <a:lnTo>
                  <a:pt x="24" y="1086"/>
                </a:lnTo>
                <a:lnTo>
                  <a:pt x="24" y="1080"/>
                </a:lnTo>
                <a:lnTo>
                  <a:pt x="18" y="1080"/>
                </a:lnTo>
                <a:lnTo>
                  <a:pt x="18" y="1074"/>
                </a:lnTo>
                <a:lnTo>
                  <a:pt x="12" y="1068"/>
                </a:lnTo>
                <a:lnTo>
                  <a:pt x="6" y="1068"/>
                </a:lnTo>
                <a:lnTo>
                  <a:pt x="12" y="1056"/>
                </a:lnTo>
                <a:lnTo>
                  <a:pt x="6" y="1056"/>
                </a:lnTo>
                <a:lnTo>
                  <a:pt x="6" y="1050"/>
                </a:lnTo>
                <a:lnTo>
                  <a:pt x="6" y="1044"/>
                </a:lnTo>
                <a:lnTo>
                  <a:pt x="6" y="1026"/>
                </a:lnTo>
                <a:lnTo>
                  <a:pt x="12" y="1020"/>
                </a:lnTo>
                <a:lnTo>
                  <a:pt x="12" y="1014"/>
                </a:lnTo>
                <a:lnTo>
                  <a:pt x="18" y="1014"/>
                </a:lnTo>
                <a:lnTo>
                  <a:pt x="18" y="1008"/>
                </a:lnTo>
                <a:lnTo>
                  <a:pt x="18" y="1002"/>
                </a:lnTo>
                <a:lnTo>
                  <a:pt x="18" y="990"/>
                </a:lnTo>
                <a:lnTo>
                  <a:pt x="12" y="972"/>
                </a:lnTo>
                <a:lnTo>
                  <a:pt x="18" y="954"/>
                </a:lnTo>
                <a:lnTo>
                  <a:pt x="18" y="948"/>
                </a:lnTo>
                <a:lnTo>
                  <a:pt x="24" y="948"/>
                </a:lnTo>
                <a:lnTo>
                  <a:pt x="24" y="930"/>
                </a:lnTo>
                <a:lnTo>
                  <a:pt x="30" y="930"/>
                </a:lnTo>
                <a:lnTo>
                  <a:pt x="36" y="918"/>
                </a:lnTo>
                <a:lnTo>
                  <a:pt x="42" y="918"/>
                </a:lnTo>
                <a:lnTo>
                  <a:pt x="48" y="918"/>
                </a:lnTo>
                <a:lnTo>
                  <a:pt x="78" y="912"/>
                </a:lnTo>
                <a:lnTo>
                  <a:pt x="90" y="894"/>
                </a:lnTo>
                <a:lnTo>
                  <a:pt x="96" y="894"/>
                </a:lnTo>
                <a:lnTo>
                  <a:pt x="102" y="888"/>
                </a:lnTo>
                <a:lnTo>
                  <a:pt x="102" y="882"/>
                </a:lnTo>
                <a:lnTo>
                  <a:pt x="114" y="870"/>
                </a:lnTo>
                <a:lnTo>
                  <a:pt x="120" y="864"/>
                </a:lnTo>
                <a:lnTo>
                  <a:pt x="120" y="852"/>
                </a:lnTo>
                <a:lnTo>
                  <a:pt x="120" y="846"/>
                </a:lnTo>
                <a:lnTo>
                  <a:pt x="126" y="846"/>
                </a:lnTo>
                <a:lnTo>
                  <a:pt x="126" y="840"/>
                </a:lnTo>
                <a:lnTo>
                  <a:pt x="132" y="840"/>
                </a:lnTo>
                <a:lnTo>
                  <a:pt x="138" y="840"/>
                </a:lnTo>
                <a:lnTo>
                  <a:pt x="138" y="834"/>
                </a:lnTo>
                <a:lnTo>
                  <a:pt x="144" y="834"/>
                </a:lnTo>
                <a:lnTo>
                  <a:pt x="144" y="828"/>
                </a:lnTo>
                <a:lnTo>
                  <a:pt x="150" y="828"/>
                </a:lnTo>
                <a:lnTo>
                  <a:pt x="156" y="822"/>
                </a:lnTo>
                <a:lnTo>
                  <a:pt x="162" y="816"/>
                </a:lnTo>
                <a:lnTo>
                  <a:pt x="162" y="822"/>
                </a:lnTo>
                <a:lnTo>
                  <a:pt x="162" y="816"/>
                </a:lnTo>
                <a:lnTo>
                  <a:pt x="162" y="810"/>
                </a:lnTo>
                <a:lnTo>
                  <a:pt x="168" y="810"/>
                </a:lnTo>
                <a:lnTo>
                  <a:pt x="174" y="804"/>
                </a:lnTo>
                <a:lnTo>
                  <a:pt x="180" y="798"/>
                </a:lnTo>
                <a:lnTo>
                  <a:pt x="180" y="786"/>
                </a:lnTo>
                <a:lnTo>
                  <a:pt x="186" y="786"/>
                </a:lnTo>
                <a:lnTo>
                  <a:pt x="192" y="786"/>
                </a:lnTo>
                <a:lnTo>
                  <a:pt x="192" y="780"/>
                </a:lnTo>
                <a:lnTo>
                  <a:pt x="198" y="780"/>
                </a:lnTo>
                <a:lnTo>
                  <a:pt x="204" y="774"/>
                </a:lnTo>
                <a:lnTo>
                  <a:pt x="210" y="774"/>
                </a:lnTo>
                <a:lnTo>
                  <a:pt x="216" y="768"/>
                </a:lnTo>
                <a:lnTo>
                  <a:pt x="222" y="762"/>
                </a:lnTo>
                <a:lnTo>
                  <a:pt x="228" y="762"/>
                </a:lnTo>
                <a:lnTo>
                  <a:pt x="228" y="768"/>
                </a:lnTo>
                <a:lnTo>
                  <a:pt x="234" y="768"/>
                </a:lnTo>
                <a:lnTo>
                  <a:pt x="240" y="762"/>
                </a:lnTo>
                <a:lnTo>
                  <a:pt x="252" y="762"/>
                </a:lnTo>
                <a:lnTo>
                  <a:pt x="264" y="768"/>
                </a:lnTo>
                <a:lnTo>
                  <a:pt x="294" y="756"/>
                </a:lnTo>
                <a:lnTo>
                  <a:pt x="294" y="750"/>
                </a:lnTo>
                <a:lnTo>
                  <a:pt x="300" y="750"/>
                </a:lnTo>
                <a:lnTo>
                  <a:pt x="306" y="744"/>
                </a:lnTo>
                <a:lnTo>
                  <a:pt x="342" y="750"/>
                </a:lnTo>
                <a:lnTo>
                  <a:pt x="348" y="750"/>
                </a:lnTo>
                <a:lnTo>
                  <a:pt x="348" y="744"/>
                </a:lnTo>
                <a:lnTo>
                  <a:pt x="354" y="744"/>
                </a:lnTo>
                <a:lnTo>
                  <a:pt x="360" y="744"/>
                </a:lnTo>
                <a:lnTo>
                  <a:pt x="360" y="750"/>
                </a:lnTo>
                <a:lnTo>
                  <a:pt x="366" y="750"/>
                </a:lnTo>
                <a:lnTo>
                  <a:pt x="366" y="744"/>
                </a:lnTo>
                <a:lnTo>
                  <a:pt x="366" y="738"/>
                </a:lnTo>
                <a:lnTo>
                  <a:pt x="372" y="744"/>
                </a:lnTo>
                <a:lnTo>
                  <a:pt x="378" y="744"/>
                </a:lnTo>
                <a:lnTo>
                  <a:pt x="384" y="750"/>
                </a:lnTo>
                <a:lnTo>
                  <a:pt x="444" y="774"/>
                </a:lnTo>
                <a:lnTo>
                  <a:pt x="450" y="774"/>
                </a:lnTo>
                <a:lnTo>
                  <a:pt x="456" y="768"/>
                </a:lnTo>
                <a:lnTo>
                  <a:pt x="462" y="768"/>
                </a:lnTo>
                <a:lnTo>
                  <a:pt x="462" y="762"/>
                </a:lnTo>
                <a:lnTo>
                  <a:pt x="468" y="762"/>
                </a:lnTo>
                <a:lnTo>
                  <a:pt x="474" y="756"/>
                </a:lnTo>
                <a:lnTo>
                  <a:pt x="480" y="750"/>
                </a:lnTo>
                <a:lnTo>
                  <a:pt x="516" y="756"/>
                </a:lnTo>
                <a:lnTo>
                  <a:pt x="522" y="756"/>
                </a:lnTo>
                <a:lnTo>
                  <a:pt x="522" y="762"/>
                </a:lnTo>
                <a:lnTo>
                  <a:pt x="522" y="768"/>
                </a:lnTo>
                <a:lnTo>
                  <a:pt x="522" y="774"/>
                </a:lnTo>
                <a:lnTo>
                  <a:pt x="528" y="780"/>
                </a:lnTo>
                <a:lnTo>
                  <a:pt x="540" y="780"/>
                </a:lnTo>
                <a:lnTo>
                  <a:pt x="540" y="804"/>
                </a:lnTo>
                <a:lnTo>
                  <a:pt x="540" y="810"/>
                </a:lnTo>
                <a:lnTo>
                  <a:pt x="546" y="810"/>
                </a:lnTo>
                <a:lnTo>
                  <a:pt x="552" y="810"/>
                </a:lnTo>
                <a:lnTo>
                  <a:pt x="558" y="810"/>
                </a:lnTo>
                <a:lnTo>
                  <a:pt x="564" y="810"/>
                </a:lnTo>
                <a:lnTo>
                  <a:pt x="570" y="810"/>
                </a:lnTo>
                <a:lnTo>
                  <a:pt x="576" y="810"/>
                </a:lnTo>
                <a:lnTo>
                  <a:pt x="576" y="816"/>
                </a:lnTo>
                <a:lnTo>
                  <a:pt x="588" y="816"/>
                </a:lnTo>
                <a:lnTo>
                  <a:pt x="594" y="816"/>
                </a:lnTo>
                <a:lnTo>
                  <a:pt x="600" y="822"/>
                </a:lnTo>
                <a:lnTo>
                  <a:pt x="606" y="816"/>
                </a:lnTo>
                <a:lnTo>
                  <a:pt x="612" y="816"/>
                </a:lnTo>
                <a:lnTo>
                  <a:pt x="612" y="810"/>
                </a:lnTo>
                <a:lnTo>
                  <a:pt x="624" y="810"/>
                </a:lnTo>
                <a:lnTo>
                  <a:pt x="624" y="804"/>
                </a:lnTo>
                <a:lnTo>
                  <a:pt x="630" y="798"/>
                </a:lnTo>
                <a:lnTo>
                  <a:pt x="636" y="798"/>
                </a:lnTo>
                <a:lnTo>
                  <a:pt x="636" y="804"/>
                </a:lnTo>
                <a:lnTo>
                  <a:pt x="642" y="804"/>
                </a:lnTo>
                <a:lnTo>
                  <a:pt x="648" y="804"/>
                </a:lnTo>
                <a:lnTo>
                  <a:pt x="654" y="804"/>
                </a:lnTo>
                <a:lnTo>
                  <a:pt x="660" y="804"/>
                </a:lnTo>
                <a:lnTo>
                  <a:pt x="678" y="798"/>
                </a:lnTo>
                <a:lnTo>
                  <a:pt x="714" y="786"/>
                </a:lnTo>
                <a:lnTo>
                  <a:pt x="714" y="792"/>
                </a:lnTo>
                <a:lnTo>
                  <a:pt x="714" y="798"/>
                </a:lnTo>
                <a:lnTo>
                  <a:pt x="714" y="804"/>
                </a:lnTo>
                <a:lnTo>
                  <a:pt x="720" y="804"/>
                </a:lnTo>
                <a:lnTo>
                  <a:pt x="720" y="810"/>
                </a:lnTo>
                <a:lnTo>
                  <a:pt x="720" y="816"/>
                </a:lnTo>
                <a:lnTo>
                  <a:pt x="726" y="822"/>
                </a:lnTo>
                <a:lnTo>
                  <a:pt x="732" y="828"/>
                </a:lnTo>
                <a:lnTo>
                  <a:pt x="732" y="834"/>
                </a:lnTo>
                <a:lnTo>
                  <a:pt x="732" y="846"/>
                </a:lnTo>
                <a:lnTo>
                  <a:pt x="732" y="858"/>
                </a:lnTo>
                <a:lnTo>
                  <a:pt x="738" y="858"/>
                </a:lnTo>
                <a:lnTo>
                  <a:pt x="732" y="864"/>
                </a:lnTo>
                <a:lnTo>
                  <a:pt x="732" y="870"/>
                </a:lnTo>
                <a:lnTo>
                  <a:pt x="726" y="870"/>
                </a:lnTo>
                <a:lnTo>
                  <a:pt x="726" y="876"/>
                </a:lnTo>
                <a:lnTo>
                  <a:pt x="720" y="882"/>
                </a:lnTo>
                <a:lnTo>
                  <a:pt x="714" y="876"/>
                </a:lnTo>
                <a:lnTo>
                  <a:pt x="708" y="870"/>
                </a:lnTo>
                <a:lnTo>
                  <a:pt x="702" y="870"/>
                </a:lnTo>
                <a:lnTo>
                  <a:pt x="690" y="882"/>
                </a:lnTo>
                <a:lnTo>
                  <a:pt x="690" y="912"/>
                </a:lnTo>
                <a:lnTo>
                  <a:pt x="696" y="936"/>
                </a:lnTo>
                <a:lnTo>
                  <a:pt x="702" y="936"/>
                </a:lnTo>
                <a:lnTo>
                  <a:pt x="702" y="930"/>
                </a:lnTo>
                <a:lnTo>
                  <a:pt x="708" y="930"/>
                </a:lnTo>
                <a:lnTo>
                  <a:pt x="708" y="924"/>
                </a:lnTo>
                <a:lnTo>
                  <a:pt x="708" y="918"/>
                </a:lnTo>
                <a:lnTo>
                  <a:pt x="714" y="918"/>
                </a:lnTo>
                <a:lnTo>
                  <a:pt x="720" y="954"/>
                </a:lnTo>
                <a:lnTo>
                  <a:pt x="726" y="966"/>
                </a:lnTo>
                <a:lnTo>
                  <a:pt x="744" y="966"/>
                </a:lnTo>
                <a:lnTo>
                  <a:pt x="756" y="972"/>
                </a:lnTo>
                <a:lnTo>
                  <a:pt x="792" y="990"/>
                </a:lnTo>
                <a:lnTo>
                  <a:pt x="828" y="978"/>
                </a:lnTo>
                <a:lnTo>
                  <a:pt x="834" y="978"/>
                </a:lnTo>
                <a:lnTo>
                  <a:pt x="840" y="978"/>
                </a:lnTo>
                <a:lnTo>
                  <a:pt x="840" y="984"/>
                </a:lnTo>
                <a:lnTo>
                  <a:pt x="846" y="984"/>
                </a:lnTo>
                <a:lnTo>
                  <a:pt x="858" y="972"/>
                </a:lnTo>
                <a:lnTo>
                  <a:pt x="882" y="972"/>
                </a:lnTo>
                <a:lnTo>
                  <a:pt x="888" y="984"/>
                </a:lnTo>
                <a:lnTo>
                  <a:pt x="900" y="990"/>
                </a:lnTo>
                <a:lnTo>
                  <a:pt x="924" y="996"/>
                </a:lnTo>
                <a:lnTo>
                  <a:pt x="930" y="990"/>
                </a:lnTo>
                <a:lnTo>
                  <a:pt x="930" y="984"/>
                </a:lnTo>
                <a:lnTo>
                  <a:pt x="924" y="978"/>
                </a:lnTo>
                <a:lnTo>
                  <a:pt x="906" y="972"/>
                </a:lnTo>
                <a:lnTo>
                  <a:pt x="900" y="966"/>
                </a:lnTo>
                <a:lnTo>
                  <a:pt x="900" y="960"/>
                </a:lnTo>
                <a:lnTo>
                  <a:pt x="900" y="954"/>
                </a:lnTo>
                <a:lnTo>
                  <a:pt x="900" y="948"/>
                </a:lnTo>
                <a:lnTo>
                  <a:pt x="912" y="936"/>
                </a:lnTo>
                <a:lnTo>
                  <a:pt x="912" y="924"/>
                </a:lnTo>
                <a:lnTo>
                  <a:pt x="918" y="924"/>
                </a:lnTo>
                <a:lnTo>
                  <a:pt x="918" y="918"/>
                </a:lnTo>
                <a:lnTo>
                  <a:pt x="936" y="906"/>
                </a:lnTo>
                <a:lnTo>
                  <a:pt x="942" y="906"/>
                </a:lnTo>
                <a:lnTo>
                  <a:pt x="948" y="906"/>
                </a:lnTo>
                <a:lnTo>
                  <a:pt x="954" y="906"/>
                </a:lnTo>
                <a:lnTo>
                  <a:pt x="960" y="906"/>
                </a:lnTo>
                <a:lnTo>
                  <a:pt x="966" y="912"/>
                </a:lnTo>
                <a:lnTo>
                  <a:pt x="972" y="906"/>
                </a:lnTo>
                <a:lnTo>
                  <a:pt x="978" y="906"/>
                </a:lnTo>
                <a:lnTo>
                  <a:pt x="984" y="900"/>
                </a:lnTo>
                <a:lnTo>
                  <a:pt x="984" y="894"/>
                </a:lnTo>
                <a:lnTo>
                  <a:pt x="990" y="894"/>
                </a:lnTo>
                <a:lnTo>
                  <a:pt x="996" y="888"/>
                </a:lnTo>
                <a:lnTo>
                  <a:pt x="1002" y="888"/>
                </a:lnTo>
                <a:lnTo>
                  <a:pt x="1008" y="882"/>
                </a:lnTo>
                <a:lnTo>
                  <a:pt x="1014" y="882"/>
                </a:lnTo>
                <a:lnTo>
                  <a:pt x="1020" y="882"/>
                </a:lnTo>
                <a:lnTo>
                  <a:pt x="1020" y="888"/>
                </a:lnTo>
                <a:lnTo>
                  <a:pt x="1026" y="882"/>
                </a:lnTo>
                <a:lnTo>
                  <a:pt x="1026" y="876"/>
                </a:lnTo>
                <a:lnTo>
                  <a:pt x="1026" y="870"/>
                </a:lnTo>
                <a:lnTo>
                  <a:pt x="1032" y="864"/>
                </a:lnTo>
                <a:lnTo>
                  <a:pt x="1038" y="858"/>
                </a:lnTo>
                <a:lnTo>
                  <a:pt x="1038" y="852"/>
                </a:lnTo>
                <a:lnTo>
                  <a:pt x="1044" y="852"/>
                </a:lnTo>
                <a:lnTo>
                  <a:pt x="1038" y="846"/>
                </a:lnTo>
                <a:lnTo>
                  <a:pt x="1038" y="840"/>
                </a:lnTo>
                <a:lnTo>
                  <a:pt x="1032" y="840"/>
                </a:lnTo>
                <a:lnTo>
                  <a:pt x="1026" y="840"/>
                </a:lnTo>
                <a:lnTo>
                  <a:pt x="1020" y="840"/>
                </a:lnTo>
                <a:lnTo>
                  <a:pt x="1014" y="846"/>
                </a:lnTo>
                <a:lnTo>
                  <a:pt x="1008" y="846"/>
                </a:lnTo>
                <a:lnTo>
                  <a:pt x="1002" y="840"/>
                </a:lnTo>
                <a:lnTo>
                  <a:pt x="996" y="840"/>
                </a:lnTo>
                <a:lnTo>
                  <a:pt x="990" y="834"/>
                </a:lnTo>
                <a:lnTo>
                  <a:pt x="984" y="834"/>
                </a:lnTo>
                <a:lnTo>
                  <a:pt x="978" y="834"/>
                </a:lnTo>
                <a:lnTo>
                  <a:pt x="972" y="834"/>
                </a:lnTo>
                <a:lnTo>
                  <a:pt x="966" y="834"/>
                </a:lnTo>
                <a:lnTo>
                  <a:pt x="966" y="828"/>
                </a:lnTo>
                <a:lnTo>
                  <a:pt x="960" y="828"/>
                </a:lnTo>
                <a:lnTo>
                  <a:pt x="954" y="828"/>
                </a:lnTo>
                <a:lnTo>
                  <a:pt x="942" y="828"/>
                </a:lnTo>
                <a:lnTo>
                  <a:pt x="936" y="828"/>
                </a:lnTo>
                <a:lnTo>
                  <a:pt x="930" y="828"/>
                </a:lnTo>
                <a:lnTo>
                  <a:pt x="918" y="828"/>
                </a:lnTo>
                <a:lnTo>
                  <a:pt x="918" y="822"/>
                </a:lnTo>
                <a:lnTo>
                  <a:pt x="912" y="828"/>
                </a:lnTo>
                <a:lnTo>
                  <a:pt x="912" y="822"/>
                </a:lnTo>
                <a:lnTo>
                  <a:pt x="906" y="816"/>
                </a:lnTo>
                <a:lnTo>
                  <a:pt x="900" y="816"/>
                </a:lnTo>
                <a:lnTo>
                  <a:pt x="894" y="816"/>
                </a:lnTo>
                <a:lnTo>
                  <a:pt x="888" y="816"/>
                </a:lnTo>
                <a:lnTo>
                  <a:pt x="882" y="816"/>
                </a:lnTo>
                <a:lnTo>
                  <a:pt x="882" y="810"/>
                </a:lnTo>
                <a:lnTo>
                  <a:pt x="876" y="804"/>
                </a:lnTo>
                <a:lnTo>
                  <a:pt x="870" y="804"/>
                </a:lnTo>
                <a:lnTo>
                  <a:pt x="864" y="798"/>
                </a:lnTo>
                <a:lnTo>
                  <a:pt x="858" y="798"/>
                </a:lnTo>
                <a:lnTo>
                  <a:pt x="858" y="804"/>
                </a:lnTo>
                <a:lnTo>
                  <a:pt x="852" y="804"/>
                </a:lnTo>
                <a:lnTo>
                  <a:pt x="846" y="804"/>
                </a:lnTo>
                <a:lnTo>
                  <a:pt x="846" y="798"/>
                </a:lnTo>
                <a:lnTo>
                  <a:pt x="840" y="804"/>
                </a:lnTo>
                <a:lnTo>
                  <a:pt x="834" y="804"/>
                </a:lnTo>
                <a:lnTo>
                  <a:pt x="828" y="804"/>
                </a:lnTo>
                <a:lnTo>
                  <a:pt x="828" y="810"/>
                </a:lnTo>
                <a:lnTo>
                  <a:pt x="822" y="810"/>
                </a:lnTo>
                <a:lnTo>
                  <a:pt x="810" y="804"/>
                </a:lnTo>
                <a:lnTo>
                  <a:pt x="810" y="798"/>
                </a:lnTo>
                <a:lnTo>
                  <a:pt x="780" y="798"/>
                </a:lnTo>
                <a:lnTo>
                  <a:pt x="756" y="774"/>
                </a:lnTo>
                <a:lnTo>
                  <a:pt x="750" y="768"/>
                </a:lnTo>
                <a:lnTo>
                  <a:pt x="750" y="744"/>
                </a:lnTo>
                <a:lnTo>
                  <a:pt x="732" y="738"/>
                </a:lnTo>
                <a:lnTo>
                  <a:pt x="732" y="720"/>
                </a:lnTo>
                <a:lnTo>
                  <a:pt x="714" y="690"/>
                </a:lnTo>
                <a:lnTo>
                  <a:pt x="702" y="684"/>
                </a:lnTo>
                <a:lnTo>
                  <a:pt x="696" y="684"/>
                </a:lnTo>
                <a:lnTo>
                  <a:pt x="696" y="666"/>
                </a:lnTo>
                <a:lnTo>
                  <a:pt x="690" y="666"/>
                </a:lnTo>
                <a:lnTo>
                  <a:pt x="678" y="672"/>
                </a:lnTo>
                <a:lnTo>
                  <a:pt x="678" y="654"/>
                </a:lnTo>
                <a:lnTo>
                  <a:pt x="684" y="630"/>
                </a:lnTo>
                <a:lnTo>
                  <a:pt x="690" y="618"/>
                </a:lnTo>
                <a:lnTo>
                  <a:pt x="696" y="612"/>
                </a:lnTo>
                <a:lnTo>
                  <a:pt x="696" y="588"/>
                </a:lnTo>
                <a:lnTo>
                  <a:pt x="690" y="576"/>
                </a:lnTo>
                <a:lnTo>
                  <a:pt x="696" y="552"/>
                </a:lnTo>
                <a:lnTo>
                  <a:pt x="684" y="522"/>
                </a:lnTo>
                <a:lnTo>
                  <a:pt x="672" y="504"/>
                </a:lnTo>
                <a:lnTo>
                  <a:pt x="654" y="504"/>
                </a:lnTo>
                <a:lnTo>
                  <a:pt x="642" y="504"/>
                </a:lnTo>
                <a:lnTo>
                  <a:pt x="624" y="510"/>
                </a:lnTo>
                <a:lnTo>
                  <a:pt x="612" y="516"/>
                </a:lnTo>
                <a:lnTo>
                  <a:pt x="594" y="516"/>
                </a:lnTo>
                <a:lnTo>
                  <a:pt x="588" y="516"/>
                </a:lnTo>
                <a:lnTo>
                  <a:pt x="588" y="522"/>
                </a:lnTo>
                <a:lnTo>
                  <a:pt x="582" y="516"/>
                </a:lnTo>
                <a:lnTo>
                  <a:pt x="588" y="510"/>
                </a:lnTo>
                <a:lnTo>
                  <a:pt x="582" y="510"/>
                </a:lnTo>
                <a:lnTo>
                  <a:pt x="582" y="504"/>
                </a:lnTo>
                <a:lnTo>
                  <a:pt x="576" y="498"/>
                </a:lnTo>
                <a:lnTo>
                  <a:pt x="570" y="498"/>
                </a:lnTo>
                <a:lnTo>
                  <a:pt x="570" y="492"/>
                </a:lnTo>
                <a:lnTo>
                  <a:pt x="564" y="492"/>
                </a:lnTo>
                <a:lnTo>
                  <a:pt x="570" y="486"/>
                </a:lnTo>
                <a:lnTo>
                  <a:pt x="564" y="486"/>
                </a:lnTo>
                <a:lnTo>
                  <a:pt x="564" y="480"/>
                </a:lnTo>
                <a:lnTo>
                  <a:pt x="564" y="474"/>
                </a:lnTo>
                <a:lnTo>
                  <a:pt x="558" y="468"/>
                </a:lnTo>
                <a:lnTo>
                  <a:pt x="564" y="468"/>
                </a:lnTo>
                <a:lnTo>
                  <a:pt x="564" y="462"/>
                </a:lnTo>
                <a:lnTo>
                  <a:pt x="570" y="462"/>
                </a:lnTo>
                <a:lnTo>
                  <a:pt x="570" y="456"/>
                </a:lnTo>
                <a:lnTo>
                  <a:pt x="570" y="450"/>
                </a:lnTo>
                <a:lnTo>
                  <a:pt x="576" y="450"/>
                </a:lnTo>
                <a:lnTo>
                  <a:pt x="576" y="444"/>
                </a:lnTo>
                <a:lnTo>
                  <a:pt x="582" y="438"/>
                </a:lnTo>
                <a:lnTo>
                  <a:pt x="588" y="438"/>
                </a:lnTo>
                <a:lnTo>
                  <a:pt x="588" y="444"/>
                </a:lnTo>
                <a:lnTo>
                  <a:pt x="594" y="438"/>
                </a:lnTo>
                <a:lnTo>
                  <a:pt x="594" y="432"/>
                </a:lnTo>
                <a:lnTo>
                  <a:pt x="600" y="432"/>
                </a:lnTo>
                <a:lnTo>
                  <a:pt x="600" y="426"/>
                </a:lnTo>
                <a:lnTo>
                  <a:pt x="600" y="420"/>
                </a:lnTo>
                <a:lnTo>
                  <a:pt x="606" y="420"/>
                </a:lnTo>
                <a:lnTo>
                  <a:pt x="600" y="420"/>
                </a:lnTo>
                <a:lnTo>
                  <a:pt x="600" y="414"/>
                </a:lnTo>
                <a:lnTo>
                  <a:pt x="606" y="408"/>
                </a:lnTo>
                <a:lnTo>
                  <a:pt x="612" y="408"/>
                </a:lnTo>
                <a:lnTo>
                  <a:pt x="612" y="414"/>
                </a:lnTo>
                <a:lnTo>
                  <a:pt x="618" y="414"/>
                </a:lnTo>
                <a:lnTo>
                  <a:pt x="624" y="414"/>
                </a:lnTo>
                <a:lnTo>
                  <a:pt x="630" y="414"/>
                </a:lnTo>
                <a:lnTo>
                  <a:pt x="636" y="414"/>
                </a:lnTo>
                <a:lnTo>
                  <a:pt x="642" y="408"/>
                </a:lnTo>
                <a:lnTo>
                  <a:pt x="648" y="408"/>
                </a:lnTo>
                <a:lnTo>
                  <a:pt x="660" y="408"/>
                </a:lnTo>
                <a:lnTo>
                  <a:pt x="666" y="402"/>
                </a:lnTo>
                <a:lnTo>
                  <a:pt x="672" y="402"/>
                </a:lnTo>
                <a:lnTo>
                  <a:pt x="684" y="396"/>
                </a:lnTo>
                <a:lnTo>
                  <a:pt x="690" y="396"/>
                </a:lnTo>
                <a:lnTo>
                  <a:pt x="696" y="396"/>
                </a:lnTo>
                <a:lnTo>
                  <a:pt x="702" y="396"/>
                </a:lnTo>
                <a:lnTo>
                  <a:pt x="708" y="396"/>
                </a:lnTo>
                <a:lnTo>
                  <a:pt x="714" y="390"/>
                </a:lnTo>
                <a:lnTo>
                  <a:pt x="714" y="384"/>
                </a:lnTo>
                <a:lnTo>
                  <a:pt x="720" y="384"/>
                </a:lnTo>
                <a:lnTo>
                  <a:pt x="726" y="384"/>
                </a:lnTo>
                <a:lnTo>
                  <a:pt x="732" y="384"/>
                </a:lnTo>
                <a:lnTo>
                  <a:pt x="738" y="378"/>
                </a:lnTo>
                <a:lnTo>
                  <a:pt x="744" y="378"/>
                </a:lnTo>
                <a:lnTo>
                  <a:pt x="750" y="372"/>
                </a:lnTo>
                <a:lnTo>
                  <a:pt x="756" y="372"/>
                </a:lnTo>
                <a:lnTo>
                  <a:pt x="762" y="366"/>
                </a:lnTo>
                <a:lnTo>
                  <a:pt x="768" y="366"/>
                </a:lnTo>
                <a:lnTo>
                  <a:pt x="774" y="366"/>
                </a:lnTo>
                <a:lnTo>
                  <a:pt x="774" y="360"/>
                </a:lnTo>
                <a:lnTo>
                  <a:pt x="780" y="366"/>
                </a:lnTo>
                <a:lnTo>
                  <a:pt x="786" y="366"/>
                </a:lnTo>
                <a:lnTo>
                  <a:pt x="786" y="360"/>
                </a:lnTo>
                <a:lnTo>
                  <a:pt x="792" y="354"/>
                </a:lnTo>
                <a:lnTo>
                  <a:pt x="786" y="354"/>
                </a:lnTo>
                <a:lnTo>
                  <a:pt x="792" y="348"/>
                </a:lnTo>
                <a:lnTo>
                  <a:pt x="798" y="348"/>
                </a:lnTo>
                <a:lnTo>
                  <a:pt x="804" y="348"/>
                </a:lnTo>
                <a:lnTo>
                  <a:pt x="810" y="342"/>
                </a:lnTo>
                <a:lnTo>
                  <a:pt x="816" y="342"/>
                </a:lnTo>
                <a:lnTo>
                  <a:pt x="822" y="342"/>
                </a:lnTo>
                <a:lnTo>
                  <a:pt x="822" y="336"/>
                </a:lnTo>
                <a:lnTo>
                  <a:pt x="828" y="336"/>
                </a:lnTo>
                <a:lnTo>
                  <a:pt x="834" y="336"/>
                </a:lnTo>
                <a:lnTo>
                  <a:pt x="840" y="336"/>
                </a:lnTo>
                <a:lnTo>
                  <a:pt x="846" y="330"/>
                </a:lnTo>
                <a:lnTo>
                  <a:pt x="852" y="330"/>
                </a:lnTo>
                <a:lnTo>
                  <a:pt x="858" y="330"/>
                </a:lnTo>
                <a:lnTo>
                  <a:pt x="864" y="324"/>
                </a:lnTo>
                <a:lnTo>
                  <a:pt x="864" y="318"/>
                </a:lnTo>
                <a:lnTo>
                  <a:pt x="870" y="318"/>
                </a:lnTo>
                <a:lnTo>
                  <a:pt x="870" y="312"/>
                </a:lnTo>
                <a:lnTo>
                  <a:pt x="876" y="312"/>
                </a:lnTo>
                <a:lnTo>
                  <a:pt x="882" y="312"/>
                </a:lnTo>
                <a:lnTo>
                  <a:pt x="882" y="318"/>
                </a:lnTo>
                <a:lnTo>
                  <a:pt x="888" y="312"/>
                </a:lnTo>
                <a:lnTo>
                  <a:pt x="894" y="306"/>
                </a:lnTo>
                <a:lnTo>
                  <a:pt x="900" y="306"/>
                </a:lnTo>
                <a:lnTo>
                  <a:pt x="906" y="306"/>
                </a:lnTo>
                <a:lnTo>
                  <a:pt x="912" y="300"/>
                </a:lnTo>
                <a:lnTo>
                  <a:pt x="906" y="294"/>
                </a:lnTo>
                <a:lnTo>
                  <a:pt x="912" y="276"/>
                </a:lnTo>
                <a:lnTo>
                  <a:pt x="912" y="252"/>
                </a:lnTo>
                <a:lnTo>
                  <a:pt x="906" y="234"/>
                </a:lnTo>
                <a:lnTo>
                  <a:pt x="912" y="228"/>
                </a:lnTo>
                <a:lnTo>
                  <a:pt x="912" y="216"/>
                </a:lnTo>
                <a:lnTo>
                  <a:pt x="918" y="192"/>
                </a:lnTo>
                <a:lnTo>
                  <a:pt x="918" y="186"/>
                </a:lnTo>
                <a:lnTo>
                  <a:pt x="924" y="192"/>
                </a:lnTo>
                <a:lnTo>
                  <a:pt x="930" y="192"/>
                </a:lnTo>
                <a:lnTo>
                  <a:pt x="930" y="186"/>
                </a:lnTo>
                <a:lnTo>
                  <a:pt x="936" y="186"/>
                </a:lnTo>
                <a:lnTo>
                  <a:pt x="930" y="180"/>
                </a:lnTo>
                <a:lnTo>
                  <a:pt x="930" y="174"/>
                </a:lnTo>
                <a:lnTo>
                  <a:pt x="936" y="156"/>
                </a:lnTo>
                <a:lnTo>
                  <a:pt x="930" y="156"/>
                </a:lnTo>
                <a:lnTo>
                  <a:pt x="924" y="150"/>
                </a:lnTo>
                <a:lnTo>
                  <a:pt x="942" y="78"/>
                </a:lnTo>
                <a:lnTo>
                  <a:pt x="948" y="78"/>
                </a:lnTo>
                <a:lnTo>
                  <a:pt x="954" y="66"/>
                </a:lnTo>
                <a:lnTo>
                  <a:pt x="954" y="72"/>
                </a:lnTo>
                <a:lnTo>
                  <a:pt x="954" y="66"/>
                </a:lnTo>
                <a:lnTo>
                  <a:pt x="960" y="66"/>
                </a:lnTo>
                <a:lnTo>
                  <a:pt x="966" y="66"/>
                </a:lnTo>
                <a:lnTo>
                  <a:pt x="972" y="66"/>
                </a:lnTo>
                <a:lnTo>
                  <a:pt x="972" y="60"/>
                </a:lnTo>
                <a:lnTo>
                  <a:pt x="978" y="54"/>
                </a:lnTo>
                <a:lnTo>
                  <a:pt x="984" y="54"/>
                </a:lnTo>
                <a:lnTo>
                  <a:pt x="990" y="54"/>
                </a:lnTo>
                <a:lnTo>
                  <a:pt x="996" y="48"/>
                </a:lnTo>
                <a:lnTo>
                  <a:pt x="1002" y="48"/>
                </a:lnTo>
                <a:lnTo>
                  <a:pt x="1032" y="48"/>
                </a:lnTo>
                <a:lnTo>
                  <a:pt x="1062" y="48"/>
                </a:lnTo>
                <a:lnTo>
                  <a:pt x="1068" y="78"/>
                </a:lnTo>
                <a:lnTo>
                  <a:pt x="1086" y="78"/>
                </a:lnTo>
                <a:lnTo>
                  <a:pt x="1092" y="66"/>
                </a:lnTo>
                <a:lnTo>
                  <a:pt x="1092" y="60"/>
                </a:lnTo>
                <a:lnTo>
                  <a:pt x="1092" y="54"/>
                </a:lnTo>
                <a:lnTo>
                  <a:pt x="1092" y="48"/>
                </a:lnTo>
                <a:lnTo>
                  <a:pt x="1098" y="48"/>
                </a:lnTo>
                <a:lnTo>
                  <a:pt x="1104" y="48"/>
                </a:lnTo>
                <a:lnTo>
                  <a:pt x="1110" y="48"/>
                </a:lnTo>
                <a:lnTo>
                  <a:pt x="1110" y="42"/>
                </a:lnTo>
                <a:lnTo>
                  <a:pt x="1110" y="36"/>
                </a:lnTo>
                <a:lnTo>
                  <a:pt x="1116" y="36"/>
                </a:lnTo>
                <a:lnTo>
                  <a:pt x="1116" y="30"/>
                </a:lnTo>
                <a:lnTo>
                  <a:pt x="1122" y="30"/>
                </a:lnTo>
                <a:lnTo>
                  <a:pt x="1128" y="30"/>
                </a:lnTo>
                <a:lnTo>
                  <a:pt x="1134" y="30"/>
                </a:lnTo>
                <a:lnTo>
                  <a:pt x="1140" y="24"/>
                </a:lnTo>
                <a:lnTo>
                  <a:pt x="1152" y="18"/>
                </a:lnTo>
                <a:lnTo>
                  <a:pt x="1158" y="18"/>
                </a:lnTo>
                <a:lnTo>
                  <a:pt x="1152" y="12"/>
                </a:lnTo>
                <a:lnTo>
                  <a:pt x="1152" y="6"/>
                </a:lnTo>
                <a:lnTo>
                  <a:pt x="1158" y="6"/>
                </a:lnTo>
                <a:lnTo>
                  <a:pt x="1164" y="6"/>
                </a:lnTo>
                <a:lnTo>
                  <a:pt x="1164" y="12"/>
                </a:lnTo>
                <a:lnTo>
                  <a:pt x="1170" y="18"/>
                </a:lnTo>
                <a:lnTo>
                  <a:pt x="1170" y="12"/>
                </a:lnTo>
                <a:lnTo>
                  <a:pt x="1170" y="6"/>
                </a:lnTo>
                <a:lnTo>
                  <a:pt x="1176" y="6"/>
                </a:lnTo>
                <a:lnTo>
                  <a:pt x="1176" y="0"/>
                </a:lnTo>
                <a:lnTo>
                  <a:pt x="1182" y="6"/>
                </a:lnTo>
                <a:lnTo>
                  <a:pt x="1188" y="6"/>
                </a:lnTo>
                <a:lnTo>
                  <a:pt x="1188" y="0"/>
                </a:lnTo>
                <a:lnTo>
                  <a:pt x="1194" y="6"/>
                </a:lnTo>
                <a:lnTo>
                  <a:pt x="1200" y="12"/>
                </a:lnTo>
                <a:lnTo>
                  <a:pt x="1206" y="18"/>
                </a:lnTo>
                <a:lnTo>
                  <a:pt x="1212" y="18"/>
                </a:lnTo>
                <a:lnTo>
                  <a:pt x="1218" y="24"/>
                </a:lnTo>
                <a:lnTo>
                  <a:pt x="1236" y="36"/>
                </a:lnTo>
                <a:lnTo>
                  <a:pt x="1242" y="36"/>
                </a:lnTo>
                <a:lnTo>
                  <a:pt x="1248" y="42"/>
                </a:lnTo>
                <a:lnTo>
                  <a:pt x="1248" y="48"/>
                </a:lnTo>
                <a:lnTo>
                  <a:pt x="1260" y="48"/>
                </a:lnTo>
                <a:lnTo>
                  <a:pt x="1260" y="108"/>
                </a:lnTo>
                <a:lnTo>
                  <a:pt x="1266" y="168"/>
                </a:lnTo>
                <a:lnTo>
                  <a:pt x="1278" y="234"/>
                </a:lnTo>
                <a:lnTo>
                  <a:pt x="1284" y="240"/>
                </a:lnTo>
                <a:lnTo>
                  <a:pt x="1290" y="264"/>
                </a:lnTo>
                <a:lnTo>
                  <a:pt x="1296" y="288"/>
                </a:lnTo>
                <a:lnTo>
                  <a:pt x="1296" y="300"/>
                </a:lnTo>
                <a:lnTo>
                  <a:pt x="1296" y="312"/>
                </a:lnTo>
                <a:lnTo>
                  <a:pt x="1296" y="324"/>
                </a:lnTo>
                <a:lnTo>
                  <a:pt x="1296" y="354"/>
                </a:lnTo>
                <a:lnTo>
                  <a:pt x="1302" y="366"/>
                </a:lnTo>
                <a:lnTo>
                  <a:pt x="1308" y="372"/>
                </a:lnTo>
                <a:lnTo>
                  <a:pt x="1308" y="384"/>
                </a:lnTo>
                <a:lnTo>
                  <a:pt x="1314" y="390"/>
                </a:lnTo>
                <a:lnTo>
                  <a:pt x="1308" y="408"/>
                </a:lnTo>
                <a:lnTo>
                  <a:pt x="1314" y="408"/>
                </a:lnTo>
                <a:lnTo>
                  <a:pt x="1314" y="414"/>
                </a:lnTo>
                <a:lnTo>
                  <a:pt x="1308" y="420"/>
                </a:lnTo>
                <a:lnTo>
                  <a:pt x="1308" y="432"/>
                </a:lnTo>
                <a:lnTo>
                  <a:pt x="1320" y="432"/>
                </a:lnTo>
                <a:lnTo>
                  <a:pt x="1320" y="444"/>
                </a:lnTo>
                <a:lnTo>
                  <a:pt x="1332" y="444"/>
                </a:lnTo>
                <a:lnTo>
                  <a:pt x="1338" y="450"/>
                </a:lnTo>
                <a:lnTo>
                  <a:pt x="1344" y="456"/>
                </a:lnTo>
                <a:lnTo>
                  <a:pt x="1344" y="462"/>
                </a:lnTo>
                <a:lnTo>
                  <a:pt x="1344" y="474"/>
                </a:lnTo>
                <a:lnTo>
                  <a:pt x="1350" y="474"/>
                </a:lnTo>
                <a:lnTo>
                  <a:pt x="1368" y="504"/>
                </a:lnTo>
                <a:lnTo>
                  <a:pt x="1374" y="534"/>
                </a:lnTo>
                <a:lnTo>
                  <a:pt x="1380" y="558"/>
                </a:lnTo>
                <a:lnTo>
                  <a:pt x="1386" y="576"/>
                </a:lnTo>
                <a:lnTo>
                  <a:pt x="1386" y="600"/>
                </a:lnTo>
                <a:lnTo>
                  <a:pt x="1386" y="624"/>
                </a:lnTo>
                <a:lnTo>
                  <a:pt x="1386" y="648"/>
                </a:lnTo>
                <a:lnTo>
                  <a:pt x="1386" y="684"/>
                </a:lnTo>
                <a:lnTo>
                  <a:pt x="1380" y="684"/>
                </a:lnTo>
                <a:lnTo>
                  <a:pt x="1374" y="696"/>
                </a:lnTo>
                <a:lnTo>
                  <a:pt x="1368" y="702"/>
                </a:lnTo>
                <a:lnTo>
                  <a:pt x="1362" y="708"/>
                </a:lnTo>
                <a:lnTo>
                  <a:pt x="1356" y="714"/>
                </a:lnTo>
                <a:lnTo>
                  <a:pt x="1350" y="720"/>
                </a:lnTo>
                <a:lnTo>
                  <a:pt x="1338" y="720"/>
                </a:lnTo>
                <a:lnTo>
                  <a:pt x="1338" y="738"/>
                </a:lnTo>
                <a:lnTo>
                  <a:pt x="1362" y="750"/>
                </a:lnTo>
                <a:lnTo>
                  <a:pt x="1362" y="756"/>
                </a:lnTo>
                <a:lnTo>
                  <a:pt x="1374" y="756"/>
                </a:lnTo>
                <a:lnTo>
                  <a:pt x="1410" y="774"/>
                </a:lnTo>
                <a:lnTo>
                  <a:pt x="1446" y="774"/>
                </a:lnTo>
                <a:lnTo>
                  <a:pt x="1482" y="768"/>
                </a:lnTo>
                <a:lnTo>
                  <a:pt x="1500" y="774"/>
                </a:lnTo>
                <a:lnTo>
                  <a:pt x="1512" y="78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8450" name="Freeform 12"/>
          <p:cNvSpPr>
            <a:spLocks/>
          </p:cNvSpPr>
          <p:nvPr/>
        </p:nvSpPr>
        <p:spPr bwMode="gray">
          <a:xfrm>
            <a:off x="5357813" y="2846388"/>
            <a:ext cx="657225" cy="912812"/>
          </a:xfrm>
          <a:custGeom>
            <a:avLst/>
            <a:gdLst>
              <a:gd name="T0" fmla="*/ 36772 w 840"/>
              <a:gd name="T1" fmla="*/ 78926 h 1134"/>
              <a:gd name="T2" fmla="*/ 32078 w 840"/>
              <a:gd name="T3" fmla="*/ 78926 h 1134"/>
              <a:gd name="T4" fmla="*/ 28948 w 840"/>
              <a:gd name="T5" fmla="*/ 78926 h 1134"/>
              <a:gd name="T6" fmla="*/ 22689 w 840"/>
              <a:gd name="T7" fmla="*/ 78120 h 1134"/>
              <a:gd name="T8" fmla="*/ 21124 w 840"/>
              <a:gd name="T9" fmla="*/ 75704 h 1134"/>
              <a:gd name="T10" fmla="*/ 20342 w 840"/>
              <a:gd name="T11" fmla="*/ 74899 h 1134"/>
              <a:gd name="T12" fmla="*/ 20342 w 840"/>
              <a:gd name="T13" fmla="*/ 66845 h 1134"/>
              <a:gd name="T14" fmla="*/ 20342 w 840"/>
              <a:gd name="T15" fmla="*/ 65234 h 1134"/>
              <a:gd name="T16" fmla="*/ 17995 w 840"/>
              <a:gd name="T17" fmla="*/ 62013 h 1134"/>
              <a:gd name="T18" fmla="*/ 14865 w 840"/>
              <a:gd name="T19" fmla="*/ 60402 h 1134"/>
              <a:gd name="T20" fmla="*/ 12518 w 840"/>
              <a:gd name="T21" fmla="*/ 57986 h 1134"/>
              <a:gd name="T22" fmla="*/ 10171 w 840"/>
              <a:gd name="T23" fmla="*/ 56375 h 1134"/>
              <a:gd name="T24" fmla="*/ 13301 w 840"/>
              <a:gd name="T25" fmla="*/ 53959 h 1134"/>
              <a:gd name="T26" fmla="*/ 14865 w 840"/>
              <a:gd name="T27" fmla="*/ 50738 h 1134"/>
              <a:gd name="T28" fmla="*/ 15648 w 840"/>
              <a:gd name="T29" fmla="*/ 47516 h 1134"/>
              <a:gd name="T30" fmla="*/ 14865 w 840"/>
              <a:gd name="T31" fmla="*/ 44295 h 1134"/>
              <a:gd name="T32" fmla="*/ 13301 w 840"/>
              <a:gd name="T33" fmla="*/ 37852 h 1134"/>
              <a:gd name="T34" fmla="*/ 6259 w 840"/>
              <a:gd name="T35" fmla="*/ 36241 h 1134"/>
              <a:gd name="T36" fmla="*/ 3130 w 840"/>
              <a:gd name="T37" fmla="*/ 31409 h 1134"/>
              <a:gd name="T38" fmla="*/ 1565 w 840"/>
              <a:gd name="T39" fmla="*/ 28188 h 1134"/>
              <a:gd name="T40" fmla="*/ 0 w 840"/>
              <a:gd name="T41" fmla="*/ 24966 h 1134"/>
              <a:gd name="T42" fmla="*/ 1565 w 840"/>
              <a:gd name="T43" fmla="*/ 21745 h 1134"/>
              <a:gd name="T44" fmla="*/ 3912 w 840"/>
              <a:gd name="T45" fmla="*/ 19329 h 1134"/>
              <a:gd name="T46" fmla="*/ 7824 w 840"/>
              <a:gd name="T47" fmla="*/ 20939 h 1134"/>
              <a:gd name="T48" fmla="*/ 5477 w 840"/>
              <a:gd name="T49" fmla="*/ 16107 h 1134"/>
              <a:gd name="T50" fmla="*/ 9389 w 840"/>
              <a:gd name="T51" fmla="*/ 9664 h 1134"/>
              <a:gd name="T52" fmla="*/ 14865 w 840"/>
              <a:gd name="T53" fmla="*/ 8054 h 1134"/>
              <a:gd name="T54" fmla="*/ 15648 w 840"/>
              <a:gd name="T55" fmla="*/ 10470 h 1134"/>
              <a:gd name="T56" fmla="*/ 17212 w 840"/>
              <a:gd name="T57" fmla="*/ 8859 h 1134"/>
              <a:gd name="T58" fmla="*/ 19560 w 840"/>
              <a:gd name="T59" fmla="*/ 5638 h 1134"/>
              <a:gd name="T60" fmla="*/ 22689 w 840"/>
              <a:gd name="T61" fmla="*/ 1611 h 1134"/>
              <a:gd name="T62" fmla="*/ 25819 w 840"/>
              <a:gd name="T63" fmla="*/ 805 h 1134"/>
              <a:gd name="T64" fmla="*/ 28948 w 840"/>
              <a:gd name="T65" fmla="*/ 1611 h 1134"/>
              <a:gd name="T66" fmla="*/ 30513 w 840"/>
              <a:gd name="T67" fmla="*/ 3221 h 1134"/>
              <a:gd name="T68" fmla="*/ 33643 w 840"/>
              <a:gd name="T69" fmla="*/ 4027 h 1134"/>
              <a:gd name="T70" fmla="*/ 35990 w 840"/>
              <a:gd name="T71" fmla="*/ 8859 h 1134"/>
              <a:gd name="T72" fmla="*/ 38337 w 840"/>
              <a:gd name="T73" fmla="*/ 9664 h 1134"/>
              <a:gd name="T74" fmla="*/ 40684 w 840"/>
              <a:gd name="T75" fmla="*/ 12080 h 1134"/>
              <a:gd name="T76" fmla="*/ 42249 w 840"/>
              <a:gd name="T77" fmla="*/ 14497 h 1134"/>
              <a:gd name="T78" fmla="*/ 43031 w 840"/>
              <a:gd name="T79" fmla="*/ 17718 h 1134"/>
              <a:gd name="T80" fmla="*/ 43814 w 840"/>
              <a:gd name="T81" fmla="*/ 20939 h 1134"/>
              <a:gd name="T82" fmla="*/ 43031 w 840"/>
              <a:gd name="T83" fmla="*/ 25772 h 1134"/>
              <a:gd name="T84" fmla="*/ 43031 w 840"/>
              <a:gd name="T85" fmla="*/ 28993 h 1134"/>
              <a:gd name="T86" fmla="*/ 42249 w 840"/>
              <a:gd name="T87" fmla="*/ 31409 h 1134"/>
              <a:gd name="T88" fmla="*/ 43814 w 840"/>
              <a:gd name="T89" fmla="*/ 31409 h 1134"/>
              <a:gd name="T90" fmla="*/ 45378 w 840"/>
              <a:gd name="T91" fmla="*/ 31409 h 1134"/>
              <a:gd name="T92" fmla="*/ 47725 w 840"/>
              <a:gd name="T93" fmla="*/ 31409 h 1134"/>
              <a:gd name="T94" fmla="*/ 46943 w 840"/>
              <a:gd name="T95" fmla="*/ 39463 h 1134"/>
              <a:gd name="T96" fmla="*/ 46161 w 840"/>
              <a:gd name="T97" fmla="*/ 42684 h 1134"/>
              <a:gd name="T98" fmla="*/ 46161 w 840"/>
              <a:gd name="T99" fmla="*/ 45100 h 1134"/>
              <a:gd name="T100" fmla="*/ 46943 w 840"/>
              <a:gd name="T101" fmla="*/ 47516 h 1134"/>
              <a:gd name="T102" fmla="*/ 50073 w 840"/>
              <a:gd name="T103" fmla="*/ 49127 h 1134"/>
              <a:gd name="T104" fmla="*/ 53985 w 840"/>
              <a:gd name="T105" fmla="*/ 50738 h 1134"/>
              <a:gd name="T106" fmla="*/ 56332 w 840"/>
              <a:gd name="T107" fmla="*/ 55570 h 1134"/>
              <a:gd name="T108" fmla="*/ 56332 w 840"/>
              <a:gd name="T109" fmla="*/ 58791 h 1134"/>
              <a:gd name="T110" fmla="*/ 56332 w 840"/>
              <a:gd name="T111" fmla="*/ 66845 h 1134"/>
              <a:gd name="T112" fmla="*/ 49290 w 840"/>
              <a:gd name="T113" fmla="*/ 70872 h 1134"/>
              <a:gd name="T114" fmla="*/ 40684 w 840"/>
              <a:gd name="T115" fmla="*/ 76509 h 11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40"/>
              <a:gd name="T175" fmla="*/ 0 h 1134"/>
              <a:gd name="T176" fmla="*/ 840 w 840"/>
              <a:gd name="T177" fmla="*/ 1134 h 11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40" h="1134">
                <a:moveTo>
                  <a:pt x="564" y="1110"/>
                </a:moveTo>
                <a:lnTo>
                  <a:pt x="564" y="1104"/>
                </a:lnTo>
                <a:lnTo>
                  <a:pt x="558" y="1104"/>
                </a:lnTo>
                <a:lnTo>
                  <a:pt x="552" y="1110"/>
                </a:lnTo>
                <a:lnTo>
                  <a:pt x="546" y="1122"/>
                </a:lnTo>
                <a:lnTo>
                  <a:pt x="540" y="1128"/>
                </a:lnTo>
                <a:lnTo>
                  <a:pt x="528" y="1128"/>
                </a:lnTo>
                <a:lnTo>
                  <a:pt x="498" y="1128"/>
                </a:lnTo>
                <a:lnTo>
                  <a:pt x="492" y="1128"/>
                </a:lnTo>
                <a:lnTo>
                  <a:pt x="486" y="1128"/>
                </a:lnTo>
                <a:lnTo>
                  <a:pt x="480" y="1128"/>
                </a:lnTo>
                <a:lnTo>
                  <a:pt x="474" y="1134"/>
                </a:lnTo>
                <a:lnTo>
                  <a:pt x="468" y="1134"/>
                </a:lnTo>
                <a:lnTo>
                  <a:pt x="462" y="1134"/>
                </a:lnTo>
                <a:lnTo>
                  <a:pt x="456" y="1134"/>
                </a:lnTo>
                <a:lnTo>
                  <a:pt x="456" y="1128"/>
                </a:lnTo>
                <a:lnTo>
                  <a:pt x="450" y="1122"/>
                </a:lnTo>
                <a:lnTo>
                  <a:pt x="426" y="1128"/>
                </a:lnTo>
                <a:lnTo>
                  <a:pt x="414" y="1128"/>
                </a:lnTo>
                <a:lnTo>
                  <a:pt x="348" y="1134"/>
                </a:lnTo>
                <a:lnTo>
                  <a:pt x="348" y="1128"/>
                </a:lnTo>
                <a:lnTo>
                  <a:pt x="342" y="1128"/>
                </a:lnTo>
                <a:lnTo>
                  <a:pt x="336" y="1122"/>
                </a:lnTo>
                <a:lnTo>
                  <a:pt x="330" y="1122"/>
                </a:lnTo>
                <a:lnTo>
                  <a:pt x="324" y="1116"/>
                </a:lnTo>
                <a:lnTo>
                  <a:pt x="324" y="1110"/>
                </a:lnTo>
                <a:lnTo>
                  <a:pt x="318" y="1110"/>
                </a:lnTo>
                <a:lnTo>
                  <a:pt x="318" y="1104"/>
                </a:lnTo>
                <a:lnTo>
                  <a:pt x="312" y="1092"/>
                </a:lnTo>
                <a:lnTo>
                  <a:pt x="306" y="1086"/>
                </a:lnTo>
                <a:lnTo>
                  <a:pt x="306" y="1080"/>
                </a:lnTo>
                <a:lnTo>
                  <a:pt x="312" y="1074"/>
                </a:lnTo>
                <a:lnTo>
                  <a:pt x="306" y="1068"/>
                </a:lnTo>
                <a:lnTo>
                  <a:pt x="300" y="1074"/>
                </a:lnTo>
                <a:lnTo>
                  <a:pt x="300" y="1068"/>
                </a:lnTo>
                <a:lnTo>
                  <a:pt x="294" y="1068"/>
                </a:lnTo>
                <a:lnTo>
                  <a:pt x="294" y="1056"/>
                </a:lnTo>
                <a:lnTo>
                  <a:pt x="294" y="1026"/>
                </a:lnTo>
                <a:lnTo>
                  <a:pt x="294" y="1020"/>
                </a:lnTo>
                <a:lnTo>
                  <a:pt x="294" y="1008"/>
                </a:lnTo>
                <a:lnTo>
                  <a:pt x="294" y="966"/>
                </a:lnTo>
                <a:lnTo>
                  <a:pt x="294" y="960"/>
                </a:lnTo>
                <a:lnTo>
                  <a:pt x="294" y="954"/>
                </a:lnTo>
                <a:lnTo>
                  <a:pt x="294" y="948"/>
                </a:lnTo>
                <a:lnTo>
                  <a:pt x="294" y="942"/>
                </a:lnTo>
                <a:lnTo>
                  <a:pt x="300" y="936"/>
                </a:lnTo>
                <a:lnTo>
                  <a:pt x="300" y="930"/>
                </a:lnTo>
                <a:lnTo>
                  <a:pt x="294" y="930"/>
                </a:lnTo>
                <a:lnTo>
                  <a:pt x="288" y="930"/>
                </a:lnTo>
                <a:lnTo>
                  <a:pt x="288" y="924"/>
                </a:lnTo>
                <a:lnTo>
                  <a:pt x="282" y="918"/>
                </a:lnTo>
                <a:lnTo>
                  <a:pt x="282" y="906"/>
                </a:lnTo>
                <a:lnTo>
                  <a:pt x="282" y="900"/>
                </a:lnTo>
                <a:lnTo>
                  <a:pt x="264" y="894"/>
                </a:lnTo>
                <a:lnTo>
                  <a:pt x="252" y="882"/>
                </a:lnTo>
                <a:lnTo>
                  <a:pt x="246" y="876"/>
                </a:lnTo>
                <a:lnTo>
                  <a:pt x="240" y="876"/>
                </a:lnTo>
                <a:lnTo>
                  <a:pt x="240" y="870"/>
                </a:lnTo>
                <a:lnTo>
                  <a:pt x="234" y="870"/>
                </a:lnTo>
                <a:lnTo>
                  <a:pt x="222" y="864"/>
                </a:lnTo>
                <a:lnTo>
                  <a:pt x="216" y="864"/>
                </a:lnTo>
                <a:lnTo>
                  <a:pt x="210" y="858"/>
                </a:lnTo>
                <a:lnTo>
                  <a:pt x="210" y="852"/>
                </a:lnTo>
                <a:lnTo>
                  <a:pt x="210" y="846"/>
                </a:lnTo>
                <a:lnTo>
                  <a:pt x="198" y="840"/>
                </a:lnTo>
                <a:lnTo>
                  <a:pt x="186" y="834"/>
                </a:lnTo>
                <a:lnTo>
                  <a:pt x="180" y="828"/>
                </a:lnTo>
                <a:lnTo>
                  <a:pt x="180" y="822"/>
                </a:lnTo>
                <a:lnTo>
                  <a:pt x="174" y="822"/>
                </a:lnTo>
                <a:lnTo>
                  <a:pt x="162" y="816"/>
                </a:lnTo>
                <a:lnTo>
                  <a:pt x="156" y="810"/>
                </a:lnTo>
                <a:lnTo>
                  <a:pt x="150" y="810"/>
                </a:lnTo>
                <a:lnTo>
                  <a:pt x="144" y="798"/>
                </a:lnTo>
                <a:lnTo>
                  <a:pt x="138" y="786"/>
                </a:lnTo>
                <a:lnTo>
                  <a:pt x="138" y="780"/>
                </a:lnTo>
                <a:lnTo>
                  <a:pt x="144" y="774"/>
                </a:lnTo>
                <a:lnTo>
                  <a:pt x="150" y="768"/>
                </a:lnTo>
                <a:lnTo>
                  <a:pt x="192" y="768"/>
                </a:lnTo>
                <a:lnTo>
                  <a:pt x="210" y="762"/>
                </a:lnTo>
                <a:lnTo>
                  <a:pt x="216" y="756"/>
                </a:lnTo>
                <a:lnTo>
                  <a:pt x="216" y="744"/>
                </a:lnTo>
                <a:lnTo>
                  <a:pt x="216" y="738"/>
                </a:lnTo>
                <a:lnTo>
                  <a:pt x="216" y="732"/>
                </a:lnTo>
                <a:lnTo>
                  <a:pt x="216" y="726"/>
                </a:lnTo>
                <a:lnTo>
                  <a:pt x="216" y="720"/>
                </a:lnTo>
                <a:lnTo>
                  <a:pt x="228" y="702"/>
                </a:lnTo>
                <a:lnTo>
                  <a:pt x="234" y="696"/>
                </a:lnTo>
                <a:lnTo>
                  <a:pt x="240" y="690"/>
                </a:lnTo>
                <a:lnTo>
                  <a:pt x="240" y="684"/>
                </a:lnTo>
                <a:lnTo>
                  <a:pt x="234" y="678"/>
                </a:lnTo>
                <a:lnTo>
                  <a:pt x="228" y="672"/>
                </a:lnTo>
                <a:lnTo>
                  <a:pt x="228" y="666"/>
                </a:lnTo>
                <a:lnTo>
                  <a:pt x="222" y="660"/>
                </a:lnTo>
                <a:lnTo>
                  <a:pt x="222" y="654"/>
                </a:lnTo>
                <a:lnTo>
                  <a:pt x="222" y="648"/>
                </a:lnTo>
                <a:lnTo>
                  <a:pt x="222" y="630"/>
                </a:lnTo>
                <a:lnTo>
                  <a:pt x="222" y="618"/>
                </a:lnTo>
                <a:lnTo>
                  <a:pt x="222" y="582"/>
                </a:lnTo>
                <a:lnTo>
                  <a:pt x="228" y="582"/>
                </a:lnTo>
                <a:lnTo>
                  <a:pt x="222" y="564"/>
                </a:lnTo>
                <a:lnTo>
                  <a:pt x="210" y="552"/>
                </a:lnTo>
                <a:lnTo>
                  <a:pt x="192" y="540"/>
                </a:lnTo>
                <a:lnTo>
                  <a:pt x="174" y="540"/>
                </a:lnTo>
                <a:lnTo>
                  <a:pt x="150" y="534"/>
                </a:lnTo>
                <a:lnTo>
                  <a:pt x="126" y="528"/>
                </a:lnTo>
                <a:lnTo>
                  <a:pt x="96" y="528"/>
                </a:lnTo>
                <a:lnTo>
                  <a:pt x="96" y="522"/>
                </a:lnTo>
                <a:lnTo>
                  <a:pt x="90" y="516"/>
                </a:lnTo>
                <a:lnTo>
                  <a:pt x="78" y="504"/>
                </a:lnTo>
                <a:lnTo>
                  <a:pt x="72" y="498"/>
                </a:lnTo>
                <a:lnTo>
                  <a:pt x="66" y="486"/>
                </a:lnTo>
                <a:lnTo>
                  <a:pt x="54" y="468"/>
                </a:lnTo>
                <a:lnTo>
                  <a:pt x="54" y="450"/>
                </a:lnTo>
                <a:lnTo>
                  <a:pt x="48" y="444"/>
                </a:lnTo>
                <a:lnTo>
                  <a:pt x="48" y="438"/>
                </a:lnTo>
                <a:lnTo>
                  <a:pt x="42" y="438"/>
                </a:lnTo>
                <a:lnTo>
                  <a:pt x="36" y="438"/>
                </a:lnTo>
                <a:lnTo>
                  <a:pt x="24" y="420"/>
                </a:lnTo>
                <a:lnTo>
                  <a:pt x="24" y="414"/>
                </a:lnTo>
                <a:lnTo>
                  <a:pt x="24" y="402"/>
                </a:lnTo>
                <a:lnTo>
                  <a:pt x="18" y="396"/>
                </a:lnTo>
                <a:lnTo>
                  <a:pt x="24" y="384"/>
                </a:lnTo>
                <a:lnTo>
                  <a:pt x="18" y="372"/>
                </a:lnTo>
                <a:lnTo>
                  <a:pt x="18" y="366"/>
                </a:lnTo>
                <a:lnTo>
                  <a:pt x="12" y="360"/>
                </a:lnTo>
                <a:lnTo>
                  <a:pt x="6" y="360"/>
                </a:lnTo>
                <a:lnTo>
                  <a:pt x="0" y="348"/>
                </a:lnTo>
                <a:lnTo>
                  <a:pt x="6" y="342"/>
                </a:lnTo>
                <a:lnTo>
                  <a:pt x="6" y="336"/>
                </a:lnTo>
                <a:lnTo>
                  <a:pt x="12" y="330"/>
                </a:lnTo>
                <a:lnTo>
                  <a:pt x="18" y="318"/>
                </a:lnTo>
                <a:lnTo>
                  <a:pt x="24" y="312"/>
                </a:lnTo>
                <a:lnTo>
                  <a:pt x="24" y="306"/>
                </a:lnTo>
                <a:lnTo>
                  <a:pt x="30" y="306"/>
                </a:lnTo>
                <a:lnTo>
                  <a:pt x="42" y="294"/>
                </a:lnTo>
                <a:lnTo>
                  <a:pt x="42" y="288"/>
                </a:lnTo>
                <a:lnTo>
                  <a:pt x="48" y="282"/>
                </a:lnTo>
                <a:lnTo>
                  <a:pt x="54" y="276"/>
                </a:lnTo>
                <a:lnTo>
                  <a:pt x="60" y="270"/>
                </a:lnTo>
                <a:lnTo>
                  <a:pt x="66" y="270"/>
                </a:lnTo>
                <a:lnTo>
                  <a:pt x="78" y="270"/>
                </a:lnTo>
                <a:lnTo>
                  <a:pt x="90" y="276"/>
                </a:lnTo>
                <a:lnTo>
                  <a:pt x="108" y="294"/>
                </a:lnTo>
                <a:lnTo>
                  <a:pt x="114" y="294"/>
                </a:lnTo>
                <a:lnTo>
                  <a:pt x="114" y="276"/>
                </a:lnTo>
                <a:lnTo>
                  <a:pt x="114" y="270"/>
                </a:lnTo>
                <a:lnTo>
                  <a:pt x="102" y="258"/>
                </a:lnTo>
                <a:lnTo>
                  <a:pt x="96" y="246"/>
                </a:lnTo>
                <a:lnTo>
                  <a:pt x="90" y="234"/>
                </a:lnTo>
                <a:lnTo>
                  <a:pt x="78" y="228"/>
                </a:lnTo>
                <a:lnTo>
                  <a:pt x="72" y="216"/>
                </a:lnTo>
                <a:lnTo>
                  <a:pt x="66" y="192"/>
                </a:lnTo>
                <a:lnTo>
                  <a:pt x="90" y="174"/>
                </a:lnTo>
                <a:lnTo>
                  <a:pt x="120" y="150"/>
                </a:lnTo>
                <a:lnTo>
                  <a:pt x="132" y="150"/>
                </a:lnTo>
                <a:lnTo>
                  <a:pt x="138" y="144"/>
                </a:lnTo>
                <a:lnTo>
                  <a:pt x="138" y="138"/>
                </a:lnTo>
                <a:lnTo>
                  <a:pt x="156" y="126"/>
                </a:lnTo>
                <a:lnTo>
                  <a:pt x="180" y="114"/>
                </a:lnTo>
                <a:lnTo>
                  <a:pt x="216" y="114"/>
                </a:lnTo>
                <a:lnTo>
                  <a:pt x="222" y="114"/>
                </a:lnTo>
                <a:lnTo>
                  <a:pt x="222" y="120"/>
                </a:lnTo>
                <a:lnTo>
                  <a:pt x="222" y="126"/>
                </a:lnTo>
                <a:lnTo>
                  <a:pt x="222" y="132"/>
                </a:lnTo>
                <a:lnTo>
                  <a:pt x="228" y="138"/>
                </a:lnTo>
                <a:lnTo>
                  <a:pt x="228" y="144"/>
                </a:lnTo>
                <a:lnTo>
                  <a:pt x="228" y="150"/>
                </a:lnTo>
                <a:lnTo>
                  <a:pt x="234" y="150"/>
                </a:lnTo>
                <a:lnTo>
                  <a:pt x="234" y="144"/>
                </a:lnTo>
                <a:lnTo>
                  <a:pt x="240" y="144"/>
                </a:lnTo>
                <a:lnTo>
                  <a:pt x="246" y="144"/>
                </a:lnTo>
                <a:lnTo>
                  <a:pt x="258" y="138"/>
                </a:lnTo>
                <a:lnTo>
                  <a:pt x="264" y="138"/>
                </a:lnTo>
                <a:lnTo>
                  <a:pt x="258" y="126"/>
                </a:lnTo>
                <a:lnTo>
                  <a:pt x="258" y="120"/>
                </a:lnTo>
                <a:lnTo>
                  <a:pt x="258" y="114"/>
                </a:lnTo>
                <a:lnTo>
                  <a:pt x="264" y="114"/>
                </a:lnTo>
                <a:lnTo>
                  <a:pt x="276" y="96"/>
                </a:lnTo>
                <a:lnTo>
                  <a:pt x="288" y="90"/>
                </a:lnTo>
                <a:lnTo>
                  <a:pt x="288" y="84"/>
                </a:lnTo>
                <a:lnTo>
                  <a:pt x="294" y="84"/>
                </a:lnTo>
                <a:lnTo>
                  <a:pt x="306" y="72"/>
                </a:lnTo>
                <a:lnTo>
                  <a:pt x="318" y="60"/>
                </a:lnTo>
                <a:lnTo>
                  <a:pt x="324" y="54"/>
                </a:lnTo>
                <a:lnTo>
                  <a:pt x="330" y="36"/>
                </a:lnTo>
                <a:lnTo>
                  <a:pt x="330" y="24"/>
                </a:lnTo>
                <a:lnTo>
                  <a:pt x="330" y="18"/>
                </a:lnTo>
                <a:lnTo>
                  <a:pt x="330" y="12"/>
                </a:lnTo>
                <a:lnTo>
                  <a:pt x="336" y="6"/>
                </a:lnTo>
                <a:lnTo>
                  <a:pt x="366" y="0"/>
                </a:lnTo>
                <a:lnTo>
                  <a:pt x="372" y="6"/>
                </a:lnTo>
                <a:lnTo>
                  <a:pt x="384" y="12"/>
                </a:lnTo>
                <a:lnTo>
                  <a:pt x="402" y="12"/>
                </a:lnTo>
                <a:lnTo>
                  <a:pt x="402" y="18"/>
                </a:lnTo>
                <a:lnTo>
                  <a:pt x="408" y="18"/>
                </a:lnTo>
                <a:lnTo>
                  <a:pt x="414" y="18"/>
                </a:lnTo>
                <a:lnTo>
                  <a:pt x="420" y="18"/>
                </a:lnTo>
                <a:lnTo>
                  <a:pt x="426" y="24"/>
                </a:lnTo>
                <a:lnTo>
                  <a:pt x="432" y="30"/>
                </a:lnTo>
                <a:lnTo>
                  <a:pt x="438" y="36"/>
                </a:lnTo>
                <a:lnTo>
                  <a:pt x="444" y="42"/>
                </a:lnTo>
                <a:lnTo>
                  <a:pt x="450" y="42"/>
                </a:lnTo>
                <a:lnTo>
                  <a:pt x="450" y="48"/>
                </a:lnTo>
                <a:lnTo>
                  <a:pt x="456" y="48"/>
                </a:lnTo>
                <a:lnTo>
                  <a:pt x="468" y="54"/>
                </a:lnTo>
                <a:lnTo>
                  <a:pt x="474" y="54"/>
                </a:lnTo>
                <a:lnTo>
                  <a:pt x="480" y="54"/>
                </a:lnTo>
                <a:lnTo>
                  <a:pt x="480" y="60"/>
                </a:lnTo>
                <a:lnTo>
                  <a:pt x="486" y="60"/>
                </a:lnTo>
                <a:lnTo>
                  <a:pt x="492" y="60"/>
                </a:lnTo>
                <a:lnTo>
                  <a:pt x="498" y="60"/>
                </a:lnTo>
                <a:lnTo>
                  <a:pt x="504" y="66"/>
                </a:lnTo>
                <a:lnTo>
                  <a:pt x="516" y="78"/>
                </a:lnTo>
                <a:lnTo>
                  <a:pt x="522" y="102"/>
                </a:lnTo>
                <a:lnTo>
                  <a:pt x="522" y="108"/>
                </a:lnTo>
                <a:lnTo>
                  <a:pt x="528" y="126"/>
                </a:lnTo>
                <a:lnTo>
                  <a:pt x="534" y="126"/>
                </a:lnTo>
                <a:lnTo>
                  <a:pt x="540" y="120"/>
                </a:lnTo>
                <a:lnTo>
                  <a:pt x="546" y="126"/>
                </a:lnTo>
                <a:lnTo>
                  <a:pt x="552" y="126"/>
                </a:lnTo>
                <a:lnTo>
                  <a:pt x="558" y="132"/>
                </a:lnTo>
                <a:lnTo>
                  <a:pt x="564" y="138"/>
                </a:lnTo>
                <a:lnTo>
                  <a:pt x="570" y="144"/>
                </a:lnTo>
                <a:lnTo>
                  <a:pt x="576" y="150"/>
                </a:lnTo>
                <a:lnTo>
                  <a:pt x="582" y="156"/>
                </a:lnTo>
                <a:lnTo>
                  <a:pt x="588" y="162"/>
                </a:lnTo>
                <a:lnTo>
                  <a:pt x="594" y="168"/>
                </a:lnTo>
                <a:lnTo>
                  <a:pt x="600" y="174"/>
                </a:lnTo>
                <a:lnTo>
                  <a:pt x="606" y="180"/>
                </a:lnTo>
                <a:lnTo>
                  <a:pt x="606" y="186"/>
                </a:lnTo>
                <a:lnTo>
                  <a:pt x="612" y="192"/>
                </a:lnTo>
                <a:lnTo>
                  <a:pt x="612" y="198"/>
                </a:lnTo>
                <a:lnTo>
                  <a:pt x="624" y="204"/>
                </a:lnTo>
                <a:lnTo>
                  <a:pt x="624" y="210"/>
                </a:lnTo>
                <a:lnTo>
                  <a:pt x="630" y="216"/>
                </a:lnTo>
                <a:lnTo>
                  <a:pt x="636" y="222"/>
                </a:lnTo>
                <a:lnTo>
                  <a:pt x="636" y="228"/>
                </a:lnTo>
                <a:lnTo>
                  <a:pt x="636" y="234"/>
                </a:lnTo>
                <a:lnTo>
                  <a:pt x="636" y="252"/>
                </a:lnTo>
                <a:lnTo>
                  <a:pt x="636" y="258"/>
                </a:lnTo>
                <a:lnTo>
                  <a:pt x="636" y="264"/>
                </a:lnTo>
                <a:lnTo>
                  <a:pt x="636" y="270"/>
                </a:lnTo>
                <a:lnTo>
                  <a:pt x="642" y="276"/>
                </a:lnTo>
                <a:lnTo>
                  <a:pt x="642" y="282"/>
                </a:lnTo>
                <a:lnTo>
                  <a:pt x="642" y="288"/>
                </a:lnTo>
                <a:lnTo>
                  <a:pt x="642" y="300"/>
                </a:lnTo>
                <a:lnTo>
                  <a:pt x="642" y="306"/>
                </a:lnTo>
                <a:lnTo>
                  <a:pt x="636" y="312"/>
                </a:lnTo>
                <a:lnTo>
                  <a:pt x="636" y="324"/>
                </a:lnTo>
                <a:lnTo>
                  <a:pt x="636" y="342"/>
                </a:lnTo>
                <a:lnTo>
                  <a:pt x="630" y="354"/>
                </a:lnTo>
                <a:lnTo>
                  <a:pt x="630" y="366"/>
                </a:lnTo>
                <a:lnTo>
                  <a:pt x="624" y="378"/>
                </a:lnTo>
                <a:lnTo>
                  <a:pt x="624" y="384"/>
                </a:lnTo>
                <a:lnTo>
                  <a:pt x="636" y="396"/>
                </a:lnTo>
                <a:lnTo>
                  <a:pt x="636" y="402"/>
                </a:lnTo>
                <a:lnTo>
                  <a:pt x="636" y="408"/>
                </a:lnTo>
                <a:lnTo>
                  <a:pt x="630" y="414"/>
                </a:lnTo>
                <a:lnTo>
                  <a:pt x="630" y="420"/>
                </a:lnTo>
                <a:lnTo>
                  <a:pt x="630" y="426"/>
                </a:lnTo>
                <a:lnTo>
                  <a:pt x="630" y="432"/>
                </a:lnTo>
                <a:lnTo>
                  <a:pt x="624" y="438"/>
                </a:lnTo>
                <a:lnTo>
                  <a:pt x="624" y="444"/>
                </a:lnTo>
                <a:lnTo>
                  <a:pt x="624" y="450"/>
                </a:lnTo>
                <a:lnTo>
                  <a:pt x="630" y="450"/>
                </a:lnTo>
                <a:lnTo>
                  <a:pt x="630" y="456"/>
                </a:lnTo>
                <a:lnTo>
                  <a:pt x="630" y="462"/>
                </a:lnTo>
                <a:lnTo>
                  <a:pt x="636" y="468"/>
                </a:lnTo>
                <a:lnTo>
                  <a:pt x="642" y="456"/>
                </a:lnTo>
                <a:lnTo>
                  <a:pt x="642" y="450"/>
                </a:lnTo>
                <a:lnTo>
                  <a:pt x="648" y="450"/>
                </a:lnTo>
                <a:lnTo>
                  <a:pt x="654" y="450"/>
                </a:lnTo>
                <a:lnTo>
                  <a:pt x="654" y="444"/>
                </a:lnTo>
                <a:lnTo>
                  <a:pt x="660" y="444"/>
                </a:lnTo>
                <a:lnTo>
                  <a:pt x="666" y="450"/>
                </a:lnTo>
                <a:lnTo>
                  <a:pt x="672" y="444"/>
                </a:lnTo>
                <a:lnTo>
                  <a:pt x="678" y="444"/>
                </a:lnTo>
                <a:lnTo>
                  <a:pt x="684" y="438"/>
                </a:lnTo>
                <a:lnTo>
                  <a:pt x="690" y="438"/>
                </a:lnTo>
                <a:lnTo>
                  <a:pt x="696" y="438"/>
                </a:lnTo>
                <a:lnTo>
                  <a:pt x="702" y="444"/>
                </a:lnTo>
                <a:lnTo>
                  <a:pt x="702" y="450"/>
                </a:lnTo>
                <a:lnTo>
                  <a:pt x="708" y="450"/>
                </a:lnTo>
                <a:lnTo>
                  <a:pt x="708" y="456"/>
                </a:lnTo>
                <a:lnTo>
                  <a:pt x="708" y="462"/>
                </a:lnTo>
                <a:lnTo>
                  <a:pt x="708" y="468"/>
                </a:lnTo>
                <a:lnTo>
                  <a:pt x="708" y="504"/>
                </a:lnTo>
                <a:lnTo>
                  <a:pt x="696" y="564"/>
                </a:lnTo>
                <a:lnTo>
                  <a:pt x="696" y="582"/>
                </a:lnTo>
                <a:lnTo>
                  <a:pt x="696" y="600"/>
                </a:lnTo>
                <a:lnTo>
                  <a:pt x="690" y="606"/>
                </a:lnTo>
                <a:lnTo>
                  <a:pt x="684" y="606"/>
                </a:lnTo>
                <a:lnTo>
                  <a:pt x="690" y="612"/>
                </a:lnTo>
                <a:lnTo>
                  <a:pt x="684" y="612"/>
                </a:lnTo>
                <a:lnTo>
                  <a:pt x="678" y="618"/>
                </a:lnTo>
                <a:lnTo>
                  <a:pt x="672" y="624"/>
                </a:lnTo>
                <a:lnTo>
                  <a:pt x="666" y="630"/>
                </a:lnTo>
                <a:lnTo>
                  <a:pt x="660" y="636"/>
                </a:lnTo>
                <a:lnTo>
                  <a:pt x="672" y="636"/>
                </a:lnTo>
                <a:lnTo>
                  <a:pt x="678" y="642"/>
                </a:lnTo>
                <a:lnTo>
                  <a:pt x="678" y="648"/>
                </a:lnTo>
                <a:lnTo>
                  <a:pt x="684" y="654"/>
                </a:lnTo>
                <a:lnTo>
                  <a:pt x="690" y="666"/>
                </a:lnTo>
                <a:lnTo>
                  <a:pt x="690" y="672"/>
                </a:lnTo>
                <a:lnTo>
                  <a:pt x="696" y="672"/>
                </a:lnTo>
                <a:lnTo>
                  <a:pt x="696" y="684"/>
                </a:lnTo>
                <a:lnTo>
                  <a:pt x="708" y="690"/>
                </a:lnTo>
                <a:lnTo>
                  <a:pt x="720" y="696"/>
                </a:lnTo>
                <a:lnTo>
                  <a:pt x="726" y="696"/>
                </a:lnTo>
                <a:lnTo>
                  <a:pt x="732" y="696"/>
                </a:lnTo>
                <a:lnTo>
                  <a:pt x="738" y="696"/>
                </a:lnTo>
                <a:lnTo>
                  <a:pt x="738" y="702"/>
                </a:lnTo>
                <a:lnTo>
                  <a:pt x="738" y="708"/>
                </a:lnTo>
                <a:lnTo>
                  <a:pt x="738" y="714"/>
                </a:lnTo>
                <a:lnTo>
                  <a:pt x="744" y="714"/>
                </a:lnTo>
                <a:lnTo>
                  <a:pt x="756" y="720"/>
                </a:lnTo>
                <a:lnTo>
                  <a:pt x="780" y="726"/>
                </a:lnTo>
                <a:lnTo>
                  <a:pt x="792" y="732"/>
                </a:lnTo>
                <a:lnTo>
                  <a:pt x="816" y="756"/>
                </a:lnTo>
                <a:lnTo>
                  <a:pt x="816" y="762"/>
                </a:lnTo>
                <a:lnTo>
                  <a:pt x="816" y="768"/>
                </a:lnTo>
                <a:lnTo>
                  <a:pt x="822" y="774"/>
                </a:lnTo>
                <a:lnTo>
                  <a:pt x="834" y="786"/>
                </a:lnTo>
                <a:lnTo>
                  <a:pt x="834" y="792"/>
                </a:lnTo>
                <a:lnTo>
                  <a:pt x="834" y="798"/>
                </a:lnTo>
                <a:lnTo>
                  <a:pt x="828" y="798"/>
                </a:lnTo>
                <a:lnTo>
                  <a:pt x="828" y="804"/>
                </a:lnTo>
                <a:lnTo>
                  <a:pt x="834" y="816"/>
                </a:lnTo>
                <a:lnTo>
                  <a:pt x="834" y="834"/>
                </a:lnTo>
                <a:lnTo>
                  <a:pt x="834" y="840"/>
                </a:lnTo>
                <a:lnTo>
                  <a:pt x="834" y="846"/>
                </a:lnTo>
                <a:lnTo>
                  <a:pt x="840" y="852"/>
                </a:lnTo>
                <a:lnTo>
                  <a:pt x="834" y="858"/>
                </a:lnTo>
                <a:lnTo>
                  <a:pt x="834" y="864"/>
                </a:lnTo>
                <a:lnTo>
                  <a:pt x="834" y="876"/>
                </a:lnTo>
                <a:lnTo>
                  <a:pt x="828" y="960"/>
                </a:lnTo>
                <a:lnTo>
                  <a:pt x="816" y="966"/>
                </a:lnTo>
                <a:lnTo>
                  <a:pt x="798" y="972"/>
                </a:lnTo>
                <a:lnTo>
                  <a:pt x="786" y="990"/>
                </a:lnTo>
                <a:lnTo>
                  <a:pt x="774" y="990"/>
                </a:lnTo>
                <a:lnTo>
                  <a:pt x="762" y="1008"/>
                </a:lnTo>
                <a:lnTo>
                  <a:pt x="732" y="1014"/>
                </a:lnTo>
                <a:lnTo>
                  <a:pt x="714" y="1026"/>
                </a:lnTo>
                <a:lnTo>
                  <a:pt x="690" y="1050"/>
                </a:lnTo>
                <a:lnTo>
                  <a:pt x="654" y="1056"/>
                </a:lnTo>
                <a:lnTo>
                  <a:pt x="630" y="1056"/>
                </a:lnTo>
                <a:lnTo>
                  <a:pt x="606" y="1068"/>
                </a:lnTo>
                <a:lnTo>
                  <a:pt x="600" y="1092"/>
                </a:lnTo>
                <a:lnTo>
                  <a:pt x="600" y="1098"/>
                </a:lnTo>
                <a:lnTo>
                  <a:pt x="588" y="1104"/>
                </a:lnTo>
                <a:lnTo>
                  <a:pt x="582" y="1104"/>
                </a:lnTo>
                <a:lnTo>
                  <a:pt x="570" y="1110"/>
                </a:lnTo>
                <a:lnTo>
                  <a:pt x="564" y="111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8451" name="Freeform 13"/>
          <p:cNvSpPr>
            <a:spLocks/>
          </p:cNvSpPr>
          <p:nvPr/>
        </p:nvSpPr>
        <p:spPr bwMode="gray">
          <a:xfrm>
            <a:off x="3132138" y="2733675"/>
            <a:ext cx="1362075" cy="1282700"/>
          </a:xfrm>
          <a:custGeom>
            <a:avLst/>
            <a:gdLst>
              <a:gd name="T0" fmla="*/ 108029 w 1740"/>
              <a:gd name="T1" fmla="*/ 108093 h 1590"/>
              <a:gd name="T2" fmla="*/ 100201 w 1740"/>
              <a:gd name="T3" fmla="*/ 105673 h 1590"/>
              <a:gd name="T4" fmla="*/ 94721 w 1740"/>
              <a:gd name="T5" fmla="*/ 104866 h 1590"/>
              <a:gd name="T6" fmla="*/ 93155 w 1740"/>
              <a:gd name="T7" fmla="*/ 108093 h 1590"/>
              <a:gd name="T8" fmla="*/ 86110 w 1740"/>
              <a:gd name="T9" fmla="*/ 106480 h 1590"/>
              <a:gd name="T10" fmla="*/ 86893 w 1740"/>
              <a:gd name="T11" fmla="*/ 102446 h 1590"/>
              <a:gd name="T12" fmla="*/ 80630 w 1740"/>
              <a:gd name="T13" fmla="*/ 94380 h 1590"/>
              <a:gd name="T14" fmla="*/ 72802 w 1740"/>
              <a:gd name="T15" fmla="*/ 99220 h 1590"/>
              <a:gd name="T16" fmla="*/ 62626 w 1740"/>
              <a:gd name="T17" fmla="*/ 95186 h 1590"/>
              <a:gd name="T18" fmla="*/ 51666 w 1740"/>
              <a:gd name="T19" fmla="*/ 94380 h 1590"/>
              <a:gd name="T20" fmla="*/ 51666 w 1740"/>
              <a:gd name="T21" fmla="*/ 88733 h 1590"/>
              <a:gd name="T22" fmla="*/ 54015 w 1740"/>
              <a:gd name="T23" fmla="*/ 86313 h 1590"/>
              <a:gd name="T24" fmla="*/ 53232 w 1740"/>
              <a:gd name="T25" fmla="*/ 82280 h 1590"/>
              <a:gd name="T26" fmla="*/ 53232 w 1740"/>
              <a:gd name="T27" fmla="*/ 77440 h 1590"/>
              <a:gd name="T28" fmla="*/ 52449 w 1740"/>
              <a:gd name="T29" fmla="*/ 66146 h 1590"/>
              <a:gd name="T30" fmla="*/ 45403 w 1740"/>
              <a:gd name="T31" fmla="*/ 66146 h 1590"/>
              <a:gd name="T32" fmla="*/ 40707 w 1740"/>
              <a:gd name="T33" fmla="*/ 66146 h 1590"/>
              <a:gd name="T34" fmla="*/ 36010 w 1740"/>
              <a:gd name="T35" fmla="*/ 64533 h 1590"/>
              <a:gd name="T36" fmla="*/ 35227 w 1740"/>
              <a:gd name="T37" fmla="*/ 59693 h 1590"/>
              <a:gd name="T38" fmla="*/ 40707 w 1740"/>
              <a:gd name="T39" fmla="*/ 56466 h 1590"/>
              <a:gd name="T40" fmla="*/ 40707 w 1740"/>
              <a:gd name="T41" fmla="*/ 51626 h 1590"/>
              <a:gd name="T42" fmla="*/ 32878 w 1740"/>
              <a:gd name="T43" fmla="*/ 42753 h 1590"/>
              <a:gd name="T44" fmla="*/ 27399 w 1740"/>
              <a:gd name="T45" fmla="*/ 41947 h 1590"/>
              <a:gd name="T46" fmla="*/ 15656 w 1740"/>
              <a:gd name="T47" fmla="*/ 41140 h 1590"/>
              <a:gd name="T48" fmla="*/ 13308 w 1740"/>
              <a:gd name="T49" fmla="*/ 45173 h 1590"/>
              <a:gd name="T50" fmla="*/ 8611 w 1740"/>
              <a:gd name="T51" fmla="*/ 49206 h 1590"/>
              <a:gd name="T52" fmla="*/ 5480 w 1740"/>
              <a:gd name="T53" fmla="*/ 50820 h 1590"/>
              <a:gd name="T54" fmla="*/ 0 w 1740"/>
              <a:gd name="T55" fmla="*/ 44366 h 1590"/>
              <a:gd name="T56" fmla="*/ 1566 w 1740"/>
              <a:gd name="T57" fmla="*/ 40333 h 1590"/>
              <a:gd name="T58" fmla="*/ 0 w 1740"/>
              <a:gd name="T59" fmla="*/ 35493 h 1590"/>
              <a:gd name="T60" fmla="*/ 1566 w 1740"/>
              <a:gd name="T61" fmla="*/ 30653 h 1590"/>
              <a:gd name="T62" fmla="*/ 5480 w 1740"/>
              <a:gd name="T63" fmla="*/ 28233 h 1590"/>
              <a:gd name="T64" fmla="*/ 8611 w 1740"/>
              <a:gd name="T65" fmla="*/ 24200 h 1590"/>
              <a:gd name="T66" fmla="*/ 16439 w 1740"/>
              <a:gd name="T67" fmla="*/ 20973 h 1590"/>
              <a:gd name="T68" fmla="*/ 22702 w 1740"/>
              <a:gd name="T69" fmla="*/ 20167 h 1590"/>
              <a:gd name="T70" fmla="*/ 27399 w 1740"/>
              <a:gd name="T71" fmla="*/ 16940 h 1590"/>
              <a:gd name="T72" fmla="*/ 28181 w 1740"/>
              <a:gd name="T73" fmla="*/ 12907 h 1590"/>
              <a:gd name="T74" fmla="*/ 32096 w 1740"/>
              <a:gd name="T75" fmla="*/ 8873 h 1590"/>
              <a:gd name="T76" fmla="*/ 39924 w 1740"/>
              <a:gd name="T77" fmla="*/ 7260 h 1590"/>
              <a:gd name="T78" fmla="*/ 46186 w 1740"/>
              <a:gd name="T79" fmla="*/ 16940 h 1590"/>
              <a:gd name="T80" fmla="*/ 50883 w 1740"/>
              <a:gd name="T81" fmla="*/ 10487 h 1590"/>
              <a:gd name="T82" fmla="*/ 57146 w 1740"/>
              <a:gd name="T83" fmla="*/ 6453 h 1590"/>
              <a:gd name="T84" fmla="*/ 64191 w 1740"/>
              <a:gd name="T85" fmla="*/ 9680 h 1590"/>
              <a:gd name="T86" fmla="*/ 68888 w 1740"/>
              <a:gd name="T87" fmla="*/ 9680 h 1590"/>
              <a:gd name="T88" fmla="*/ 77499 w 1740"/>
              <a:gd name="T89" fmla="*/ 5647 h 1590"/>
              <a:gd name="T90" fmla="*/ 89241 w 1740"/>
              <a:gd name="T91" fmla="*/ 0 h 1590"/>
              <a:gd name="T92" fmla="*/ 91590 w 1740"/>
              <a:gd name="T93" fmla="*/ 8067 h 1590"/>
              <a:gd name="T94" fmla="*/ 103332 w 1740"/>
              <a:gd name="T95" fmla="*/ 13713 h 1590"/>
              <a:gd name="T96" fmla="*/ 109595 w 1740"/>
              <a:gd name="T97" fmla="*/ 20167 h 1590"/>
              <a:gd name="T98" fmla="*/ 109595 w 1740"/>
              <a:gd name="T99" fmla="*/ 26620 h 1590"/>
              <a:gd name="T100" fmla="*/ 109595 w 1740"/>
              <a:gd name="T101" fmla="*/ 35493 h 1590"/>
              <a:gd name="T102" fmla="*/ 108029 w 1740"/>
              <a:gd name="T103" fmla="*/ 38720 h 1590"/>
              <a:gd name="T104" fmla="*/ 110377 w 1740"/>
              <a:gd name="T105" fmla="*/ 39527 h 1590"/>
              <a:gd name="T106" fmla="*/ 114292 w 1740"/>
              <a:gd name="T107" fmla="*/ 40333 h 1590"/>
              <a:gd name="T108" fmla="*/ 116640 w 1740"/>
              <a:gd name="T109" fmla="*/ 47593 h 1590"/>
              <a:gd name="T110" fmla="*/ 115857 w 1740"/>
              <a:gd name="T111" fmla="*/ 54046 h 1590"/>
              <a:gd name="T112" fmla="*/ 110377 w 1740"/>
              <a:gd name="T113" fmla="*/ 62920 h 1590"/>
              <a:gd name="T114" fmla="*/ 110377 w 1740"/>
              <a:gd name="T115" fmla="*/ 73406 h 1590"/>
              <a:gd name="T116" fmla="*/ 108029 w 1740"/>
              <a:gd name="T117" fmla="*/ 82280 h 1590"/>
              <a:gd name="T118" fmla="*/ 108029 w 1740"/>
              <a:gd name="T119" fmla="*/ 88733 h 1590"/>
              <a:gd name="T120" fmla="*/ 112726 w 1740"/>
              <a:gd name="T121" fmla="*/ 95186 h 1590"/>
              <a:gd name="T122" fmla="*/ 111943 w 1740"/>
              <a:gd name="T123" fmla="*/ 100833 h 1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0"/>
              <a:gd name="T187" fmla="*/ 0 h 1590"/>
              <a:gd name="T188" fmla="*/ 1740 w 1740"/>
              <a:gd name="T189" fmla="*/ 1590 h 159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0" h="1590">
                <a:moveTo>
                  <a:pt x="1638" y="1458"/>
                </a:moveTo>
                <a:lnTo>
                  <a:pt x="1638" y="1482"/>
                </a:lnTo>
                <a:lnTo>
                  <a:pt x="1638" y="1500"/>
                </a:lnTo>
                <a:lnTo>
                  <a:pt x="1626" y="1500"/>
                </a:lnTo>
                <a:lnTo>
                  <a:pt x="1620" y="1500"/>
                </a:lnTo>
                <a:lnTo>
                  <a:pt x="1614" y="1500"/>
                </a:lnTo>
                <a:lnTo>
                  <a:pt x="1614" y="1506"/>
                </a:lnTo>
                <a:lnTo>
                  <a:pt x="1614" y="1512"/>
                </a:lnTo>
                <a:lnTo>
                  <a:pt x="1620" y="1518"/>
                </a:lnTo>
                <a:lnTo>
                  <a:pt x="1614" y="1524"/>
                </a:lnTo>
                <a:lnTo>
                  <a:pt x="1590" y="1536"/>
                </a:lnTo>
                <a:lnTo>
                  <a:pt x="1584" y="1566"/>
                </a:lnTo>
                <a:lnTo>
                  <a:pt x="1578" y="1590"/>
                </a:lnTo>
                <a:lnTo>
                  <a:pt x="1548" y="1590"/>
                </a:lnTo>
                <a:lnTo>
                  <a:pt x="1542" y="1584"/>
                </a:lnTo>
                <a:lnTo>
                  <a:pt x="1542" y="1572"/>
                </a:lnTo>
                <a:lnTo>
                  <a:pt x="1536" y="1566"/>
                </a:lnTo>
                <a:lnTo>
                  <a:pt x="1536" y="1554"/>
                </a:lnTo>
                <a:lnTo>
                  <a:pt x="1536" y="1548"/>
                </a:lnTo>
                <a:lnTo>
                  <a:pt x="1506" y="1530"/>
                </a:lnTo>
                <a:lnTo>
                  <a:pt x="1488" y="1506"/>
                </a:lnTo>
                <a:lnTo>
                  <a:pt x="1464" y="1500"/>
                </a:lnTo>
                <a:lnTo>
                  <a:pt x="1470" y="1494"/>
                </a:lnTo>
                <a:lnTo>
                  <a:pt x="1470" y="1488"/>
                </a:lnTo>
                <a:lnTo>
                  <a:pt x="1470" y="1482"/>
                </a:lnTo>
                <a:lnTo>
                  <a:pt x="1428" y="1464"/>
                </a:lnTo>
                <a:lnTo>
                  <a:pt x="1404" y="1470"/>
                </a:lnTo>
                <a:lnTo>
                  <a:pt x="1398" y="1470"/>
                </a:lnTo>
                <a:lnTo>
                  <a:pt x="1392" y="1476"/>
                </a:lnTo>
                <a:lnTo>
                  <a:pt x="1386" y="1476"/>
                </a:lnTo>
                <a:lnTo>
                  <a:pt x="1386" y="1482"/>
                </a:lnTo>
                <a:lnTo>
                  <a:pt x="1392" y="1482"/>
                </a:lnTo>
                <a:lnTo>
                  <a:pt x="1386" y="1488"/>
                </a:lnTo>
                <a:lnTo>
                  <a:pt x="1386" y="1494"/>
                </a:lnTo>
                <a:lnTo>
                  <a:pt x="1380" y="1494"/>
                </a:lnTo>
                <a:lnTo>
                  <a:pt x="1380" y="1500"/>
                </a:lnTo>
                <a:lnTo>
                  <a:pt x="1380" y="1512"/>
                </a:lnTo>
                <a:lnTo>
                  <a:pt x="1380" y="1518"/>
                </a:lnTo>
                <a:lnTo>
                  <a:pt x="1380" y="1524"/>
                </a:lnTo>
                <a:lnTo>
                  <a:pt x="1380" y="1530"/>
                </a:lnTo>
                <a:lnTo>
                  <a:pt x="1374" y="1536"/>
                </a:lnTo>
                <a:lnTo>
                  <a:pt x="1374" y="1542"/>
                </a:lnTo>
                <a:lnTo>
                  <a:pt x="1368" y="1542"/>
                </a:lnTo>
                <a:lnTo>
                  <a:pt x="1362" y="1536"/>
                </a:lnTo>
                <a:lnTo>
                  <a:pt x="1356" y="1542"/>
                </a:lnTo>
                <a:lnTo>
                  <a:pt x="1344" y="1554"/>
                </a:lnTo>
                <a:lnTo>
                  <a:pt x="1332" y="1560"/>
                </a:lnTo>
                <a:lnTo>
                  <a:pt x="1302" y="1554"/>
                </a:lnTo>
                <a:lnTo>
                  <a:pt x="1290" y="1554"/>
                </a:lnTo>
                <a:lnTo>
                  <a:pt x="1278" y="1542"/>
                </a:lnTo>
                <a:lnTo>
                  <a:pt x="1272" y="1530"/>
                </a:lnTo>
                <a:lnTo>
                  <a:pt x="1272" y="1524"/>
                </a:lnTo>
                <a:lnTo>
                  <a:pt x="1272" y="1518"/>
                </a:lnTo>
                <a:lnTo>
                  <a:pt x="1266" y="1518"/>
                </a:lnTo>
                <a:lnTo>
                  <a:pt x="1266" y="1512"/>
                </a:lnTo>
                <a:lnTo>
                  <a:pt x="1266" y="1506"/>
                </a:lnTo>
                <a:lnTo>
                  <a:pt x="1272" y="1506"/>
                </a:lnTo>
                <a:lnTo>
                  <a:pt x="1272" y="1500"/>
                </a:lnTo>
                <a:lnTo>
                  <a:pt x="1278" y="1500"/>
                </a:lnTo>
                <a:lnTo>
                  <a:pt x="1278" y="1494"/>
                </a:lnTo>
                <a:lnTo>
                  <a:pt x="1278" y="1488"/>
                </a:lnTo>
                <a:lnTo>
                  <a:pt x="1284" y="1488"/>
                </a:lnTo>
                <a:lnTo>
                  <a:pt x="1284" y="1482"/>
                </a:lnTo>
                <a:lnTo>
                  <a:pt x="1290" y="1476"/>
                </a:lnTo>
                <a:lnTo>
                  <a:pt x="1284" y="1470"/>
                </a:lnTo>
                <a:lnTo>
                  <a:pt x="1278" y="1458"/>
                </a:lnTo>
                <a:lnTo>
                  <a:pt x="1278" y="1452"/>
                </a:lnTo>
                <a:lnTo>
                  <a:pt x="1260" y="1428"/>
                </a:lnTo>
                <a:lnTo>
                  <a:pt x="1254" y="1416"/>
                </a:lnTo>
                <a:lnTo>
                  <a:pt x="1254" y="1410"/>
                </a:lnTo>
                <a:lnTo>
                  <a:pt x="1248" y="1398"/>
                </a:lnTo>
                <a:lnTo>
                  <a:pt x="1242" y="1398"/>
                </a:lnTo>
                <a:lnTo>
                  <a:pt x="1236" y="1398"/>
                </a:lnTo>
                <a:lnTo>
                  <a:pt x="1218" y="1386"/>
                </a:lnTo>
                <a:lnTo>
                  <a:pt x="1212" y="1362"/>
                </a:lnTo>
                <a:lnTo>
                  <a:pt x="1200" y="1344"/>
                </a:lnTo>
                <a:lnTo>
                  <a:pt x="1188" y="1338"/>
                </a:lnTo>
                <a:lnTo>
                  <a:pt x="1164" y="1338"/>
                </a:lnTo>
                <a:lnTo>
                  <a:pt x="1158" y="1344"/>
                </a:lnTo>
                <a:lnTo>
                  <a:pt x="1152" y="1350"/>
                </a:lnTo>
                <a:lnTo>
                  <a:pt x="1152" y="1356"/>
                </a:lnTo>
                <a:lnTo>
                  <a:pt x="1140" y="1362"/>
                </a:lnTo>
                <a:lnTo>
                  <a:pt x="1134" y="1380"/>
                </a:lnTo>
                <a:lnTo>
                  <a:pt x="1116" y="1398"/>
                </a:lnTo>
                <a:lnTo>
                  <a:pt x="1110" y="1416"/>
                </a:lnTo>
                <a:lnTo>
                  <a:pt x="1086" y="1416"/>
                </a:lnTo>
                <a:lnTo>
                  <a:pt x="1080" y="1410"/>
                </a:lnTo>
                <a:lnTo>
                  <a:pt x="1074" y="1410"/>
                </a:lnTo>
                <a:lnTo>
                  <a:pt x="1074" y="1404"/>
                </a:lnTo>
                <a:lnTo>
                  <a:pt x="1062" y="1404"/>
                </a:lnTo>
                <a:lnTo>
                  <a:pt x="1062" y="1380"/>
                </a:lnTo>
                <a:lnTo>
                  <a:pt x="1038" y="1380"/>
                </a:lnTo>
                <a:lnTo>
                  <a:pt x="1026" y="1350"/>
                </a:lnTo>
                <a:lnTo>
                  <a:pt x="996" y="1326"/>
                </a:lnTo>
                <a:lnTo>
                  <a:pt x="966" y="1314"/>
                </a:lnTo>
                <a:lnTo>
                  <a:pt x="954" y="1320"/>
                </a:lnTo>
                <a:lnTo>
                  <a:pt x="942" y="1338"/>
                </a:lnTo>
                <a:lnTo>
                  <a:pt x="930" y="1338"/>
                </a:lnTo>
                <a:lnTo>
                  <a:pt x="924" y="1350"/>
                </a:lnTo>
                <a:lnTo>
                  <a:pt x="906" y="1356"/>
                </a:lnTo>
                <a:lnTo>
                  <a:pt x="846" y="1356"/>
                </a:lnTo>
                <a:lnTo>
                  <a:pt x="834" y="1368"/>
                </a:lnTo>
                <a:lnTo>
                  <a:pt x="810" y="1362"/>
                </a:lnTo>
                <a:lnTo>
                  <a:pt x="792" y="1362"/>
                </a:lnTo>
                <a:lnTo>
                  <a:pt x="780" y="1368"/>
                </a:lnTo>
                <a:lnTo>
                  <a:pt x="762" y="1368"/>
                </a:lnTo>
                <a:lnTo>
                  <a:pt x="762" y="1362"/>
                </a:lnTo>
                <a:lnTo>
                  <a:pt x="750" y="1362"/>
                </a:lnTo>
                <a:lnTo>
                  <a:pt x="750" y="1338"/>
                </a:lnTo>
                <a:lnTo>
                  <a:pt x="762" y="1338"/>
                </a:lnTo>
                <a:lnTo>
                  <a:pt x="762" y="1326"/>
                </a:lnTo>
                <a:lnTo>
                  <a:pt x="762" y="1314"/>
                </a:lnTo>
                <a:lnTo>
                  <a:pt x="732" y="1314"/>
                </a:lnTo>
                <a:lnTo>
                  <a:pt x="726" y="1308"/>
                </a:lnTo>
                <a:lnTo>
                  <a:pt x="732" y="1284"/>
                </a:lnTo>
                <a:lnTo>
                  <a:pt x="732" y="1278"/>
                </a:lnTo>
                <a:lnTo>
                  <a:pt x="738" y="1272"/>
                </a:lnTo>
                <a:lnTo>
                  <a:pt x="738" y="1266"/>
                </a:lnTo>
                <a:lnTo>
                  <a:pt x="744" y="1266"/>
                </a:lnTo>
                <a:lnTo>
                  <a:pt x="750" y="1272"/>
                </a:lnTo>
                <a:lnTo>
                  <a:pt x="756" y="1266"/>
                </a:lnTo>
                <a:lnTo>
                  <a:pt x="762" y="1266"/>
                </a:lnTo>
                <a:lnTo>
                  <a:pt x="768" y="1260"/>
                </a:lnTo>
                <a:lnTo>
                  <a:pt x="774" y="1260"/>
                </a:lnTo>
                <a:lnTo>
                  <a:pt x="780" y="1254"/>
                </a:lnTo>
                <a:lnTo>
                  <a:pt x="774" y="1254"/>
                </a:lnTo>
                <a:lnTo>
                  <a:pt x="768" y="1254"/>
                </a:lnTo>
                <a:lnTo>
                  <a:pt x="774" y="1248"/>
                </a:lnTo>
                <a:lnTo>
                  <a:pt x="774" y="1242"/>
                </a:lnTo>
                <a:lnTo>
                  <a:pt x="780" y="1236"/>
                </a:lnTo>
                <a:lnTo>
                  <a:pt x="786" y="1236"/>
                </a:lnTo>
                <a:lnTo>
                  <a:pt x="792" y="1230"/>
                </a:lnTo>
                <a:lnTo>
                  <a:pt x="792" y="1236"/>
                </a:lnTo>
                <a:lnTo>
                  <a:pt x="798" y="1236"/>
                </a:lnTo>
                <a:lnTo>
                  <a:pt x="798" y="1230"/>
                </a:lnTo>
                <a:lnTo>
                  <a:pt x="804" y="1230"/>
                </a:lnTo>
                <a:lnTo>
                  <a:pt x="804" y="1218"/>
                </a:lnTo>
                <a:lnTo>
                  <a:pt x="804" y="1206"/>
                </a:lnTo>
                <a:lnTo>
                  <a:pt x="792" y="1188"/>
                </a:lnTo>
                <a:lnTo>
                  <a:pt x="768" y="1182"/>
                </a:lnTo>
                <a:lnTo>
                  <a:pt x="768" y="1170"/>
                </a:lnTo>
                <a:lnTo>
                  <a:pt x="774" y="1170"/>
                </a:lnTo>
                <a:lnTo>
                  <a:pt x="780" y="1170"/>
                </a:lnTo>
                <a:lnTo>
                  <a:pt x="786" y="1170"/>
                </a:lnTo>
                <a:lnTo>
                  <a:pt x="780" y="1152"/>
                </a:lnTo>
                <a:lnTo>
                  <a:pt x="780" y="1146"/>
                </a:lnTo>
                <a:lnTo>
                  <a:pt x="744" y="1140"/>
                </a:lnTo>
                <a:lnTo>
                  <a:pt x="732" y="1128"/>
                </a:lnTo>
                <a:lnTo>
                  <a:pt x="720" y="1122"/>
                </a:lnTo>
                <a:lnTo>
                  <a:pt x="732" y="1116"/>
                </a:lnTo>
                <a:lnTo>
                  <a:pt x="750" y="1104"/>
                </a:lnTo>
                <a:lnTo>
                  <a:pt x="756" y="1116"/>
                </a:lnTo>
                <a:lnTo>
                  <a:pt x="774" y="1116"/>
                </a:lnTo>
                <a:lnTo>
                  <a:pt x="780" y="1104"/>
                </a:lnTo>
                <a:lnTo>
                  <a:pt x="780" y="1080"/>
                </a:lnTo>
                <a:lnTo>
                  <a:pt x="786" y="1080"/>
                </a:lnTo>
                <a:lnTo>
                  <a:pt x="786" y="1074"/>
                </a:lnTo>
                <a:lnTo>
                  <a:pt x="792" y="1074"/>
                </a:lnTo>
                <a:lnTo>
                  <a:pt x="786" y="1068"/>
                </a:lnTo>
                <a:lnTo>
                  <a:pt x="786" y="1062"/>
                </a:lnTo>
                <a:lnTo>
                  <a:pt x="786" y="1056"/>
                </a:lnTo>
                <a:lnTo>
                  <a:pt x="792" y="1050"/>
                </a:lnTo>
                <a:lnTo>
                  <a:pt x="786" y="1020"/>
                </a:lnTo>
                <a:lnTo>
                  <a:pt x="780" y="960"/>
                </a:lnTo>
                <a:lnTo>
                  <a:pt x="768" y="942"/>
                </a:lnTo>
                <a:lnTo>
                  <a:pt x="732" y="936"/>
                </a:lnTo>
                <a:lnTo>
                  <a:pt x="732" y="942"/>
                </a:lnTo>
                <a:lnTo>
                  <a:pt x="726" y="942"/>
                </a:lnTo>
                <a:lnTo>
                  <a:pt x="720" y="936"/>
                </a:lnTo>
                <a:lnTo>
                  <a:pt x="714" y="942"/>
                </a:lnTo>
                <a:lnTo>
                  <a:pt x="708" y="942"/>
                </a:lnTo>
                <a:lnTo>
                  <a:pt x="702" y="942"/>
                </a:lnTo>
                <a:lnTo>
                  <a:pt x="690" y="936"/>
                </a:lnTo>
                <a:lnTo>
                  <a:pt x="684" y="936"/>
                </a:lnTo>
                <a:lnTo>
                  <a:pt x="678" y="936"/>
                </a:lnTo>
                <a:lnTo>
                  <a:pt x="672" y="936"/>
                </a:lnTo>
                <a:lnTo>
                  <a:pt x="666" y="942"/>
                </a:lnTo>
                <a:lnTo>
                  <a:pt x="660" y="942"/>
                </a:lnTo>
                <a:lnTo>
                  <a:pt x="654" y="942"/>
                </a:lnTo>
                <a:lnTo>
                  <a:pt x="648" y="942"/>
                </a:lnTo>
                <a:lnTo>
                  <a:pt x="642" y="936"/>
                </a:lnTo>
                <a:lnTo>
                  <a:pt x="636" y="936"/>
                </a:lnTo>
                <a:lnTo>
                  <a:pt x="630" y="930"/>
                </a:lnTo>
                <a:lnTo>
                  <a:pt x="618" y="930"/>
                </a:lnTo>
                <a:lnTo>
                  <a:pt x="612" y="930"/>
                </a:lnTo>
                <a:lnTo>
                  <a:pt x="606" y="936"/>
                </a:lnTo>
                <a:lnTo>
                  <a:pt x="600" y="942"/>
                </a:lnTo>
                <a:lnTo>
                  <a:pt x="600" y="936"/>
                </a:lnTo>
                <a:lnTo>
                  <a:pt x="594" y="930"/>
                </a:lnTo>
                <a:lnTo>
                  <a:pt x="588" y="930"/>
                </a:lnTo>
                <a:lnTo>
                  <a:pt x="582" y="930"/>
                </a:lnTo>
                <a:lnTo>
                  <a:pt x="576" y="930"/>
                </a:lnTo>
                <a:lnTo>
                  <a:pt x="564" y="936"/>
                </a:lnTo>
                <a:lnTo>
                  <a:pt x="558" y="936"/>
                </a:lnTo>
                <a:lnTo>
                  <a:pt x="546" y="924"/>
                </a:lnTo>
                <a:lnTo>
                  <a:pt x="540" y="924"/>
                </a:lnTo>
                <a:lnTo>
                  <a:pt x="534" y="918"/>
                </a:lnTo>
                <a:lnTo>
                  <a:pt x="528" y="918"/>
                </a:lnTo>
                <a:lnTo>
                  <a:pt x="516" y="918"/>
                </a:lnTo>
                <a:lnTo>
                  <a:pt x="516" y="924"/>
                </a:lnTo>
                <a:lnTo>
                  <a:pt x="516" y="918"/>
                </a:lnTo>
                <a:lnTo>
                  <a:pt x="516" y="912"/>
                </a:lnTo>
                <a:lnTo>
                  <a:pt x="510" y="894"/>
                </a:lnTo>
                <a:lnTo>
                  <a:pt x="510" y="882"/>
                </a:lnTo>
                <a:lnTo>
                  <a:pt x="510" y="876"/>
                </a:lnTo>
                <a:lnTo>
                  <a:pt x="516" y="870"/>
                </a:lnTo>
                <a:lnTo>
                  <a:pt x="510" y="864"/>
                </a:lnTo>
                <a:lnTo>
                  <a:pt x="516" y="858"/>
                </a:lnTo>
                <a:lnTo>
                  <a:pt x="522" y="858"/>
                </a:lnTo>
                <a:lnTo>
                  <a:pt x="528" y="858"/>
                </a:lnTo>
                <a:lnTo>
                  <a:pt x="522" y="852"/>
                </a:lnTo>
                <a:lnTo>
                  <a:pt x="528" y="852"/>
                </a:lnTo>
                <a:lnTo>
                  <a:pt x="528" y="846"/>
                </a:lnTo>
                <a:lnTo>
                  <a:pt x="552" y="846"/>
                </a:lnTo>
                <a:lnTo>
                  <a:pt x="558" y="840"/>
                </a:lnTo>
                <a:lnTo>
                  <a:pt x="564" y="828"/>
                </a:lnTo>
                <a:lnTo>
                  <a:pt x="570" y="816"/>
                </a:lnTo>
                <a:lnTo>
                  <a:pt x="582" y="810"/>
                </a:lnTo>
                <a:lnTo>
                  <a:pt x="588" y="804"/>
                </a:lnTo>
                <a:lnTo>
                  <a:pt x="594" y="804"/>
                </a:lnTo>
                <a:lnTo>
                  <a:pt x="594" y="792"/>
                </a:lnTo>
                <a:lnTo>
                  <a:pt x="600" y="786"/>
                </a:lnTo>
                <a:lnTo>
                  <a:pt x="606" y="780"/>
                </a:lnTo>
                <a:lnTo>
                  <a:pt x="612" y="774"/>
                </a:lnTo>
                <a:lnTo>
                  <a:pt x="618" y="774"/>
                </a:lnTo>
                <a:lnTo>
                  <a:pt x="618" y="768"/>
                </a:lnTo>
                <a:lnTo>
                  <a:pt x="618" y="762"/>
                </a:lnTo>
                <a:lnTo>
                  <a:pt x="624" y="756"/>
                </a:lnTo>
                <a:lnTo>
                  <a:pt x="618" y="750"/>
                </a:lnTo>
                <a:lnTo>
                  <a:pt x="618" y="744"/>
                </a:lnTo>
                <a:lnTo>
                  <a:pt x="600" y="738"/>
                </a:lnTo>
                <a:lnTo>
                  <a:pt x="558" y="744"/>
                </a:lnTo>
                <a:lnTo>
                  <a:pt x="552" y="732"/>
                </a:lnTo>
                <a:lnTo>
                  <a:pt x="546" y="720"/>
                </a:lnTo>
                <a:lnTo>
                  <a:pt x="564" y="702"/>
                </a:lnTo>
                <a:lnTo>
                  <a:pt x="570" y="684"/>
                </a:lnTo>
                <a:lnTo>
                  <a:pt x="564" y="648"/>
                </a:lnTo>
                <a:lnTo>
                  <a:pt x="534" y="624"/>
                </a:lnTo>
                <a:lnTo>
                  <a:pt x="504" y="612"/>
                </a:lnTo>
                <a:lnTo>
                  <a:pt x="498" y="606"/>
                </a:lnTo>
                <a:lnTo>
                  <a:pt x="492" y="600"/>
                </a:lnTo>
                <a:lnTo>
                  <a:pt x="486" y="606"/>
                </a:lnTo>
                <a:lnTo>
                  <a:pt x="480" y="558"/>
                </a:lnTo>
                <a:lnTo>
                  <a:pt x="462" y="546"/>
                </a:lnTo>
                <a:lnTo>
                  <a:pt x="408" y="540"/>
                </a:lnTo>
                <a:lnTo>
                  <a:pt x="408" y="546"/>
                </a:lnTo>
                <a:lnTo>
                  <a:pt x="408" y="558"/>
                </a:lnTo>
                <a:lnTo>
                  <a:pt x="408" y="564"/>
                </a:lnTo>
                <a:lnTo>
                  <a:pt x="408" y="570"/>
                </a:lnTo>
                <a:lnTo>
                  <a:pt x="414" y="582"/>
                </a:lnTo>
                <a:lnTo>
                  <a:pt x="408" y="594"/>
                </a:lnTo>
                <a:lnTo>
                  <a:pt x="414" y="594"/>
                </a:lnTo>
                <a:lnTo>
                  <a:pt x="408" y="600"/>
                </a:lnTo>
                <a:lnTo>
                  <a:pt x="348" y="600"/>
                </a:lnTo>
                <a:lnTo>
                  <a:pt x="324" y="600"/>
                </a:lnTo>
                <a:lnTo>
                  <a:pt x="324" y="612"/>
                </a:lnTo>
                <a:lnTo>
                  <a:pt x="306" y="618"/>
                </a:lnTo>
                <a:lnTo>
                  <a:pt x="312" y="618"/>
                </a:lnTo>
                <a:lnTo>
                  <a:pt x="294" y="588"/>
                </a:lnTo>
                <a:lnTo>
                  <a:pt x="258" y="564"/>
                </a:lnTo>
                <a:lnTo>
                  <a:pt x="252" y="564"/>
                </a:lnTo>
                <a:lnTo>
                  <a:pt x="252" y="576"/>
                </a:lnTo>
                <a:lnTo>
                  <a:pt x="240" y="582"/>
                </a:lnTo>
                <a:lnTo>
                  <a:pt x="234" y="582"/>
                </a:lnTo>
                <a:lnTo>
                  <a:pt x="228" y="588"/>
                </a:lnTo>
                <a:lnTo>
                  <a:pt x="222" y="588"/>
                </a:lnTo>
                <a:lnTo>
                  <a:pt x="216" y="594"/>
                </a:lnTo>
                <a:lnTo>
                  <a:pt x="204" y="594"/>
                </a:lnTo>
                <a:lnTo>
                  <a:pt x="198" y="600"/>
                </a:lnTo>
                <a:lnTo>
                  <a:pt x="192" y="612"/>
                </a:lnTo>
                <a:lnTo>
                  <a:pt x="192" y="618"/>
                </a:lnTo>
                <a:lnTo>
                  <a:pt x="198" y="624"/>
                </a:lnTo>
                <a:lnTo>
                  <a:pt x="192" y="624"/>
                </a:lnTo>
                <a:lnTo>
                  <a:pt x="192" y="630"/>
                </a:lnTo>
                <a:lnTo>
                  <a:pt x="192" y="642"/>
                </a:lnTo>
                <a:lnTo>
                  <a:pt x="180" y="648"/>
                </a:lnTo>
                <a:lnTo>
                  <a:pt x="174" y="654"/>
                </a:lnTo>
                <a:lnTo>
                  <a:pt x="168" y="660"/>
                </a:lnTo>
                <a:lnTo>
                  <a:pt x="162" y="660"/>
                </a:lnTo>
                <a:lnTo>
                  <a:pt x="156" y="666"/>
                </a:lnTo>
                <a:lnTo>
                  <a:pt x="156" y="672"/>
                </a:lnTo>
                <a:lnTo>
                  <a:pt x="150" y="678"/>
                </a:lnTo>
                <a:lnTo>
                  <a:pt x="144" y="684"/>
                </a:lnTo>
                <a:lnTo>
                  <a:pt x="138" y="690"/>
                </a:lnTo>
                <a:lnTo>
                  <a:pt x="132" y="690"/>
                </a:lnTo>
                <a:lnTo>
                  <a:pt x="126" y="702"/>
                </a:lnTo>
                <a:lnTo>
                  <a:pt x="132" y="708"/>
                </a:lnTo>
                <a:lnTo>
                  <a:pt x="126" y="708"/>
                </a:lnTo>
                <a:lnTo>
                  <a:pt x="120" y="708"/>
                </a:lnTo>
                <a:lnTo>
                  <a:pt x="114" y="708"/>
                </a:lnTo>
                <a:lnTo>
                  <a:pt x="108" y="708"/>
                </a:lnTo>
                <a:lnTo>
                  <a:pt x="108" y="714"/>
                </a:lnTo>
                <a:lnTo>
                  <a:pt x="102" y="714"/>
                </a:lnTo>
                <a:lnTo>
                  <a:pt x="96" y="714"/>
                </a:lnTo>
                <a:lnTo>
                  <a:pt x="90" y="714"/>
                </a:lnTo>
                <a:lnTo>
                  <a:pt x="84" y="714"/>
                </a:lnTo>
                <a:lnTo>
                  <a:pt x="78" y="720"/>
                </a:lnTo>
                <a:lnTo>
                  <a:pt x="72" y="720"/>
                </a:lnTo>
                <a:lnTo>
                  <a:pt x="66" y="720"/>
                </a:lnTo>
                <a:lnTo>
                  <a:pt x="54" y="732"/>
                </a:lnTo>
                <a:lnTo>
                  <a:pt x="48" y="702"/>
                </a:lnTo>
                <a:lnTo>
                  <a:pt x="36" y="666"/>
                </a:lnTo>
                <a:lnTo>
                  <a:pt x="0" y="660"/>
                </a:lnTo>
                <a:lnTo>
                  <a:pt x="6" y="660"/>
                </a:lnTo>
                <a:lnTo>
                  <a:pt x="6" y="654"/>
                </a:lnTo>
                <a:lnTo>
                  <a:pt x="6" y="648"/>
                </a:lnTo>
                <a:lnTo>
                  <a:pt x="6" y="642"/>
                </a:lnTo>
                <a:lnTo>
                  <a:pt x="6" y="624"/>
                </a:lnTo>
                <a:lnTo>
                  <a:pt x="6" y="612"/>
                </a:lnTo>
                <a:lnTo>
                  <a:pt x="6" y="606"/>
                </a:lnTo>
                <a:lnTo>
                  <a:pt x="12" y="612"/>
                </a:lnTo>
                <a:lnTo>
                  <a:pt x="18" y="606"/>
                </a:lnTo>
                <a:lnTo>
                  <a:pt x="24" y="606"/>
                </a:lnTo>
                <a:lnTo>
                  <a:pt x="24" y="600"/>
                </a:lnTo>
                <a:lnTo>
                  <a:pt x="30" y="594"/>
                </a:lnTo>
                <a:lnTo>
                  <a:pt x="30" y="588"/>
                </a:lnTo>
                <a:lnTo>
                  <a:pt x="30" y="582"/>
                </a:lnTo>
                <a:lnTo>
                  <a:pt x="24" y="576"/>
                </a:lnTo>
                <a:lnTo>
                  <a:pt x="18" y="576"/>
                </a:lnTo>
                <a:lnTo>
                  <a:pt x="18" y="570"/>
                </a:lnTo>
                <a:lnTo>
                  <a:pt x="18" y="558"/>
                </a:lnTo>
                <a:lnTo>
                  <a:pt x="24" y="558"/>
                </a:lnTo>
                <a:lnTo>
                  <a:pt x="30" y="552"/>
                </a:lnTo>
                <a:lnTo>
                  <a:pt x="30" y="540"/>
                </a:lnTo>
                <a:lnTo>
                  <a:pt x="36" y="528"/>
                </a:lnTo>
                <a:lnTo>
                  <a:pt x="30" y="522"/>
                </a:lnTo>
                <a:lnTo>
                  <a:pt x="24" y="522"/>
                </a:lnTo>
                <a:lnTo>
                  <a:pt x="18" y="510"/>
                </a:lnTo>
                <a:lnTo>
                  <a:pt x="12" y="516"/>
                </a:lnTo>
                <a:lnTo>
                  <a:pt x="6" y="510"/>
                </a:lnTo>
                <a:lnTo>
                  <a:pt x="6" y="504"/>
                </a:lnTo>
                <a:lnTo>
                  <a:pt x="18" y="498"/>
                </a:lnTo>
                <a:lnTo>
                  <a:pt x="18" y="492"/>
                </a:lnTo>
                <a:lnTo>
                  <a:pt x="18" y="486"/>
                </a:lnTo>
                <a:lnTo>
                  <a:pt x="18" y="480"/>
                </a:lnTo>
                <a:lnTo>
                  <a:pt x="18" y="474"/>
                </a:lnTo>
                <a:lnTo>
                  <a:pt x="12" y="468"/>
                </a:lnTo>
                <a:lnTo>
                  <a:pt x="12" y="462"/>
                </a:lnTo>
                <a:lnTo>
                  <a:pt x="18" y="456"/>
                </a:lnTo>
                <a:lnTo>
                  <a:pt x="18" y="444"/>
                </a:lnTo>
                <a:lnTo>
                  <a:pt x="18" y="438"/>
                </a:lnTo>
                <a:lnTo>
                  <a:pt x="24" y="438"/>
                </a:lnTo>
                <a:lnTo>
                  <a:pt x="30" y="432"/>
                </a:lnTo>
                <a:lnTo>
                  <a:pt x="30" y="426"/>
                </a:lnTo>
                <a:lnTo>
                  <a:pt x="30" y="420"/>
                </a:lnTo>
                <a:lnTo>
                  <a:pt x="30" y="414"/>
                </a:lnTo>
                <a:lnTo>
                  <a:pt x="48" y="414"/>
                </a:lnTo>
                <a:lnTo>
                  <a:pt x="54" y="408"/>
                </a:lnTo>
                <a:lnTo>
                  <a:pt x="60" y="402"/>
                </a:lnTo>
                <a:lnTo>
                  <a:pt x="66" y="402"/>
                </a:lnTo>
                <a:lnTo>
                  <a:pt x="72" y="402"/>
                </a:lnTo>
                <a:lnTo>
                  <a:pt x="78" y="408"/>
                </a:lnTo>
                <a:lnTo>
                  <a:pt x="84" y="396"/>
                </a:lnTo>
                <a:lnTo>
                  <a:pt x="90" y="390"/>
                </a:lnTo>
                <a:lnTo>
                  <a:pt x="90" y="378"/>
                </a:lnTo>
                <a:lnTo>
                  <a:pt x="96" y="372"/>
                </a:lnTo>
                <a:lnTo>
                  <a:pt x="96" y="366"/>
                </a:lnTo>
                <a:lnTo>
                  <a:pt x="96" y="360"/>
                </a:lnTo>
                <a:lnTo>
                  <a:pt x="108" y="354"/>
                </a:lnTo>
                <a:lnTo>
                  <a:pt x="114" y="348"/>
                </a:lnTo>
                <a:lnTo>
                  <a:pt x="120" y="342"/>
                </a:lnTo>
                <a:lnTo>
                  <a:pt x="120" y="348"/>
                </a:lnTo>
                <a:lnTo>
                  <a:pt x="126" y="348"/>
                </a:lnTo>
                <a:lnTo>
                  <a:pt x="132" y="336"/>
                </a:lnTo>
                <a:lnTo>
                  <a:pt x="132" y="330"/>
                </a:lnTo>
                <a:lnTo>
                  <a:pt x="138" y="324"/>
                </a:lnTo>
                <a:lnTo>
                  <a:pt x="138" y="318"/>
                </a:lnTo>
                <a:lnTo>
                  <a:pt x="144" y="306"/>
                </a:lnTo>
                <a:lnTo>
                  <a:pt x="156" y="306"/>
                </a:lnTo>
                <a:lnTo>
                  <a:pt x="186" y="300"/>
                </a:lnTo>
                <a:lnTo>
                  <a:pt x="198" y="300"/>
                </a:lnTo>
                <a:lnTo>
                  <a:pt x="210" y="300"/>
                </a:lnTo>
                <a:lnTo>
                  <a:pt x="222" y="300"/>
                </a:lnTo>
                <a:lnTo>
                  <a:pt x="246" y="300"/>
                </a:lnTo>
                <a:lnTo>
                  <a:pt x="264" y="312"/>
                </a:lnTo>
                <a:lnTo>
                  <a:pt x="270" y="312"/>
                </a:lnTo>
                <a:lnTo>
                  <a:pt x="282" y="306"/>
                </a:lnTo>
                <a:lnTo>
                  <a:pt x="288" y="300"/>
                </a:lnTo>
                <a:lnTo>
                  <a:pt x="294" y="306"/>
                </a:lnTo>
                <a:lnTo>
                  <a:pt x="300" y="306"/>
                </a:lnTo>
                <a:lnTo>
                  <a:pt x="312" y="306"/>
                </a:lnTo>
                <a:lnTo>
                  <a:pt x="318" y="300"/>
                </a:lnTo>
                <a:lnTo>
                  <a:pt x="324" y="300"/>
                </a:lnTo>
                <a:lnTo>
                  <a:pt x="330" y="294"/>
                </a:lnTo>
                <a:lnTo>
                  <a:pt x="336" y="288"/>
                </a:lnTo>
                <a:lnTo>
                  <a:pt x="354" y="288"/>
                </a:lnTo>
                <a:lnTo>
                  <a:pt x="360" y="288"/>
                </a:lnTo>
                <a:lnTo>
                  <a:pt x="366" y="282"/>
                </a:lnTo>
                <a:lnTo>
                  <a:pt x="372" y="282"/>
                </a:lnTo>
                <a:lnTo>
                  <a:pt x="378" y="282"/>
                </a:lnTo>
                <a:lnTo>
                  <a:pt x="384" y="276"/>
                </a:lnTo>
                <a:lnTo>
                  <a:pt x="384" y="270"/>
                </a:lnTo>
                <a:lnTo>
                  <a:pt x="390" y="264"/>
                </a:lnTo>
                <a:lnTo>
                  <a:pt x="402" y="258"/>
                </a:lnTo>
                <a:lnTo>
                  <a:pt x="402" y="252"/>
                </a:lnTo>
                <a:lnTo>
                  <a:pt x="402" y="246"/>
                </a:lnTo>
                <a:lnTo>
                  <a:pt x="408" y="234"/>
                </a:lnTo>
                <a:lnTo>
                  <a:pt x="414" y="234"/>
                </a:lnTo>
                <a:lnTo>
                  <a:pt x="414" y="228"/>
                </a:lnTo>
                <a:lnTo>
                  <a:pt x="420" y="222"/>
                </a:lnTo>
                <a:lnTo>
                  <a:pt x="414" y="216"/>
                </a:lnTo>
                <a:lnTo>
                  <a:pt x="414" y="210"/>
                </a:lnTo>
                <a:lnTo>
                  <a:pt x="420" y="210"/>
                </a:lnTo>
                <a:lnTo>
                  <a:pt x="414" y="198"/>
                </a:lnTo>
                <a:lnTo>
                  <a:pt x="414" y="192"/>
                </a:lnTo>
                <a:lnTo>
                  <a:pt x="420" y="192"/>
                </a:lnTo>
                <a:lnTo>
                  <a:pt x="420" y="186"/>
                </a:lnTo>
                <a:lnTo>
                  <a:pt x="420" y="174"/>
                </a:lnTo>
                <a:lnTo>
                  <a:pt x="420" y="168"/>
                </a:lnTo>
                <a:lnTo>
                  <a:pt x="426" y="162"/>
                </a:lnTo>
                <a:lnTo>
                  <a:pt x="432" y="156"/>
                </a:lnTo>
                <a:lnTo>
                  <a:pt x="438" y="144"/>
                </a:lnTo>
                <a:lnTo>
                  <a:pt x="444" y="144"/>
                </a:lnTo>
                <a:lnTo>
                  <a:pt x="450" y="138"/>
                </a:lnTo>
                <a:lnTo>
                  <a:pt x="456" y="138"/>
                </a:lnTo>
                <a:lnTo>
                  <a:pt x="462" y="132"/>
                </a:lnTo>
                <a:lnTo>
                  <a:pt x="462" y="126"/>
                </a:lnTo>
                <a:lnTo>
                  <a:pt x="468" y="126"/>
                </a:lnTo>
                <a:lnTo>
                  <a:pt x="474" y="126"/>
                </a:lnTo>
                <a:lnTo>
                  <a:pt x="480" y="120"/>
                </a:lnTo>
                <a:lnTo>
                  <a:pt x="486" y="108"/>
                </a:lnTo>
                <a:lnTo>
                  <a:pt x="492" y="108"/>
                </a:lnTo>
                <a:lnTo>
                  <a:pt x="498" y="102"/>
                </a:lnTo>
                <a:lnTo>
                  <a:pt x="504" y="96"/>
                </a:lnTo>
                <a:lnTo>
                  <a:pt x="504" y="108"/>
                </a:lnTo>
                <a:lnTo>
                  <a:pt x="522" y="102"/>
                </a:lnTo>
                <a:lnTo>
                  <a:pt x="540" y="102"/>
                </a:lnTo>
                <a:lnTo>
                  <a:pt x="552" y="108"/>
                </a:lnTo>
                <a:lnTo>
                  <a:pt x="582" y="102"/>
                </a:lnTo>
                <a:lnTo>
                  <a:pt x="594" y="126"/>
                </a:lnTo>
                <a:lnTo>
                  <a:pt x="594" y="144"/>
                </a:lnTo>
                <a:lnTo>
                  <a:pt x="588" y="156"/>
                </a:lnTo>
                <a:lnTo>
                  <a:pt x="588" y="168"/>
                </a:lnTo>
                <a:lnTo>
                  <a:pt x="582" y="180"/>
                </a:lnTo>
                <a:lnTo>
                  <a:pt x="570" y="192"/>
                </a:lnTo>
                <a:lnTo>
                  <a:pt x="594" y="192"/>
                </a:lnTo>
                <a:lnTo>
                  <a:pt x="618" y="198"/>
                </a:lnTo>
                <a:lnTo>
                  <a:pt x="642" y="210"/>
                </a:lnTo>
                <a:lnTo>
                  <a:pt x="660" y="234"/>
                </a:lnTo>
                <a:lnTo>
                  <a:pt x="678" y="246"/>
                </a:lnTo>
                <a:lnTo>
                  <a:pt x="684" y="252"/>
                </a:lnTo>
                <a:lnTo>
                  <a:pt x="702" y="252"/>
                </a:lnTo>
                <a:lnTo>
                  <a:pt x="732" y="234"/>
                </a:lnTo>
                <a:lnTo>
                  <a:pt x="732" y="222"/>
                </a:lnTo>
                <a:lnTo>
                  <a:pt x="720" y="216"/>
                </a:lnTo>
                <a:lnTo>
                  <a:pt x="714" y="198"/>
                </a:lnTo>
                <a:lnTo>
                  <a:pt x="714" y="174"/>
                </a:lnTo>
                <a:lnTo>
                  <a:pt x="720" y="162"/>
                </a:lnTo>
                <a:lnTo>
                  <a:pt x="726" y="162"/>
                </a:lnTo>
                <a:lnTo>
                  <a:pt x="732" y="156"/>
                </a:lnTo>
                <a:lnTo>
                  <a:pt x="744" y="150"/>
                </a:lnTo>
                <a:lnTo>
                  <a:pt x="774" y="162"/>
                </a:lnTo>
                <a:lnTo>
                  <a:pt x="786" y="162"/>
                </a:lnTo>
                <a:lnTo>
                  <a:pt x="816" y="162"/>
                </a:lnTo>
                <a:lnTo>
                  <a:pt x="816" y="156"/>
                </a:lnTo>
                <a:lnTo>
                  <a:pt x="816" y="150"/>
                </a:lnTo>
                <a:lnTo>
                  <a:pt x="822" y="144"/>
                </a:lnTo>
                <a:lnTo>
                  <a:pt x="822" y="138"/>
                </a:lnTo>
                <a:lnTo>
                  <a:pt x="822" y="132"/>
                </a:lnTo>
                <a:lnTo>
                  <a:pt x="822" y="114"/>
                </a:lnTo>
                <a:lnTo>
                  <a:pt x="828" y="108"/>
                </a:lnTo>
                <a:lnTo>
                  <a:pt x="834" y="96"/>
                </a:lnTo>
                <a:lnTo>
                  <a:pt x="846" y="96"/>
                </a:lnTo>
                <a:lnTo>
                  <a:pt x="858" y="90"/>
                </a:lnTo>
                <a:lnTo>
                  <a:pt x="870" y="84"/>
                </a:lnTo>
                <a:lnTo>
                  <a:pt x="888" y="84"/>
                </a:lnTo>
                <a:lnTo>
                  <a:pt x="894" y="90"/>
                </a:lnTo>
                <a:lnTo>
                  <a:pt x="894" y="102"/>
                </a:lnTo>
                <a:lnTo>
                  <a:pt x="900" y="102"/>
                </a:lnTo>
                <a:lnTo>
                  <a:pt x="906" y="114"/>
                </a:lnTo>
                <a:lnTo>
                  <a:pt x="930" y="120"/>
                </a:lnTo>
                <a:lnTo>
                  <a:pt x="942" y="126"/>
                </a:lnTo>
                <a:lnTo>
                  <a:pt x="948" y="132"/>
                </a:lnTo>
                <a:lnTo>
                  <a:pt x="954" y="138"/>
                </a:lnTo>
                <a:lnTo>
                  <a:pt x="966" y="144"/>
                </a:lnTo>
                <a:lnTo>
                  <a:pt x="966" y="150"/>
                </a:lnTo>
                <a:lnTo>
                  <a:pt x="972" y="150"/>
                </a:lnTo>
                <a:lnTo>
                  <a:pt x="978" y="150"/>
                </a:lnTo>
                <a:lnTo>
                  <a:pt x="978" y="144"/>
                </a:lnTo>
                <a:lnTo>
                  <a:pt x="984" y="144"/>
                </a:lnTo>
                <a:lnTo>
                  <a:pt x="990" y="138"/>
                </a:lnTo>
                <a:lnTo>
                  <a:pt x="996" y="138"/>
                </a:lnTo>
                <a:lnTo>
                  <a:pt x="1002" y="138"/>
                </a:lnTo>
                <a:lnTo>
                  <a:pt x="1008" y="138"/>
                </a:lnTo>
                <a:lnTo>
                  <a:pt x="1026" y="132"/>
                </a:lnTo>
                <a:lnTo>
                  <a:pt x="1044" y="126"/>
                </a:lnTo>
                <a:lnTo>
                  <a:pt x="1056" y="120"/>
                </a:lnTo>
                <a:lnTo>
                  <a:pt x="1062" y="108"/>
                </a:lnTo>
                <a:lnTo>
                  <a:pt x="1056" y="102"/>
                </a:lnTo>
                <a:lnTo>
                  <a:pt x="1062" y="96"/>
                </a:lnTo>
                <a:lnTo>
                  <a:pt x="1074" y="90"/>
                </a:lnTo>
                <a:lnTo>
                  <a:pt x="1080" y="84"/>
                </a:lnTo>
                <a:lnTo>
                  <a:pt x="1128" y="84"/>
                </a:lnTo>
                <a:lnTo>
                  <a:pt x="1134" y="84"/>
                </a:lnTo>
                <a:lnTo>
                  <a:pt x="1140" y="78"/>
                </a:lnTo>
                <a:lnTo>
                  <a:pt x="1152" y="72"/>
                </a:lnTo>
                <a:lnTo>
                  <a:pt x="1164" y="66"/>
                </a:lnTo>
                <a:lnTo>
                  <a:pt x="1170" y="60"/>
                </a:lnTo>
                <a:lnTo>
                  <a:pt x="1188" y="48"/>
                </a:lnTo>
                <a:lnTo>
                  <a:pt x="1200" y="36"/>
                </a:lnTo>
                <a:lnTo>
                  <a:pt x="1218" y="24"/>
                </a:lnTo>
                <a:lnTo>
                  <a:pt x="1248" y="24"/>
                </a:lnTo>
                <a:lnTo>
                  <a:pt x="1272" y="24"/>
                </a:lnTo>
                <a:lnTo>
                  <a:pt x="1284" y="12"/>
                </a:lnTo>
                <a:lnTo>
                  <a:pt x="1302" y="0"/>
                </a:lnTo>
                <a:lnTo>
                  <a:pt x="1314" y="0"/>
                </a:lnTo>
                <a:lnTo>
                  <a:pt x="1326" y="18"/>
                </a:lnTo>
                <a:lnTo>
                  <a:pt x="1338" y="30"/>
                </a:lnTo>
                <a:lnTo>
                  <a:pt x="1338" y="54"/>
                </a:lnTo>
                <a:lnTo>
                  <a:pt x="1332" y="72"/>
                </a:lnTo>
                <a:lnTo>
                  <a:pt x="1326" y="72"/>
                </a:lnTo>
                <a:lnTo>
                  <a:pt x="1326" y="78"/>
                </a:lnTo>
                <a:lnTo>
                  <a:pt x="1326" y="102"/>
                </a:lnTo>
                <a:lnTo>
                  <a:pt x="1332" y="102"/>
                </a:lnTo>
                <a:lnTo>
                  <a:pt x="1332" y="108"/>
                </a:lnTo>
                <a:lnTo>
                  <a:pt x="1344" y="114"/>
                </a:lnTo>
                <a:lnTo>
                  <a:pt x="1350" y="114"/>
                </a:lnTo>
                <a:lnTo>
                  <a:pt x="1368" y="126"/>
                </a:lnTo>
                <a:lnTo>
                  <a:pt x="1386" y="120"/>
                </a:lnTo>
                <a:lnTo>
                  <a:pt x="1404" y="132"/>
                </a:lnTo>
                <a:lnTo>
                  <a:pt x="1404" y="138"/>
                </a:lnTo>
                <a:lnTo>
                  <a:pt x="1410" y="150"/>
                </a:lnTo>
                <a:lnTo>
                  <a:pt x="1416" y="162"/>
                </a:lnTo>
                <a:lnTo>
                  <a:pt x="1428" y="168"/>
                </a:lnTo>
                <a:lnTo>
                  <a:pt x="1440" y="180"/>
                </a:lnTo>
                <a:lnTo>
                  <a:pt x="1476" y="174"/>
                </a:lnTo>
                <a:lnTo>
                  <a:pt x="1494" y="174"/>
                </a:lnTo>
                <a:lnTo>
                  <a:pt x="1512" y="192"/>
                </a:lnTo>
                <a:lnTo>
                  <a:pt x="1518" y="204"/>
                </a:lnTo>
                <a:lnTo>
                  <a:pt x="1530" y="216"/>
                </a:lnTo>
                <a:lnTo>
                  <a:pt x="1548" y="228"/>
                </a:lnTo>
                <a:lnTo>
                  <a:pt x="1548" y="234"/>
                </a:lnTo>
                <a:lnTo>
                  <a:pt x="1542" y="246"/>
                </a:lnTo>
                <a:lnTo>
                  <a:pt x="1560" y="246"/>
                </a:lnTo>
                <a:lnTo>
                  <a:pt x="1560" y="252"/>
                </a:lnTo>
                <a:lnTo>
                  <a:pt x="1566" y="258"/>
                </a:lnTo>
                <a:lnTo>
                  <a:pt x="1578" y="270"/>
                </a:lnTo>
                <a:lnTo>
                  <a:pt x="1596" y="270"/>
                </a:lnTo>
                <a:lnTo>
                  <a:pt x="1602" y="288"/>
                </a:lnTo>
                <a:lnTo>
                  <a:pt x="1608" y="306"/>
                </a:lnTo>
                <a:lnTo>
                  <a:pt x="1608" y="318"/>
                </a:lnTo>
                <a:lnTo>
                  <a:pt x="1608" y="324"/>
                </a:lnTo>
                <a:lnTo>
                  <a:pt x="1614" y="330"/>
                </a:lnTo>
                <a:lnTo>
                  <a:pt x="1614" y="336"/>
                </a:lnTo>
                <a:lnTo>
                  <a:pt x="1614" y="342"/>
                </a:lnTo>
                <a:lnTo>
                  <a:pt x="1614" y="354"/>
                </a:lnTo>
                <a:lnTo>
                  <a:pt x="1614" y="360"/>
                </a:lnTo>
                <a:lnTo>
                  <a:pt x="1614" y="372"/>
                </a:lnTo>
                <a:lnTo>
                  <a:pt x="1608" y="372"/>
                </a:lnTo>
                <a:lnTo>
                  <a:pt x="1608" y="378"/>
                </a:lnTo>
                <a:lnTo>
                  <a:pt x="1608" y="384"/>
                </a:lnTo>
                <a:lnTo>
                  <a:pt x="1608" y="390"/>
                </a:lnTo>
                <a:lnTo>
                  <a:pt x="1602" y="390"/>
                </a:lnTo>
                <a:lnTo>
                  <a:pt x="1602" y="396"/>
                </a:lnTo>
                <a:lnTo>
                  <a:pt x="1584" y="420"/>
                </a:lnTo>
                <a:lnTo>
                  <a:pt x="1584" y="426"/>
                </a:lnTo>
                <a:lnTo>
                  <a:pt x="1602" y="474"/>
                </a:lnTo>
                <a:lnTo>
                  <a:pt x="1608" y="480"/>
                </a:lnTo>
                <a:lnTo>
                  <a:pt x="1608" y="486"/>
                </a:lnTo>
                <a:lnTo>
                  <a:pt x="1614" y="486"/>
                </a:lnTo>
                <a:lnTo>
                  <a:pt x="1608" y="504"/>
                </a:lnTo>
                <a:lnTo>
                  <a:pt x="1572" y="504"/>
                </a:lnTo>
                <a:lnTo>
                  <a:pt x="1560" y="510"/>
                </a:lnTo>
                <a:lnTo>
                  <a:pt x="1554" y="522"/>
                </a:lnTo>
                <a:lnTo>
                  <a:pt x="1560" y="552"/>
                </a:lnTo>
                <a:lnTo>
                  <a:pt x="1566" y="552"/>
                </a:lnTo>
                <a:lnTo>
                  <a:pt x="1566" y="558"/>
                </a:lnTo>
                <a:lnTo>
                  <a:pt x="1572" y="558"/>
                </a:lnTo>
                <a:lnTo>
                  <a:pt x="1578" y="558"/>
                </a:lnTo>
                <a:lnTo>
                  <a:pt x="1578" y="552"/>
                </a:lnTo>
                <a:lnTo>
                  <a:pt x="1584" y="552"/>
                </a:lnTo>
                <a:lnTo>
                  <a:pt x="1590" y="552"/>
                </a:lnTo>
                <a:lnTo>
                  <a:pt x="1590" y="546"/>
                </a:lnTo>
                <a:lnTo>
                  <a:pt x="1596" y="546"/>
                </a:lnTo>
                <a:lnTo>
                  <a:pt x="1602" y="552"/>
                </a:lnTo>
                <a:lnTo>
                  <a:pt x="1602" y="546"/>
                </a:lnTo>
                <a:lnTo>
                  <a:pt x="1608" y="546"/>
                </a:lnTo>
                <a:lnTo>
                  <a:pt x="1608" y="552"/>
                </a:lnTo>
                <a:lnTo>
                  <a:pt x="1614" y="552"/>
                </a:lnTo>
                <a:lnTo>
                  <a:pt x="1614" y="546"/>
                </a:lnTo>
                <a:lnTo>
                  <a:pt x="1620" y="552"/>
                </a:lnTo>
                <a:lnTo>
                  <a:pt x="1626" y="552"/>
                </a:lnTo>
                <a:lnTo>
                  <a:pt x="1626" y="558"/>
                </a:lnTo>
                <a:lnTo>
                  <a:pt x="1632" y="558"/>
                </a:lnTo>
                <a:lnTo>
                  <a:pt x="1638" y="558"/>
                </a:lnTo>
                <a:lnTo>
                  <a:pt x="1644" y="558"/>
                </a:lnTo>
                <a:lnTo>
                  <a:pt x="1650" y="558"/>
                </a:lnTo>
                <a:lnTo>
                  <a:pt x="1650" y="564"/>
                </a:lnTo>
                <a:lnTo>
                  <a:pt x="1656" y="564"/>
                </a:lnTo>
                <a:lnTo>
                  <a:pt x="1662" y="564"/>
                </a:lnTo>
                <a:lnTo>
                  <a:pt x="1668" y="564"/>
                </a:lnTo>
                <a:lnTo>
                  <a:pt x="1668" y="570"/>
                </a:lnTo>
                <a:lnTo>
                  <a:pt x="1674" y="570"/>
                </a:lnTo>
                <a:lnTo>
                  <a:pt x="1680" y="570"/>
                </a:lnTo>
                <a:lnTo>
                  <a:pt x="1686" y="576"/>
                </a:lnTo>
                <a:lnTo>
                  <a:pt x="1686" y="582"/>
                </a:lnTo>
                <a:lnTo>
                  <a:pt x="1710" y="588"/>
                </a:lnTo>
                <a:lnTo>
                  <a:pt x="1710" y="594"/>
                </a:lnTo>
                <a:lnTo>
                  <a:pt x="1704" y="600"/>
                </a:lnTo>
                <a:lnTo>
                  <a:pt x="1710" y="624"/>
                </a:lnTo>
                <a:lnTo>
                  <a:pt x="1698" y="672"/>
                </a:lnTo>
                <a:lnTo>
                  <a:pt x="1704" y="678"/>
                </a:lnTo>
                <a:lnTo>
                  <a:pt x="1716" y="684"/>
                </a:lnTo>
                <a:lnTo>
                  <a:pt x="1716" y="678"/>
                </a:lnTo>
                <a:lnTo>
                  <a:pt x="1716" y="684"/>
                </a:lnTo>
                <a:lnTo>
                  <a:pt x="1728" y="684"/>
                </a:lnTo>
                <a:lnTo>
                  <a:pt x="1728" y="690"/>
                </a:lnTo>
                <a:lnTo>
                  <a:pt x="1734" y="696"/>
                </a:lnTo>
                <a:lnTo>
                  <a:pt x="1734" y="702"/>
                </a:lnTo>
                <a:lnTo>
                  <a:pt x="1740" y="708"/>
                </a:lnTo>
                <a:lnTo>
                  <a:pt x="1740" y="714"/>
                </a:lnTo>
                <a:lnTo>
                  <a:pt x="1710" y="714"/>
                </a:lnTo>
                <a:lnTo>
                  <a:pt x="1710" y="756"/>
                </a:lnTo>
                <a:lnTo>
                  <a:pt x="1704" y="762"/>
                </a:lnTo>
                <a:lnTo>
                  <a:pt x="1698" y="762"/>
                </a:lnTo>
                <a:lnTo>
                  <a:pt x="1698" y="768"/>
                </a:lnTo>
                <a:lnTo>
                  <a:pt x="1698" y="774"/>
                </a:lnTo>
                <a:lnTo>
                  <a:pt x="1692" y="780"/>
                </a:lnTo>
                <a:lnTo>
                  <a:pt x="1692" y="786"/>
                </a:lnTo>
                <a:lnTo>
                  <a:pt x="1686" y="786"/>
                </a:lnTo>
                <a:lnTo>
                  <a:pt x="1668" y="798"/>
                </a:lnTo>
                <a:lnTo>
                  <a:pt x="1662" y="810"/>
                </a:lnTo>
                <a:lnTo>
                  <a:pt x="1650" y="810"/>
                </a:lnTo>
                <a:lnTo>
                  <a:pt x="1644" y="816"/>
                </a:lnTo>
                <a:lnTo>
                  <a:pt x="1638" y="816"/>
                </a:lnTo>
                <a:lnTo>
                  <a:pt x="1626" y="852"/>
                </a:lnTo>
                <a:lnTo>
                  <a:pt x="1620" y="888"/>
                </a:lnTo>
                <a:lnTo>
                  <a:pt x="1626" y="888"/>
                </a:lnTo>
                <a:lnTo>
                  <a:pt x="1638" y="912"/>
                </a:lnTo>
                <a:lnTo>
                  <a:pt x="1644" y="918"/>
                </a:lnTo>
                <a:lnTo>
                  <a:pt x="1650" y="966"/>
                </a:lnTo>
                <a:lnTo>
                  <a:pt x="1626" y="972"/>
                </a:lnTo>
                <a:lnTo>
                  <a:pt x="1608" y="978"/>
                </a:lnTo>
                <a:lnTo>
                  <a:pt x="1614" y="984"/>
                </a:lnTo>
                <a:lnTo>
                  <a:pt x="1620" y="984"/>
                </a:lnTo>
                <a:lnTo>
                  <a:pt x="1620" y="1020"/>
                </a:lnTo>
                <a:lnTo>
                  <a:pt x="1614" y="1038"/>
                </a:lnTo>
                <a:lnTo>
                  <a:pt x="1620" y="1044"/>
                </a:lnTo>
                <a:lnTo>
                  <a:pt x="1626" y="1056"/>
                </a:lnTo>
                <a:lnTo>
                  <a:pt x="1626" y="1074"/>
                </a:lnTo>
                <a:lnTo>
                  <a:pt x="1620" y="1080"/>
                </a:lnTo>
                <a:lnTo>
                  <a:pt x="1620" y="1104"/>
                </a:lnTo>
                <a:lnTo>
                  <a:pt x="1620" y="1110"/>
                </a:lnTo>
                <a:lnTo>
                  <a:pt x="1614" y="1116"/>
                </a:lnTo>
                <a:lnTo>
                  <a:pt x="1608" y="1140"/>
                </a:lnTo>
                <a:lnTo>
                  <a:pt x="1602" y="1146"/>
                </a:lnTo>
                <a:lnTo>
                  <a:pt x="1602" y="1164"/>
                </a:lnTo>
                <a:lnTo>
                  <a:pt x="1596" y="1170"/>
                </a:lnTo>
                <a:lnTo>
                  <a:pt x="1590" y="1164"/>
                </a:lnTo>
                <a:lnTo>
                  <a:pt x="1584" y="1164"/>
                </a:lnTo>
                <a:lnTo>
                  <a:pt x="1578" y="1164"/>
                </a:lnTo>
                <a:lnTo>
                  <a:pt x="1578" y="1188"/>
                </a:lnTo>
                <a:lnTo>
                  <a:pt x="1584" y="1194"/>
                </a:lnTo>
                <a:lnTo>
                  <a:pt x="1590" y="1194"/>
                </a:lnTo>
                <a:lnTo>
                  <a:pt x="1590" y="1212"/>
                </a:lnTo>
                <a:lnTo>
                  <a:pt x="1584" y="1212"/>
                </a:lnTo>
                <a:lnTo>
                  <a:pt x="1584" y="1224"/>
                </a:lnTo>
                <a:lnTo>
                  <a:pt x="1578" y="1224"/>
                </a:lnTo>
                <a:lnTo>
                  <a:pt x="1578" y="1236"/>
                </a:lnTo>
                <a:lnTo>
                  <a:pt x="1584" y="1254"/>
                </a:lnTo>
                <a:lnTo>
                  <a:pt x="1584" y="1260"/>
                </a:lnTo>
                <a:lnTo>
                  <a:pt x="1590" y="1260"/>
                </a:lnTo>
                <a:lnTo>
                  <a:pt x="1590" y="1266"/>
                </a:lnTo>
                <a:lnTo>
                  <a:pt x="1596" y="1284"/>
                </a:lnTo>
                <a:lnTo>
                  <a:pt x="1602" y="1278"/>
                </a:lnTo>
                <a:lnTo>
                  <a:pt x="1608" y="1284"/>
                </a:lnTo>
                <a:lnTo>
                  <a:pt x="1632" y="1350"/>
                </a:lnTo>
                <a:lnTo>
                  <a:pt x="1638" y="1356"/>
                </a:lnTo>
                <a:lnTo>
                  <a:pt x="1644" y="1356"/>
                </a:lnTo>
                <a:lnTo>
                  <a:pt x="1650" y="1356"/>
                </a:lnTo>
                <a:lnTo>
                  <a:pt x="1656" y="1356"/>
                </a:lnTo>
                <a:lnTo>
                  <a:pt x="1662" y="1362"/>
                </a:lnTo>
                <a:lnTo>
                  <a:pt x="1668" y="1356"/>
                </a:lnTo>
                <a:lnTo>
                  <a:pt x="1668" y="1380"/>
                </a:lnTo>
                <a:lnTo>
                  <a:pt x="1662" y="1392"/>
                </a:lnTo>
                <a:lnTo>
                  <a:pt x="1656" y="1404"/>
                </a:lnTo>
                <a:lnTo>
                  <a:pt x="1656" y="1410"/>
                </a:lnTo>
                <a:lnTo>
                  <a:pt x="1656" y="1416"/>
                </a:lnTo>
                <a:lnTo>
                  <a:pt x="1650" y="1422"/>
                </a:lnTo>
                <a:lnTo>
                  <a:pt x="1650" y="1428"/>
                </a:lnTo>
                <a:lnTo>
                  <a:pt x="1644" y="1428"/>
                </a:lnTo>
                <a:lnTo>
                  <a:pt x="1644" y="1434"/>
                </a:lnTo>
                <a:lnTo>
                  <a:pt x="1638" y="1434"/>
                </a:lnTo>
                <a:lnTo>
                  <a:pt x="1638" y="1440"/>
                </a:lnTo>
                <a:lnTo>
                  <a:pt x="1632" y="1440"/>
                </a:lnTo>
                <a:lnTo>
                  <a:pt x="1638" y="1458"/>
                </a:lnTo>
                <a:close/>
              </a:path>
            </a:pathLst>
          </a:custGeom>
          <a:solidFill>
            <a:srgbClr val="FF9900"/>
          </a:solidFill>
          <a:ln w="9525">
            <a:solidFill>
              <a:schemeClr val="bg1"/>
            </a:solidFill>
            <a:round/>
            <a:headEnd/>
            <a:tailEnd/>
          </a:ln>
        </p:spPr>
        <p:txBody>
          <a:bodyPr/>
          <a:lstStyle/>
          <a:p>
            <a:endParaRPr lang="en-GB"/>
          </a:p>
        </p:txBody>
      </p:sp>
      <p:sp>
        <p:nvSpPr>
          <p:cNvPr id="18452" name="Freeform 14"/>
          <p:cNvSpPr>
            <a:spLocks/>
          </p:cNvSpPr>
          <p:nvPr/>
        </p:nvSpPr>
        <p:spPr bwMode="gray">
          <a:xfrm>
            <a:off x="3476625" y="3792538"/>
            <a:ext cx="487363" cy="542925"/>
          </a:xfrm>
          <a:custGeom>
            <a:avLst/>
            <a:gdLst>
              <a:gd name="T0" fmla="*/ 8596 w 624"/>
              <a:gd name="T1" fmla="*/ 47599 h 672"/>
              <a:gd name="T2" fmla="*/ 3126 w 624"/>
              <a:gd name="T3" fmla="*/ 46792 h 672"/>
              <a:gd name="T4" fmla="*/ 2344 w 624"/>
              <a:gd name="T5" fmla="*/ 46792 h 672"/>
              <a:gd name="T6" fmla="*/ 1563 w 624"/>
              <a:gd name="T7" fmla="*/ 8874 h 672"/>
              <a:gd name="T8" fmla="*/ 10158 w 624"/>
              <a:gd name="T9" fmla="*/ 8874 h 672"/>
              <a:gd name="T10" fmla="*/ 10940 w 624"/>
              <a:gd name="T11" fmla="*/ 8874 h 672"/>
              <a:gd name="T12" fmla="*/ 11721 w 624"/>
              <a:gd name="T13" fmla="*/ 9681 h 672"/>
              <a:gd name="T14" fmla="*/ 14065 w 624"/>
              <a:gd name="T15" fmla="*/ 11295 h 672"/>
              <a:gd name="T16" fmla="*/ 16410 w 624"/>
              <a:gd name="T17" fmla="*/ 12908 h 672"/>
              <a:gd name="T18" fmla="*/ 17191 w 624"/>
              <a:gd name="T19" fmla="*/ 14522 h 672"/>
              <a:gd name="T20" fmla="*/ 17973 w 624"/>
              <a:gd name="T21" fmla="*/ 15329 h 672"/>
              <a:gd name="T22" fmla="*/ 18754 w 624"/>
              <a:gd name="T23" fmla="*/ 15329 h 672"/>
              <a:gd name="T24" fmla="*/ 20317 w 624"/>
              <a:gd name="T25" fmla="*/ 15329 h 672"/>
              <a:gd name="T26" fmla="*/ 21098 w 624"/>
              <a:gd name="T27" fmla="*/ 14522 h 672"/>
              <a:gd name="T28" fmla="*/ 22661 w 624"/>
              <a:gd name="T29" fmla="*/ 12101 h 672"/>
              <a:gd name="T30" fmla="*/ 23442 w 624"/>
              <a:gd name="T31" fmla="*/ 11295 h 672"/>
              <a:gd name="T32" fmla="*/ 24224 w 624"/>
              <a:gd name="T33" fmla="*/ 9681 h 672"/>
              <a:gd name="T34" fmla="*/ 25005 w 624"/>
              <a:gd name="T35" fmla="*/ 9681 h 672"/>
              <a:gd name="T36" fmla="*/ 25787 w 624"/>
              <a:gd name="T37" fmla="*/ 8068 h 672"/>
              <a:gd name="T38" fmla="*/ 26568 w 624"/>
              <a:gd name="T39" fmla="*/ 6454 h 672"/>
              <a:gd name="T40" fmla="*/ 26568 w 624"/>
              <a:gd name="T41" fmla="*/ 4841 h 672"/>
              <a:gd name="T42" fmla="*/ 27349 w 624"/>
              <a:gd name="T43" fmla="*/ 3227 h 672"/>
              <a:gd name="T44" fmla="*/ 32819 w 624"/>
              <a:gd name="T45" fmla="*/ 2420 h 672"/>
              <a:gd name="T46" fmla="*/ 34382 w 624"/>
              <a:gd name="T47" fmla="*/ 1614 h 672"/>
              <a:gd name="T48" fmla="*/ 35945 w 624"/>
              <a:gd name="T49" fmla="*/ 0 h 672"/>
              <a:gd name="T50" fmla="*/ 39852 w 624"/>
              <a:gd name="T51" fmla="*/ 2420 h 672"/>
              <a:gd name="T52" fmla="*/ 42196 w 624"/>
              <a:gd name="T53" fmla="*/ 4841 h 672"/>
              <a:gd name="T54" fmla="*/ 42196 w 624"/>
              <a:gd name="T55" fmla="*/ 6454 h 672"/>
              <a:gd name="T56" fmla="*/ 40633 w 624"/>
              <a:gd name="T57" fmla="*/ 7261 h 672"/>
              <a:gd name="T58" fmla="*/ 38289 w 624"/>
              <a:gd name="T59" fmla="*/ 8874 h 672"/>
              <a:gd name="T60" fmla="*/ 37508 w 624"/>
              <a:gd name="T61" fmla="*/ 11295 h 672"/>
              <a:gd name="T62" fmla="*/ 35945 w 624"/>
              <a:gd name="T63" fmla="*/ 17749 h 672"/>
              <a:gd name="T64" fmla="*/ 35164 w 624"/>
              <a:gd name="T65" fmla="*/ 31464 h 672"/>
              <a:gd name="T66" fmla="*/ 33601 w 624"/>
              <a:gd name="T67" fmla="*/ 34691 h 672"/>
              <a:gd name="T68" fmla="*/ 30475 w 624"/>
              <a:gd name="T69" fmla="*/ 40338 h 672"/>
              <a:gd name="T70" fmla="*/ 28131 w 624"/>
              <a:gd name="T71" fmla="*/ 42759 h 672"/>
              <a:gd name="T72" fmla="*/ 25005 w 624"/>
              <a:gd name="T73" fmla="*/ 45179 h 672"/>
              <a:gd name="T74" fmla="*/ 23442 w 624"/>
              <a:gd name="T75" fmla="*/ 46792 h 672"/>
              <a:gd name="T76" fmla="*/ 15628 w 624"/>
              <a:gd name="T77" fmla="*/ 47599 h 672"/>
              <a:gd name="T78" fmla="*/ 11721 w 624"/>
              <a:gd name="T79" fmla="*/ 47599 h 6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24"/>
              <a:gd name="T121" fmla="*/ 0 h 672"/>
              <a:gd name="T122" fmla="*/ 624 w 624"/>
              <a:gd name="T123" fmla="*/ 672 h 67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24" h="672">
                <a:moveTo>
                  <a:pt x="168" y="672"/>
                </a:moveTo>
                <a:lnTo>
                  <a:pt x="132" y="672"/>
                </a:lnTo>
                <a:lnTo>
                  <a:pt x="72" y="666"/>
                </a:lnTo>
                <a:lnTo>
                  <a:pt x="42" y="666"/>
                </a:lnTo>
                <a:lnTo>
                  <a:pt x="36" y="666"/>
                </a:lnTo>
                <a:lnTo>
                  <a:pt x="30" y="660"/>
                </a:lnTo>
                <a:lnTo>
                  <a:pt x="0" y="660"/>
                </a:lnTo>
                <a:lnTo>
                  <a:pt x="24" y="120"/>
                </a:lnTo>
                <a:lnTo>
                  <a:pt x="60" y="120"/>
                </a:lnTo>
                <a:lnTo>
                  <a:pt x="150" y="126"/>
                </a:lnTo>
                <a:lnTo>
                  <a:pt x="156" y="126"/>
                </a:lnTo>
                <a:lnTo>
                  <a:pt x="162" y="120"/>
                </a:lnTo>
                <a:lnTo>
                  <a:pt x="168" y="120"/>
                </a:lnTo>
                <a:lnTo>
                  <a:pt x="174" y="132"/>
                </a:lnTo>
                <a:lnTo>
                  <a:pt x="186" y="138"/>
                </a:lnTo>
                <a:lnTo>
                  <a:pt x="210" y="156"/>
                </a:lnTo>
                <a:lnTo>
                  <a:pt x="222" y="174"/>
                </a:lnTo>
                <a:lnTo>
                  <a:pt x="240" y="186"/>
                </a:lnTo>
                <a:lnTo>
                  <a:pt x="252" y="198"/>
                </a:lnTo>
                <a:lnTo>
                  <a:pt x="258" y="204"/>
                </a:lnTo>
                <a:lnTo>
                  <a:pt x="264" y="204"/>
                </a:lnTo>
                <a:lnTo>
                  <a:pt x="264" y="216"/>
                </a:lnTo>
                <a:lnTo>
                  <a:pt x="270" y="216"/>
                </a:lnTo>
                <a:lnTo>
                  <a:pt x="282" y="222"/>
                </a:lnTo>
                <a:lnTo>
                  <a:pt x="288" y="222"/>
                </a:lnTo>
                <a:lnTo>
                  <a:pt x="294" y="216"/>
                </a:lnTo>
                <a:lnTo>
                  <a:pt x="294" y="210"/>
                </a:lnTo>
                <a:lnTo>
                  <a:pt x="312" y="204"/>
                </a:lnTo>
                <a:lnTo>
                  <a:pt x="330" y="186"/>
                </a:lnTo>
                <a:lnTo>
                  <a:pt x="336" y="174"/>
                </a:lnTo>
                <a:lnTo>
                  <a:pt x="342" y="162"/>
                </a:lnTo>
                <a:lnTo>
                  <a:pt x="342" y="156"/>
                </a:lnTo>
                <a:lnTo>
                  <a:pt x="348" y="150"/>
                </a:lnTo>
                <a:lnTo>
                  <a:pt x="354" y="144"/>
                </a:lnTo>
                <a:lnTo>
                  <a:pt x="360" y="138"/>
                </a:lnTo>
                <a:lnTo>
                  <a:pt x="366" y="132"/>
                </a:lnTo>
                <a:lnTo>
                  <a:pt x="372" y="114"/>
                </a:lnTo>
                <a:lnTo>
                  <a:pt x="378" y="114"/>
                </a:lnTo>
                <a:lnTo>
                  <a:pt x="378" y="96"/>
                </a:lnTo>
                <a:lnTo>
                  <a:pt x="390" y="96"/>
                </a:lnTo>
                <a:lnTo>
                  <a:pt x="396" y="84"/>
                </a:lnTo>
                <a:lnTo>
                  <a:pt x="396" y="72"/>
                </a:lnTo>
                <a:lnTo>
                  <a:pt x="396" y="54"/>
                </a:lnTo>
                <a:lnTo>
                  <a:pt x="408" y="42"/>
                </a:lnTo>
                <a:lnTo>
                  <a:pt x="468" y="42"/>
                </a:lnTo>
                <a:lnTo>
                  <a:pt x="486" y="36"/>
                </a:lnTo>
                <a:lnTo>
                  <a:pt x="492" y="24"/>
                </a:lnTo>
                <a:lnTo>
                  <a:pt x="504" y="24"/>
                </a:lnTo>
                <a:lnTo>
                  <a:pt x="516" y="6"/>
                </a:lnTo>
                <a:lnTo>
                  <a:pt x="528" y="0"/>
                </a:lnTo>
                <a:lnTo>
                  <a:pt x="558" y="12"/>
                </a:lnTo>
                <a:lnTo>
                  <a:pt x="588" y="36"/>
                </a:lnTo>
                <a:lnTo>
                  <a:pt x="600" y="66"/>
                </a:lnTo>
                <a:lnTo>
                  <a:pt x="624" y="66"/>
                </a:lnTo>
                <a:lnTo>
                  <a:pt x="624" y="90"/>
                </a:lnTo>
                <a:lnTo>
                  <a:pt x="618" y="90"/>
                </a:lnTo>
                <a:lnTo>
                  <a:pt x="618" y="96"/>
                </a:lnTo>
                <a:lnTo>
                  <a:pt x="600" y="102"/>
                </a:lnTo>
                <a:lnTo>
                  <a:pt x="588" y="108"/>
                </a:lnTo>
                <a:lnTo>
                  <a:pt x="570" y="120"/>
                </a:lnTo>
                <a:lnTo>
                  <a:pt x="564" y="138"/>
                </a:lnTo>
                <a:lnTo>
                  <a:pt x="558" y="162"/>
                </a:lnTo>
                <a:lnTo>
                  <a:pt x="540" y="210"/>
                </a:lnTo>
                <a:lnTo>
                  <a:pt x="528" y="252"/>
                </a:lnTo>
                <a:lnTo>
                  <a:pt x="528" y="402"/>
                </a:lnTo>
                <a:lnTo>
                  <a:pt x="522" y="444"/>
                </a:lnTo>
                <a:lnTo>
                  <a:pt x="510" y="468"/>
                </a:lnTo>
                <a:lnTo>
                  <a:pt x="498" y="498"/>
                </a:lnTo>
                <a:lnTo>
                  <a:pt x="474" y="534"/>
                </a:lnTo>
                <a:lnTo>
                  <a:pt x="456" y="570"/>
                </a:lnTo>
                <a:lnTo>
                  <a:pt x="444" y="576"/>
                </a:lnTo>
                <a:lnTo>
                  <a:pt x="420" y="606"/>
                </a:lnTo>
                <a:lnTo>
                  <a:pt x="390" y="624"/>
                </a:lnTo>
                <a:lnTo>
                  <a:pt x="372" y="642"/>
                </a:lnTo>
                <a:lnTo>
                  <a:pt x="366" y="654"/>
                </a:lnTo>
                <a:lnTo>
                  <a:pt x="342" y="660"/>
                </a:lnTo>
                <a:lnTo>
                  <a:pt x="300" y="666"/>
                </a:lnTo>
                <a:lnTo>
                  <a:pt x="234" y="672"/>
                </a:lnTo>
                <a:lnTo>
                  <a:pt x="192" y="672"/>
                </a:lnTo>
                <a:lnTo>
                  <a:pt x="168" y="672"/>
                </a:lnTo>
                <a:close/>
              </a:path>
            </a:pathLst>
          </a:custGeom>
          <a:solidFill>
            <a:srgbClr val="FF9900"/>
          </a:solidFill>
          <a:ln w="9525">
            <a:solidFill>
              <a:schemeClr val="bg1"/>
            </a:solidFill>
            <a:round/>
            <a:headEnd/>
            <a:tailEnd/>
          </a:ln>
        </p:spPr>
        <p:txBody>
          <a:bodyPr/>
          <a:lstStyle/>
          <a:p>
            <a:endParaRPr lang="en-GB"/>
          </a:p>
        </p:txBody>
      </p:sp>
      <p:sp>
        <p:nvSpPr>
          <p:cNvPr id="18453" name="Freeform 15"/>
          <p:cNvSpPr>
            <a:spLocks/>
          </p:cNvSpPr>
          <p:nvPr/>
        </p:nvSpPr>
        <p:spPr bwMode="gray">
          <a:xfrm>
            <a:off x="3573463" y="3813175"/>
            <a:ext cx="1333500" cy="850900"/>
          </a:xfrm>
          <a:custGeom>
            <a:avLst/>
            <a:gdLst>
              <a:gd name="T0" fmla="*/ 24266 w 1704"/>
              <a:gd name="T1" fmla="*/ 62889 h 1056"/>
              <a:gd name="T2" fmla="*/ 18004 w 1704"/>
              <a:gd name="T3" fmla="*/ 62889 h 1056"/>
              <a:gd name="T4" fmla="*/ 8610 w 1704"/>
              <a:gd name="T5" fmla="*/ 63696 h 1056"/>
              <a:gd name="T6" fmla="*/ 783 w 1704"/>
              <a:gd name="T7" fmla="*/ 65308 h 1056"/>
              <a:gd name="T8" fmla="*/ 0 w 1704"/>
              <a:gd name="T9" fmla="*/ 49989 h 1056"/>
              <a:gd name="T10" fmla="*/ 7045 w 1704"/>
              <a:gd name="T11" fmla="*/ 45151 h 1056"/>
              <a:gd name="T12" fmla="*/ 21135 w 1704"/>
              <a:gd name="T13" fmla="*/ 38701 h 1056"/>
              <a:gd name="T14" fmla="*/ 27397 w 1704"/>
              <a:gd name="T15" fmla="*/ 16125 h 1056"/>
              <a:gd name="T16" fmla="*/ 33659 w 1704"/>
              <a:gd name="T17" fmla="*/ 4838 h 1056"/>
              <a:gd name="T18" fmla="*/ 36790 w 1704"/>
              <a:gd name="T19" fmla="*/ 5644 h 1056"/>
              <a:gd name="T20" fmla="*/ 40704 w 1704"/>
              <a:gd name="T21" fmla="*/ 0 h 1056"/>
              <a:gd name="T22" fmla="*/ 46183 w 1704"/>
              <a:gd name="T23" fmla="*/ 4031 h 1056"/>
              <a:gd name="T24" fmla="*/ 49314 w 1704"/>
              <a:gd name="T25" fmla="*/ 9675 h 1056"/>
              <a:gd name="T26" fmla="*/ 48532 w 1704"/>
              <a:gd name="T27" fmla="*/ 12094 h 1056"/>
              <a:gd name="T28" fmla="*/ 48532 w 1704"/>
              <a:gd name="T29" fmla="*/ 14513 h 1056"/>
              <a:gd name="T30" fmla="*/ 54794 w 1704"/>
              <a:gd name="T31" fmla="*/ 14513 h 1056"/>
              <a:gd name="T32" fmla="*/ 55577 w 1704"/>
              <a:gd name="T33" fmla="*/ 11288 h 1056"/>
              <a:gd name="T34" fmla="*/ 56359 w 1704"/>
              <a:gd name="T35" fmla="*/ 9675 h 1056"/>
              <a:gd name="T36" fmla="*/ 61056 w 1704"/>
              <a:gd name="T37" fmla="*/ 11288 h 1056"/>
              <a:gd name="T38" fmla="*/ 66535 w 1704"/>
              <a:gd name="T39" fmla="*/ 16932 h 1056"/>
              <a:gd name="T40" fmla="*/ 71232 w 1704"/>
              <a:gd name="T41" fmla="*/ 12094 h 1056"/>
              <a:gd name="T42" fmla="*/ 72798 w 1704"/>
              <a:gd name="T43" fmla="*/ 8063 h 1056"/>
              <a:gd name="T44" fmla="*/ 79060 w 1704"/>
              <a:gd name="T45" fmla="*/ 11288 h 1056"/>
              <a:gd name="T46" fmla="*/ 80625 w 1704"/>
              <a:gd name="T47" fmla="*/ 15319 h 1056"/>
              <a:gd name="T48" fmla="*/ 90018 w 1704"/>
              <a:gd name="T49" fmla="*/ 16125 h 1056"/>
              <a:gd name="T50" fmla="*/ 92367 w 1704"/>
              <a:gd name="T51" fmla="*/ 18544 h 1056"/>
              <a:gd name="T52" fmla="*/ 91584 w 1704"/>
              <a:gd name="T53" fmla="*/ 21769 h 1056"/>
              <a:gd name="T54" fmla="*/ 86887 w 1704"/>
              <a:gd name="T55" fmla="*/ 26607 h 1056"/>
              <a:gd name="T56" fmla="*/ 84539 w 1704"/>
              <a:gd name="T57" fmla="*/ 29026 h 1056"/>
              <a:gd name="T58" fmla="*/ 85322 w 1704"/>
              <a:gd name="T59" fmla="*/ 32251 h 1056"/>
              <a:gd name="T60" fmla="*/ 86887 w 1704"/>
              <a:gd name="T61" fmla="*/ 34670 h 1056"/>
              <a:gd name="T62" fmla="*/ 88453 w 1704"/>
              <a:gd name="T63" fmla="*/ 40314 h 1056"/>
              <a:gd name="T64" fmla="*/ 94715 w 1704"/>
              <a:gd name="T65" fmla="*/ 44345 h 1056"/>
              <a:gd name="T66" fmla="*/ 103326 w 1704"/>
              <a:gd name="T67" fmla="*/ 41926 h 1056"/>
              <a:gd name="T68" fmla="*/ 115850 w 1704"/>
              <a:gd name="T69" fmla="*/ 46764 h 1056"/>
              <a:gd name="T70" fmla="*/ 115850 w 1704"/>
              <a:gd name="T71" fmla="*/ 49183 h 1056"/>
              <a:gd name="T72" fmla="*/ 115850 w 1704"/>
              <a:gd name="T73" fmla="*/ 51601 h 1056"/>
              <a:gd name="T74" fmla="*/ 105674 w 1704"/>
              <a:gd name="T75" fmla="*/ 49183 h 1056"/>
              <a:gd name="T76" fmla="*/ 105674 w 1704"/>
              <a:gd name="T77" fmla="*/ 53214 h 1056"/>
              <a:gd name="T78" fmla="*/ 107239 w 1704"/>
              <a:gd name="T79" fmla="*/ 57245 h 1056"/>
              <a:gd name="T80" fmla="*/ 106457 w 1704"/>
              <a:gd name="T81" fmla="*/ 63696 h 1056"/>
              <a:gd name="T82" fmla="*/ 98629 w 1704"/>
              <a:gd name="T83" fmla="*/ 67727 h 1056"/>
              <a:gd name="T84" fmla="*/ 94715 w 1704"/>
              <a:gd name="T85" fmla="*/ 63696 h 1056"/>
              <a:gd name="T86" fmla="*/ 91584 w 1704"/>
              <a:gd name="T87" fmla="*/ 60470 h 1056"/>
              <a:gd name="T88" fmla="*/ 76711 w 1704"/>
              <a:gd name="T89" fmla="*/ 59664 h 1056"/>
              <a:gd name="T90" fmla="*/ 63404 w 1704"/>
              <a:gd name="T91" fmla="*/ 60470 h 1056"/>
              <a:gd name="T92" fmla="*/ 64970 w 1704"/>
              <a:gd name="T93" fmla="*/ 70952 h 1056"/>
              <a:gd name="T94" fmla="*/ 64187 w 1704"/>
              <a:gd name="T95" fmla="*/ 73371 h 1056"/>
              <a:gd name="T96" fmla="*/ 60273 w 1704"/>
              <a:gd name="T97" fmla="*/ 72565 h 1056"/>
              <a:gd name="T98" fmla="*/ 57142 w 1704"/>
              <a:gd name="T99" fmla="*/ 69339 h 1056"/>
              <a:gd name="T100" fmla="*/ 53228 w 1704"/>
              <a:gd name="T101" fmla="*/ 68533 h 1056"/>
              <a:gd name="T102" fmla="*/ 50097 w 1704"/>
              <a:gd name="T103" fmla="*/ 66921 h 1056"/>
              <a:gd name="T104" fmla="*/ 44618 w 1704"/>
              <a:gd name="T105" fmla="*/ 65308 h 1056"/>
              <a:gd name="T106" fmla="*/ 40704 w 1704"/>
              <a:gd name="T107" fmla="*/ 64502 h 1056"/>
              <a:gd name="T108" fmla="*/ 39138 w 1704"/>
              <a:gd name="T109" fmla="*/ 64502 h 1056"/>
              <a:gd name="T110" fmla="*/ 36007 w 1704"/>
              <a:gd name="T111" fmla="*/ 63696 h 1056"/>
              <a:gd name="T112" fmla="*/ 32094 w 1704"/>
              <a:gd name="T113" fmla="*/ 62889 h 10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04"/>
              <a:gd name="T172" fmla="*/ 0 h 1056"/>
              <a:gd name="T173" fmla="*/ 1704 w 1704"/>
              <a:gd name="T174" fmla="*/ 1056 h 10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04" h="1056">
                <a:moveTo>
                  <a:pt x="450" y="888"/>
                </a:moveTo>
                <a:lnTo>
                  <a:pt x="420" y="888"/>
                </a:lnTo>
                <a:lnTo>
                  <a:pt x="414" y="888"/>
                </a:lnTo>
                <a:lnTo>
                  <a:pt x="396" y="888"/>
                </a:lnTo>
                <a:lnTo>
                  <a:pt x="372" y="888"/>
                </a:lnTo>
                <a:lnTo>
                  <a:pt x="366" y="888"/>
                </a:lnTo>
                <a:lnTo>
                  <a:pt x="360" y="888"/>
                </a:lnTo>
                <a:lnTo>
                  <a:pt x="348" y="888"/>
                </a:lnTo>
                <a:lnTo>
                  <a:pt x="330" y="894"/>
                </a:lnTo>
                <a:lnTo>
                  <a:pt x="324" y="894"/>
                </a:lnTo>
                <a:lnTo>
                  <a:pt x="312" y="888"/>
                </a:lnTo>
                <a:lnTo>
                  <a:pt x="300" y="888"/>
                </a:lnTo>
                <a:lnTo>
                  <a:pt x="282" y="888"/>
                </a:lnTo>
                <a:lnTo>
                  <a:pt x="270" y="888"/>
                </a:lnTo>
                <a:lnTo>
                  <a:pt x="240" y="882"/>
                </a:lnTo>
                <a:lnTo>
                  <a:pt x="222" y="882"/>
                </a:lnTo>
                <a:lnTo>
                  <a:pt x="198" y="882"/>
                </a:lnTo>
                <a:lnTo>
                  <a:pt x="174" y="894"/>
                </a:lnTo>
                <a:lnTo>
                  <a:pt x="162" y="900"/>
                </a:lnTo>
                <a:lnTo>
                  <a:pt x="144" y="906"/>
                </a:lnTo>
                <a:lnTo>
                  <a:pt x="126" y="912"/>
                </a:lnTo>
                <a:lnTo>
                  <a:pt x="102" y="924"/>
                </a:lnTo>
                <a:lnTo>
                  <a:pt x="78" y="930"/>
                </a:lnTo>
                <a:lnTo>
                  <a:pt x="72" y="936"/>
                </a:lnTo>
                <a:lnTo>
                  <a:pt x="30" y="954"/>
                </a:lnTo>
                <a:lnTo>
                  <a:pt x="12" y="966"/>
                </a:lnTo>
                <a:lnTo>
                  <a:pt x="12" y="954"/>
                </a:lnTo>
                <a:lnTo>
                  <a:pt x="12" y="930"/>
                </a:lnTo>
                <a:lnTo>
                  <a:pt x="12" y="894"/>
                </a:lnTo>
                <a:lnTo>
                  <a:pt x="30" y="828"/>
                </a:lnTo>
                <a:lnTo>
                  <a:pt x="36" y="798"/>
                </a:lnTo>
                <a:lnTo>
                  <a:pt x="18" y="774"/>
                </a:lnTo>
                <a:lnTo>
                  <a:pt x="18" y="756"/>
                </a:lnTo>
                <a:lnTo>
                  <a:pt x="6" y="738"/>
                </a:lnTo>
                <a:lnTo>
                  <a:pt x="0" y="714"/>
                </a:lnTo>
                <a:lnTo>
                  <a:pt x="12" y="678"/>
                </a:lnTo>
                <a:lnTo>
                  <a:pt x="18" y="678"/>
                </a:lnTo>
                <a:lnTo>
                  <a:pt x="24" y="672"/>
                </a:lnTo>
                <a:lnTo>
                  <a:pt x="30" y="666"/>
                </a:lnTo>
                <a:lnTo>
                  <a:pt x="42" y="648"/>
                </a:lnTo>
                <a:lnTo>
                  <a:pt x="66" y="648"/>
                </a:lnTo>
                <a:lnTo>
                  <a:pt x="108" y="648"/>
                </a:lnTo>
                <a:lnTo>
                  <a:pt x="174" y="642"/>
                </a:lnTo>
                <a:lnTo>
                  <a:pt x="216" y="636"/>
                </a:lnTo>
                <a:lnTo>
                  <a:pt x="240" y="630"/>
                </a:lnTo>
                <a:lnTo>
                  <a:pt x="246" y="618"/>
                </a:lnTo>
                <a:lnTo>
                  <a:pt x="264" y="600"/>
                </a:lnTo>
                <a:lnTo>
                  <a:pt x="294" y="582"/>
                </a:lnTo>
                <a:lnTo>
                  <a:pt x="318" y="552"/>
                </a:lnTo>
                <a:lnTo>
                  <a:pt x="330" y="546"/>
                </a:lnTo>
                <a:lnTo>
                  <a:pt x="348" y="510"/>
                </a:lnTo>
                <a:lnTo>
                  <a:pt x="372" y="474"/>
                </a:lnTo>
                <a:lnTo>
                  <a:pt x="384" y="444"/>
                </a:lnTo>
                <a:lnTo>
                  <a:pt x="396" y="420"/>
                </a:lnTo>
                <a:lnTo>
                  <a:pt x="402" y="378"/>
                </a:lnTo>
                <a:lnTo>
                  <a:pt x="402" y="228"/>
                </a:lnTo>
                <a:lnTo>
                  <a:pt x="414" y="186"/>
                </a:lnTo>
                <a:lnTo>
                  <a:pt x="432" y="138"/>
                </a:lnTo>
                <a:lnTo>
                  <a:pt x="438" y="114"/>
                </a:lnTo>
                <a:lnTo>
                  <a:pt x="444" y="96"/>
                </a:lnTo>
                <a:lnTo>
                  <a:pt x="462" y="84"/>
                </a:lnTo>
                <a:lnTo>
                  <a:pt x="474" y="78"/>
                </a:lnTo>
                <a:lnTo>
                  <a:pt x="492" y="72"/>
                </a:lnTo>
                <a:lnTo>
                  <a:pt x="492" y="66"/>
                </a:lnTo>
                <a:lnTo>
                  <a:pt x="498" y="66"/>
                </a:lnTo>
                <a:lnTo>
                  <a:pt x="510" y="66"/>
                </a:lnTo>
                <a:lnTo>
                  <a:pt x="510" y="72"/>
                </a:lnTo>
                <a:lnTo>
                  <a:pt x="516" y="72"/>
                </a:lnTo>
                <a:lnTo>
                  <a:pt x="522" y="78"/>
                </a:lnTo>
                <a:lnTo>
                  <a:pt x="546" y="78"/>
                </a:lnTo>
                <a:lnTo>
                  <a:pt x="552" y="60"/>
                </a:lnTo>
                <a:lnTo>
                  <a:pt x="570" y="42"/>
                </a:lnTo>
                <a:lnTo>
                  <a:pt x="576" y="24"/>
                </a:lnTo>
                <a:lnTo>
                  <a:pt x="588" y="18"/>
                </a:lnTo>
                <a:lnTo>
                  <a:pt x="588" y="12"/>
                </a:lnTo>
                <a:lnTo>
                  <a:pt x="594" y="6"/>
                </a:lnTo>
                <a:lnTo>
                  <a:pt x="600" y="0"/>
                </a:lnTo>
                <a:lnTo>
                  <a:pt x="624" y="0"/>
                </a:lnTo>
                <a:lnTo>
                  <a:pt x="636" y="6"/>
                </a:lnTo>
                <a:lnTo>
                  <a:pt x="648" y="24"/>
                </a:lnTo>
                <a:lnTo>
                  <a:pt x="654" y="48"/>
                </a:lnTo>
                <a:lnTo>
                  <a:pt x="672" y="60"/>
                </a:lnTo>
                <a:lnTo>
                  <a:pt x="678" y="60"/>
                </a:lnTo>
                <a:lnTo>
                  <a:pt x="684" y="60"/>
                </a:lnTo>
                <a:lnTo>
                  <a:pt x="690" y="72"/>
                </a:lnTo>
                <a:lnTo>
                  <a:pt x="690" y="78"/>
                </a:lnTo>
                <a:lnTo>
                  <a:pt x="696" y="90"/>
                </a:lnTo>
                <a:lnTo>
                  <a:pt x="714" y="114"/>
                </a:lnTo>
                <a:lnTo>
                  <a:pt x="714" y="120"/>
                </a:lnTo>
                <a:lnTo>
                  <a:pt x="720" y="132"/>
                </a:lnTo>
                <a:lnTo>
                  <a:pt x="726" y="138"/>
                </a:lnTo>
                <a:lnTo>
                  <a:pt x="720" y="144"/>
                </a:lnTo>
                <a:lnTo>
                  <a:pt x="720" y="150"/>
                </a:lnTo>
                <a:lnTo>
                  <a:pt x="714" y="150"/>
                </a:lnTo>
                <a:lnTo>
                  <a:pt x="714" y="156"/>
                </a:lnTo>
                <a:lnTo>
                  <a:pt x="714" y="162"/>
                </a:lnTo>
                <a:lnTo>
                  <a:pt x="708" y="162"/>
                </a:lnTo>
                <a:lnTo>
                  <a:pt x="708" y="168"/>
                </a:lnTo>
                <a:lnTo>
                  <a:pt x="702" y="168"/>
                </a:lnTo>
                <a:lnTo>
                  <a:pt x="702" y="174"/>
                </a:lnTo>
                <a:lnTo>
                  <a:pt x="702" y="180"/>
                </a:lnTo>
                <a:lnTo>
                  <a:pt x="708" y="180"/>
                </a:lnTo>
                <a:lnTo>
                  <a:pt x="708" y="186"/>
                </a:lnTo>
                <a:lnTo>
                  <a:pt x="708" y="192"/>
                </a:lnTo>
                <a:lnTo>
                  <a:pt x="714" y="204"/>
                </a:lnTo>
                <a:lnTo>
                  <a:pt x="726" y="216"/>
                </a:lnTo>
                <a:lnTo>
                  <a:pt x="738" y="216"/>
                </a:lnTo>
                <a:lnTo>
                  <a:pt x="768" y="222"/>
                </a:lnTo>
                <a:lnTo>
                  <a:pt x="780" y="216"/>
                </a:lnTo>
                <a:lnTo>
                  <a:pt x="792" y="204"/>
                </a:lnTo>
                <a:lnTo>
                  <a:pt x="798" y="198"/>
                </a:lnTo>
                <a:lnTo>
                  <a:pt x="804" y="204"/>
                </a:lnTo>
                <a:lnTo>
                  <a:pt x="810" y="204"/>
                </a:lnTo>
                <a:lnTo>
                  <a:pt x="810" y="198"/>
                </a:lnTo>
                <a:lnTo>
                  <a:pt x="816" y="192"/>
                </a:lnTo>
                <a:lnTo>
                  <a:pt x="816" y="186"/>
                </a:lnTo>
                <a:lnTo>
                  <a:pt x="816" y="180"/>
                </a:lnTo>
                <a:lnTo>
                  <a:pt x="816" y="174"/>
                </a:lnTo>
                <a:lnTo>
                  <a:pt x="816" y="162"/>
                </a:lnTo>
                <a:lnTo>
                  <a:pt x="816" y="156"/>
                </a:lnTo>
                <a:lnTo>
                  <a:pt x="822" y="156"/>
                </a:lnTo>
                <a:lnTo>
                  <a:pt x="822" y="150"/>
                </a:lnTo>
                <a:lnTo>
                  <a:pt x="828" y="144"/>
                </a:lnTo>
                <a:lnTo>
                  <a:pt x="822" y="144"/>
                </a:lnTo>
                <a:lnTo>
                  <a:pt x="822" y="138"/>
                </a:lnTo>
                <a:lnTo>
                  <a:pt x="828" y="138"/>
                </a:lnTo>
                <a:lnTo>
                  <a:pt x="834" y="132"/>
                </a:lnTo>
                <a:lnTo>
                  <a:pt x="840" y="132"/>
                </a:lnTo>
                <a:lnTo>
                  <a:pt x="864" y="126"/>
                </a:lnTo>
                <a:lnTo>
                  <a:pt x="906" y="144"/>
                </a:lnTo>
                <a:lnTo>
                  <a:pt x="906" y="150"/>
                </a:lnTo>
                <a:lnTo>
                  <a:pt x="906" y="156"/>
                </a:lnTo>
                <a:lnTo>
                  <a:pt x="900" y="162"/>
                </a:lnTo>
                <a:lnTo>
                  <a:pt x="924" y="168"/>
                </a:lnTo>
                <a:lnTo>
                  <a:pt x="942" y="192"/>
                </a:lnTo>
                <a:lnTo>
                  <a:pt x="972" y="210"/>
                </a:lnTo>
                <a:lnTo>
                  <a:pt x="972" y="216"/>
                </a:lnTo>
                <a:lnTo>
                  <a:pt x="972" y="228"/>
                </a:lnTo>
                <a:lnTo>
                  <a:pt x="978" y="234"/>
                </a:lnTo>
                <a:lnTo>
                  <a:pt x="978" y="246"/>
                </a:lnTo>
                <a:lnTo>
                  <a:pt x="984" y="252"/>
                </a:lnTo>
                <a:lnTo>
                  <a:pt x="1014" y="252"/>
                </a:lnTo>
                <a:lnTo>
                  <a:pt x="1020" y="228"/>
                </a:lnTo>
                <a:lnTo>
                  <a:pt x="1026" y="198"/>
                </a:lnTo>
                <a:lnTo>
                  <a:pt x="1050" y="186"/>
                </a:lnTo>
                <a:lnTo>
                  <a:pt x="1056" y="180"/>
                </a:lnTo>
                <a:lnTo>
                  <a:pt x="1050" y="174"/>
                </a:lnTo>
                <a:lnTo>
                  <a:pt x="1050" y="168"/>
                </a:lnTo>
                <a:lnTo>
                  <a:pt x="1050" y="162"/>
                </a:lnTo>
                <a:lnTo>
                  <a:pt x="1056" y="162"/>
                </a:lnTo>
                <a:lnTo>
                  <a:pt x="1062" y="162"/>
                </a:lnTo>
                <a:lnTo>
                  <a:pt x="1074" y="162"/>
                </a:lnTo>
                <a:lnTo>
                  <a:pt x="1074" y="144"/>
                </a:lnTo>
                <a:lnTo>
                  <a:pt x="1074" y="120"/>
                </a:lnTo>
                <a:lnTo>
                  <a:pt x="1092" y="120"/>
                </a:lnTo>
                <a:lnTo>
                  <a:pt x="1098" y="126"/>
                </a:lnTo>
                <a:lnTo>
                  <a:pt x="1134" y="132"/>
                </a:lnTo>
                <a:lnTo>
                  <a:pt x="1146" y="132"/>
                </a:lnTo>
                <a:lnTo>
                  <a:pt x="1158" y="150"/>
                </a:lnTo>
                <a:lnTo>
                  <a:pt x="1158" y="156"/>
                </a:lnTo>
                <a:lnTo>
                  <a:pt x="1158" y="162"/>
                </a:lnTo>
                <a:lnTo>
                  <a:pt x="1158" y="180"/>
                </a:lnTo>
                <a:lnTo>
                  <a:pt x="1158" y="186"/>
                </a:lnTo>
                <a:lnTo>
                  <a:pt x="1164" y="192"/>
                </a:lnTo>
                <a:lnTo>
                  <a:pt x="1176" y="198"/>
                </a:lnTo>
                <a:lnTo>
                  <a:pt x="1182" y="198"/>
                </a:lnTo>
                <a:lnTo>
                  <a:pt x="1182" y="210"/>
                </a:lnTo>
                <a:lnTo>
                  <a:pt x="1182" y="216"/>
                </a:lnTo>
                <a:lnTo>
                  <a:pt x="1182" y="228"/>
                </a:lnTo>
                <a:lnTo>
                  <a:pt x="1188" y="234"/>
                </a:lnTo>
                <a:lnTo>
                  <a:pt x="1212" y="234"/>
                </a:lnTo>
                <a:lnTo>
                  <a:pt x="1242" y="234"/>
                </a:lnTo>
                <a:lnTo>
                  <a:pt x="1248" y="234"/>
                </a:lnTo>
                <a:lnTo>
                  <a:pt x="1278" y="240"/>
                </a:lnTo>
                <a:lnTo>
                  <a:pt x="1320" y="234"/>
                </a:lnTo>
                <a:lnTo>
                  <a:pt x="1332" y="228"/>
                </a:lnTo>
                <a:lnTo>
                  <a:pt x="1344" y="228"/>
                </a:lnTo>
                <a:lnTo>
                  <a:pt x="1350" y="234"/>
                </a:lnTo>
                <a:lnTo>
                  <a:pt x="1350" y="240"/>
                </a:lnTo>
                <a:lnTo>
                  <a:pt x="1356" y="246"/>
                </a:lnTo>
                <a:lnTo>
                  <a:pt x="1350" y="252"/>
                </a:lnTo>
                <a:lnTo>
                  <a:pt x="1356" y="264"/>
                </a:lnTo>
                <a:lnTo>
                  <a:pt x="1356" y="270"/>
                </a:lnTo>
                <a:lnTo>
                  <a:pt x="1356" y="276"/>
                </a:lnTo>
                <a:lnTo>
                  <a:pt x="1356" y="282"/>
                </a:lnTo>
                <a:lnTo>
                  <a:pt x="1356" y="288"/>
                </a:lnTo>
                <a:lnTo>
                  <a:pt x="1350" y="294"/>
                </a:lnTo>
                <a:lnTo>
                  <a:pt x="1344" y="300"/>
                </a:lnTo>
                <a:lnTo>
                  <a:pt x="1344" y="306"/>
                </a:lnTo>
                <a:lnTo>
                  <a:pt x="1338" y="312"/>
                </a:lnTo>
                <a:lnTo>
                  <a:pt x="1326" y="342"/>
                </a:lnTo>
                <a:lnTo>
                  <a:pt x="1320" y="348"/>
                </a:lnTo>
                <a:lnTo>
                  <a:pt x="1314" y="354"/>
                </a:lnTo>
                <a:lnTo>
                  <a:pt x="1290" y="354"/>
                </a:lnTo>
                <a:lnTo>
                  <a:pt x="1284" y="360"/>
                </a:lnTo>
                <a:lnTo>
                  <a:pt x="1278" y="378"/>
                </a:lnTo>
                <a:lnTo>
                  <a:pt x="1278" y="384"/>
                </a:lnTo>
                <a:lnTo>
                  <a:pt x="1272" y="390"/>
                </a:lnTo>
                <a:lnTo>
                  <a:pt x="1266" y="396"/>
                </a:lnTo>
                <a:lnTo>
                  <a:pt x="1260" y="396"/>
                </a:lnTo>
                <a:lnTo>
                  <a:pt x="1248" y="402"/>
                </a:lnTo>
                <a:lnTo>
                  <a:pt x="1242" y="408"/>
                </a:lnTo>
                <a:lnTo>
                  <a:pt x="1242" y="414"/>
                </a:lnTo>
                <a:lnTo>
                  <a:pt x="1242" y="420"/>
                </a:lnTo>
                <a:lnTo>
                  <a:pt x="1236" y="432"/>
                </a:lnTo>
                <a:lnTo>
                  <a:pt x="1242" y="432"/>
                </a:lnTo>
                <a:lnTo>
                  <a:pt x="1242" y="444"/>
                </a:lnTo>
                <a:lnTo>
                  <a:pt x="1242" y="456"/>
                </a:lnTo>
                <a:lnTo>
                  <a:pt x="1248" y="456"/>
                </a:lnTo>
                <a:lnTo>
                  <a:pt x="1254" y="462"/>
                </a:lnTo>
                <a:lnTo>
                  <a:pt x="1248" y="468"/>
                </a:lnTo>
                <a:lnTo>
                  <a:pt x="1254" y="468"/>
                </a:lnTo>
                <a:lnTo>
                  <a:pt x="1266" y="474"/>
                </a:lnTo>
                <a:lnTo>
                  <a:pt x="1266" y="480"/>
                </a:lnTo>
                <a:lnTo>
                  <a:pt x="1266" y="486"/>
                </a:lnTo>
                <a:lnTo>
                  <a:pt x="1272" y="486"/>
                </a:lnTo>
                <a:lnTo>
                  <a:pt x="1272" y="492"/>
                </a:lnTo>
                <a:lnTo>
                  <a:pt x="1290" y="510"/>
                </a:lnTo>
                <a:lnTo>
                  <a:pt x="1296" y="516"/>
                </a:lnTo>
                <a:lnTo>
                  <a:pt x="1302" y="540"/>
                </a:lnTo>
                <a:lnTo>
                  <a:pt x="1302" y="546"/>
                </a:lnTo>
                <a:lnTo>
                  <a:pt x="1302" y="558"/>
                </a:lnTo>
                <a:lnTo>
                  <a:pt x="1302" y="570"/>
                </a:lnTo>
                <a:lnTo>
                  <a:pt x="1302" y="576"/>
                </a:lnTo>
                <a:lnTo>
                  <a:pt x="1344" y="570"/>
                </a:lnTo>
                <a:lnTo>
                  <a:pt x="1350" y="582"/>
                </a:lnTo>
                <a:lnTo>
                  <a:pt x="1368" y="594"/>
                </a:lnTo>
                <a:lnTo>
                  <a:pt x="1374" y="600"/>
                </a:lnTo>
                <a:lnTo>
                  <a:pt x="1380" y="600"/>
                </a:lnTo>
                <a:lnTo>
                  <a:pt x="1380" y="618"/>
                </a:lnTo>
                <a:lnTo>
                  <a:pt x="1386" y="624"/>
                </a:lnTo>
                <a:lnTo>
                  <a:pt x="1404" y="624"/>
                </a:lnTo>
                <a:lnTo>
                  <a:pt x="1410" y="612"/>
                </a:lnTo>
                <a:lnTo>
                  <a:pt x="1428" y="606"/>
                </a:lnTo>
                <a:lnTo>
                  <a:pt x="1488" y="606"/>
                </a:lnTo>
                <a:lnTo>
                  <a:pt x="1506" y="606"/>
                </a:lnTo>
                <a:lnTo>
                  <a:pt x="1512" y="600"/>
                </a:lnTo>
                <a:lnTo>
                  <a:pt x="1524" y="594"/>
                </a:lnTo>
                <a:lnTo>
                  <a:pt x="1554" y="594"/>
                </a:lnTo>
                <a:lnTo>
                  <a:pt x="1578" y="606"/>
                </a:lnTo>
                <a:lnTo>
                  <a:pt x="1596" y="624"/>
                </a:lnTo>
                <a:lnTo>
                  <a:pt x="1650" y="642"/>
                </a:lnTo>
                <a:lnTo>
                  <a:pt x="1686" y="648"/>
                </a:lnTo>
                <a:lnTo>
                  <a:pt x="1698" y="654"/>
                </a:lnTo>
                <a:lnTo>
                  <a:pt x="1698" y="660"/>
                </a:lnTo>
                <a:lnTo>
                  <a:pt x="1692" y="666"/>
                </a:lnTo>
                <a:lnTo>
                  <a:pt x="1692" y="672"/>
                </a:lnTo>
                <a:lnTo>
                  <a:pt x="1698" y="678"/>
                </a:lnTo>
                <a:lnTo>
                  <a:pt x="1698" y="684"/>
                </a:lnTo>
                <a:lnTo>
                  <a:pt x="1692" y="684"/>
                </a:lnTo>
                <a:lnTo>
                  <a:pt x="1692" y="690"/>
                </a:lnTo>
                <a:lnTo>
                  <a:pt x="1698" y="696"/>
                </a:lnTo>
                <a:lnTo>
                  <a:pt x="1698" y="702"/>
                </a:lnTo>
                <a:lnTo>
                  <a:pt x="1698" y="708"/>
                </a:lnTo>
                <a:lnTo>
                  <a:pt x="1704" y="714"/>
                </a:lnTo>
                <a:lnTo>
                  <a:pt x="1704" y="720"/>
                </a:lnTo>
                <a:lnTo>
                  <a:pt x="1704" y="726"/>
                </a:lnTo>
                <a:lnTo>
                  <a:pt x="1704" y="732"/>
                </a:lnTo>
                <a:lnTo>
                  <a:pt x="1704" y="738"/>
                </a:lnTo>
                <a:lnTo>
                  <a:pt x="1698" y="726"/>
                </a:lnTo>
                <a:lnTo>
                  <a:pt x="1668" y="720"/>
                </a:lnTo>
                <a:lnTo>
                  <a:pt x="1626" y="714"/>
                </a:lnTo>
                <a:lnTo>
                  <a:pt x="1614" y="708"/>
                </a:lnTo>
                <a:lnTo>
                  <a:pt x="1578" y="696"/>
                </a:lnTo>
                <a:lnTo>
                  <a:pt x="1566" y="696"/>
                </a:lnTo>
                <a:lnTo>
                  <a:pt x="1548" y="702"/>
                </a:lnTo>
                <a:lnTo>
                  <a:pt x="1542" y="714"/>
                </a:lnTo>
                <a:lnTo>
                  <a:pt x="1536" y="732"/>
                </a:lnTo>
                <a:lnTo>
                  <a:pt x="1530" y="750"/>
                </a:lnTo>
                <a:lnTo>
                  <a:pt x="1536" y="750"/>
                </a:lnTo>
                <a:lnTo>
                  <a:pt x="1542" y="756"/>
                </a:lnTo>
                <a:lnTo>
                  <a:pt x="1542" y="762"/>
                </a:lnTo>
                <a:lnTo>
                  <a:pt x="1548" y="762"/>
                </a:lnTo>
                <a:lnTo>
                  <a:pt x="1554" y="762"/>
                </a:lnTo>
                <a:lnTo>
                  <a:pt x="1554" y="768"/>
                </a:lnTo>
                <a:lnTo>
                  <a:pt x="1560" y="774"/>
                </a:lnTo>
                <a:lnTo>
                  <a:pt x="1566" y="774"/>
                </a:lnTo>
                <a:lnTo>
                  <a:pt x="1584" y="792"/>
                </a:lnTo>
                <a:lnTo>
                  <a:pt x="1584" y="810"/>
                </a:lnTo>
                <a:lnTo>
                  <a:pt x="1572" y="816"/>
                </a:lnTo>
                <a:lnTo>
                  <a:pt x="1578" y="834"/>
                </a:lnTo>
                <a:lnTo>
                  <a:pt x="1578" y="846"/>
                </a:lnTo>
                <a:lnTo>
                  <a:pt x="1584" y="858"/>
                </a:lnTo>
                <a:lnTo>
                  <a:pt x="1590" y="864"/>
                </a:lnTo>
                <a:lnTo>
                  <a:pt x="1590" y="876"/>
                </a:lnTo>
                <a:lnTo>
                  <a:pt x="1578" y="888"/>
                </a:lnTo>
                <a:lnTo>
                  <a:pt x="1560" y="906"/>
                </a:lnTo>
                <a:lnTo>
                  <a:pt x="1536" y="930"/>
                </a:lnTo>
                <a:lnTo>
                  <a:pt x="1530" y="930"/>
                </a:lnTo>
                <a:lnTo>
                  <a:pt x="1506" y="942"/>
                </a:lnTo>
                <a:lnTo>
                  <a:pt x="1488" y="948"/>
                </a:lnTo>
                <a:lnTo>
                  <a:pt x="1476" y="954"/>
                </a:lnTo>
                <a:lnTo>
                  <a:pt x="1458" y="960"/>
                </a:lnTo>
                <a:lnTo>
                  <a:pt x="1452" y="966"/>
                </a:lnTo>
                <a:lnTo>
                  <a:pt x="1446" y="966"/>
                </a:lnTo>
                <a:lnTo>
                  <a:pt x="1434" y="972"/>
                </a:lnTo>
                <a:lnTo>
                  <a:pt x="1434" y="954"/>
                </a:lnTo>
                <a:lnTo>
                  <a:pt x="1422" y="942"/>
                </a:lnTo>
                <a:lnTo>
                  <a:pt x="1398" y="924"/>
                </a:lnTo>
                <a:lnTo>
                  <a:pt x="1398" y="912"/>
                </a:lnTo>
                <a:lnTo>
                  <a:pt x="1398" y="906"/>
                </a:lnTo>
                <a:lnTo>
                  <a:pt x="1398" y="900"/>
                </a:lnTo>
                <a:lnTo>
                  <a:pt x="1380" y="900"/>
                </a:lnTo>
                <a:lnTo>
                  <a:pt x="1380" y="894"/>
                </a:lnTo>
                <a:lnTo>
                  <a:pt x="1368" y="888"/>
                </a:lnTo>
                <a:lnTo>
                  <a:pt x="1362" y="882"/>
                </a:lnTo>
                <a:lnTo>
                  <a:pt x="1356" y="876"/>
                </a:lnTo>
                <a:lnTo>
                  <a:pt x="1350" y="864"/>
                </a:lnTo>
                <a:lnTo>
                  <a:pt x="1344" y="858"/>
                </a:lnTo>
                <a:lnTo>
                  <a:pt x="1314" y="870"/>
                </a:lnTo>
                <a:lnTo>
                  <a:pt x="1272" y="876"/>
                </a:lnTo>
                <a:lnTo>
                  <a:pt x="1218" y="870"/>
                </a:lnTo>
                <a:lnTo>
                  <a:pt x="1200" y="864"/>
                </a:lnTo>
                <a:lnTo>
                  <a:pt x="1182" y="864"/>
                </a:lnTo>
                <a:lnTo>
                  <a:pt x="1134" y="858"/>
                </a:lnTo>
                <a:lnTo>
                  <a:pt x="1110" y="840"/>
                </a:lnTo>
                <a:lnTo>
                  <a:pt x="1086" y="828"/>
                </a:lnTo>
                <a:lnTo>
                  <a:pt x="1044" y="816"/>
                </a:lnTo>
                <a:lnTo>
                  <a:pt x="1014" y="816"/>
                </a:lnTo>
                <a:lnTo>
                  <a:pt x="990" y="822"/>
                </a:lnTo>
                <a:lnTo>
                  <a:pt x="948" y="858"/>
                </a:lnTo>
                <a:lnTo>
                  <a:pt x="930" y="864"/>
                </a:lnTo>
                <a:lnTo>
                  <a:pt x="924" y="876"/>
                </a:lnTo>
                <a:lnTo>
                  <a:pt x="918" y="906"/>
                </a:lnTo>
                <a:lnTo>
                  <a:pt x="924" y="930"/>
                </a:lnTo>
                <a:lnTo>
                  <a:pt x="948" y="984"/>
                </a:lnTo>
                <a:lnTo>
                  <a:pt x="954" y="1008"/>
                </a:lnTo>
                <a:lnTo>
                  <a:pt x="948" y="1014"/>
                </a:lnTo>
                <a:lnTo>
                  <a:pt x="954" y="1014"/>
                </a:lnTo>
                <a:lnTo>
                  <a:pt x="954" y="1032"/>
                </a:lnTo>
                <a:lnTo>
                  <a:pt x="966" y="1044"/>
                </a:lnTo>
                <a:lnTo>
                  <a:pt x="960" y="1056"/>
                </a:lnTo>
                <a:lnTo>
                  <a:pt x="954" y="1056"/>
                </a:lnTo>
                <a:lnTo>
                  <a:pt x="948" y="1056"/>
                </a:lnTo>
                <a:lnTo>
                  <a:pt x="942" y="1056"/>
                </a:lnTo>
                <a:lnTo>
                  <a:pt x="936" y="1050"/>
                </a:lnTo>
                <a:lnTo>
                  <a:pt x="930" y="1044"/>
                </a:lnTo>
                <a:lnTo>
                  <a:pt x="924" y="1044"/>
                </a:lnTo>
                <a:lnTo>
                  <a:pt x="918" y="1038"/>
                </a:lnTo>
                <a:lnTo>
                  <a:pt x="912" y="1038"/>
                </a:lnTo>
                <a:lnTo>
                  <a:pt x="906" y="1032"/>
                </a:lnTo>
                <a:lnTo>
                  <a:pt x="900" y="1032"/>
                </a:lnTo>
                <a:lnTo>
                  <a:pt x="888" y="1026"/>
                </a:lnTo>
                <a:lnTo>
                  <a:pt x="882" y="1026"/>
                </a:lnTo>
                <a:lnTo>
                  <a:pt x="876" y="1026"/>
                </a:lnTo>
                <a:lnTo>
                  <a:pt x="864" y="1014"/>
                </a:lnTo>
                <a:lnTo>
                  <a:pt x="846" y="1008"/>
                </a:lnTo>
                <a:lnTo>
                  <a:pt x="840" y="996"/>
                </a:lnTo>
                <a:lnTo>
                  <a:pt x="840" y="990"/>
                </a:lnTo>
                <a:lnTo>
                  <a:pt x="834" y="990"/>
                </a:lnTo>
                <a:lnTo>
                  <a:pt x="828" y="990"/>
                </a:lnTo>
                <a:lnTo>
                  <a:pt x="816" y="990"/>
                </a:lnTo>
                <a:lnTo>
                  <a:pt x="810" y="990"/>
                </a:lnTo>
                <a:lnTo>
                  <a:pt x="804" y="984"/>
                </a:lnTo>
                <a:lnTo>
                  <a:pt x="792" y="978"/>
                </a:lnTo>
                <a:lnTo>
                  <a:pt x="786" y="972"/>
                </a:lnTo>
                <a:lnTo>
                  <a:pt x="780" y="972"/>
                </a:lnTo>
                <a:lnTo>
                  <a:pt x="768" y="966"/>
                </a:lnTo>
                <a:lnTo>
                  <a:pt x="762" y="966"/>
                </a:lnTo>
                <a:lnTo>
                  <a:pt x="756" y="966"/>
                </a:lnTo>
                <a:lnTo>
                  <a:pt x="750" y="966"/>
                </a:lnTo>
                <a:lnTo>
                  <a:pt x="744" y="966"/>
                </a:lnTo>
                <a:lnTo>
                  <a:pt x="738" y="960"/>
                </a:lnTo>
                <a:lnTo>
                  <a:pt x="732" y="954"/>
                </a:lnTo>
                <a:lnTo>
                  <a:pt x="720" y="954"/>
                </a:lnTo>
                <a:lnTo>
                  <a:pt x="714" y="948"/>
                </a:lnTo>
                <a:lnTo>
                  <a:pt x="708" y="948"/>
                </a:lnTo>
                <a:lnTo>
                  <a:pt x="696" y="948"/>
                </a:lnTo>
                <a:lnTo>
                  <a:pt x="684" y="942"/>
                </a:lnTo>
                <a:lnTo>
                  <a:pt x="678" y="936"/>
                </a:lnTo>
                <a:lnTo>
                  <a:pt x="660" y="930"/>
                </a:lnTo>
                <a:lnTo>
                  <a:pt x="642" y="924"/>
                </a:lnTo>
                <a:lnTo>
                  <a:pt x="636" y="924"/>
                </a:lnTo>
                <a:lnTo>
                  <a:pt x="630" y="924"/>
                </a:lnTo>
                <a:lnTo>
                  <a:pt x="618" y="924"/>
                </a:lnTo>
                <a:lnTo>
                  <a:pt x="618" y="918"/>
                </a:lnTo>
                <a:lnTo>
                  <a:pt x="606" y="918"/>
                </a:lnTo>
                <a:lnTo>
                  <a:pt x="600" y="918"/>
                </a:lnTo>
                <a:lnTo>
                  <a:pt x="594" y="918"/>
                </a:lnTo>
                <a:lnTo>
                  <a:pt x="594" y="912"/>
                </a:lnTo>
                <a:lnTo>
                  <a:pt x="588" y="912"/>
                </a:lnTo>
                <a:lnTo>
                  <a:pt x="582" y="912"/>
                </a:lnTo>
                <a:lnTo>
                  <a:pt x="582" y="918"/>
                </a:lnTo>
                <a:lnTo>
                  <a:pt x="576" y="918"/>
                </a:lnTo>
                <a:lnTo>
                  <a:pt x="570" y="918"/>
                </a:lnTo>
                <a:lnTo>
                  <a:pt x="570" y="912"/>
                </a:lnTo>
                <a:lnTo>
                  <a:pt x="564" y="912"/>
                </a:lnTo>
                <a:lnTo>
                  <a:pt x="558" y="918"/>
                </a:lnTo>
                <a:lnTo>
                  <a:pt x="552" y="912"/>
                </a:lnTo>
                <a:lnTo>
                  <a:pt x="546" y="912"/>
                </a:lnTo>
                <a:lnTo>
                  <a:pt x="540" y="912"/>
                </a:lnTo>
                <a:lnTo>
                  <a:pt x="528" y="906"/>
                </a:lnTo>
                <a:lnTo>
                  <a:pt x="522" y="906"/>
                </a:lnTo>
                <a:lnTo>
                  <a:pt x="522" y="900"/>
                </a:lnTo>
                <a:lnTo>
                  <a:pt x="516" y="900"/>
                </a:lnTo>
                <a:lnTo>
                  <a:pt x="510" y="900"/>
                </a:lnTo>
                <a:lnTo>
                  <a:pt x="486" y="894"/>
                </a:lnTo>
                <a:lnTo>
                  <a:pt x="474" y="888"/>
                </a:lnTo>
                <a:lnTo>
                  <a:pt x="468" y="888"/>
                </a:lnTo>
                <a:lnTo>
                  <a:pt x="450" y="888"/>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18454" name="Freeform 16"/>
          <p:cNvSpPr>
            <a:spLocks/>
          </p:cNvSpPr>
          <p:nvPr/>
        </p:nvSpPr>
        <p:spPr bwMode="gray">
          <a:xfrm>
            <a:off x="4368800" y="3308350"/>
            <a:ext cx="1065213" cy="1055688"/>
          </a:xfrm>
          <a:custGeom>
            <a:avLst/>
            <a:gdLst>
              <a:gd name="T0" fmla="*/ 34415 w 1362"/>
              <a:gd name="T1" fmla="*/ 85512 h 1308"/>
              <a:gd name="T2" fmla="*/ 25029 w 1362"/>
              <a:gd name="T3" fmla="*/ 87932 h 1308"/>
              <a:gd name="T4" fmla="*/ 19554 w 1362"/>
              <a:gd name="T5" fmla="*/ 84705 h 1308"/>
              <a:gd name="T6" fmla="*/ 17208 w 1362"/>
              <a:gd name="T7" fmla="*/ 78251 h 1308"/>
              <a:gd name="T8" fmla="*/ 16425 w 1362"/>
              <a:gd name="T9" fmla="*/ 76638 h 1308"/>
              <a:gd name="T10" fmla="*/ 15643 w 1362"/>
              <a:gd name="T11" fmla="*/ 72604 h 1308"/>
              <a:gd name="T12" fmla="*/ 17990 w 1362"/>
              <a:gd name="T13" fmla="*/ 70184 h 1308"/>
              <a:gd name="T14" fmla="*/ 22683 w 1362"/>
              <a:gd name="T15" fmla="*/ 65344 h 1308"/>
              <a:gd name="T16" fmla="*/ 23465 w 1362"/>
              <a:gd name="T17" fmla="*/ 62924 h 1308"/>
              <a:gd name="T18" fmla="*/ 21118 w 1362"/>
              <a:gd name="T19" fmla="*/ 60504 h 1308"/>
              <a:gd name="T20" fmla="*/ 11732 w 1362"/>
              <a:gd name="T21" fmla="*/ 58890 h 1308"/>
              <a:gd name="T22" fmla="*/ 9386 w 1362"/>
              <a:gd name="T23" fmla="*/ 55663 h 1308"/>
              <a:gd name="T24" fmla="*/ 3911 w 1362"/>
              <a:gd name="T25" fmla="*/ 52437 h 1308"/>
              <a:gd name="T26" fmla="*/ 4693 w 1362"/>
              <a:gd name="T27" fmla="*/ 50016 h 1308"/>
              <a:gd name="T28" fmla="*/ 5475 w 1362"/>
              <a:gd name="T29" fmla="*/ 45176 h 1308"/>
              <a:gd name="T30" fmla="*/ 1564 w 1362"/>
              <a:gd name="T31" fmla="*/ 39529 h 1308"/>
              <a:gd name="T32" fmla="*/ 0 w 1362"/>
              <a:gd name="T33" fmla="*/ 35496 h 1308"/>
              <a:gd name="T34" fmla="*/ 0 w 1362"/>
              <a:gd name="T35" fmla="*/ 31462 h 1308"/>
              <a:gd name="T36" fmla="*/ 2346 w 1362"/>
              <a:gd name="T37" fmla="*/ 28235 h 1308"/>
              <a:gd name="T38" fmla="*/ 2346 w 1362"/>
              <a:gd name="T39" fmla="*/ 22588 h 1308"/>
              <a:gd name="T40" fmla="*/ 4693 w 1362"/>
              <a:gd name="T41" fmla="*/ 14521 h 1308"/>
              <a:gd name="T42" fmla="*/ 4693 w 1362"/>
              <a:gd name="T43" fmla="*/ 6454 h 1308"/>
              <a:gd name="T44" fmla="*/ 7822 w 1362"/>
              <a:gd name="T45" fmla="*/ 4034 h 1308"/>
              <a:gd name="T46" fmla="*/ 11732 w 1362"/>
              <a:gd name="T47" fmla="*/ 0 h 1308"/>
              <a:gd name="T48" fmla="*/ 16425 w 1362"/>
              <a:gd name="T49" fmla="*/ 5647 h 1308"/>
              <a:gd name="T50" fmla="*/ 19554 w 1362"/>
              <a:gd name="T51" fmla="*/ 12101 h 1308"/>
              <a:gd name="T52" fmla="*/ 18772 w 1362"/>
              <a:gd name="T53" fmla="*/ 15328 h 1308"/>
              <a:gd name="T54" fmla="*/ 25029 w 1362"/>
              <a:gd name="T55" fmla="*/ 15328 h 1308"/>
              <a:gd name="T56" fmla="*/ 27376 w 1362"/>
              <a:gd name="T57" fmla="*/ 16134 h 1308"/>
              <a:gd name="T58" fmla="*/ 31286 w 1362"/>
              <a:gd name="T59" fmla="*/ 18554 h 1308"/>
              <a:gd name="T60" fmla="*/ 31286 w 1362"/>
              <a:gd name="T61" fmla="*/ 20975 h 1308"/>
              <a:gd name="T62" fmla="*/ 26593 w 1362"/>
              <a:gd name="T63" fmla="*/ 28235 h 1308"/>
              <a:gd name="T64" fmla="*/ 32069 w 1362"/>
              <a:gd name="T65" fmla="*/ 29849 h 1308"/>
              <a:gd name="T66" fmla="*/ 33633 w 1362"/>
              <a:gd name="T67" fmla="*/ 35496 h 1308"/>
              <a:gd name="T68" fmla="*/ 37544 w 1362"/>
              <a:gd name="T69" fmla="*/ 37916 h 1308"/>
              <a:gd name="T70" fmla="*/ 44583 w 1362"/>
              <a:gd name="T71" fmla="*/ 38722 h 1308"/>
              <a:gd name="T72" fmla="*/ 54751 w 1362"/>
              <a:gd name="T73" fmla="*/ 35496 h 1308"/>
              <a:gd name="T74" fmla="*/ 62573 w 1362"/>
              <a:gd name="T75" fmla="*/ 27428 h 1308"/>
              <a:gd name="T76" fmla="*/ 74305 w 1362"/>
              <a:gd name="T77" fmla="*/ 33075 h 1308"/>
              <a:gd name="T78" fmla="*/ 85256 w 1362"/>
              <a:gd name="T79" fmla="*/ 37916 h 1308"/>
              <a:gd name="T80" fmla="*/ 86820 w 1362"/>
              <a:gd name="T81" fmla="*/ 40336 h 1308"/>
              <a:gd name="T82" fmla="*/ 88384 w 1362"/>
              <a:gd name="T83" fmla="*/ 42756 h 1308"/>
              <a:gd name="T84" fmla="*/ 88384 w 1362"/>
              <a:gd name="T85" fmla="*/ 44369 h 1308"/>
              <a:gd name="T86" fmla="*/ 88384 w 1362"/>
              <a:gd name="T87" fmla="*/ 47596 h 1308"/>
              <a:gd name="T88" fmla="*/ 88384 w 1362"/>
              <a:gd name="T89" fmla="*/ 50016 h 1308"/>
              <a:gd name="T90" fmla="*/ 89949 w 1362"/>
              <a:gd name="T91" fmla="*/ 52437 h 1308"/>
              <a:gd name="T92" fmla="*/ 89949 w 1362"/>
              <a:gd name="T93" fmla="*/ 54050 h 1308"/>
              <a:gd name="T94" fmla="*/ 90731 w 1362"/>
              <a:gd name="T95" fmla="*/ 55663 h 1308"/>
              <a:gd name="T96" fmla="*/ 90731 w 1362"/>
              <a:gd name="T97" fmla="*/ 57277 h 1308"/>
              <a:gd name="T98" fmla="*/ 92295 w 1362"/>
              <a:gd name="T99" fmla="*/ 60504 h 1308"/>
              <a:gd name="T100" fmla="*/ 90731 w 1362"/>
              <a:gd name="T101" fmla="*/ 62117 h 1308"/>
              <a:gd name="T102" fmla="*/ 90731 w 1362"/>
              <a:gd name="T103" fmla="*/ 63731 h 1308"/>
              <a:gd name="T104" fmla="*/ 78998 w 1362"/>
              <a:gd name="T105" fmla="*/ 70184 h 1308"/>
              <a:gd name="T106" fmla="*/ 66484 w 1362"/>
              <a:gd name="T107" fmla="*/ 83092 h 1308"/>
              <a:gd name="T108" fmla="*/ 52405 w 1362"/>
              <a:gd name="T109" fmla="*/ 91966 h 13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62"/>
              <a:gd name="T166" fmla="*/ 0 h 1308"/>
              <a:gd name="T167" fmla="*/ 1362 w 1362"/>
              <a:gd name="T168" fmla="*/ 1308 h 13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62" h="1308">
                <a:moveTo>
                  <a:pt x="684" y="1278"/>
                </a:moveTo>
                <a:lnTo>
                  <a:pt x="672" y="1272"/>
                </a:lnTo>
                <a:lnTo>
                  <a:pt x="636" y="1266"/>
                </a:lnTo>
                <a:lnTo>
                  <a:pt x="582" y="1248"/>
                </a:lnTo>
                <a:lnTo>
                  <a:pt x="564" y="1230"/>
                </a:lnTo>
                <a:lnTo>
                  <a:pt x="540" y="1218"/>
                </a:lnTo>
                <a:lnTo>
                  <a:pt x="510" y="1218"/>
                </a:lnTo>
                <a:lnTo>
                  <a:pt x="498" y="1224"/>
                </a:lnTo>
                <a:lnTo>
                  <a:pt x="492" y="1230"/>
                </a:lnTo>
                <a:lnTo>
                  <a:pt x="474" y="1230"/>
                </a:lnTo>
                <a:lnTo>
                  <a:pt x="414" y="1230"/>
                </a:lnTo>
                <a:lnTo>
                  <a:pt x="396" y="1236"/>
                </a:lnTo>
                <a:lnTo>
                  <a:pt x="390" y="1248"/>
                </a:lnTo>
                <a:lnTo>
                  <a:pt x="372" y="1248"/>
                </a:lnTo>
                <a:lnTo>
                  <a:pt x="366" y="1242"/>
                </a:lnTo>
                <a:lnTo>
                  <a:pt x="366" y="1224"/>
                </a:lnTo>
                <a:lnTo>
                  <a:pt x="360" y="1224"/>
                </a:lnTo>
                <a:lnTo>
                  <a:pt x="354" y="1218"/>
                </a:lnTo>
                <a:lnTo>
                  <a:pt x="336" y="1206"/>
                </a:lnTo>
                <a:lnTo>
                  <a:pt x="330" y="1194"/>
                </a:lnTo>
                <a:lnTo>
                  <a:pt x="288" y="1200"/>
                </a:lnTo>
                <a:lnTo>
                  <a:pt x="288" y="1194"/>
                </a:lnTo>
                <a:lnTo>
                  <a:pt x="288" y="1182"/>
                </a:lnTo>
                <a:lnTo>
                  <a:pt x="288" y="1170"/>
                </a:lnTo>
                <a:lnTo>
                  <a:pt x="288" y="1164"/>
                </a:lnTo>
                <a:lnTo>
                  <a:pt x="282" y="1140"/>
                </a:lnTo>
                <a:lnTo>
                  <a:pt x="276" y="1134"/>
                </a:lnTo>
                <a:lnTo>
                  <a:pt x="258" y="1116"/>
                </a:lnTo>
                <a:lnTo>
                  <a:pt x="258" y="1110"/>
                </a:lnTo>
                <a:lnTo>
                  <a:pt x="252" y="1110"/>
                </a:lnTo>
                <a:lnTo>
                  <a:pt x="252" y="1104"/>
                </a:lnTo>
                <a:lnTo>
                  <a:pt x="252" y="1098"/>
                </a:lnTo>
                <a:lnTo>
                  <a:pt x="240" y="1092"/>
                </a:lnTo>
                <a:lnTo>
                  <a:pt x="234" y="1092"/>
                </a:lnTo>
                <a:lnTo>
                  <a:pt x="240" y="1086"/>
                </a:lnTo>
                <a:lnTo>
                  <a:pt x="234" y="1080"/>
                </a:lnTo>
                <a:lnTo>
                  <a:pt x="228" y="1080"/>
                </a:lnTo>
                <a:lnTo>
                  <a:pt x="228" y="1068"/>
                </a:lnTo>
                <a:lnTo>
                  <a:pt x="228" y="1056"/>
                </a:lnTo>
                <a:lnTo>
                  <a:pt x="222" y="1056"/>
                </a:lnTo>
                <a:lnTo>
                  <a:pt x="228" y="1044"/>
                </a:lnTo>
                <a:lnTo>
                  <a:pt x="228" y="1038"/>
                </a:lnTo>
                <a:lnTo>
                  <a:pt x="228" y="1032"/>
                </a:lnTo>
                <a:lnTo>
                  <a:pt x="234" y="1026"/>
                </a:lnTo>
                <a:lnTo>
                  <a:pt x="246" y="1020"/>
                </a:lnTo>
                <a:lnTo>
                  <a:pt x="252" y="1020"/>
                </a:lnTo>
                <a:lnTo>
                  <a:pt x="258" y="1014"/>
                </a:lnTo>
                <a:lnTo>
                  <a:pt x="264" y="1008"/>
                </a:lnTo>
                <a:lnTo>
                  <a:pt x="264" y="1002"/>
                </a:lnTo>
                <a:lnTo>
                  <a:pt x="270" y="984"/>
                </a:lnTo>
                <a:lnTo>
                  <a:pt x="276" y="978"/>
                </a:lnTo>
                <a:lnTo>
                  <a:pt x="300" y="978"/>
                </a:lnTo>
                <a:lnTo>
                  <a:pt x="306" y="972"/>
                </a:lnTo>
                <a:lnTo>
                  <a:pt x="312" y="966"/>
                </a:lnTo>
                <a:lnTo>
                  <a:pt x="324" y="936"/>
                </a:lnTo>
                <a:lnTo>
                  <a:pt x="330" y="930"/>
                </a:lnTo>
                <a:lnTo>
                  <a:pt x="330" y="924"/>
                </a:lnTo>
                <a:lnTo>
                  <a:pt x="336" y="918"/>
                </a:lnTo>
                <a:lnTo>
                  <a:pt x="342" y="912"/>
                </a:lnTo>
                <a:lnTo>
                  <a:pt x="342" y="906"/>
                </a:lnTo>
                <a:lnTo>
                  <a:pt x="342" y="900"/>
                </a:lnTo>
                <a:lnTo>
                  <a:pt x="342" y="894"/>
                </a:lnTo>
                <a:lnTo>
                  <a:pt x="342" y="888"/>
                </a:lnTo>
                <a:lnTo>
                  <a:pt x="336" y="876"/>
                </a:lnTo>
                <a:lnTo>
                  <a:pt x="342" y="870"/>
                </a:lnTo>
                <a:lnTo>
                  <a:pt x="336" y="864"/>
                </a:lnTo>
                <a:lnTo>
                  <a:pt x="336" y="858"/>
                </a:lnTo>
                <a:lnTo>
                  <a:pt x="330" y="852"/>
                </a:lnTo>
                <a:lnTo>
                  <a:pt x="318" y="852"/>
                </a:lnTo>
                <a:lnTo>
                  <a:pt x="306" y="858"/>
                </a:lnTo>
                <a:lnTo>
                  <a:pt x="264" y="864"/>
                </a:lnTo>
                <a:lnTo>
                  <a:pt x="234" y="858"/>
                </a:lnTo>
                <a:lnTo>
                  <a:pt x="228" y="858"/>
                </a:lnTo>
                <a:lnTo>
                  <a:pt x="198" y="858"/>
                </a:lnTo>
                <a:lnTo>
                  <a:pt x="174" y="858"/>
                </a:lnTo>
                <a:lnTo>
                  <a:pt x="168" y="852"/>
                </a:lnTo>
                <a:lnTo>
                  <a:pt x="168" y="840"/>
                </a:lnTo>
                <a:lnTo>
                  <a:pt x="168" y="834"/>
                </a:lnTo>
                <a:lnTo>
                  <a:pt x="168" y="822"/>
                </a:lnTo>
                <a:lnTo>
                  <a:pt x="162" y="822"/>
                </a:lnTo>
                <a:lnTo>
                  <a:pt x="150" y="816"/>
                </a:lnTo>
                <a:lnTo>
                  <a:pt x="144" y="810"/>
                </a:lnTo>
                <a:lnTo>
                  <a:pt x="144" y="804"/>
                </a:lnTo>
                <a:lnTo>
                  <a:pt x="144" y="786"/>
                </a:lnTo>
                <a:lnTo>
                  <a:pt x="144" y="780"/>
                </a:lnTo>
                <a:lnTo>
                  <a:pt x="144" y="774"/>
                </a:lnTo>
                <a:lnTo>
                  <a:pt x="132" y="756"/>
                </a:lnTo>
                <a:lnTo>
                  <a:pt x="120" y="756"/>
                </a:lnTo>
                <a:lnTo>
                  <a:pt x="84" y="750"/>
                </a:lnTo>
                <a:lnTo>
                  <a:pt x="78" y="744"/>
                </a:lnTo>
                <a:lnTo>
                  <a:pt x="60" y="744"/>
                </a:lnTo>
                <a:lnTo>
                  <a:pt x="54" y="726"/>
                </a:lnTo>
                <a:lnTo>
                  <a:pt x="60" y="726"/>
                </a:lnTo>
                <a:lnTo>
                  <a:pt x="60" y="720"/>
                </a:lnTo>
                <a:lnTo>
                  <a:pt x="66" y="720"/>
                </a:lnTo>
                <a:lnTo>
                  <a:pt x="66" y="714"/>
                </a:lnTo>
                <a:lnTo>
                  <a:pt x="72" y="714"/>
                </a:lnTo>
                <a:lnTo>
                  <a:pt x="72" y="708"/>
                </a:lnTo>
                <a:lnTo>
                  <a:pt x="78" y="702"/>
                </a:lnTo>
                <a:lnTo>
                  <a:pt x="78" y="696"/>
                </a:lnTo>
                <a:lnTo>
                  <a:pt x="78" y="690"/>
                </a:lnTo>
                <a:lnTo>
                  <a:pt x="84" y="678"/>
                </a:lnTo>
                <a:lnTo>
                  <a:pt x="90" y="666"/>
                </a:lnTo>
                <a:lnTo>
                  <a:pt x="90" y="642"/>
                </a:lnTo>
                <a:lnTo>
                  <a:pt x="84" y="648"/>
                </a:lnTo>
                <a:lnTo>
                  <a:pt x="78" y="642"/>
                </a:lnTo>
                <a:lnTo>
                  <a:pt x="72" y="642"/>
                </a:lnTo>
                <a:lnTo>
                  <a:pt x="66" y="642"/>
                </a:lnTo>
                <a:lnTo>
                  <a:pt x="60" y="642"/>
                </a:lnTo>
                <a:lnTo>
                  <a:pt x="54" y="636"/>
                </a:lnTo>
                <a:lnTo>
                  <a:pt x="30" y="570"/>
                </a:lnTo>
                <a:lnTo>
                  <a:pt x="24" y="564"/>
                </a:lnTo>
                <a:lnTo>
                  <a:pt x="18" y="570"/>
                </a:lnTo>
                <a:lnTo>
                  <a:pt x="12" y="552"/>
                </a:lnTo>
                <a:lnTo>
                  <a:pt x="12" y="546"/>
                </a:lnTo>
                <a:lnTo>
                  <a:pt x="6" y="546"/>
                </a:lnTo>
                <a:lnTo>
                  <a:pt x="6" y="540"/>
                </a:lnTo>
                <a:lnTo>
                  <a:pt x="0" y="522"/>
                </a:lnTo>
                <a:lnTo>
                  <a:pt x="0" y="510"/>
                </a:lnTo>
                <a:lnTo>
                  <a:pt x="6" y="510"/>
                </a:lnTo>
                <a:lnTo>
                  <a:pt x="6" y="498"/>
                </a:lnTo>
                <a:lnTo>
                  <a:pt x="12" y="498"/>
                </a:lnTo>
                <a:lnTo>
                  <a:pt x="12" y="480"/>
                </a:lnTo>
                <a:lnTo>
                  <a:pt x="6" y="480"/>
                </a:lnTo>
                <a:lnTo>
                  <a:pt x="0" y="474"/>
                </a:lnTo>
                <a:lnTo>
                  <a:pt x="0" y="450"/>
                </a:lnTo>
                <a:lnTo>
                  <a:pt x="6" y="450"/>
                </a:lnTo>
                <a:lnTo>
                  <a:pt x="12" y="450"/>
                </a:lnTo>
                <a:lnTo>
                  <a:pt x="18" y="456"/>
                </a:lnTo>
                <a:lnTo>
                  <a:pt x="24" y="450"/>
                </a:lnTo>
                <a:lnTo>
                  <a:pt x="24" y="432"/>
                </a:lnTo>
                <a:lnTo>
                  <a:pt x="30" y="426"/>
                </a:lnTo>
                <a:lnTo>
                  <a:pt x="36" y="402"/>
                </a:lnTo>
                <a:lnTo>
                  <a:pt x="42" y="396"/>
                </a:lnTo>
                <a:lnTo>
                  <a:pt x="42" y="390"/>
                </a:lnTo>
                <a:lnTo>
                  <a:pt x="42" y="366"/>
                </a:lnTo>
                <a:lnTo>
                  <a:pt x="48" y="360"/>
                </a:lnTo>
                <a:lnTo>
                  <a:pt x="48" y="342"/>
                </a:lnTo>
                <a:lnTo>
                  <a:pt x="42" y="330"/>
                </a:lnTo>
                <a:lnTo>
                  <a:pt x="36" y="324"/>
                </a:lnTo>
                <a:lnTo>
                  <a:pt x="42" y="306"/>
                </a:lnTo>
                <a:lnTo>
                  <a:pt x="42" y="270"/>
                </a:lnTo>
                <a:lnTo>
                  <a:pt x="36" y="270"/>
                </a:lnTo>
                <a:lnTo>
                  <a:pt x="30" y="264"/>
                </a:lnTo>
                <a:lnTo>
                  <a:pt x="48" y="258"/>
                </a:lnTo>
                <a:lnTo>
                  <a:pt x="72" y="252"/>
                </a:lnTo>
                <a:lnTo>
                  <a:pt x="66" y="204"/>
                </a:lnTo>
                <a:lnTo>
                  <a:pt x="60" y="198"/>
                </a:lnTo>
                <a:lnTo>
                  <a:pt x="48" y="174"/>
                </a:lnTo>
                <a:lnTo>
                  <a:pt x="42" y="174"/>
                </a:lnTo>
                <a:lnTo>
                  <a:pt x="48" y="138"/>
                </a:lnTo>
                <a:lnTo>
                  <a:pt x="60" y="102"/>
                </a:lnTo>
                <a:lnTo>
                  <a:pt x="66" y="102"/>
                </a:lnTo>
                <a:lnTo>
                  <a:pt x="72" y="96"/>
                </a:lnTo>
                <a:lnTo>
                  <a:pt x="84" y="96"/>
                </a:lnTo>
                <a:lnTo>
                  <a:pt x="90" y="84"/>
                </a:lnTo>
                <a:lnTo>
                  <a:pt x="108" y="72"/>
                </a:lnTo>
                <a:lnTo>
                  <a:pt x="114" y="72"/>
                </a:lnTo>
                <a:lnTo>
                  <a:pt x="114" y="66"/>
                </a:lnTo>
                <a:lnTo>
                  <a:pt x="120" y="60"/>
                </a:lnTo>
                <a:lnTo>
                  <a:pt x="120" y="54"/>
                </a:lnTo>
                <a:lnTo>
                  <a:pt x="120" y="48"/>
                </a:lnTo>
                <a:lnTo>
                  <a:pt x="126" y="48"/>
                </a:lnTo>
                <a:lnTo>
                  <a:pt x="132" y="42"/>
                </a:lnTo>
                <a:lnTo>
                  <a:pt x="132" y="0"/>
                </a:lnTo>
                <a:lnTo>
                  <a:pt x="162" y="0"/>
                </a:lnTo>
                <a:lnTo>
                  <a:pt x="168" y="0"/>
                </a:lnTo>
                <a:lnTo>
                  <a:pt x="174" y="6"/>
                </a:lnTo>
                <a:lnTo>
                  <a:pt x="180" y="12"/>
                </a:lnTo>
                <a:lnTo>
                  <a:pt x="180" y="18"/>
                </a:lnTo>
                <a:lnTo>
                  <a:pt x="240" y="18"/>
                </a:lnTo>
                <a:lnTo>
                  <a:pt x="246" y="42"/>
                </a:lnTo>
                <a:lnTo>
                  <a:pt x="240" y="72"/>
                </a:lnTo>
                <a:lnTo>
                  <a:pt x="246" y="78"/>
                </a:lnTo>
                <a:lnTo>
                  <a:pt x="246" y="84"/>
                </a:lnTo>
                <a:lnTo>
                  <a:pt x="246" y="90"/>
                </a:lnTo>
                <a:lnTo>
                  <a:pt x="258" y="108"/>
                </a:lnTo>
                <a:lnTo>
                  <a:pt x="276" y="114"/>
                </a:lnTo>
                <a:lnTo>
                  <a:pt x="294" y="150"/>
                </a:lnTo>
                <a:lnTo>
                  <a:pt x="294" y="162"/>
                </a:lnTo>
                <a:lnTo>
                  <a:pt x="288" y="162"/>
                </a:lnTo>
                <a:lnTo>
                  <a:pt x="288" y="168"/>
                </a:lnTo>
                <a:lnTo>
                  <a:pt x="288" y="174"/>
                </a:lnTo>
                <a:lnTo>
                  <a:pt x="282" y="180"/>
                </a:lnTo>
                <a:lnTo>
                  <a:pt x="282" y="186"/>
                </a:lnTo>
                <a:lnTo>
                  <a:pt x="282" y="192"/>
                </a:lnTo>
                <a:lnTo>
                  <a:pt x="276" y="204"/>
                </a:lnTo>
                <a:lnTo>
                  <a:pt x="276" y="210"/>
                </a:lnTo>
                <a:lnTo>
                  <a:pt x="276" y="216"/>
                </a:lnTo>
                <a:lnTo>
                  <a:pt x="288" y="240"/>
                </a:lnTo>
                <a:lnTo>
                  <a:pt x="312" y="228"/>
                </a:lnTo>
                <a:lnTo>
                  <a:pt x="324" y="228"/>
                </a:lnTo>
                <a:lnTo>
                  <a:pt x="330" y="228"/>
                </a:lnTo>
                <a:lnTo>
                  <a:pt x="366" y="228"/>
                </a:lnTo>
                <a:lnTo>
                  <a:pt x="372" y="228"/>
                </a:lnTo>
                <a:lnTo>
                  <a:pt x="372" y="222"/>
                </a:lnTo>
                <a:lnTo>
                  <a:pt x="378" y="222"/>
                </a:lnTo>
                <a:lnTo>
                  <a:pt x="384" y="222"/>
                </a:lnTo>
                <a:lnTo>
                  <a:pt x="390" y="222"/>
                </a:lnTo>
                <a:lnTo>
                  <a:pt x="396" y="222"/>
                </a:lnTo>
                <a:lnTo>
                  <a:pt x="402" y="222"/>
                </a:lnTo>
                <a:lnTo>
                  <a:pt x="402" y="228"/>
                </a:lnTo>
                <a:lnTo>
                  <a:pt x="408" y="228"/>
                </a:lnTo>
                <a:lnTo>
                  <a:pt x="414" y="222"/>
                </a:lnTo>
                <a:lnTo>
                  <a:pt x="420" y="216"/>
                </a:lnTo>
                <a:lnTo>
                  <a:pt x="426" y="216"/>
                </a:lnTo>
                <a:lnTo>
                  <a:pt x="438" y="210"/>
                </a:lnTo>
                <a:lnTo>
                  <a:pt x="444" y="210"/>
                </a:lnTo>
                <a:lnTo>
                  <a:pt x="468" y="258"/>
                </a:lnTo>
                <a:lnTo>
                  <a:pt x="462" y="264"/>
                </a:lnTo>
                <a:lnTo>
                  <a:pt x="468" y="264"/>
                </a:lnTo>
                <a:lnTo>
                  <a:pt x="468" y="270"/>
                </a:lnTo>
                <a:lnTo>
                  <a:pt x="474" y="270"/>
                </a:lnTo>
                <a:lnTo>
                  <a:pt x="480" y="276"/>
                </a:lnTo>
                <a:lnTo>
                  <a:pt x="474" y="282"/>
                </a:lnTo>
                <a:lnTo>
                  <a:pt x="474" y="288"/>
                </a:lnTo>
                <a:lnTo>
                  <a:pt x="462" y="294"/>
                </a:lnTo>
                <a:lnTo>
                  <a:pt x="468" y="324"/>
                </a:lnTo>
                <a:lnTo>
                  <a:pt x="462" y="336"/>
                </a:lnTo>
                <a:lnTo>
                  <a:pt x="456" y="354"/>
                </a:lnTo>
                <a:lnTo>
                  <a:pt x="432" y="390"/>
                </a:lnTo>
                <a:lnTo>
                  <a:pt x="420" y="390"/>
                </a:lnTo>
                <a:lnTo>
                  <a:pt x="402" y="390"/>
                </a:lnTo>
                <a:lnTo>
                  <a:pt x="396" y="396"/>
                </a:lnTo>
                <a:lnTo>
                  <a:pt x="390" y="396"/>
                </a:lnTo>
                <a:lnTo>
                  <a:pt x="390" y="402"/>
                </a:lnTo>
                <a:lnTo>
                  <a:pt x="384" y="402"/>
                </a:lnTo>
                <a:lnTo>
                  <a:pt x="408" y="432"/>
                </a:lnTo>
                <a:lnTo>
                  <a:pt x="432" y="438"/>
                </a:lnTo>
                <a:lnTo>
                  <a:pt x="456" y="432"/>
                </a:lnTo>
                <a:lnTo>
                  <a:pt x="468" y="426"/>
                </a:lnTo>
                <a:lnTo>
                  <a:pt x="468" y="444"/>
                </a:lnTo>
                <a:lnTo>
                  <a:pt x="468" y="450"/>
                </a:lnTo>
                <a:lnTo>
                  <a:pt x="468" y="474"/>
                </a:lnTo>
                <a:lnTo>
                  <a:pt x="486" y="480"/>
                </a:lnTo>
                <a:lnTo>
                  <a:pt x="486" y="486"/>
                </a:lnTo>
                <a:lnTo>
                  <a:pt x="492" y="498"/>
                </a:lnTo>
                <a:lnTo>
                  <a:pt x="492" y="504"/>
                </a:lnTo>
                <a:lnTo>
                  <a:pt x="498" y="510"/>
                </a:lnTo>
                <a:lnTo>
                  <a:pt x="498" y="516"/>
                </a:lnTo>
                <a:lnTo>
                  <a:pt x="504" y="516"/>
                </a:lnTo>
                <a:lnTo>
                  <a:pt x="510" y="516"/>
                </a:lnTo>
                <a:lnTo>
                  <a:pt x="522" y="528"/>
                </a:lnTo>
                <a:lnTo>
                  <a:pt x="546" y="540"/>
                </a:lnTo>
                <a:lnTo>
                  <a:pt x="552" y="546"/>
                </a:lnTo>
                <a:lnTo>
                  <a:pt x="570" y="552"/>
                </a:lnTo>
                <a:lnTo>
                  <a:pt x="594" y="552"/>
                </a:lnTo>
                <a:lnTo>
                  <a:pt x="606" y="546"/>
                </a:lnTo>
                <a:lnTo>
                  <a:pt x="612" y="540"/>
                </a:lnTo>
                <a:lnTo>
                  <a:pt x="630" y="540"/>
                </a:lnTo>
                <a:lnTo>
                  <a:pt x="630" y="552"/>
                </a:lnTo>
                <a:lnTo>
                  <a:pt x="654" y="552"/>
                </a:lnTo>
                <a:lnTo>
                  <a:pt x="702" y="558"/>
                </a:lnTo>
                <a:lnTo>
                  <a:pt x="762" y="546"/>
                </a:lnTo>
                <a:lnTo>
                  <a:pt x="780" y="546"/>
                </a:lnTo>
                <a:lnTo>
                  <a:pt x="780" y="528"/>
                </a:lnTo>
                <a:lnTo>
                  <a:pt x="798" y="522"/>
                </a:lnTo>
                <a:lnTo>
                  <a:pt x="810" y="510"/>
                </a:lnTo>
                <a:lnTo>
                  <a:pt x="810" y="504"/>
                </a:lnTo>
                <a:lnTo>
                  <a:pt x="828" y="492"/>
                </a:lnTo>
                <a:lnTo>
                  <a:pt x="888" y="486"/>
                </a:lnTo>
                <a:lnTo>
                  <a:pt x="912" y="486"/>
                </a:lnTo>
                <a:lnTo>
                  <a:pt x="930" y="474"/>
                </a:lnTo>
                <a:lnTo>
                  <a:pt x="918" y="456"/>
                </a:lnTo>
                <a:lnTo>
                  <a:pt x="912" y="450"/>
                </a:lnTo>
                <a:lnTo>
                  <a:pt x="918" y="390"/>
                </a:lnTo>
                <a:lnTo>
                  <a:pt x="954" y="396"/>
                </a:lnTo>
                <a:lnTo>
                  <a:pt x="984" y="402"/>
                </a:lnTo>
                <a:lnTo>
                  <a:pt x="1014" y="420"/>
                </a:lnTo>
                <a:lnTo>
                  <a:pt x="1026" y="432"/>
                </a:lnTo>
                <a:lnTo>
                  <a:pt x="1044" y="450"/>
                </a:lnTo>
                <a:lnTo>
                  <a:pt x="1062" y="462"/>
                </a:lnTo>
                <a:lnTo>
                  <a:pt x="1098" y="468"/>
                </a:lnTo>
                <a:lnTo>
                  <a:pt x="1128" y="480"/>
                </a:lnTo>
                <a:lnTo>
                  <a:pt x="1152" y="486"/>
                </a:lnTo>
                <a:lnTo>
                  <a:pt x="1188" y="498"/>
                </a:lnTo>
                <a:lnTo>
                  <a:pt x="1212" y="504"/>
                </a:lnTo>
                <a:lnTo>
                  <a:pt x="1224" y="528"/>
                </a:lnTo>
                <a:lnTo>
                  <a:pt x="1236" y="540"/>
                </a:lnTo>
                <a:lnTo>
                  <a:pt x="1254" y="540"/>
                </a:lnTo>
                <a:lnTo>
                  <a:pt x="1254" y="546"/>
                </a:lnTo>
                <a:lnTo>
                  <a:pt x="1260" y="552"/>
                </a:lnTo>
                <a:lnTo>
                  <a:pt x="1266" y="552"/>
                </a:lnTo>
                <a:lnTo>
                  <a:pt x="1266" y="558"/>
                </a:lnTo>
                <a:lnTo>
                  <a:pt x="1272" y="564"/>
                </a:lnTo>
                <a:lnTo>
                  <a:pt x="1278" y="564"/>
                </a:lnTo>
                <a:lnTo>
                  <a:pt x="1278" y="570"/>
                </a:lnTo>
                <a:lnTo>
                  <a:pt x="1284" y="576"/>
                </a:lnTo>
                <a:lnTo>
                  <a:pt x="1290" y="582"/>
                </a:lnTo>
                <a:lnTo>
                  <a:pt x="1296" y="582"/>
                </a:lnTo>
                <a:lnTo>
                  <a:pt x="1296" y="588"/>
                </a:lnTo>
                <a:lnTo>
                  <a:pt x="1308" y="594"/>
                </a:lnTo>
                <a:lnTo>
                  <a:pt x="1308" y="600"/>
                </a:lnTo>
                <a:lnTo>
                  <a:pt x="1308" y="606"/>
                </a:lnTo>
                <a:lnTo>
                  <a:pt x="1314" y="612"/>
                </a:lnTo>
                <a:lnTo>
                  <a:pt x="1308" y="618"/>
                </a:lnTo>
                <a:lnTo>
                  <a:pt x="1314" y="618"/>
                </a:lnTo>
                <a:lnTo>
                  <a:pt x="1314" y="624"/>
                </a:lnTo>
                <a:lnTo>
                  <a:pt x="1308" y="624"/>
                </a:lnTo>
                <a:lnTo>
                  <a:pt x="1302" y="630"/>
                </a:lnTo>
                <a:lnTo>
                  <a:pt x="1302" y="636"/>
                </a:lnTo>
                <a:lnTo>
                  <a:pt x="1296" y="642"/>
                </a:lnTo>
                <a:lnTo>
                  <a:pt x="1302" y="648"/>
                </a:lnTo>
                <a:lnTo>
                  <a:pt x="1296" y="654"/>
                </a:lnTo>
                <a:lnTo>
                  <a:pt x="1302" y="660"/>
                </a:lnTo>
                <a:lnTo>
                  <a:pt x="1302" y="666"/>
                </a:lnTo>
                <a:lnTo>
                  <a:pt x="1308" y="666"/>
                </a:lnTo>
                <a:lnTo>
                  <a:pt x="1308" y="672"/>
                </a:lnTo>
                <a:lnTo>
                  <a:pt x="1308" y="678"/>
                </a:lnTo>
                <a:lnTo>
                  <a:pt x="1308" y="684"/>
                </a:lnTo>
                <a:lnTo>
                  <a:pt x="1308" y="690"/>
                </a:lnTo>
                <a:lnTo>
                  <a:pt x="1302" y="696"/>
                </a:lnTo>
                <a:lnTo>
                  <a:pt x="1302" y="702"/>
                </a:lnTo>
                <a:lnTo>
                  <a:pt x="1308" y="702"/>
                </a:lnTo>
                <a:lnTo>
                  <a:pt x="1302" y="708"/>
                </a:lnTo>
                <a:lnTo>
                  <a:pt x="1308" y="714"/>
                </a:lnTo>
                <a:lnTo>
                  <a:pt x="1308" y="720"/>
                </a:lnTo>
                <a:lnTo>
                  <a:pt x="1308" y="726"/>
                </a:lnTo>
                <a:lnTo>
                  <a:pt x="1308" y="732"/>
                </a:lnTo>
                <a:lnTo>
                  <a:pt x="1314" y="732"/>
                </a:lnTo>
                <a:lnTo>
                  <a:pt x="1314" y="738"/>
                </a:lnTo>
                <a:lnTo>
                  <a:pt x="1320" y="744"/>
                </a:lnTo>
                <a:lnTo>
                  <a:pt x="1326" y="750"/>
                </a:lnTo>
                <a:lnTo>
                  <a:pt x="1320" y="750"/>
                </a:lnTo>
                <a:lnTo>
                  <a:pt x="1320" y="756"/>
                </a:lnTo>
                <a:lnTo>
                  <a:pt x="1314" y="756"/>
                </a:lnTo>
                <a:lnTo>
                  <a:pt x="1314" y="762"/>
                </a:lnTo>
                <a:lnTo>
                  <a:pt x="1314" y="768"/>
                </a:lnTo>
                <a:lnTo>
                  <a:pt x="1320" y="768"/>
                </a:lnTo>
                <a:lnTo>
                  <a:pt x="1320" y="762"/>
                </a:lnTo>
                <a:lnTo>
                  <a:pt x="1320" y="768"/>
                </a:lnTo>
                <a:lnTo>
                  <a:pt x="1326" y="774"/>
                </a:lnTo>
                <a:lnTo>
                  <a:pt x="1332" y="774"/>
                </a:lnTo>
                <a:lnTo>
                  <a:pt x="1332" y="780"/>
                </a:lnTo>
                <a:lnTo>
                  <a:pt x="1332" y="786"/>
                </a:lnTo>
                <a:lnTo>
                  <a:pt x="1332" y="792"/>
                </a:lnTo>
                <a:lnTo>
                  <a:pt x="1338" y="786"/>
                </a:lnTo>
                <a:lnTo>
                  <a:pt x="1338" y="792"/>
                </a:lnTo>
                <a:lnTo>
                  <a:pt x="1344" y="798"/>
                </a:lnTo>
                <a:lnTo>
                  <a:pt x="1344" y="804"/>
                </a:lnTo>
                <a:lnTo>
                  <a:pt x="1344" y="810"/>
                </a:lnTo>
                <a:lnTo>
                  <a:pt x="1344" y="816"/>
                </a:lnTo>
                <a:lnTo>
                  <a:pt x="1344" y="822"/>
                </a:lnTo>
                <a:lnTo>
                  <a:pt x="1338" y="828"/>
                </a:lnTo>
                <a:lnTo>
                  <a:pt x="1332" y="828"/>
                </a:lnTo>
                <a:lnTo>
                  <a:pt x="1338" y="840"/>
                </a:lnTo>
                <a:lnTo>
                  <a:pt x="1344" y="846"/>
                </a:lnTo>
                <a:lnTo>
                  <a:pt x="1344" y="852"/>
                </a:lnTo>
                <a:lnTo>
                  <a:pt x="1350" y="852"/>
                </a:lnTo>
                <a:lnTo>
                  <a:pt x="1356" y="858"/>
                </a:lnTo>
                <a:lnTo>
                  <a:pt x="1362" y="858"/>
                </a:lnTo>
                <a:lnTo>
                  <a:pt x="1362" y="870"/>
                </a:lnTo>
                <a:lnTo>
                  <a:pt x="1356" y="870"/>
                </a:lnTo>
                <a:lnTo>
                  <a:pt x="1356" y="876"/>
                </a:lnTo>
                <a:lnTo>
                  <a:pt x="1350" y="876"/>
                </a:lnTo>
                <a:lnTo>
                  <a:pt x="1344" y="876"/>
                </a:lnTo>
                <a:lnTo>
                  <a:pt x="1344" y="882"/>
                </a:lnTo>
                <a:lnTo>
                  <a:pt x="1338" y="882"/>
                </a:lnTo>
                <a:lnTo>
                  <a:pt x="1338" y="888"/>
                </a:lnTo>
                <a:lnTo>
                  <a:pt x="1338" y="894"/>
                </a:lnTo>
                <a:lnTo>
                  <a:pt x="1344" y="900"/>
                </a:lnTo>
                <a:lnTo>
                  <a:pt x="1344" y="906"/>
                </a:lnTo>
                <a:lnTo>
                  <a:pt x="1338" y="906"/>
                </a:lnTo>
                <a:lnTo>
                  <a:pt x="1332" y="912"/>
                </a:lnTo>
                <a:lnTo>
                  <a:pt x="1332" y="918"/>
                </a:lnTo>
                <a:lnTo>
                  <a:pt x="1326" y="918"/>
                </a:lnTo>
                <a:lnTo>
                  <a:pt x="1332" y="924"/>
                </a:lnTo>
                <a:lnTo>
                  <a:pt x="1284" y="942"/>
                </a:lnTo>
                <a:lnTo>
                  <a:pt x="1236" y="948"/>
                </a:lnTo>
                <a:lnTo>
                  <a:pt x="1194" y="966"/>
                </a:lnTo>
                <a:lnTo>
                  <a:pt x="1170" y="1002"/>
                </a:lnTo>
                <a:lnTo>
                  <a:pt x="1134" y="1020"/>
                </a:lnTo>
                <a:lnTo>
                  <a:pt x="1116" y="1032"/>
                </a:lnTo>
                <a:lnTo>
                  <a:pt x="1098" y="1050"/>
                </a:lnTo>
                <a:lnTo>
                  <a:pt x="1074" y="1074"/>
                </a:lnTo>
                <a:lnTo>
                  <a:pt x="1008" y="1134"/>
                </a:lnTo>
                <a:lnTo>
                  <a:pt x="990" y="1158"/>
                </a:lnTo>
                <a:lnTo>
                  <a:pt x="978" y="1182"/>
                </a:lnTo>
                <a:lnTo>
                  <a:pt x="960" y="1194"/>
                </a:lnTo>
                <a:lnTo>
                  <a:pt x="942" y="1212"/>
                </a:lnTo>
                <a:lnTo>
                  <a:pt x="912" y="1242"/>
                </a:lnTo>
                <a:lnTo>
                  <a:pt x="888" y="1254"/>
                </a:lnTo>
                <a:lnTo>
                  <a:pt x="864" y="1278"/>
                </a:lnTo>
                <a:lnTo>
                  <a:pt x="828" y="1296"/>
                </a:lnTo>
                <a:lnTo>
                  <a:pt x="774" y="1308"/>
                </a:lnTo>
                <a:lnTo>
                  <a:pt x="732" y="1302"/>
                </a:lnTo>
                <a:lnTo>
                  <a:pt x="702" y="1284"/>
                </a:lnTo>
                <a:lnTo>
                  <a:pt x="684" y="1278"/>
                </a:lnTo>
                <a:close/>
              </a:path>
            </a:pathLst>
          </a:custGeom>
          <a:solidFill>
            <a:srgbClr val="FF9900"/>
          </a:solidFill>
          <a:ln w="9525">
            <a:solidFill>
              <a:schemeClr val="bg1"/>
            </a:solidFill>
            <a:round/>
            <a:headEnd/>
            <a:tailEnd/>
          </a:ln>
        </p:spPr>
        <p:txBody>
          <a:bodyPr/>
          <a:lstStyle/>
          <a:p>
            <a:endParaRPr lang="en-GB"/>
          </a:p>
        </p:txBody>
      </p:sp>
      <p:sp>
        <p:nvSpPr>
          <p:cNvPr id="18455" name="Freeform 17"/>
          <p:cNvSpPr>
            <a:spLocks/>
          </p:cNvSpPr>
          <p:nvPr/>
        </p:nvSpPr>
        <p:spPr bwMode="gray">
          <a:xfrm>
            <a:off x="4697413" y="3730625"/>
            <a:ext cx="1346200" cy="1574800"/>
          </a:xfrm>
          <a:custGeom>
            <a:avLst/>
            <a:gdLst>
              <a:gd name="T0" fmla="*/ 112575 w 1722"/>
              <a:gd name="T1" fmla="*/ 105517 h 1956"/>
              <a:gd name="T2" fmla="*/ 111011 w 1722"/>
              <a:gd name="T3" fmla="*/ 111960 h 1956"/>
              <a:gd name="T4" fmla="*/ 107102 w 1722"/>
              <a:gd name="T5" fmla="*/ 115182 h 1956"/>
              <a:gd name="T6" fmla="*/ 103975 w 1722"/>
              <a:gd name="T7" fmla="*/ 118404 h 1956"/>
              <a:gd name="T8" fmla="*/ 103194 w 1722"/>
              <a:gd name="T9" fmla="*/ 122432 h 1956"/>
              <a:gd name="T10" fmla="*/ 101630 w 1722"/>
              <a:gd name="T11" fmla="*/ 128070 h 1956"/>
              <a:gd name="T12" fmla="*/ 99285 w 1722"/>
              <a:gd name="T13" fmla="*/ 132097 h 1956"/>
              <a:gd name="T14" fmla="*/ 96158 w 1722"/>
              <a:gd name="T15" fmla="*/ 135319 h 1956"/>
              <a:gd name="T16" fmla="*/ 91467 w 1722"/>
              <a:gd name="T17" fmla="*/ 136125 h 1956"/>
              <a:gd name="T18" fmla="*/ 85995 w 1722"/>
              <a:gd name="T19" fmla="*/ 135319 h 1956"/>
              <a:gd name="T20" fmla="*/ 81304 w 1722"/>
              <a:gd name="T21" fmla="*/ 133708 h 1956"/>
              <a:gd name="T22" fmla="*/ 78959 w 1722"/>
              <a:gd name="T23" fmla="*/ 128070 h 1956"/>
              <a:gd name="T24" fmla="*/ 74268 w 1722"/>
              <a:gd name="T25" fmla="*/ 125653 h 1956"/>
              <a:gd name="T26" fmla="*/ 69577 w 1722"/>
              <a:gd name="T27" fmla="*/ 121626 h 1956"/>
              <a:gd name="T28" fmla="*/ 68014 w 1722"/>
              <a:gd name="T29" fmla="*/ 115988 h 1956"/>
              <a:gd name="T30" fmla="*/ 64105 w 1722"/>
              <a:gd name="T31" fmla="*/ 113571 h 1956"/>
              <a:gd name="T32" fmla="*/ 59414 w 1722"/>
              <a:gd name="T33" fmla="*/ 107933 h 1956"/>
              <a:gd name="T34" fmla="*/ 57851 w 1722"/>
              <a:gd name="T35" fmla="*/ 115182 h 1956"/>
              <a:gd name="T36" fmla="*/ 53160 w 1722"/>
              <a:gd name="T37" fmla="*/ 118404 h 1956"/>
              <a:gd name="T38" fmla="*/ 42216 w 1722"/>
              <a:gd name="T39" fmla="*/ 115988 h 1956"/>
              <a:gd name="T40" fmla="*/ 39870 w 1722"/>
              <a:gd name="T41" fmla="*/ 114377 h 1956"/>
              <a:gd name="T42" fmla="*/ 32834 w 1722"/>
              <a:gd name="T43" fmla="*/ 121626 h 1956"/>
              <a:gd name="T44" fmla="*/ 25798 w 1722"/>
              <a:gd name="T45" fmla="*/ 124042 h 1956"/>
              <a:gd name="T46" fmla="*/ 24235 w 1722"/>
              <a:gd name="T47" fmla="*/ 128070 h 1956"/>
              <a:gd name="T48" fmla="*/ 22671 w 1722"/>
              <a:gd name="T49" fmla="*/ 133708 h 1956"/>
              <a:gd name="T50" fmla="*/ 19544 w 1722"/>
              <a:gd name="T51" fmla="*/ 136125 h 1956"/>
              <a:gd name="T52" fmla="*/ 21108 w 1722"/>
              <a:gd name="T53" fmla="*/ 124042 h 1956"/>
              <a:gd name="T54" fmla="*/ 28925 w 1722"/>
              <a:gd name="T55" fmla="*/ 107128 h 1956"/>
              <a:gd name="T56" fmla="*/ 28144 w 1722"/>
              <a:gd name="T57" fmla="*/ 87796 h 1956"/>
              <a:gd name="T58" fmla="*/ 21108 w 1722"/>
              <a:gd name="T59" fmla="*/ 81353 h 1956"/>
              <a:gd name="T60" fmla="*/ 3909 w 1722"/>
              <a:gd name="T61" fmla="*/ 78936 h 1956"/>
              <a:gd name="T62" fmla="*/ 1564 w 1722"/>
              <a:gd name="T63" fmla="*/ 74909 h 1956"/>
              <a:gd name="T64" fmla="*/ 9381 w 1722"/>
              <a:gd name="T65" fmla="*/ 66049 h 1956"/>
              <a:gd name="T66" fmla="*/ 7036 w 1722"/>
              <a:gd name="T67" fmla="*/ 59605 h 1956"/>
              <a:gd name="T68" fmla="*/ 17981 w 1722"/>
              <a:gd name="T69" fmla="*/ 57994 h 1956"/>
              <a:gd name="T70" fmla="*/ 17199 w 1722"/>
              <a:gd name="T71" fmla="*/ 53967 h 1956"/>
              <a:gd name="T72" fmla="*/ 37525 w 1722"/>
              <a:gd name="T73" fmla="*/ 45912 h 1956"/>
              <a:gd name="T74" fmla="*/ 60978 w 1722"/>
              <a:gd name="T75" fmla="*/ 27386 h 1956"/>
              <a:gd name="T76" fmla="*/ 63323 w 1722"/>
              <a:gd name="T77" fmla="*/ 24970 h 1956"/>
              <a:gd name="T78" fmla="*/ 62542 w 1722"/>
              <a:gd name="T79" fmla="*/ 20942 h 1956"/>
              <a:gd name="T80" fmla="*/ 60978 w 1722"/>
              <a:gd name="T81" fmla="*/ 16915 h 1956"/>
              <a:gd name="T82" fmla="*/ 60196 w 1722"/>
              <a:gd name="T83" fmla="*/ 14498 h 1956"/>
              <a:gd name="T84" fmla="*/ 60196 w 1722"/>
              <a:gd name="T85" fmla="*/ 9666 h 1956"/>
              <a:gd name="T86" fmla="*/ 60196 w 1722"/>
              <a:gd name="T87" fmla="*/ 5638 h 1956"/>
              <a:gd name="T88" fmla="*/ 79740 w 1722"/>
              <a:gd name="T89" fmla="*/ 1611 h 1956"/>
              <a:gd name="T90" fmla="*/ 89903 w 1722"/>
              <a:gd name="T91" fmla="*/ 2416 h 1956"/>
              <a:gd name="T92" fmla="*/ 96158 w 1722"/>
              <a:gd name="T93" fmla="*/ 2416 h 1956"/>
              <a:gd name="T94" fmla="*/ 97721 w 1722"/>
              <a:gd name="T95" fmla="*/ 7249 h 1956"/>
              <a:gd name="T96" fmla="*/ 103975 w 1722"/>
              <a:gd name="T97" fmla="*/ 10471 h 1956"/>
              <a:gd name="T98" fmla="*/ 116484 w 1722"/>
              <a:gd name="T99" fmla="*/ 29802 h 1956"/>
              <a:gd name="T100" fmla="*/ 110229 w 1722"/>
              <a:gd name="T101" fmla="*/ 45912 h 1956"/>
              <a:gd name="T102" fmla="*/ 105539 w 1722"/>
              <a:gd name="T103" fmla="*/ 50745 h 1956"/>
              <a:gd name="T104" fmla="*/ 96939 w 1722"/>
              <a:gd name="T105" fmla="*/ 62021 h 1956"/>
              <a:gd name="T106" fmla="*/ 96158 w 1722"/>
              <a:gd name="T107" fmla="*/ 77325 h 1956"/>
              <a:gd name="T108" fmla="*/ 99285 w 1722"/>
              <a:gd name="T109" fmla="*/ 78131 h 1956"/>
              <a:gd name="T110" fmla="*/ 100848 w 1722"/>
              <a:gd name="T111" fmla="*/ 74103 h 1956"/>
              <a:gd name="T112" fmla="*/ 104757 w 1722"/>
              <a:gd name="T113" fmla="*/ 75714 h 1956"/>
              <a:gd name="T114" fmla="*/ 107884 w 1722"/>
              <a:gd name="T115" fmla="*/ 79742 h 1956"/>
              <a:gd name="T116" fmla="*/ 111011 w 1722"/>
              <a:gd name="T117" fmla="*/ 83769 h 1956"/>
              <a:gd name="T118" fmla="*/ 110229 w 1722"/>
              <a:gd name="T119" fmla="*/ 92629 h 19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22"/>
              <a:gd name="T181" fmla="*/ 0 h 1956"/>
              <a:gd name="T182" fmla="*/ 1722 w 1722"/>
              <a:gd name="T183" fmla="*/ 1956 h 19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22" h="1956">
                <a:moveTo>
                  <a:pt x="1686" y="1404"/>
                </a:moveTo>
                <a:lnTo>
                  <a:pt x="1680" y="1416"/>
                </a:lnTo>
                <a:lnTo>
                  <a:pt x="1674" y="1422"/>
                </a:lnTo>
                <a:lnTo>
                  <a:pt x="1674" y="1428"/>
                </a:lnTo>
                <a:lnTo>
                  <a:pt x="1668" y="1428"/>
                </a:lnTo>
                <a:lnTo>
                  <a:pt x="1668" y="1434"/>
                </a:lnTo>
                <a:lnTo>
                  <a:pt x="1662" y="1446"/>
                </a:lnTo>
                <a:lnTo>
                  <a:pt x="1656" y="1464"/>
                </a:lnTo>
                <a:lnTo>
                  <a:pt x="1656" y="1476"/>
                </a:lnTo>
                <a:lnTo>
                  <a:pt x="1656" y="1488"/>
                </a:lnTo>
                <a:lnTo>
                  <a:pt x="1662" y="1500"/>
                </a:lnTo>
                <a:lnTo>
                  <a:pt x="1662" y="1506"/>
                </a:lnTo>
                <a:lnTo>
                  <a:pt x="1662" y="1524"/>
                </a:lnTo>
                <a:lnTo>
                  <a:pt x="1668" y="1542"/>
                </a:lnTo>
                <a:lnTo>
                  <a:pt x="1674" y="1560"/>
                </a:lnTo>
                <a:lnTo>
                  <a:pt x="1680" y="1578"/>
                </a:lnTo>
                <a:lnTo>
                  <a:pt x="1686" y="1578"/>
                </a:lnTo>
                <a:lnTo>
                  <a:pt x="1686" y="1584"/>
                </a:lnTo>
                <a:lnTo>
                  <a:pt x="1686" y="1590"/>
                </a:lnTo>
                <a:lnTo>
                  <a:pt x="1686" y="1596"/>
                </a:lnTo>
                <a:lnTo>
                  <a:pt x="1680" y="1596"/>
                </a:lnTo>
                <a:lnTo>
                  <a:pt x="1674" y="1602"/>
                </a:lnTo>
                <a:lnTo>
                  <a:pt x="1662" y="1602"/>
                </a:lnTo>
                <a:lnTo>
                  <a:pt x="1638" y="1596"/>
                </a:lnTo>
                <a:lnTo>
                  <a:pt x="1632" y="1596"/>
                </a:lnTo>
                <a:lnTo>
                  <a:pt x="1626" y="1602"/>
                </a:lnTo>
                <a:lnTo>
                  <a:pt x="1620" y="1602"/>
                </a:lnTo>
                <a:lnTo>
                  <a:pt x="1614" y="1602"/>
                </a:lnTo>
                <a:lnTo>
                  <a:pt x="1602" y="1602"/>
                </a:lnTo>
                <a:lnTo>
                  <a:pt x="1602" y="1608"/>
                </a:lnTo>
                <a:lnTo>
                  <a:pt x="1602" y="1620"/>
                </a:lnTo>
                <a:lnTo>
                  <a:pt x="1596" y="1620"/>
                </a:lnTo>
                <a:lnTo>
                  <a:pt x="1590" y="1620"/>
                </a:lnTo>
                <a:lnTo>
                  <a:pt x="1584" y="1626"/>
                </a:lnTo>
                <a:lnTo>
                  <a:pt x="1584" y="1632"/>
                </a:lnTo>
                <a:lnTo>
                  <a:pt x="1578" y="1644"/>
                </a:lnTo>
                <a:lnTo>
                  <a:pt x="1572" y="1644"/>
                </a:lnTo>
                <a:lnTo>
                  <a:pt x="1566" y="1644"/>
                </a:lnTo>
                <a:lnTo>
                  <a:pt x="1566" y="1650"/>
                </a:lnTo>
                <a:lnTo>
                  <a:pt x="1560" y="1650"/>
                </a:lnTo>
                <a:lnTo>
                  <a:pt x="1554" y="1650"/>
                </a:lnTo>
                <a:lnTo>
                  <a:pt x="1548" y="1650"/>
                </a:lnTo>
                <a:lnTo>
                  <a:pt x="1548" y="1656"/>
                </a:lnTo>
                <a:lnTo>
                  <a:pt x="1542" y="1668"/>
                </a:lnTo>
                <a:lnTo>
                  <a:pt x="1542" y="1674"/>
                </a:lnTo>
                <a:lnTo>
                  <a:pt x="1542" y="1692"/>
                </a:lnTo>
                <a:lnTo>
                  <a:pt x="1536" y="1698"/>
                </a:lnTo>
                <a:lnTo>
                  <a:pt x="1530" y="1698"/>
                </a:lnTo>
                <a:lnTo>
                  <a:pt x="1524" y="1698"/>
                </a:lnTo>
                <a:lnTo>
                  <a:pt x="1518" y="1704"/>
                </a:lnTo>
                <a:lnTo>
                  <a:pt x="1512" y="1710"/>
                </a:lnTo>
                <a:lnTo>
                  <a:pt x="1506" y="1722"/>
                </a:lnTo>
                <a:lnTo>
                  <a:pt x="1500" y="1728"/>
                </a:lnTo>
                <a:lnTo>
                  <a:pt x="1500" y="1734"/>
                </a:lnTo>
                <a:lnTo>
                  <a:pt x="1512" y="1734"/>
                </a:lnTo>
                <a:lnTo>
                  <a:pt x="1518" y="1740"/>
                </a:lnTo>
                <a:lnTo>
                  <a:pt x="1518" y="1746"/>
                </a:lnTo>
                <a:lnTo>
                  <a:pt x="1518" y="1752"/>
                </a:lnTo>
                <a:lnTo>
                  <a:pt x="1518" y="1758"/>
                </a:lnTo>
                <a:lnTo>
                  <a:pt x="1524" y="1758"/>
                </a:lnTo>
                <a:lnTo>
                  <a:pt x="1524" y="1764"/>
                </a:lnTo>
                <a:lnTo>
                  <a:pt x="1530" y="1770"/>
                </a:lnTo>
                <a:lnTo>
                  <a:pt x="1518" y="1770"/>
                </a:lnTo>
                <a:lnTo>
                  <a:pt x="1512" y="1782"/>
                </a:lnTo>
                <a:lnTo>
                  <a:pt x="1512" y="1788"/>
                </a:lnTo>
                <a:lnTo>
                  <a:pt x="1518" y="1788"/>
                </a:lnTo>
                <a:lnTo>
                  <a:pt x="1524" y="1800"/>
                </a:lnTo>
                <a:lnTo>
                  <a:pt x="1524" y="1806"/>
                </a:lnTo>
                <a:lnTo>
                  <a:pt x="1518" y="1812"/>
                </a:lnTo>
                <a:lnTo>
                  <a:pt x="1512" y="1818"/>
                </a:lnTo>
                <a:lnTo>
                  <a:pt x="1506" y="1818"/>
                </a:lnTo>
                <a:lnTo>
                  <a:pt x="1500" y="1824"/>
                </a:lnTo>
                <a:lnTo>
                  <a:pt x="1500" y="1836"/>
                </a:lnTo>
                <a:lnTo>
                  <a:pt x="1500" y="1842"/>
                </a:lnTo>
                <a:lnTo>
                  <a:pt x="1500" y="1848"/>
                </a:lnTo>
                <a:lnTo>
                  <a:pt x="1500" y="1854"/>
                </a:lnTo>
                <a:lnTo>
                  <a:pt x="1494" y="1860"/>
                </a:lnTo>
                <a:lnTo>
                  <a:pt x="1488" y="1860"/>
                </a:lnTo>
                <a:lnTo>
                  <a:pt x="1488" y="1866"/>
                </a:lnTo>
                <a:lnTo>
                  <a:pt x="1482" y="1872"/>
                </a:lnTo>
                <a:lnTo>
                  <a:pt x="1482" y="1878"/>
                </a:lnTo>
                <a:lnTo>
                  <a:pt x="1482" y="1884"/>
                </a:lnTo>
                <a:lnTo>
                  <a:pt x="1476" y="1890"/>
                </a:lnTo>
                <a:lnTo>
                  <a:pt x="1470" y="1890"/>
                </a:lnTo>
                <a:lnTo>
                  <a:pt x="1470" y="1896"/>
                </a:lnTo>
                <a:lnTo>
                  <a:pt x="1464" y="1896"/>
                </a:lnTo>
                <a:lnTo>
                  <a:pt x="1458" y="1896"/>
                </a:lnTo>
                <a:lnTo>
                  <a:pt x="1452" y="1896"/>
                </a:lnTo>
                <a:lnTo>
                  <a:pt x="1440" y="1890"/>
                </a:lnTo>
                <a:lnTo>
                  <a:pt x="1434" y="1896"/>
                </a:lnTo>
                <a:lnTo>
                  <a:pt x="1428" y="1896"/>
                </a:lnTo>
                <a:lnTo>
                  <a:pt x="1422" y="1896"/>
                </a:lnTo>
                <a:lnTo>
                  <a:pt x="1422" y="1902"/>
                </a:lnTo>
                <a:lnTo>
                  <a:pt x="1416" y="1902"/>
                </a:lnTo>
                <a:lnTo>
                  <a:pt x="1422" y="1914"/>
                </a:lnTo>
                <a:lnTo>
                  <a:pt x="1422" y="1932"/>
                </a:lnTo>
                <a:lnTo>
                  <a:pt x="1416" y="1938"/>
                </a:lnTo>
                <a:lnTo>
                  <a:pt x="1422" y="1938"/>
                </a:lnTo>
                <a:lnTo>
                  <a:pt x="1404" y="1938"/>
                </a:lnTo>
                <a:lnTo>
                  <a:pt x="1392" y="1944"/>
                </a:lnTo>
                <a:lnTo>
                  <a:pt x="1386" y="1944"/>
                </a:lnTo>
                <a:lnTo>
                  <a:pt x="1374" y="1944"/>
                </a:lnTo>
                <a:lnTo>
                  <a:pt x="1368" y="1950"/>
                </a:lnTo>
                <a:lnTo>
                  <a:pt x="1374" y="1956"/>
                </a:lnTo>
                <a:lnTo>
                  <a:pt x="1368" y="1956"/>
                </a:lnTo>
                <a:lnTo>
                  <a:pt x="1356" y="1956"/>
                </a:lnTo>
                <a:lnTo>
                  <a:pt x="1350" y="1956"/>
                </a:lnTo>
                <a:lnTo>
                  <a:pt x="1350" y="1950"/>
                </a:lnTo>
                <a:lnTo>
                  <a:pt x="1344" y="1944"/>
                </a:lnTo>
                <a:lnTo>
                  <a:pt x="1332" y="1938"/>
                </a:lnTo>
                <a:lnTo>
                  <a:pt x="1326" y="1938"/>
                </a:lnTo>
                <a:lnTo>
                  <a:pt x="1320" y="1938"/>
                </a:lnTo>
                <a:lnTo>
                  <a:pt x="1314" y="1944"/>
                </a:lnTo>
                <a:lnTo>
                  <a:pt x="1308" y="1944"/>
                </a:lnTo>
                <a:lnTo>
                  <a:pt x="1302" y="1944"/>
                </a:lnTo>
                <a:lnTo>
                  <a:pt x="1296" y="1938"/>
                </a:lnTo>
                <a:lnTo>
                  <a:pt x="1284" y="1938"/>
                </a:lnTo>
                <a:lnTo>
                  <a:pt x="1278" y="1938"/>
                </a:lnTo>
                <a:lnTo>
                  <a:pt x="1272" y="1938"/>
                </a:lnTo>
                <a:lnTo>
                  <a:pt x="1266" y="1932"/>
                </a:lnTo>
                <a:lnTo>
                  <a:pt x="1260" y="1932"/>
                </a:lnTo>
                <a:lnTo>
                  <a:pt x="1254" y="1920"/>
                </a:lnTo>
                <a:lnTo>
                  <a:pt x="1248" y="1920"/>
                </a:lnTo>
                <a:lnTo>
                  <a:pt x="1242" y="1920"/>
                </a:lnTo>
                <a:lnTo>
                  <a:pt x="1236" y="1926"/>
                </a:lnTo>
                <a:lnTo>
                  <a:pt x="1236" y="1932"/>
                </a:lnTo>
                <a:lnTo>
                  <a:pt x="1230" y="1932"/>
                </a:lnTo>
                <a:lnTo>
                  <a:pt x="1224" y="1932"/>
                </a:lnTo>
                <a:lnTo>
                  <a:pt x="1218" y="1938"/>
                </a:lnTo>
                <a:lnTo>
                  <a:pt x="1212" y="1932"/>
                </a:lnTo>
                <a:lnTo>
                  <a:pt x="1206" y="1926"/>
                </a:lnTo>
                <a:lnTo>
                  <a:pt x="1206" y="1908"/>
                </a:lnTo>
                <a:lnTo>
                  <a:pt x="1206" y="1884"/>
                </a:lnTo>
                <a:lnTo>
                  <a:pt x="1206" y="1866"/>
                </a:lnTo>
                <a:lnTo>
                  <a:pt x="1212" y="1848"/>
                </a:lnTo>
                <a:lnTo>
                  <a:pt x="1212" y="1842"/>
                </a:lnTo>
                <a:lnTo>
                  <a:pt x="1206" y="1836"/>
                </a:lnTo>
                <a:lnTo>
                  <a:pt x="1200" y="1830"/>
                </a:lnTo>
                <a:lnTo>
                  <a:pt x="1194" y="1824"/>
                </a:lnTo>
                <a:lnTo>
                  <a:pt x="1188" y="1824"/>
                </a:lnTo>
                <a:lnTo>
                  <a:pt x="1182" y="1824"/>
                </a:lnTo>
                <a:lnTo>
                  <a:pt x="1176" y="1824"/>
                </a:lnTo>
                <a:lnTo>
                  <a:pt x="1170" y="1818"/>
                </a:lnTo>
                <a:lnTo>
                  <a:pt x="1164" y="1830"/>
                </a:lnTo>
                <a:lnTo>
                  <a:pt x="1152" y="1836"/>
                </a:lnTo>
                <a:lnTo>
                  <a:pt x="1146" y="1842"/>
                </a:lnTo>
                <a:lnTo>
                  <a:pt x="1140" y="1842"/>
                </a:lnTo>
                <a:lnTo>
                  <a:pt x="1134" y="1842"/>
                </a:lnTo>
                <a:lnTo>
                  <a:pt x="1128" y="1842"/>
                </a:lnTo>
                <a:lnTo>
                  <a:pt x="1116" y="1836"/>
                </a:lnTo>
                <a:lnTo>
                  <a:pt x="1110" y="1842"/>
                </a:lnTo>
                <a:lnTo>
                  <a:pt x="1092" y="1830"/>
                </a:lnTo>
                <a:lnTo>
                  <a:pt x="1092" y="1824"/>
                </a:lnTo>
                <a:lnTo>
                  <a:pt x="1092" y="1806"/>
                </a:lnTo>
                <a:lnTo>
                  <a:pt x="1092" y="1800"/>
                </a:lnTo>
                <a:lnTo>
                  <a:pt x="1092" y="1794"/>
                </a:lnTo>
                <a:lnTo>
                  <a:pt x="1086" y="1788"/>
                </a:lnTo>
                <a:lnTo>
                  <a:pt x="1080" y="1794"/>
                </a:lnTo>
                <a:lnTo>
                  <a:pt x="1074" y="1788"/>
                </a:lnTo>
                <a:lnTo>
                  <a:pt x="1068" y="1770"/>
                </a:lnTo>
                <a:lnTo>
                  <a:pt x="1056" y="1764"/>
                </a:lnTo>
                <a:lnTo>
                  <a:pt x="1050" y="1764"/>
                </a:lnTo>
                <a:lnTo>
                  <a:pt x="1044" y="1764"/>
                </a:lnTo>
                <a:lnTo>
                  <a:pt x="1038" y="1758"/>
                </a:lnTo>
                <a:lnTo>
                  <a:pt x="1032" y="1752"/>
                </a:lnTo>
                <a:lnTo>
                  <a:pt x="1032" y="1746"/>
                </a:lnTo>
                <a:lnTo>
                  <a:pt x="1032" y="1740"/>
                </a:lnTo>
                <a:lnTo>
                  <a:pt x="1032" y="1734"/>
                </a:lnTo>
                <a:lnTo>
                  <a:pt x="1026" y="1734"/>
                </a:lnTo>
                <a:lnTo>
                  <a:pt x="1032" y="1728"/>
                </a:lnTo>
                <a:lnTo>
                  <a:pt x="1032" y="1722"/>
                </a:lnTo>
                <a:lnTo>
                  <a:pt x="1044" y="1686"/>
                </a:lnTo>
                <a:lnTo>
                  <a:pt x="1044" y="1680"/>
                </a:lnTo>
                <a:lnTo>
                  <a:pt x="1032" y="1674"/>
                </a:lnTo>
                <a:lnTo>
                  <a:pt x="1026" y="1674"/>
                </a:lnTo>
                <a:lnTo>
                  <a:pt x="1026" y="1668"/>
                </a:lnTo>
                <a:lnTo>
                  <a:pt x="1020" y="1662"/>
                </a:lnTo>
                <a:lnTo>
                  <a:pt x="1014" y="1668"/>
                </a:lnTo>
                <a:lnTo>
                  <a:pt x="1008" y="1662"/>
                </a:lnTo>
                <a:lnTo>
                  <a:pt x="1002" y="1662"/>
                </a:lnTo>
                <a:lnTo>
                  <a:pt x="1002" y="1668"/>
                </a:lnTo>
                <a:lnTo>
                  <a:pt x="996" y="1668"/>
                </a:lnTo>
                <a:lnTo>
                  <a:pt x="996" y="1662"/>
                </a:lnTo>
                <a:lnTo>
                  <a:pt x="984" y="1662"/>
                </a:lnTo>
                <a:lnTo>
                  <a:pt x="984" y="1656"/>
                </a:lnTo>
                <a:lnTo>
                  <a:pt x="978" y="1650"/>
                </a:lnTo>
                <a:lnTo>
                  <a:pt x="978" y="1644"/>
                </a:lnTo>
                <a:lnTo>
                  <a:pt x="966" y="1650"/>
                </a:lnTo>
                <a:lnTo>
                  <a:pt x="960" y="1638"/>
                </a:lnTo>
                <a:lnTo>
                  <a:pt x="954" y="1632"/>
                </a:lnTo>
                <a:lnTo>
                  <a:pt x="948" y="1632"/>
                </a:lnTo>
                <a:lnTo>
                  <a:pt x="942" y="1626"/>
                </a:lnTo>
                <a:lnTo>
                  <a:pt x="942" y="1614"/>
                </a:lnTo>
                <a:lnTo>
                  <a:pt x="930" y="1608"/>
                </a:lnTo>
                <a:lnTo>
                  <a:pt x="924" y="1614"/>
                </a:lnTo>
                <a:lnTo>
                  <a:pt x="912" y="1608"/>
                </a:lnTo>
                <a:lnTo>
                  <a:pt x="888" y="1590"/>
                </a:lnTo>
                <a:lnTo>
                  <a:pt x="894" y="1578"/>
                </a:lnTo>
                <a:lnTo>
                  <a:pt x="894" y="1572"/>
                </a:lnTo>
                <a:lnTo>
                  <a:pt x="894" y="1566"/>
                </a:lnTo>
                <a:lnTo>
                  <a:pt x="894" y="1548"/>
                </a:lnTo>
                <a:lnTo>
                  <a:pt x="888" y="1548"/>
                </a:lnTo>
                <a:lnTo>
                  <a:pt x="882" y="1542"/>
                </a:lnTo>
                <a:lnTo>
                  <a:pt x="876" y="1542"/>
                </a:lnTo>
                <a:lnTo>
                  <a:pt x="876" y="1536"/>
                </a:lnTo>
                <a:lnTo>
                  <a:pt x="870" y="1542"/>
                </a:lnTo>
                <a:lnTo>
                  <a:pt x="870" y="1554"/>
                </a:lnTo>
                <a:lnTo>
                  <a:pt x="870" y="1566"/>
                </a:lnTo>
                <a:lnTo>
                  <a:pt x="870" y="1578"/>
                </a:lnTo>
                <a:lnTo>
                  <a:pt x="870" y="1584"/>
                </a:lnTo>
                <a:lnTo>
                  <a:pt x="864" y="1584"/>
                </a:lnTo>
                <a:lnTo>
                  <a:pt x="870" y="1602"/>
                </a:lnTo>
                <a:lnTo>
                  <a:pt x="864" y="1608"/>
                </a:lnTo>
                <a:lnTo>
                  <a:pt x="870" y="1614"/>
                </a:lnTo>
                <a:lnTo>
                  <a:pt x="864" y="1644"/>
                </a:lnTo>
                <a:lnTo>
                  <a:pt x="858" y="1650"/>
                </a:lnTo>
                <a:lnTo>
                  <a:pt x="858" y="1656"/>
                </a:lnTo>
                <a:lnTo>
                  <a:pt x="852" y="1662"/>
                </a:lnTo>
                <a:lnTo>
                  <a:pt x="852" y="1680"/>
                </a:lnTo>
                <a:lnTo>
                  <a:pt x="846" y="1686"/>
                </a:lnTo>
                <a:lnTo>
                  <a:pt x="834" y="1692"/>
                </a:lnTo>
                <a:lnTo>
                  <a:pt x="828" y="1692"/>
                </a:lnTo>
                <a:lnTo>
                  <a:pt x="822" y="1698"/>
                </a:lnTo>
                <a:lnTo>
                  <a:pt x="822" y="1704"/>
                </a:lnTo>
                <a:lnTo>
                  <a:pt x="816" y="1704"/>
                </a:lnTo>
                <a:lnTo>
                  <a:pt x="804" y="1692"/>
                </a:lnTo>
                <a:lnTo>
                  <a:pt x="786" y="1698"/>
                </a:lnTo>
                <a:lnTo>
                  <a:pt x="780" y="1698"/>
                </a:lnTo>
                <a:lnTo>
                  <a:pt x="756" y="1698"/>
                </a:lnTo>
                <a:lnTo>
                  <a:pt x="744" y="1698"/>
                </a:lnTo>
                <a:lnTo>
                  <a:pt x="738" y="1698"/>
                </a:lnTo>
                <a:lnTo>
                  <a:pt x="732" y="1704"/>
                </a:lnTo>
                <a:lnTo>
                  <a:pt x="726" y="1704"/>
                </a:lnTo>
                <a:lnTo>
                  <a:pt x="678" y="1710"/>
                </a:lnTo>
                <a:lnTo>
                  <a:pt x="642" y="1710"/>
                </a:lnTo>
                <a:lnTo>
                  <a:pt x="618" y="1680"/>
                </a:lnTo>
                <a:lnTo>
                  <a:pt x="618" y="1674"/>
                </a:lnTo>
                <a:lnTo>
                  <a:pt x="618" y="1668"/>
                </a:lnTo>
                <a:lnTo>
                  <a:pt x="624" y="1662"/>
                </a:lnTo>
                <a:lnTo>
                  <a:pt x="624" y="1656"/>
                </a:lnTo>
                <a:lnTo>
                  <a:pt x="624" y="1650"/>
                </a:lnTo>
                <a:lnTo>
                  <a:pt x="618" y="1650"/>
                </a:lnTo>
                <a:lnTo>
                  <a:pt x="618" y="1644"/>
                </a:lnTo>
                <a:lnTo>
                  <a:pt x="618" y="1638"/>
                </a:lnTo>
                <a:lnTo>
                  <a:pt x="618" y="1632"/>
                </a:lnTo>
                <a:lnTo>
                  <a:pt x="618" y="1626"/>
                </a:lnTo>
                <a:lnTo>
                  <a:pt x="612" y="1626"/>
                </a:lnTo>
                <a:lnTo>
                  <a:pt x="612" y="1620"/>
                </a:lnTo>
                <a:lnTo>
                  <a:pt x="606" y="1614"/>
                </a:lnTo>
                <a:lnTo>
                  <a:pt x="594" y="1626"/>
                </a:lnTo>
                <a:lnTo>
                  <a:pt x="594" y="1632"/>
                </a:lnTo>
                <a:lnTo>
                  <a:pt x="588" y="1638"/>
                </a:lnTo>
                <a:lnTo>
                  <a:pt x="582" y="1638"/>
                </a:lnTo>
                <a:lnTo>
                  <a:pt x="564" y="1656"/>
                </a:lnTo>
                <a:lnTo>
                  <a:pt x="558" y="1662"/>
                </a:lnTo>
                <a:lnTo>
                  <a:pt x="552" y="1662"/>
                </a:lnTo>
                <a:lnTo>
                  <a:pt x="540" y="1674"/>
                </a:lnTo>
                <a:lnTo>
                  <a:pt x="534" y="1680"/>
                </a:lnTo>
                <a:lnTo>
                  <a:pt x="522" y="1692"/>
                </a:lnTo>
                <a:lnTo>
                  <a:pt x="516" y="1704"/>
                </a:lnTo>
                <a:lnTo>
                  <a:pt x="510" y="1704"/>
                </a:lnTo>
                <a:lnTo>
                  <a:pt x="504" y="1704"/>
                </a:lnTo>
                <a:lnTo>
                  <a:pt x="486" y="1722"/>
                </a:lnTo>
                <a:lnTo>
                  <a:pt x="480" y="1740"/>
                </a:lnTo>
                <a:lnTo>
                  <a:pt x="474" y="1740"/>
                </a:lnTo>
                <a:lnTo>
                  <a:pt x="468" y="1746"/>
                </a:lnTo>
                <a:lnTo>
                  <a:pt x="456" y="1758"/>
                </a:lnTo>
                <a:lnTo>
                  <a:pt x="444" y="1770"/>
                </a:lnTo>
                <a:lnTo>
                  <a:pt x="438" y="1782"/>
                </a:lnTo>
                <a:lnTo>
                  <a:pt x="426" y="1788"/>
                </a:lnTo>
                <a:lnTo>
                  <a:pt x="420" y="1788"/>
                </a:lnTo>
                <a:lnTo>
                  <a:pt x="420" y="1782"/>
                </a:lnTo>
                <a:lnTo>
                  <a:pt x="414" y="1782"/>
                </a:lnTo>
                <a:lnTo>
                  <a:pt x="390" y="1782"/>
                </a:lnTo>
                <a:lnTo>
                  <a:pt x="390" y="1776"/>
                </a:lnTo>
                <a:lnTo>
                  <a:pt x="384" y="1776"/>
                </a:lnTo>
                <a:lnTo>
                  <a:pt x="378" y="1776"/>
                </a:lnTo>
                <a:lnTo>
                  <a:pt x="372" y="1776"/>
                </a:lnTo>
                <a:lnTo>
                  <a:pt x="366" y="1770"/>
                </a:lnTo>
                <a:lnTo>
                  <a:pt x="366" y="1776"/>
                </a:lnTo>
                <a:lnTo>
                  <a:pt x="360" y="1788"/>
                </a:lnTo>
                <a:lnTo>
                  <a:pt x="360" y="1794"/>
                </a:lnTo>
                <a:lnTo>
                  <a:pt x="360" y="1800"/>
                </a:lnTo>
                <a:lnTo>
                  <a:pt x="354" y="1806"/>
                </a:lnTo>
                <a:lnTo>
                  <a:pt x="354" y="1812"/>
                </a:lnTo>
                <a:lnTo>
                  <a:pt x="354" y="1824"/>
                </a:lnTo>
                <a:lnTo>
                  <a:pt x="348" y="1830"/>
                </a:lnTo>
                <a:lnTo>
                  <a:pt x="354" y="1836"/>
                </a:lnTo>
                <a:lnTo>
                  <a:pt x="348" y="1842"/>
                </a:lnTo>
                <a:lnTo>
                  <a:pt x="354" y="1848"/>
                </a:lnTo>
                <a:lnTo>
                  <a:pt x="348" y="1854"/>
                </a:lnTo>
                <a:lnTo>
                  <a:pt x="354" y="1854"/>
                </a:lnTo>
                <a:lnTo>
                  <a:pt x="348" y="1860"/>
                </a:lnTo>
                <a:lnTo>
                  <a:pt x="348" y="1866"/>
                </a:lnTo>
                <a:lnTo>
                  <a:pt x="342" y="1866"/>
                </a:lnTo>
                <a:lnTo>
                  <a:pt x="342" y="1872"/>
                </a:lnTo>
                <a:lnTo>
                  <a:pt x="342" y="1878"/>
                </a:lnTo>
                <a:lnTo>
                  <a:pt x="342" y="1884"/>
                </a:lnTo>
                <a:lnTo>
                  <a:pt x="336" y="1896"/>
                </a:lnTo>
                <a:lnTo>
                  <a:pt x="330" y="1914"/>
                </a:lnTo>
                <a:lnTo>
                  <a:pt x="324" y="1920"/>
                </a:lnTo>
                <a:lnTo>
                  <a:pt x="324" y="1926"/>
                </a:lnTo>
                <a:lnTo>
                  <a:pt x="318" y="1944"/>
                </a:lnTo>
                <a:lnTo>
                  <a:pt x="318" y="1950"/>
                </a:lnTo>
                <a:lnTo>
                  <a:pt x="312" y="1956"/>
                </a:lnTo>
                <a:lnTo>
                  <a:pt x="312" y="1950"/>
                </a:lnTo>
                <a:lnTo>
                  <a:pt x="306" y="1950"/>
                </a:lnTo>
                <a:lnTo>
                  <a:pt x="306" y="1956"/>
                </a:lnTo>
                <a:lnTo>
                  <a:pt x="300" y="1950"/>
                </a:lnTo>
                <a:lnTo>
                  <a:pt x="294" y="1956"/>
                </a:lnTo>
                <a:lnTo>
                  <a:pt x="288" y="1950"/>
                </a:lnTo>
                <a:lnTo>
                  <a:pt x="288" y="1944"/>
                </a:lnTo>
                <a:lnTo>
                  <a:pt x="282" y="1938"/>
                </a:lnTo>
                <a:lnTo>
                  <a:pt x="282" y="1932"/>
                </a:lnTo>
                <a:lnTo>
                  <a:pt x="282" y="1890"/>
                </a:lnTo>
                <a:lnTo>
                  <a:pt x="288" y="1860"/>
                </a:lnTo>
                <a:lnTo>
                  <a:pt x="294" y="1842"/>
                </a:lnTo>
                <a:lnTo>
                  <a:pt x="294" y="1836"/>
                </a:lnTo>
                <a:lnTo>
                  <a:pt x="294" y="1824"/>
                </a:lnTo>
                <a:lnTo>
                  <a:pt x="300" y="1818"/>
                </a:lnTo>
                <a:lnTo>
                  <a:pt x="306" y="1794"/>
                </a:lnTo>
                <a:lnTo>
                  <a:pt x="306" y="1788"/>
                </a:lnTo>
                <a:lnTo>
                  <a:pt x="306" y="1782"/>
                </a:lnTo>
                <a:lnTo>
                  <a:pt x="312" y="1776"/>
                </a:lnTo>
                <a:lnTo>
                  <a:pt x="306" y="1776"/>
                </a:lnTo>
                <a:lnTo>
                  <a:pt x="312" y="1770"/>
                </a:lnTo>
                <a:lnTo>
                  <a:pt x="312" y="1740"/>
                </a:lnTo>
                <a:lnTo>
                  <a:pt x="318" y="1722"/>
                </a:lnTo>
                <a:lnTo>
                  <a:pt x="312" y="1722"/>
                </a:lnTo>
                <a:lnTo>
                  <a:pt x="300" y="1716"/>
                </a:lnTo>
                <a:lnTo>
                  <a:pt x="306" y="1716"/>
                </a:lnTo>
                <a:lnTo>
                  <a:pt x="312" y="1710"/>
                </a:lnTo>
                <a:lnTo>
                  <a:pt x="324" y="1674"/>
                </a:lnTo>
                <a:lnTo>
                  <a:pt x="366" y="1590"/>
                </a:lnTo>
                <a:lnTo>
                  <a:pt x="408" y="1548"/>
                </a:lnTo>
                <a:lnTo>
                  <a:pt x="426" y="1530"/>
                </a:lnTo>
                <a:lnTo>
                  <a:pt x="432" y="1500"/>
                </a:lnTo>
                <a:lnTo>
                  <a:pt x="426" y="1494"/>
                </a:lnTo>
                <a:lnTo>
                  <a:pt x="426" y="1482"/>
                </a:lnTo>
                <a:lnTo>
                  <a:pt x="432" y="1464"/>
                </a:lnTo>
                <a:lnTo>
                  <a:pt x="438" y="1428"/>
                </a:lnTo>
                <a:lnTo>
                  <a:pt x="462" y="1398"/>
                </a:lnTo>
                <a:lnTo>
                  <a:pt x="468" y="1362"/>
                </a:lnTo>
                <a:lnTo>
                  <a:pt x="462" y="1314"/>
                </a:lnTo>
                <a:lnTo>
                  <a:pt x="444" y="1284"/>
                </a:lnTo>
                <a:lnTo>
                  <a:pt x="432" y="1260"/>
                </a:lnTo>
                <a:lnTo>
                  <a:pt x="426" y="1260"/>
                </a:lnTo>
                <a:lnTo>
                  <a:pt x="420" y="1254"/>
                </a:lnTo>
                <a:lnTo>
                  <a:pt x="408" y="1260"/>
                </a:lnTo>
                <a:lnTo>
                  <a:pt x="402" y="1260"/>
                </a:lnTo>
                <a:lnTo>
                  <a:pt x="402" y="1254"/>
                </a:lnTo>
                <a:lnTo>
                  <a:pt x="396" y="1254"/>
                </a:lnTo>
                <a:lnTo>
                  <a:pt x="396" y="1248"/>
                </a:lnTo>
                <a:lnTo>
                  <a:pt x="384" y="1248"/>
                </a:lnTo>
                <a:lnTo>
                  <a:pt x="372" y="1230"/>
                </a:lnTo>
                <a:lnTo>
                  <a:pt x="360" y="1212"/>
                </a:lnTo>
                <a:lnTo>
                  <a:pt x="348" y="1188"/>
                </a:lnTo>
                <a:lnTo>
                  <a:pt x="324" y="1170"/>
                </a:lnTo>
                <a:lnTo>
                  <a:pt x="318" y="1170"/>
                </a:lnTo>
                <a:lnTo>
                  <a:pt x="312" y="1158"/>
                </a:lnTo>
                <a:lnTo>
                  <a:pt x="312" y="1152"/>
                </a:lnTo>
                <a:lnTo>
                  <a:pt x="306" y="1146"/>
                </a:lnTo>
                <a:lnTo>
                  <a:pt x="270" y="1122"/>
                </a:lnTo>
                <a:lnTo>
                  <a:pt x="240" y="1122"/>
                </a:lnTo>
                <a:lnTo>
                  <a:pt x="180" y="1116"/>
                </a:lnTo>
                <a:lnTo>
                  <a:pt x="174" y="1122"/>
                </a:lnTo>
                <a:lnTo>
                  <a:pt x="174" y="1128"/>
                </a:lnTo>
                <a:lnTo>
                  <a:pt x="168" y="1122"/>
                </a:lnTo>
                <a:lnTo>
                  <a:pt x="162" y="1116"/>
                </a:lnTo>
                <a:lnTo>
                  <a:pt x="144" y="1122"/>
                </a:lnTo>
                <a:lnTo>
                  <a:pt x="120" y="1122"/>
                </a:lnTo>
                <a:lnTo>
                  <a:pt x="54" y="1134"/>
                </a:lnTo>
                <a:lnTo>
                  <a:pt x="24" y="1152"/>
                </a:lnTo>
                <a:lnTo>
                  <a:pt x="6" y="1146"/>
                </a:lnTo>
                <a:lnTo>
                  <a:pt x="0" y="1134"/>
                </a:lnTo>
                <a:lnTo>
                  <a:pt x="0" y="1128"/>
                </a:lnTo>
                <a:lnTo>
                  <a:pt x="18" y="1110"/>
                </a:lnTo>
                <a:lnTo>
                  <a:pt x="24" y="1104"/>
                </a:lnTo>
                <a:lnTo>
                  <a:pt x="24" y="1098"/>
                </a:lnTo>
                <a:lnTo>
                  <a:pt x="30" y="1086"/>
                </a:lnTo>
                <a:lnTo>
                  <a:pt x="24" y="1086"/>
                </a:lnTo>
                <a:lnTo>
                  <a:pt x="24" y="1080"/>
                </a:lnTo>
                <a:lnTo>
                  <a:pt x="24" y="1074"/>
                </a:lnTo>
                <a:lnTo>
                  <a:pt x="18" y="1068"/>
                </a:lnTo>
                <a:lnTo>
                  <a:pt x="24" y="1062"/>
                </a:lnTo>
                <a:lnTo>
                  <a:pt x="42" y="1056"/>
                </a:lnTo>
                <a:lnTo>
                  <a:pt x="54" y="1050"/>
                </a:lnTo>
                <a:lnTo>
                  <a:pt x="72" y="1044"/>
                </a:lnTo>
                <a:lnTo>
                  <a:pt x="96" y="1032"/>
                </a:lnTo>
                <a:lnTo>
                  <a:pt x="102" y="1032"/>
                </a:lnTo>
                <a:lnTo>
                  <a:pt x="126" y="1008"/>
                </a:lnTo>
                <a:lnTo>
                  <a:pt x="144" y="990"/>
                </a:lnTo>
                <a:lnTo>
                  <a:pt x="156" y="978"/>
                </a:lnTo>
                <a:lnTo>
                  <a:pt x="156" y="966"/>
                </a:lnTo>
                <a:lnTo>
                  <a:pt x="150" y="960"/>
                </a:lnTo>
                <a:lnTo>
                  <a:pt x="144" y="948"/>
                </a:lnTo>
                <a:lnTo>
                  <a:pt x="144" y="936"/>
                </a:lnTo>
                <a:lnTo>
                  <a:pt x="138" y="918"/>
                </a:lnTo>
                <a:lnTo>
                  <a:pt x="150" y="912"/>
                </a:lnTo>
                <a:lnTo>
                  <a:pt x="150" y="894"/>
                </a:lnTo>
                <a:lnTo>
                  <a:pt x="132" y="876"/>
                </a:lnTo>
                <a:lnTo>
                  <a:pt x="126" y="876"/>
                </a:lnTo>
                <a:lnTo>
                  <a:pt x="120" y="870"/>
                </a:lnTo>
                <a:lnTo>
                  <a:pt x="120" y="864"/>
                </a:lnTo>
                <a:lnTo>
                  <a:pt x="114" y="864"/>
                </a:lnTo>
                <a:lnTo>
                  <a:pt x="108" y="864"/>
                </a:lnTo>
                <a:lnTo>
                  <a:pt x="108" y="858"/>
                </a:lnTo>
                <a:lnTo>
                  <a:pt x="102" y="852"/>
                </a:lnTo>
                <a:lnTo>
                  <a:pt x="96" y="852"/>
                </a:lnTo>
                <a:lnTo>
                  <a:pt x="102" y="834"/>
                </a:lnTo>
                <a:lnTo>
                  <a:pt x="108" y="816"/>
                </a:lnTo>
                <a:lnTo>
                  <a:pt x="114" y="804"/>
                </a:lnTo>
                <a:lnTo>
                  <a:pt x="132" y="798"/>
                </a:lnTo>
                <a:lnTo>
                  <a:pt x="144" y="798"/>
                </a:lnTo>
                <a:lnTo>
                  <a:pt x="180" y="810"/>
                </a:lnTo>
                <a:lnTo>
                  <a:pt x="192" y="816"/>
                </a:lnTo>
                <a:lnTo>
                  <a:pt x="234" y="822"/>
                </a:lnTo>
                <a:lnTo>
                  <a:pt x="264" y="828"/>
                </a:lnTo>
                <a:lnTo>
                  <a:pt x="270" y="840"/>
                </a:lnTo>
                <a:lnTo>
                  <a:pt x="270" y="834"/>
                </a:lnTo>
                <a:lnTo>
                  <a:pt x="270" y="828"/>
                </a:lnTo>
                <a:lnTo>
                  <a:pt x="270" y="822"/>
                </a:lnTo>
                <a:lnTo>
                  <a:pt x="270" y="816"/>
                </a:lnTo>
                <a:lnTo>
                  <a:pt x="264" y="810"/>
                </a:lnTo>
                <a:lnTo>
                  <a:pt x="264" y="804"/>
                </a:lnTo>
                <a:lnTo>
                  <a:pt x="264" y="798"/>
                </a:lnTo>
                <a:lnTo>
                  <a:pt x="258" y="792"/>
                </a:lnTo>
                <a:lnTo>
                  <a:pt x="258" y="786"/>
                </a:lnTo>
                <a:lnTo>
                  <a:pt x="264" y="786"/>
                </a:lnTo>
                <a:lnTo>
                  <a:pt x="264" y="780"/>
                </a:lnTo>
                <a:lnTo>
                  <a:pt x="258" y="774"/>
                </a:lnTo>
                <a:lnTo>
                  <a:pt x="258" y="768"/>
                </a:lnTo>
                <a:lnTo>
                  <a:pt x="264" y="762"/>
                </a:lnTo>
                <a:lnTo>
                  <a:pt x="264" y="756"/>
                </a:lnTo>
                <a:lnTo>
                  <a:pt x="282" y="762"/>
                </a:lnTo>
                <a:lnTo>
                  <a:pt x="312" y="780"/>
                </a:lnTo>
                <a:lnTo>
                  <a:pt x="354" y="786"/>
                </a:lnTo>
                <a:lnTo>
                  <a:pt x="408" y="774"/>
                </a:lnTo>
                <a:lnTo>
                  <a:pt x="444" y="756"/>
                </a:lnTo>
                <a:lnTo>
                  <a:pt x="468" y="732"/>
                </a:lnTo>
                <a:lnTo>
                  <a:pt x="492" y="720"/>
                </a:lnTo>
                <a:lnTo>
                  <a:pt x="522" y="690"/>
                </a:lnTo>
                <a:lnTo>
                  <a:pt x="540" y="672"/>
                </a:lnTo>
                <a:lnTo>
                  <a:pt x="558" y="660"/>
                </a:lnTo>
                <a:lnTo>
                  <a:pt x="570" y="636"/>
                </a:lnTo>
                <a:lnTo>
                  <a:pt x="588" y="612"/>
                </a:lnTo>
                <a:lnTo>
                  <a:pt x="654" y="552"/>
                </a:lnTo>
                <a:lnTo>
                  <a:pt x="678" y="528"/>
                </a:lnTo>
                <a:lnTo>
                  <a:pt x="696" y="510"/>
                </a:lnTo>
                <a:lnTo>
                  <a:pt x="714" y="498"/>
                </a:lnTo>
                <a:lnTo>
                  <a:pt x="750" y="480"/>
                </a:lnTo>
                <a:lnTo>
                  <a:pt x="774" y="444"/>
                </a:lnTo>
                <a:lnTo>
                  <a:pt x="816" y="426"/>
                </a:lnTo>
                <a:lnTo>
                  <a:pt x="864" y="420"/>
                </a:lnTo>
                <a:lnTo>
                  <a:pt x="912" y="402"/>
                </a:lnTo>
                <a:lnTo>
                  <a:pt x="906" y="396"/>
                </a:lnTo>
                <a:lnTo>
                  <a:pt x="912" y="396"/>
                </a:lnTo>
                <a:lnTo>
                  <a:pt x="912" y="390"/>
                </a:lnTo>
                <a:lnTo>
                  <a:pt x="918" y="384"/>
                </a:lnTo>
                <a:lnTo>
                  <a:pt x="924" y="384"/>
                </a:lnTo>
                <a:lnTo>
                  <a:pt x="924" y="378"/>
                </a:lnTo>
                <a:lnTo>
                  <a:pt x="918" y="372"/>
                </a:lnTo>
                <a:lnTo>
                  <a:pt x="918" y="366"/>
                </a:lnTo>
                <a:lnTo>
                  <a:pt x="918" y="360"/>
                </a:lnTo>
                <a:lnTo>
                  <a:pt x="924" y="360"/>
                </a:lnTo>
                <a:lnTo>
                  <a:pt x="924" y="354"/>
                </a:lnTo>
                <a:lnTo>
                  <a:pt x="930" y="354"/>
                </a:lnTo>
                <a:lnTo>
                  <a:pt x="936" y="354"/>
                </a:lnTo>
                <a:lnTo>
                  <a:pt x="936" y="348"/>
                </a:lnTo>
                <a:lnTo>
                  <a:pt x="942" y="348"/>
                </a:lnTo>
                <a:lnTo>
                  <a:pt x="942" y="336"/>
                </a:lnTo>
                <a:lnTo>
                  <a:pt x="936" y="336"/>
                </a:lnTo>
                <a:lnTo>
                  <a:pt x="930" y="330"/>
                </a:lnTo>
                <a:lnTo>
                  <a:pt x="924" y="330"/>
                </a:lnTo>
                <a:lnTo>
                  <a:pt x="924" y="324"/>
                </a:lnTo>
                <a:lnTo>
                  <a:pt x="918" y="318"/>
                </a:lnTo>
                <a:lnTo>
                  <a:pt x="912" y="306"/>
                </a:lnTo>
                <a:lnTo>
                  <a:pt x="918" y="306"/>
                </a:lnTo>
                <a:lnTo>
                  <a:pt x="924" y="300"/>
                </a:lnTo>
                <a:lnTo>
                  <a:pt x="924" y="294"/>
                </a:lnTo>
                <a:lnTo>
                  <a:pt x="924" y="288"/>
                </a:lnTo>
                <a:lnTo>
                  <a:pt x="924" y="282"/>
                </a:lnTo>
                <a:lnTo>
                  <a:pt x="924" y="276"/>
                </a:lnTo>
                <a:lnTo>
                  <a:pt x="918" y="270"/>
                </a:lnTo>
                <a:lnTo>
                  <a:pt x="918" y="264"/>
                </a:lnTo>
                <a:lnTo>
                  <a:pt x="912" y="270"/>
                </a:lnTo>
                <a:lnTo>
                  <a:pt x="912" y="264"/>
                </a:lnTo>
                <a:lnTo>
                  <a:pt x="912" y="258"/>
                </a:lnTo>
                <a:lnTo>
                  <a:pt x="912" y="252"/>
                </a:lnTo>
                <a:lnTo>
                  <a:pt x="906" y="252"/>
                </a:lnTo>
                <a:lnTo>
                  <a:pt x="900" y="246"/>
                </a:lnTo>
                <a:lnTo>
                  <a:pt x="900" y="240"/>
                </a:lnTo>
                <a:lnTo>
                  <a:pt x="900" y="246"/>
                </a:lnTo>
                <a:lnTo>
                  <a:pt x="894" y="246"/>
                </a:lnTo>
                <a:lnTo>
                  <a:pt x="894" y="240"/>
                </a:lnTo>
                <a:lnTo>
                  <a:pt x="894" y="234"/>
                </a:lnTo>
                <a:lnTo>
                  <a:pt x="900" y="234"/>
                </a:lnTo>
                <a:lnTo>
                  <a:pt x="900" y="228"/>
                </a:lnTo>
                <a:lnTo>
                  <a:pt x="906" y="228"/>
                </a:lnTo>
                <a:lnTo>
                  <a:pt x="900" y="222"/>
                </a:lnTo>
                <a:lnTo>
                  <a:pt x="894" y="216"/>
                </a:lnTo>
                <a:lnTo>
                  <a:pt x="894" y="210"/>
                </a:lnTo>
                <a:lnTo>
                  <a:pt x="888" y="210"/>
                </a:lnTo>
                <a:lnTo>
                  <a:pt x="888" y="204"/>
                </a:lnTo>
                <a:lnTo>
                  <a:pt x="888" y="198"/>
                </a:lnTo>
                <a:lnTo>
                  <a:pt x="888" y="192"/>
                </a:lnTo>
                <a:lnTo>
                  <a:pt x="882" y="186"/>
                </a:lnTo>
                <a:lnTo>
                  <a:pt x="888" y="180"/>
                </a:lnTo>
                <a:lnTo>
                  <a:pt x="882" y="180"/>
                </a:lnTo>
                <a:lnTo>
                  <a:pt x="882" y="174"/>
                </a:lnTo>
                <a:lnTo>
                  <a:pt x="888" y="168"/>
                </a:lnTo>
                <a:lnTo>
                  <a:pt x="888" y="162"/>
                </a:lnTo>
                <a:lnTo>
                  <a:pt x="888" y="156"/>
                </a:lnTo>
                <a:lnTo>
                  <a:pt x="888" y="150"/>
                </a:lnTo>
                <a:lnTo>
                  <a:pt x="888" y="144"/>
                </a:lnTo>
                <a:lnTo>
                  <a:pt x="882" y="144"/>
                </a:lnTo>
                <a:lnTo>
                  <a:pt x="882" y="138"/>
                </a:lnTo>
                <a:lnTo>
                  <a:pt x="876" y="132"/>
                </a:lnTo>
                <a:lnTo>
                  <a:pt x="882" y="126"/>
                </a:lnTo>
                <a:lnTo>
                  <a:pt x="876" y="120"/>
                </a:lnTo>
                <a:lnTo>
                  <a:pt x="882" y="114"/>
                </a:lnTo>
                <a:lnTo>
                  <a:pt x="882" y="108"/>
                </a:lnTo>
                <a:lnTo>
                  <a:pt x="888" y="102"/>
                </a:lnTo>
                <a:lnTo>
                  <a:pt x="894" y="102"/>
                </a:lnTo>
                <a:lnTo>
                  <a:pt x="894" y="96"/>
                </a:lnTo>
                <a:lnTo>
                  <a:pt x="888" y="96"/>
                </a:lnTo>
                <a:lnTo>
                  <a:pt x="894" y="90"/>
                </a:lnTo>
                <a:lnTo>
                  <a:pt x="888" y="84"/>
                </a:lnTo>
                <a:lnTo>
                  <a:pt x="888" y="78"/>
                </a:lnTo>
                <a:lnTo>
                  <a:pt x="924" y="66"/>
                </a:lnTo>
                <a:lnTo>
                  <a:pt x="966" y="66"/>
                </a:lnTo>
                <a:lnTo>
                  <a:pt x="996" y="48"/>
                </a:lnTo>
                <a:lnTo>
                  <a:pt x="1056" y="12"/>
                </a:lnTo>
                <a:lnTo>
                  <a:pt x="1128" y="0"/>
                </a:lnTo>
                <a:lnTo>
                  <a:pt x="1164" y="6"/>
                </a:lnTo>
                <a:lnTo>
                  <a:pt x="1164" y="12"/>
                </a:lnTo>
                <a:lnTo>
                  <a:pt x="1170" y="12"/>
                </a:lnTo>
                <a:lnTo>
                  <a:pt x="1170" y="18"/>
                </a:lnTo>
                <a:lnTo>
                  <a:pt x="1176" y="24"/>
                </a:lnTo>
                <a:lnTo>
                  <a:pt x="1182" y="24"/>
                </a:lnTo>
                <a:lnTo>
                  <a:pt x="1188" y="30"/>
                </a:lnTo>
                <a:lnTo>
                  <a:pt x="1194" y="30"/>
                </a:lnTo>
                <a:lnTo>
                  <a:pt x="1194" y="36"/>
                </a:lnTo>
                <a:lnTo>
                  <a:pt x="1260" y="30"/>
                </a:lnTo>
                <a:lnTo>
                  <a:pt x="1272" y="30"/>
                </a:lnTo>
                <a:lnTo>
                  <a:pt x="1296" y="24"/>
                </a:lnTo>
                <a:lnTo>
                  <a:pt x="1302" y="30"/>
                </a:lnTo>
                <a:lnTo>
                  <a:pt x="1302" y="36"/>
                </a:lnTo>
                <a:lnTo>
                  <a:pt x="1308" y="36"/>
                </a:lnTo>
                <a:lnTo>
                  <a:pt x="1314" y="36"/>
                </a:lnTo>
                <a:lnTo>
                  <a:pt x="1320" y="36"/>
                </a:lnTo>
                <a:lnTo>
                  <a:pt x="1326" y="30"/>
                </a:lnTo>
                <a:lnTo>
                  <a:pt x="1332" y="30"/>
                </a:lnTo>
                <a:lnTo>
                  <a:pt x="1338" y="30"/>
                </a:lnTo>
                <a:lnTo>
                  <a:pt x="1344" y="30"/>
                </a:lnTo>
                <a:lnTo>
                  <a:pt x="1374" y="30"/>
                </a:lnTo>
                <a:lnTo>
                  <a:pt x="1386" y="30"/>
                </a:lnTo>
                <a:lnTo>
                  <a:pt x="1392" y="24"/>
                </a:lnTo>
                <a:lnTo>
                  <a:pt x="1398" y="12"/>
                </a:lnTo>
                <a:lnTo>
                  <a:pt x="1404" y="6"/>
                </a:lnTo>
                <a:lnTo>
                  <a:pt x="1410" y="6"/>
                </a:lnTo>
                <a:lnTo>
                  <a:pt x="1410" y="12"/>
                </a:lnTo>
                <a:lnTo>
                  <a:pt x="1416" y="18"/>
                </a:lnTo>
                <a:lnTo>
                  <a:pt x="1416" y="36"/>
                </a:lnTo>
                <a:lnTo>
                  <a:pt x="1434" y="54"/>
                </a:lnTo>
                <a:lnTo>
                  <a:pt x="1434" y="60"/>
                </a:lnTo>
                <a:lnTo>
                  <a:pt x="1434" y="66"/>
                </a:lnTo>
                <a:lnTo>
                  <a:pt x="1434" y="72"/>
                </a:lnTo>
                <a:lnTo>
                  <a:pt x="1428" y="72"/>
                </a:lnTo>
                <a:lnTo>
                  <a:pt x="1428" y="78"/>
                </a:lnTo>
                <a:lnTo>
                  <a:pt x="1434" y="78"/>
                </a:lnTo>
                <a:lnTo>
                  <a:pt x="1440" y="84"/>
                </a:lnTo>
                <a:lnTo>
                  <a:pt x="1440" y="90"/>
                </a:lnTo>
                <a:lnTo>
                  <a:pt x="1440" y="96"/>
                </a:lnTo>
                <a:lnTo>
                  <a:pt x="1446" y="96"/>
                </a:lnTo>
                <a:lnTo>
                  <a:pt x="1446" y="108"/>
                </a:lnTo>
                <a:lnTo>
                  <a:pt x="1452" y="108"/>
                </a:lnTo>
                <a:lnTo>
                  <a:pt x="1452" y="114"/>
                </a:lnTo>
                <a:lnTo>
                  <a:pt x="1458" y="114"/>
                </a:lnTo>
                <a:lnTo>
                  <a:pt x="1470" y="120"/>
                </a:lnTo>
                <a:lnTo>
                  <a:pt x="1476" y="120"/>
                </a:lnTo>
                <a:lnTo>
                  <a:pt x="1476" y="114"/>
                </a:lnTo>
                <a:lnTo>
                  <a:pt x="1488" y="120"/>
                </a:lnTo>
                <a:lnTo>
                  <a:pt x="1506" y="120"/>
                </a:lnTo>
                <a:lnTo>
                  <a:pt x="1512" y="120"/>
                </a:lnTo>
                <a:lnTo>
                  <a:pt x="1518" y="120"/>
                </a:lnTo>
                <a:lnTo>
                  <a:pt x="1524" y="126"/>
                </a:lnTo>
                <a:lnTo>
                  <a:pt x="1536" y="150"/>
                </a:lnTo>
                <a:lnTo>
                  <a:pt x="1548" y="162"/>
                </a:lnTo>
                <a:lnTo>
                  <a:pt x="1554" y="168"/>
                </a:lnTo>
                <a:lnTo>
                  <a:pt x="1584" y="228"/>
                </a:lnTo>
                <a:lnTo>
                  <a:pt x="1584" y="234"/>
                </a:lnTo>
                <a:lnTo>
                  <a:pt x="1578" y="312"/>
                </a:lnTo>
                <a:lnTo>
                  <a:pt x="1590" y="318"/>
                </a:lnTo>
                <a:lnTo>
                  <a:pt x="1608" y="330"/>
                </a:lnTo>
                <a:lnTo>
                  <a:pt x="1620" y="342"/>
                </a:lnTo>
                <a:lnTo>
                  <a:pt x="1626" y="342"/>
                </a:lnTo>
                <a:lnTo>
                  <a:pt x="1692" y="360"/>
                </a:lnTo>
                <a:lnTo>
                  <a:pt x="1710" y="408"/>
                </a:lnTo>
                <a:lnTo>
                  <a:pt x="1722" y="426"/>
                </a:lnTo>
                <a:lnTo>
                  <a:pt x="1716" y="468"/>
                </a:lnTo>
                <a:lnTo>
                  <a:pt x="1686" y="486"/>
                </a:lnTo>
                <a:lnTo>
                  <a:pt x="1686" y="492"/>
                </a:lnTo>
                <a:lnTo>
                  <a:pt x="1680" y="498"/>
                </a:lnTo>
                <a:lnTo>
                  <a:pt x="1650" y="558"/>
                </a:lnTo>
                <a:lnTo>
                  <a:pt x="1650" y="570"/>
                </a:lnTo>
                <a:lnTo>
                  <a:pt x="1644" y="570"/>
                </a:lnTo>
                <a:lnTo>
                  <a:pt x="1638" y="582"/>
                </a:lnTo>
                <a:lnTo>
                  <a:pt x="1638" y="624"/>
                </a:lnTo>
                <a:lnTo>
                  <a:pt x="1638" y="636"/>
                </a:lnTo>
                <a:lnTo>
                  <a:pt x="1638" y="642"/>
                </a:lnTo>
                <a:lnTo>
                  <a:pt x="1632" y="660"/>
                </a:lnTo>
                <a:lnTo>
                  <a:pt x="1608" y="678"/>
                </a:lnTo>
                <a:lnTo>
                  <a:pt x="1584" y="690"/>
                </a:lnTo>
                <a:lnTo>
                  <a:pt x="1584" y="696"/>
                </a:lnTo>
                <a:lnTo>
                  <a:pt x="1578" y="702"/>
                </a:lnTo>
                <a:lnTo>
                  <a:pt x="1584" y="702"/>
                </a:lnTo>
                <a:lnTo>
                  <a:pt x="1578" y="714"/>
                </a:lnTo>
                <a:lnTo>
                  <a:pt x="1572" y="714"/>
                </a:lnTo>
                <a:lnTo>
                  <a:pt x="1572" y="720"/>
                </a:lnTo>
                <a:lnTo>
                  <a:pt x="1566" y="720"/>
                </a:lnTo>
                <a:lnTo>
                  <a:pt x="1560" y="726"/>
                </a:lnTo>
                <a:lnTo>
                  <a:pt x="1560" y="732"/>
                </a:lnTo>
                <a:lnTo>
                  <a:pt x="1554" y="732"/>
                </a:lnTo>
                <a:lnTo>
                  <a:pt x="1554" y="738"/>
                </a:lnTo>
                <a:lnTo>
                  <a:pt x="1554" y="744"/>
                </a:lnTo>
                <a:lnTo>
                  <a:pt x="1548" y="744"/>
                </a:lnTo>
                <a:lnTo>
                  <a:pt x="1548" y="738"/>
                </a:lnTo>
                <a:lnTo>
                  <a:pt x="1542" y="738"/>
                </a:lnTo>
                <a:lnTo>
                  <a:pt x="1542" y="744"/>
                </a:lnTo>
                <a:lnTo>
                  <a:pt x="1542" y="750"/>
                </a:lnTo>
                <a:lnTo>
                  <a:pt x="1494" y="804"/>
                </a:lnTo>
                <a:lnTo>
                  <a:pt x="1446" y="876"/>
                </a:lnTo>
                <a:lnTo>
                  <a:pt x="1440" y="876"/>
                </a:lnTo>
                <a:lnTo>
                  <a:pt x="1434" y="876"/>
                </a:lnTo>
                <a:lnTo>
                  <a:pt x="1428" y="882"/>
                </a:lnTo>
                <a:lnTo>
                  <a:pt x="1422" y="882"/>
                </a:lnTo>
                <a:lnTo>
                  <a:pt x="1386" y="924"/>
                </a:lnTo>
                <a:lnTo>
                  <a:pt x="1362" y="954"/>
                </a:lnTo>
                <a:lnTo>
                  <a:pt x="1356" y="984"/>
                </a:lnTo>
                <a:lnTo>
                  <a:pt x="1362" y="1002"/>
                </a:lnTo>
                <a:lnTo>
                  <a:pt x="1368" y="1020"/>
                </a:lnTo>
                <a:lnTo>
                  <a:pt x="1386" y="1056"/>
                </a:lnTo>
                <a:lnTo>
                  <a:pt x="1404" y="1074"/>
                </a:lnTo>
                <a:lnTo>
                  <a:pt x="1416" y="1080"/>
                </a:lnTo>
                <a:lnTo>
                  <a:pt x="1416" y="1086"/>
                </a:lnTo>
                <a:lnTo>
                  <a:pt x="1422" y="1098"/>
                </a:lnTo>
                <a:lnTo>
                  <a:pt x="1422" y="1110"/>
                </a:lnTo>
                <a:lnTo>
                  <a:pt x="1428" y="1116"/>
                </a:lnTo>
                <a:lnTo>
                  <a:pt x="1434" y="1116"/>
                </a:lnTo>
                <a:lnTo>
                  <a:pt x="1434" y="1122"/>
                </a:lnTo>
                <a:lnTo>
                  <a:pt x="1434" y="1128"/>
                </a:lnTo>
                <a:lnTo>
                  <a:pt x="1440" y="1134"/>
                </a:lnTo>
                <a:lnTo>
                  <a:pt x="1446" y="1134"/>
                </a:lnTo>
                <a:lnTo>
                  <a:pt x="1458" y="1134"/>
                </a:lnTo>
                <a:lnTo>
                  <a:pt x="1458" y="1140"/>
                </a:lnTo>
                <a:lnTo>
                  <a:pt x="1464" y="1134"/>
                </a:lnTo>
                <a:lnTo>
                  <a:pt x="1470" y="1134"/>
                </a:lnTo>
                <a:lnTo>
                  <a:pt x="1464" y="1128"/>
                </a:lnTo>
                <a:lnTo>
                  <a:pt x="1464" y="1122"/>
                </a:lnTo>
                <a:lnTo>
                  <a:pt x="1470" y="1116"/>
                </a:lnTo>
                <a:lnTo>
                  <a:pt x="1470" y="1122"/>
                </a:lnTo>
                <a:lnTo>
                  <a:pt x="1476" y="1122"/>
                </a:lnTo>
                <a:lnTo>
                  <a:pt x="1476" y="1116"/>
                </a:lnTo>
                <a:lnTo>
                  <a:pt x="1482" y="1110"/>
                </a:lnTo>
                <a:lnTo>
                  <a:pt x="1476" y="1110"/>
                </a:lnTo>
                <a:lnTo>
                  <a:pt x="1476" y="1104"/>
                </a:lnTo>
                <a:lnTo>
                  <a:pt x="1476" y="1098"/>
                </a:lnTo>
                <a:lnTo>
                  <a:pt x="1482" y="1086"/>
                </a:lnTo>
                <a:lnTo>
                  <a:pt x="1482" y="1074"/>
                </a:lnTo>
                <a:lnTo>
                  <a:pt x="1488" y="1068"/>
                </a:lnTo>
                <a:lnTo>
                  <a:pt x="1488" y="1062"/>
                </a:lnTo>
                <a:lnTo>
                  <a:pt x="1494" y="1062"/>
                </a:lnTo>
                <a:lnTo>
                  <a:pt x="1500" y="1062"/>
                </a:lnTo>
                <a:lnTo>
                  <a:pt x="1506" y="1062"/>
                </a:lnTo>
                <a:lnTo>
                  <a:pt x="1506" y="1056"/>
                </a:lnTo>
                <a:lnTo>
                  <a:pt x="1506" y="1062"/>
                </a:lnTo>
                <a:lnTo>
                  <a:pt x="1518" y="1062"/>
                </a:lnTo>
                <a:lnTo>
                  <a:pt x="1524" y="1062"/>
                </a:lnTo>
                <a:lnTo>
                  <a:pt x="1530" y="1062"/>
                </a:lnTo>
                <a:lnTo>
                  <a:pt x="1536" y="1068"/>
                </a:lnTo>
                <a:lnTo>
                  <a:pt x="1536" y="1074"/>
                </a:lnTo>
                <a:lnTo>
                  <a:pt x="1542" y="1086"/>
                </a:lnTo>
                <a:lnTo>
                  <a:pt x="1548" y="1086"/>
                </a:lnTo>
                <a:lnTo>
                  <a:pt x="1554" y="1086"/>
                </a:lnTo>
                <a:lnTo>
                  <a:pt x="1566" y="1098"/>
                </a:lnTo>
                <a:lnTo>
                  <a:pt x="1572" y="1104"/>
                </a:lnTo>
                <a:lnTo>
                  <a:pt x="1566" y="1110"/>
                </a:lnTo>
                <a:lnTo>
                  <a:pt x="1572" y="1116"/>
                </a:lnTo>
                <a:lnTo>
                  <a:pt x="1578" y="1116"/>
                </a:lnTo>
                <a:lnTo>
                  <a:pt x="1578" y="1122"/>
                </a:lnTo>
                <a:lnTo>
                  <a:pt x="1584" y="1122"/>
                </a:lnTo>
                <a:lnTo>
                  <a:pt x="1584" y="1128"/>
                </a:lnTo>
                <a:lnTo>
                  <a:pt x="1584" y="1134"/>
                </a:lnTo>
                <a:lnTo>
                  <a:pt x="1590" y="1134"/>
                </a:lnTo>
                <a:lnTo>
                  <a:pt x="1596" y="1140"/>
                </a:lnTo>
                <a:lnTo>
                  <a:pt x="1602" y="1146"/>
                </a:lnTo>
                <a:lnTo>
                  <a:pt x="1608" y="1146"/>
                </a:lnTo>
                <a:lnTo>
                  <a:pt x="1614" y="1146"/>
                </a:lnTo>
                <a:lnTo>
                  <a:pt x="1614" y="1152"/>
                </a:lnTo>
                <a:lnTo>
                  <a:pt x="1620" y="1152"/>
                </a:lnTo>
                <a:lnTo>
                  <a:pt x="1626" y="1164"/>
                </a:lnTo>
                <a:lnTo>
                  <a:pt x="1632" y="1170"/>
                </a:lnTo>
                <a:lnTo>
                  <a:pt x="1638" y="1176"/>
                </a:lnTo>
                <a:lnTo>
                  <a:pt x="1638" y="1182"/>
                </a:lnTo>
                <a:lnTo>
                  <a:pt x="1644" y="1194"/>
                </a:lnTo>
                <a:lnTo>
                  <a:pt x="1644" y="1200"/>
                </a:lnTo>
                <a:lnTo>
                  <a:pt x="1638" y="1200"/>
                </a:lnTo>
                <a:lnTo>
                  <a:pt x="1638" y="1206"/>
                </a:lnTo>
                <a:lnTo>
                  <a:pt x="1638" y="1212"/>
                </a:lnTo>
                <a:lnTo>
                  <a:pt x="1638" y="1218"/>
                </a:lnTo>
                <a:lnTo>
                  <a:pt x="1632" y="1242"/>
                </a:lnTo>
                <a:lnTo>
                  <a:pt x="1632" y="1266"/>
                </a:lnTo>
                <a:lnTo>
                  <a:pt x="1638" y="1284"/>
                </a:lnTo>
                <a:lnTo>
                  <a:pt x="1638" y="1296"/>
                </a:lnTo>
                <a:lnTo>
                  <a:pt x="1632" y="1296"/>
                </a:lnTo>
                <a:lnTo>
                  <a:pt x="1632" y="1302"/>
                </a:lnTo>
                <a:lnTo>
                  <a:pt x="1638" y="1314"/>
                </a:lnTo>
                <a:lnTo>
                  <a:pt x="1638" y="1320"/>
                </a:lnTo>
                <a:lnTo>
                  <a:pt x="1632" y="1320"/>
                </a:lnTo>
                <a:lnTo>
                  <a:pt x="1632" y="1326"/>
                </a:lnTo>
                <a:lnTo>
                  <a:pt x="1644" y="1332"/>
                </a:lnTo>
                <a:lnTo>
                  <a:pt x="1644" y="1338"/>
                </a:lnTo>
                <a:lnTo>
                  <a:pt x="1650" y="1344"/>
                </a:lnTo>
                <a:lnTo>
                  <a:pt x="1668" y="1362"/>
                </a:lnTo>
                <a:lnTo>
                  <a:pt x="1668" y="1368"/>
                </a:lnTo>
                <a:lnTo>
                  <a:pt x="1674" y="1392"/>
                </a:lnTo>
                <a:lnTo>
                  <a:pt x="1686" y="1404"/>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18456" name="Freeform 18"/>
          <p:cNvSpPr>
            <a:spLocks/>
          </p:cNvSpPr>
          <p:nvPr/>
        </p:nvSpPr>
        <p:spPr bwMode="gray">
          <a:xfrm>
            <a:off x="3860800" y="4470400"/>
            <a:ext cx="1201738" cy="869950"/>
          </a:xfrm>
          <a:custGeom>
            <a:avLst/>
            <a:gdLst>
              <a:gd name="T0" fmla="*/ 89944 w 1536"/>
              <a:gd name="T1" fmla="*/ 71663 h 1080"/>
              <a:gd name="T2" fmla="*/ 88380 w 1536"/>
              <a:gd name="T3" fmla="*/ 74078 h 1080"/>
              <a:gd name="T4" fmla="*/ 83687 w 1536"/>
              <a:gd name="T5" fmla="*/ 74884 h 1080"/>
              <a:gd name="T6" fmla="*/ 84469 w 1536"/>
              <a:gd name="T7" fmla="*/ 72468 h 1080"/>
              <a:gd name="T8" fmla="*/ 82123 w 1536"/>
              <a:gd name="T9" fmla="*/ 70052 h 1080"/>
              <a:gd name="T10" fmla="*/ 79776 w 1536"/>
              <a:gd name="T11" fmla="*/ 68442 h 1080"/>
              <a:gd name="T12" fmla="*/ 69609 w 1536"/>
              <a:gd name="T13" fmla="*/ 64416 h 1080"/>
              <a:gd name="T14" fmla="*/ 66480 w 1536"/>
              <a:gd name="T15" fmla="*/ 66026 h 1080"/>
              <a:gd name="T16" fmla="*/ 64134 w 1536"/>
              <a:gd name="T17" fmla="*/ 64416 h 1080"/>
              <a:gd name="T18" fmla="*/ 62570 w 1536"/>
              <a:gd name="T19" fmla="*/ 60390 h 1080"/>
              <a:gd name="T20" fmla="*/ 58659 w 1536"/>
              <a:gd name="T21" fmla="*/ 57974 h 1080"/>
              <a:gd name="T22" fmla="*/ 47709 w 1536"/>
              <a:gd name="T23" fmla="*/ 56364 h 1080"/>
              <a:gd name="T24" fmla="*/ 48492 w 1536"/>
              <a:gd name="T25" fmla="*/ 57974 h 1080"/>
              <a:gd name="T26" fmla="*/ 45363 w 1536"/>
              <a:gd name="T27" fmla="*/ 60390 h 1080"/>
              <a:gd name="T28" fmla="*/ 38324 w 1536"/>
              <a:gd name="T29" fmla="*/ 61195 h 1080"/>
              <a:gd name="T30" fmla="*/ 32067 w 1536"/>
              <a:gd name="T31" fmla="*/ 63611 h 1080"/>
              <a:gd name="T32" fmla="*/ 32067 w 1536"/>
              <a:gd name="T33" fmla="*/ 62000 h 1080"/>
              <a:gd name="T34" fmla="*/ 30503 w 1536"/>
              <a:gd name="T35" fmla="*/ 59585 h 1080"/>
              <a:gd name="T36" fmla="*/ 21899 w 1536"/>
              <a:gd name="T37" fmla="*/ 62806 h 1080"/>
              <a:gd name="T38" fmla="*/ 14078 w 1536"/>
              <a:gd name="T39" fmla="*/ 68442 h 1080"/>
              <a:gd name="T40" fmla="*/ 14078 w 1536"/>
              <a:gd name="T41" fmla="*/ 62000 h 1080"/>
              <a:gd name="T42" fmla="*/ 14860 w 1536"/>
              <a:gd name="T43" fmla="*/ 55559 h 1080"/>
              <a:gd name="T44" fmla="*/ 12514 w 1536"/>
              <a:gd name="T45" fmla="*/ 55559 h 1080"/>
              <a:gd name="T46" fmla="*/ 8603 w 1536"/>
              <a:gd name="T47" fmla="*/ 55559 h 1080"/>
              <a:gd name="T48" fmla="*/ 3911 w 1536"/>
              <a:gd name="T49" fmla="*/ 54754 h 1080"/>
              <a:gd name="T50" fmla="*/ 782 w 1536"/>
              <a:gd name="T51" fmla="*/ 50728 h 1080"/>
              <a:gd name="T52" fmla="*/ 2346 w 1536"/>
              <a:gd name="T53" fmla="*/ 47507 h 1080"/>
              <a:gd name="T54" fmla="*/ 7039 w 1536"/>
              <a:gd name="T55" fmla="*/ 43481 h 1080"/>
              <a:gd name="T56" fmla="*/ 11732 w 1536"/>
              <a:gd name="T57" fmla="*/ 37844 h 1080"/>
              <a:gd name="T58" fmla="*/ 13296 w 1536"/>
              <a:gd name="T59" fmla="*/ 32208 h 1080"/>
              <a:gd name="T60" fmla="*/ 9385 w 1536"/>
              <a:gd name="T61" fmla="*/ 26572 h 1080"/>
              <a:gd name="T62" fmla="*/ 7821 w 1536"/>
              <a:gd name="T63" fmla="*/ 16909 h 1080"/>
              <a:gd name="T64" fmla="*/ 4693 w 1536"/>
              <a:gd name="T65" fmla="*/ 11273 h 1080"/>
              <a:gd name="T66" fmla="*/ 5475 w 1536"/>
              <a:gd name="T67" fmla="*/ 7247 h 1080"/>
              <a:gd name="T68" fmla="*/ 9385 w 1536"/>
              <a:gd name="T69" fmla="*/ 5636 h 1080"/>
              <a:gd name="T70" fmla="*/ 12514 w 1536"/>
              <a:gd name="T71" fmla="*/ 6442 h 1080"/>
              <a:gd name="T72" fmla="*/ 14860 w 1536"/>
              <a:gd name="T73" fmla="*/ 6442 h 1080"/>
              <a:gd name="T74" fmla="*/ 17207 w 1536"/>
              <a:gd name="T75" fmla="*/ 7247 h 1080"/>
              <a:gd name="T76" fmla="*/ 22682 w 1536"/>
              <a:gd name="T77" fmla="*/ 9662 h 1080"/>
              <a:gd name="T78" fmla="*/ 25810 w 1536"/>
              <a:gd name="T79" fmla="*/ 10468 h 1080"/>
              <a:gd name="T80" fmla="*/ 29721 w 1536"/>
              <a:gd name="T81" fmla="*/ 12078 h 1080"/>
              <a:gd name="T82" fmla="*/ 32849 w 1536"/>
              <a:gd name="T83" fmla="*/ 13688 h 1080"/>
              <a:gd name="T84" fmla="*/ 36760 w 1536"/>
              <a:gd name="T85" fmla="*/ 15299 h 1080"/>
              <a:gd name="T86" fmla="*/ 39888 w 1536"/>
              <a:gd name="T87" fmla="*/ 16909 h 1080"/>
              <a:gd name="T88" fmla="*/ 39106 w 1536"/>
              <a:gd name="T89" fmla="*/ 12078 h 1080"/>
              <a:gd name="T90" fmla="*/ 43799 w 1536"/>
              <a:gd name="T91" fmla="*/ 0 h 1080"/>
              <a:gd name="T92" fmla="*/ 57877 w 1536"/>
              <a:gd name="T93" fmla="*/ 4026 h 1080"/>
              <a:gd name="T94" fmla="*/ 68045 w 1536"/>
              <a:gd name="T95" fmla="*/ 4831 h 1080"/>
              <a:gd name="T96" fmla="*/ 71955 w 1536"/>
              <a:gd name="T97" fmla="*/ 8857 h 1080"/>
              <a:gd name="T98" fmla="*/ 74302 w 1536"/>
              <a:gd name="T99" fmla="*/ 12078 h 1080"/>
              <a:gd name="T100" fmla="*/ 72737 w 1536"/>
              <a:gd name="T101" fmla="*/ 16104 h 1080"/>
              <a:gd name="T102" fmla="*/ 84469 w 1536"/>
              <a:gd name="T103" fmla="*/ 14494 h 1080"/>
              <a:gd name="T104" fmla="*/ 93855 w 1536"/>
              <a:gd name="T105" fmla="*/ 16909 h 1080"/>
              <a:gd name="T106" fmla="*/ 99329 w 1536"/>
              <a:gd name="T107" fmla="*/ 23351 h 1080"/>
              <a:gd name="T108" fmla="*/ 101676 w 1536"/>
              <a:gd name="T109" fmla="*/ 24156 h 1080"/>
              <a:gd name="T110" fmla="*/ 101676 w 1536"/>
              <a:gd name="T111" fmla="*/ 39455 h 1080"/>
              <a:gd name="T112" fmla="*/ 93855 w 1536"/>
              <a:gd name="T113" fmla="*/ 55559 h 1080"/>
              <a:gd name="T114" fmla="*/ 93072 w 1536"/>
              <a:gd name="T115" fmla="*/ 59585 h 1080"/>
              <a:gd name="T116" fmla="*/ 92290 w 1536"/>
              <a:gd name="T117" fmla="*/ 64416 h 10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36"/>
              <a:gd name="T178" fmla="*/ 0 h 1080"/>
              <a:gd name="T179" fmla="*/ 1536 w 1536"/>
              <a:gd name="T180" fmla="*/ 1080 h 10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36" h="1080">
                <a:moveTo>
                  <a:pt x="1350" y="1020"/>
                </a:moveTo>
                <a:lnTo>
                  <a:pt x="1350" y="1026"/>
                </a:lnTo>
                <a:lnTo>
                  <a:pt x="1344" y="1026"/>
                </a:lnTo>
                <a:lnTo>
                  <a:pt x="1338" y="1032"/>
                </a:lnTo>
                <a:lnTo>
                  <a:pt x="1332" y="1026"/>
                </a:lnTo>
                <a:lnTo>
                  <a:pt x="1326" y="1026"/>
                </a:lnTo>
                <a:lnTo>
                  <a:pt x="1320" y="1020"/>
                </a:lnTo>
                <a:lnTo>
                  <a:pt x="1314" y="1026"/>
                </a:lnTo>
                <a:lnTo>
                  <a:pt x="1314" y="1032"/>
                </a:lnTo>
                <a:lnTo>
                  <a:pt x="1308" y="1038"/>
                </a:lnTo>
                <a:lnTo>
                  <a:pt x="1308" y="1044"/>
                </a:lnTo>
                <a:lnTo>
                  <a:pt x="1308" y="1050"/>
                </a:lnTo>
                <a:lnTo>
                  <a:pt x="1308" y="1056"/>
                </a:lnTo>
                <a:lnTo>
                  <a:pt x="1308" y="1062"/>
                </a:lnTo>
                <a:lnTo>
                  <a:pt x="1296" y="1068"/>
                </a:lnTo>
                <a:lnTo>
                  <a:pt x="1284" y="1074"/>
                </a:lnTo>
                <a:lnTo>
                  <a:pt x="1272" y="1080"/>
                </a:lnTo>
                <a:lnTo>
                  <a:pt x="1260" y="1080"/>
                </a:lnTo>
                <a:lnTo>
                  <a:pt x="1254" y="1074"/>
                </a:lnTo>
                <a:lnTo>
                  <a:pt x="1236" y="1074"/>
                </a:lnTo>
                <a:lnTo>
                  <a:pt x="1230" y="1074"/>
                </a:lnTo>
                <a:lnTo>
                  <a:pt x="1236" y="1074"/>
                </a:lnTo>
                <a:lnTo>
                  <a:pt x="1236" y="1068"/>
                </a:lnTo>
                <a:lnTo>
                  <a:pt x="1236" y="1062"/>
                </a:lnTo>
                <a:lnTo>
                  <a:pt x="1236" y="1056"/>
                </a:lnTo>
                <a:lnTo>
                  <a:pt x="1242" y="1050"/>
                </a:lnTo>
                <a:lnTo>
                  <a:pt x="1242" y="1044"/>
                </a:lnTo>
                <a:lnTo>
                  <a:pt x="1242" y="1038"/>
                </a:lnTo>
                <a:lnTo>
                  <a:pt x="1248" y="1032"/>
                </a:lnTo>
                <a:lnTo>
                  <a:pt x="1236" y="1026"/>
                </a:lnTo>
                <a:lnTo>
                  <a:pt x="1218" y="1020"/>
                </a:lnTo>
                <a:lnTo>
                  <a:pt x="1224" y="1014"/>
                </a:lnTo>
                <a:lnTo>
                  <a:pt x="1218" y="1008"/>
                </a:lnTo>
                <a:lnTo>
                  <a:pt x="1218" y="1002"/>
                </a:lnTo>
                <a:lnTo>
                  <a:pt x="1212" y="1008"/>
                </a:lnTo>
                <a:lnTo>
                  <a:pt x="1206" y="1002"/>
                </a:lnTo>
                <a:lnTo>
                  <a:pt x="1212" y="1002"/>
                </a:lnTo>
                <a:lnTo>
                  <a:pt x="1212" y="996"/>
                </a:lnTo>
                <a:lnTo>
                  <a:pt x="1200" y="990"/>
                </a:lnTo>
                <a:lnTo>
                  <a:pt x="1200" y="984"/>
                </a:lnTo>
                <a:lnTo>
                  <a:pt x="1188" y="984"/>
                </a:lnTo>
                <a:lnTo>
                  <a:pt x="1176" y="978"/>
                </a:lnTo>
                <a:lnTo>
                  <a:pt x="1164" y="960"/>
                </a:lnTo>
                <a:lnTo>
                  <a:pt x="1152" y="936"/>
                </a:lnTo>
                <a:lnTo>
                  <a:pt x="1146" y="936"/>
                </a:lnTo>
                <a:lnTo>
                  <a:pt x="1128" y="900"/>
                </a:lnTo>
                <a:lnTo>
                  <a:pt x="1038" y="912"/>
                </a:lnTo>
                <a:lnTo>
                  <a:pt x="1038" y="918"/>
                </a:lnTo>
                <a:lnTo>
                  <a:pt x="1032" y="924"/>
                </a:lnTo>
                <a:lnTo>
                  <a:pt x="1026" y="918"/>
                </a:lnTo>
                <a:lnTo>
                  <a:pt x="1020" y="924"/>
                </a:lnTo>
                <a:lnTo>
                  <a:pt x="1008" y="936"/>
                </a:lnTo>
                <a:lnTo>
                  <a:pt x="990" y="936"/>
                </a:lnTo>
                <a:lnTo>
                  <a:pt x="990" y="942"/>
                </a:lnTo>
                <a:lnTo>
                  <a:pt x="996" y="942"/>
                </a:lnTo>
                <a:lnTo>
                  <a:pt x="984" y="948"/>
                </a:lnTo>
                <a:lnTo>
                  <a:pt x="972" y="948"/>
                </a:lnTo>
                <a:lnTo>
                  <a:pt x="960" y="948"/>
                </a:lnTo>
                <a:lnTo>
                  <a:pt x="948" y="942"/>
                </a:lnTo>
                <a:lnTo>
                  <a:pt x="948" y="936"/>
                </a:lnTo>
                <a:lnTo>
                  <a:pt x="942" y="936"/>
                </a:lnTo>
                <a:lnTo>
                  <a:pt x="942" y="930"/>
                </a:lnTo>
                <a:lnTo>
                  <a:pt x="942" y="924"/>
                </a:lnTo>
                <a:lnTo>
                  <a:pt x="930" y="924"/>
                </a:lnTo>
                <a:lnTo>
                  <a:pt x="936" y="918"/>
                </a:lnTo>
                <a:lnTo>
                  <a:pt x="918" y="918"/>
                </a:lnTo>
                <a:lnTo>
                  <a:pt x="918" y="900"/>
                </a:lnTo>
                <a:lnTo>
                  <a:pt x="924" y="900"/>
                </a:lnTo>
                <a:lnTo>
                  <a:pt x="924" y="894"/>
                </a:lnTo>
                <a:lnTo>
                  <a:pt x="924" y="870"/>
                </a:lnTo>
                <a:lnTo>
                  <a:pt x="924" y="864"/>
                </a:lnTo>
                <a:lnTo>
                  <a:pt x="918" y="858"/>
                </a:lnTo>
                <a:lnTo>
                  <a:pt x="918" y="852"/>
                </a:lnTo>
                <a:lnTo>
                  <a:pt x="906" y="840"/>
                </a:lnTo>
                <a:lnTo>
                  <a:pt x="894" y="834"/>
                </a:lnTo>
                <a:lnTo>
                  <a:pt x="876" y="822"/>
                </a:lnTo>
                <a:lnTo>
                  <a:pt x="870" y="828"/>
                </a:lnTo>
                <a:lnTo>
                  <a:pt x="858" y="816"/>
                </a:lnTo>
                <a:lnTo>
                  <a:pt x="810" y="798"/>
                </a:lnTo>
                <a:lnTo>
                  <a:pt x="774" y="792"/>
                </a:lnTo>
                <a:lnTo>
                  <a:pt x="732" y="798"/>
                </a:lnTo>
                <a:lnTo>
                  <a:pt x="726" y="804"/>
                </a:lnTo>
                <a:lnTo>
                  <a:pt x="714" y="810"/>
                </a:lnTo>
                <a:lnTo>
                  <a:pt x="702" y="810"/>
                </a:lnTo>
                <a:lnTo>
                  <a:pt x="690" y="810"/>
                </a:lnTo>
                <a:lnTo>
                  <a:pt x="696" y="816"/>
                </a:lnTo>
                <a:lnTo>
                  <a:pt x="696" y="822"/>
                </a:lnTo>
                <a:lnTo>
                  <a:pt x="702" y="822"/>
                </a:lnTo>
                <a:lnTo>
                  <a:pt x="708" y="822"/>
                </a:lnTo>
                <a:lnTo>
                  <a:pt x="708" y="828"/>
                </a:lnTo>
                <a:lnTo>
                  <a:pt x="708" y="834"/>
                </a:lnTo>
                <a:lnTo>
                  <a:pt x="714" y="834"/>
                </a:lnTo>
                <a:lnTo>
                  <a:pt x="708" y="846"/>
                </a:lnTo>
                <a:lnTo>
                  <a:pt x="708" y="852"/>
                </a:lnTo>
                <a:lnTo>
                  <a:pt x="702" y="852"/>
                </a:lnTo>
                <a:lnTo>
                  <a:pt x="696" y="858"/>
                </a:lnTo>
                <a:lnTo>
                  <a:pt x="690" y="864"/>
                </a:lnTo>
                <a:lnTo>
                  <a:pt x="666" y="870"/>
                </a:lnTo>
                <a:lnTo>
                  <a:pt x="660" y="876"/>
                </a:lnTo>
                <a:lnTo>
                  <a:pt x="642" y="876"/>
                </a:lnTo>
                <a:lnTo>
                  <a:pt x="606" y="882"/>
                </a:lnTo>
                <a:lnTo>
                  <a:pt x="588" y="882"/>
                </a:lnTo>
                <a:lnTo>
                  <a:pt x="582" y="876"/>
                </a:lnTo>
                <a:lnTo>
                  <a:pt x="576" y="876"/>
                </a:lnTo>
                <a:lnTo>
                  <a:pt x="564" y="876"/>
                </a:lnTo>
                <a:lnTo>
                  <a:pt x="552" y="882"/>
                </a:lnTo>
                <a:lnTo>
                  <a:pt x="540" y="894"/>
                </a:lnTo>
                <a:lnTo>
                  <a:pt x="534" y="906"/>
                </a:lnTo>
                <a:lnTo>
                  <a:pt x="528" y="912"/>
                </a:lnTo>
                <a:lnTo>
                  <a:pt x="516" y="924"/>
                </a:lnTo>
                <a:lnTo>
                  <a:pt x="486" y="930"/>
                </a:lnTo>
                <a:lnTo>
                  <a:pt x="474" y="912"/>
                </a:lnTo>
                <a:lnTo>
                  <a:pt x="474" y="906"/>
                </a:lnTo>
                <a:lnTo>
                  <a:pt x="468" y="906"/>
                </a:lnTo>
                <a:lnTo>
                  <a:pt x="468" y="900"/>
                </a:lnTo>
                <a:lnTo>
                  <a:pt x="462" y="894"/>
                </a:lnTo>
                <a:lnTo>
                  <a:pt x="456" y="894"/>
                </a:lnTo>
                <a:lnTo>
                  <a:pt x="462" y="888"/>
                </a:lnTo>
                <a:lnTo>
                  <a:pt x="468" y="888"/>
                </a:lnTo>
                <a:lnTo>
                  <a:pt x="462" y="882"/>
                </a:lnTo>
                <a:lnTo>
                  <a:pt x="462" y="876"/>
                </a:lnTo>
                <a:lnTo>
                  <a:pt x="456" y="870"/>
                </a:lnTo>
                <a:lnTo>
                  <a:pt x="456" y="864"/>
                </a:lnTo>
                <a:lnTo>
                  <a:pt x="450" y="858"/>
                </a:lnTo>
                <a:lnTo>
                  <a:pt x="444" y="858"/>
                </a:lnTo>
                <a:lnTo>
                  <a:pt x="444" y="852"/>
                </a:lnTo>
                <a:lnTo>
                  <a:pt x="438" y="852"/>
                </a:lnTo>
                <a:lnTo>
                  <a:pt x="438" y="858"/>
                </a:lnTo>
                <a:lnTo>
                  <a:pt x="402" y="870"/>
                </a:lnTo>
                <a:lnTo>
                  <a:pt x="390" y="882"/>
                </a:lnTo>
                <a:lnTo>
                  <a:pt x="384" y="900"/>
                </a:lnTo>
                <a:lnTo>
                  <a:pt x="342" y="900"/>
                </a:lnTo>
                <a:lnTo>
                  <a:pt x="324" y="900"/>
                </a:lnTo>
                <a:lnTo>
                  <a:pt x="294" y="906"/>
                </a:lnTo>
                <a:lnTo>
                  <a:pt x="282" y="948"/>
                </a:lnTo>
                <a:lnTo>
                  <a:pt x="282" y="978"/>
                </a:lnTo>
                <a:lnTo>
                  <a:pt x="270" y="1008"/>
                </a:lnTo>
                <a:lnTo>
                  <a:pt x="240" y="1014"/>
                </a:lnTo>
                <a:lnTo>
                  <a:pt x="216" y="996"/>
                </a:lnTo>
                <a:lnTo>
                  <a:pt x="204" y="984"/>
                </a:lnTo>
                <a:lnTo>
                  <a:pt x="192" y="966"/>
                </a:lnTo>
                <a:lnTo>
                  <a:pt x="186" y="948"/>
                </a:lnTo>
                <a:lnTo>
                  <a:pt x="174" y="948"/>
                </a:lnTo>
                <a:lnTo>
                  <a:pt x="174" y="936"/>
                </a:lnTo>
                <a:lnTo>
                  <a:pt x="186" y="924"/>
                </a:lnTo>
                <a:lnTo>
                  <a:pt x="198" y="906"/>
                </a:lnTo>
                <a:lnTo>
                  <a:pt x="204" y="888"/>
                </a:lnTo>
                <a:lnTo>
                  <a:pt x="222" y="870"/>
                </a:lnTo>
                <a:lnTo>
                  <a:pt x="234" y="858"/>
                </a:lnTo>
                <a:lnTo>
                  <a:pt x="234" y="852"/>
                </a:lnTo>
                <a:lnTo>
                  <a:pt x="222" y="852"/>
                </a:lnTo>
                <a:lnTo>
                  <a:pt x="228" y="810"/>
                </a:lnTo>
                <a:lnTo>
                  <a:pt x="222" y="798"/>
                </a:lnTo>
                <a:lnTo>
                  <a:pt x="216" y="798"/>
                </a:lnTo>
                <a:lnTo>
                  <a:pt x="216" y="792"/>
                </a:lnTo>
                <a:lnTo>
                  <a:pt x="210" y="792"/>
                </a:lnTo>
                <a:lnTo>
                  <a:pt x="204" y="798"/>
                </a:lnTo>
                <a:lnTo>
                  <a:pt x="204" y="792"/>
                </a:lnTo>
                <a:lnTo>
                  <a:pt x="198" y="792"/>
                </a:lnTo>
                <a:lnTo>
                  <a:pt x="192" y="792"/>
                </a:lnTo>
                <a:lnTo>
                  <a:pt x="186" y="792"/>
                </a:lnTo>
                <a:lnTo>
                  <a:pt x="180" y="786"/>
                </a:lnTo>
                <a:lnTo>
                  <a:pt x="174" y="792"/>
                </a:lnTo>
                <a:lnTo>
                  <a:pt x="162" y="792"/>
                </a:lnTo>
                <a:lnTo>
                  <a:pt x="156" y="792"/>
                </a:lnTo>
                <a:lnTo>
                  <a:pt x="156" y="798"/>
                </a:lnTo>
                <a:lnTo>
                  <a:pt x="138" y="792"/>
                </a:lnTo>
                <a:lnTo>
                  <a:pt x="126" y="792"/>
                </a:lnTo>
                <a:lnTo>
                  <a:pt x="126" y="798"/>
                </a:lnTo>
                <a:lnTo>
                  <a:pt x="126" y="804"/>
                </a:lnTo>
                <a:lnTo>
                  <a:pt x="102" y="810"/>
                </a:lnTo>
                <a:lnTo>
                  <a:pt x="90" y="810"/>
                </a:lnTo>
                <a:lnTo>
                  <a:pt x="72" y="798"/>
                </a:lnTo>
                <a:lnTo>
                  <a:pt x="66" y="780"/>
                </a:lnTo>
                <a:lnTo>
                  <a:pt x="60" y="780"/>
                </a:lnTo>
                <a:lnTo>
                  <a:pt x="60" y="768"/>
                </a:lnTo>
                <a:lnTo>
                  <a:pt x="54" y="768"/>
                </a:lnTo>
                <a:lnTo>
                  <a:pt x="24" y="756"/>
                </a:lnTo>
                <a:lnTo>
                  <a:pt x="18" y="744"/>
                </a:lnTo>
                <a:lnTo>
                  <a:pt x="12" y="738"/>
                </a:lnTo>
                <a:lnTo>
                  <a:pt x="18" y="732"/>
                </a:lnTo>
                <a:lnTo>
                  <a:pt x="12" y="726"/>
                </a:lnTo>
                <a:lnTo>
                  <a:pt x="6" y="714"/>
                </a:lnTo>
                <a:lnTo>
                  <a:pt x="0" y="702"/>
                </a:lnTo>
                <a:lnTo>
                  <a:pt x="0" y="696"/>
                </a:lnTo>
                <a:lnTo>
                  <a:pt x="18" y="696"/>
                </a:lnTo>
                <a:lnTo>
                  <a:pt x="24" y="708"/>
                </a:lnTo>
                <a:lnTo>
                  <a:pt x="36" y="702"/>
                </a:lnTo>
                <a:lnTo>
                  <a:pt x="36" y="678"/>
                </a:lnTo>
                <a:lnTo>
                  <a:pt x="36" y="660"/>
                </a:lnTo>
                <a:lnTo>
                  <a:pt x="42" y="654"/>
                </a:lnTo>
                <a:lnTo>
                  <a:pt x="48" y="642"/>
                </a:lnTo>
                <a:lnTo>
                  <a:pt x="54" y="642"/>
                </a:lnTo>
                <a:lnTo>
                  <a:pt x="72" y="624"/>
                </a:lnTo>
                <a:lnTo>
                  <a:pt x="90" y="618"/>
                </a:lnTo>
                <a:lnTo>
                  <a:pt x="102" y="618"/>
                </a:lnTo>
                <a:lnTo>
                  <a:pt x="114" y="612"/>
                </a:lnTo>
                <a:lnTo>
                  <a:pt x="138" y="606"/>
                </a:lnTo>
                <a:lnTo>
                  <a:pt x="144" y="606"/>
                </a:lnTo>
                <a:lnTo>
                  <a:pt x="150" y="594"/>
                </a:lnTo>
                <a:lnTo>
                  <a:pt x="156" y="576"/>
                </a:lnTo>
                <a:lnTo>
                  <a:pt x="168" y="552"/>
                </a:lnTo>
                <a:lnTo>
                  <a:pt x="168" y="540"/>
                </a:lnTo>
                <a:lnTo>
                  <a:pt x="180" y="522"/>
                </a:lnTo>
                <a:lnTo>
                  <a:pt x="186" y="498"/>
                </a:lnTo>
                <a:lnTo>
                  <a:pt x="198" y="480"/>
                </a:lnTo>
                <a:lnTo>
                  <a:pt x="204" y="486"/>
                </a:lnTo>
                <a:lnTo>
                  <a:pt x="210" y="480"/>
                </a:lnTo>
                <a:lnTo>
                  <a:pt x="204" y="474"/>
                </a:lnTo>
                <a:lnTo>
                  <a:pt x="198" y="462"/>
                </a:lnTo>
                <a:lnTo>
                  <a:pt x="192" y="456"/>
                </a:lnTo>
                <a:lnTo>
                  <a:pt x="150" y="462"/>
                </a:lnTo>
                <a:lnTo>
                  <a:pt x="144" y="462"/>
                </a:lnTo>
                <a:lnTo>
                  <a:pt x="138" y="450"/>
                </a:lnTo>
                <a:lnTo>
                  <a:pt x="132" y="426"/>
                </a:lnTo>
                <a:lnTo>
                  <a:pt x="132" y="396"/>
                </a:lnTo>
                <a:lnTo>
                  <a:pt x="132" y="378"/>
                </a:lnTo>
                <a:lnTo>
                  <a:pt x="126" y="348"/>
                </a:lnTo>
                <a:lnTo>
                  <a:pt x="132" y="312"/>
                </a:lnTo>
                <a:lnTo>
                  <a:pt x="126" y="288"/>
                </a:lnTo>
                <a:lnTo>
                  <a:pt x="138" y="282"/>
                </a:lnTo>
                <a:lnTo>
                  <a:pt x="126" y="264"/>
                </a:lnTo>
                <a:lnTo>
                  <a:pt x="126" y="258"/>
                </a:lnTo>
                <a:lnTo>
                  <a:pt x="120" y="246"/>
                </a:lnTo>
                <a:lnTo>
                  <a:pt x="126" y="234"/>
                </a:lnTo>
                <a:lnTo>
                  <a:pt x="114" y="228"/>
                </a:lnTo>
                <a:lnTo>
                  <a:pt x="114" y="222"/>
                </a:lnTo>
                <a:lnTo>
                  <a:pt x="96" y="204"/>
                </a:lnTo>
                <a:lnTo>
                  <a:pt x="84" y="180"/>
                </a:lnTo>
                <a:lnTo>
                  <a:pt x="78" y="168"/>
                </a:lnTo>
                <a:lnTo>
                  <a:pt x="72" y="162"/>
                </a:lnTo>
                <a:lnTo>
                  <a:pt x="66" y="144"/>
                </a:lnTo>
                <a:lnTo>
                  <a:pt x="60" y="138"/>
                </a:lnTo>
                <a:lnTo>
                  <a:pt x="66" y="126"/>
                </a:lnTo>
                <a:lnTo>
                  <a:pt x="66" y="114"/>
                </a:lnTo>
                <a:lnTo>
                  <a:pt x="72" y="114"/>
                </a:lnTo>
                <a:lnTo>
                  <a:pt x="72" y="108"/>
                </a:lnTo>
                <a:lnTo>
                  <a:pt x="78" y="102"/>
                </a:lnTo>
                <a:lnTo>
                  <a:pt x="78" y="90"/>
                </a:lnTo>
                <a:lnTo>
                  <a:pt x="78" y="84"/>
                </a:lnTo>
                <a:lnTo>
                  <a:pt x="84" y="72"/>
                </a:lnTo>
                <a:lnTo>
                  <a:pt x="102" y="72"/>
                </a:lnTo>
                <a:lnTo>
                  <a:pt x="108" y="72"/>
                </a:lnTo>
                <a:lnTo>
                  <a:pt x="120" y="78"/>
                </a:lnTo>
                <a:lnTo>
                  <a:pt x="144" y="84"/>
                </a:lnTo>
                <a:lnTo>
                  <a:pt x="150" y="84"/>
                </a:lnTo>
                <a:lnTo>
                  <a:pt x="156" y="84"/>
                </a:lnTo>
                <a:lnTo>
                  <a:pt x="156" y="90"/>
                </a:lnTo>
                <a:lnTo>
                  <a:pt x="162" y="90"/>
                </a:lnTo>
                <a:lnTo>
                  <a:pt x="174" y="96"/>
                </a:lnTo>
                <a:lnTo>
                  <a:pt x="180" y="96"/>
                </a:lnTo>
                <a:lnTo>
                  <a:pt x="186" y="96"/>
                </a:lnTo>
                <a:lnTo>
                  <a:pt x="192" y="102"/>
                </a:lnTo>
                <a:lnTo>
                  <a:pt x="198" y="96"/>
                </a:lnTo>
                <a:lnTo>
                  <a:pt x="204" y="96"/>
                </a:lnTo>
                <a:lnTo>
                  <a:pt x="204" y="102"/>
                </a:lnTo>
                <a:lnTo>
                  <a:pt x="210" y="102"/>
                </a:lnTo>
                <a:lnTo>
                  <a:pt x="216" y="102"/>
                </a:lnTo>
                <a:lnTo>
                  <a:pt x="216" y="96"/>
                </a:lnTo>
                <a:lnTo>
                  <a:pt x="222" y="96"/>
                </a:lnTo>
                <a:lnTo>
                  <a:pt x="228" y="96"/>
                </a:lnTo>
                <a:lnTo>
                  <a:pt x="228" y="102"/>
                </a:lnTo>
                <a:lnTo>
                  <a:pt x="234" y="102"/>
                </a:lnTo>
                <a:lnTo>
                  <a:pt x="240" y="102"/>
                </a:lnTo>
                <a:lnTo>
                  <a:pt x="252" y="102"/>
                </a:lnTo>
                <a:lnTo>
                  <a:pt x="252" y="108"/>
                </a:lnTo>
                <a:lnTo>
                  <a:pt x="264" y="108"/>
                </a:lnTo>
                <a:lnTo>
                  <a:pt x="270" y="108"/>
                </a:lnTo>
                <a:lnTo>
                  <a:pt x="276" y="108"/>
                </a:lnTo>
                <a:lnTo>
                  <a:pt x="294" y="114"/>
                </a:lnTo>
                <a:lnTo>
                  <a:pt x="312" y="120"/>
                </a:lnTo>
                <a:lnTo>
                  <a:pt x="318" y="126"/>
                </a:lnTo>
                <a:lnTo>
                  <a:pt x="330" y="132"/>
                </a:lnTo>
                <a:lnTo>
                  <a:pt x="342" y="132"/>
                </a:lnTo>
                <a:lnTo>
                  <a:pt x="348" y="132"/>
                </a:lnTo>
                <a:lnTo>
                  <a:pt x="354" y="138"/>
                </a:lnTo>
                <a:lnTo>
                  <a:pt x="366" y="138"/>
                </a:lnTo>
                <a:lnTo>
                  <a:pt x="372" y="144"/>
                </a:lnTo>
                <a:lnTo>
                  <a:pt x="378" y="150"/>
                </a:lnTo>
                <a:lnTo>
                  <a:pt x="384" y="150"/>
                </a:lnTo>
                <a:lnTo>
                  <a:pt x="390" y="150"/>
                </a:lnTo>
                <a:lnTo>
                  <a:pt x="396" y="150"/>
                </a:lnTo>
                <a:lnTo>
                  <a:pt x="402" y="150"/>
                </a:lnTo>
                <a:lnTo>
                  <a:pt x="414" y="156"/>
                </a:lnTo>
                <a:lnTo>
                  <a:pt x="420" y="156"/>
                </a:lnTo>
                <a:lnTo>
                  <a:pt x="426" y="162"/>
                </a:lnTo>
                <a:lnTo>
                  <a:pt x="438" y="168"/>
                </a:lnTo>
                <a:lnTo>
                  <a:pt x="444" y="174"/>
                </a:lnTo>
                <a:lnTo>
                  <a:pt x="450" y="174"/>
                </a:lnTo>
                <a:lnTo>
                  <a:pt x="462" y="174"/>
                </a:lnTo>
                <a:lnTo>
                  <a:pt x="468" y="174"/>
                </a:lnTo>
                <a:lnTo>
                  <a:pt x="474" y="174"/>
                </a:lnTo>
                <a:lnTo>
                  <a:pt x="474" y="180"/>
                </a:lnTo>
                <a:lnTo>
                  <a:pt x="480" y="192"/>
                </a:lnTo>
                <a:lnTo>
                  <a:pt x="498" y="198"/>
                </a:lnTo>
                <a:lnTo>
                  <a:pt x="510" y="210"/>
                </a:lnTo>
                <a:lnTo>
                  <a:pt x="516" y="210"/>
                </a:lnTo>
                <a:lnTo>
                  <a:pt x="522" y="210"/>
                </a:lnTo>
                <a:lnTo>
                  <a:pt x="534" y="216"/>
                </a:lnTo>
                <a:lnTo>
                  <a:pt x="540" y="216"/>
                </a:lnTo>
                <a:lnTo>
                  <a:pt x="546" y="222"/>
                </a:lnTo>
                <a:lnTo>
                  <a:pt x="552" y="222"/>
                </a:lnTo>
                <a:lnTo>
                  <a:pt x="558" y="228"/>
                </a:lnTo>
                <a:lnTo>
                  <a:pt x="564" y="228"/>
                </a:lnTo>
                <a:lnTo>
                  <a:pt x="570" y="234"/>
                </a:lnTo>
                <a:lnTo>
                  <a:pt x="576" y="240"/>
                </a:lnTo>
                <a:lnTo>
                  <a:pt x="582" y="240"/>
                </a:lnTo>
                <a:lnTo>
                  <a:pt x="588" y="240"/>
                </a:lnTo>
                <a:lnTo>
                  <a:pt x="594" y="240"/>
                </a:lnTo>
                <a:lnTo>
                  <a:pt x="600" y="228"/>
                </a:lnTo>
                <a:lnTo>
                  <a:pt x="588" y="216"/>
                </a:lnTo>
                <a:lnTo>
                  <a:pt x="588" y="198"/>
                </a:lnTo>
                <a:lnTo>
                  <a:pt x="582" y="198"/>
                </a:lnTo>
                <a:lnTo>
                  <a:pt x="588" y="192"/>
                </a:lnTo>
                <a:lnTo>
                  <a:pt x="582" y="168"/>
                </a:lnTo>
                <a:lnTo>
                  <a:pt x="558" y="114"/>
                </a:lnTo>
                <a:lnTo>
                  <a:pt x="552" y="90"/>
                </a:lnTo>
                <a:lnTo>
                  <a:pt x="558" y="60"/>
                </a:lnTo>
                <a:lnTo>
                  <a:pt x="564" y="48"/>
                </a:lnTo>
                <a:lnTo>
                  <a:pt x="582" y="42"/>
                </a:lnTo>
                <a:lnTo>
                  <a:pt x="624" y="6"/>
                </a:lnTo>
                <a:lnTo>
                  <a:pt x="648" y="0"/>
                </a:lnTo>
                <a:lnTo>
                  <a:pt x="678" y="0"/>
                </a:lnTo>
                <a:lnTo>
                  <a:pt x="720" y="12"/>
                </a:lnTo>
                <a:lnTo>
                  <a:pt x="744" y="24"/>
                </a:lnTo>
                <a:lnTo>
                  <a:pt x="768" y="42"/>
                </a:lnTo>
                <a:lnTo>
                  <a:pt x="816" y="48"/>
                </a:lnTo>
                <a:lnTo>
                  <a:pt x="834" y="48"/>
                </a:lnTo>
                <a:lnTo>
                  <a:pt x="852" y="54"/>
                </a:lnTo>
                <a:lnTo>
                  <a:pt x="906" y="60"/>
                </a:lnTo>
                <a:lnTo>
                  <a:pt x="948" y="54"/>
                </a:lnTo>
                <a:lnTo>
                  <a:pt x="978" y="42"/>
                </a:lnTo>
                <a:lnTo>
                  <a:pt x="984" y="48"/>
                </a:lnTo>
                <a:lnTo>
                  <a:pt x="990" y="60"/>
                </a:lnTo>
                <a:lnTo>
                  <a:pt x="996" y="66"/>
                </a:lnTo>
                <a:lnTo>
                  <a:pt x="1002" y="72"/>
                </a:lnTo>
                <a:lnTo>
                  <a:pt x="1014" y="78"/>
                </a:lnTo>
                <a:lnTo>
                  <a:pt x="1014" y="84"/>
                </a:lnTo>
                <a:lnTo>
                  <a:pt x="1032" y="84"/>
                </a:lnTo>
                <a:lnTo>
                  <a:pt x="1032" y="90"/>
                </a:lnTo>
                <a:lnTo>
                  <a:pt x="1032" y="96"/>
                </a:lnTo>
                <a:lnTo>
                  <a:pt x="1032" y="108"/>
                </a:lnTo>
                <a:lnTo>
                  <a:pt x="1056" y="126"/>
                </a:lnTo>
                <a:lnTo>
                  <a:pt x="1068" y="138"/>
                </a:lnTo>
                <a:lnTo>
                  <a:pt x="1068" y="156"/>
                </a:lnTo>
                <a:lnTo>
                  <a:pt x="1080" y="150"/>
                </a:lnTo>
                <a:lnTo>
                  <a:pt x="1086" y="150"/>
                </a:lnTo>
                <a:lnTo>
                  <a:pt x="1092" y="156"/>
                </a:lnTo>
                <a:lnTo>
                  <a:pt x="1092" y="162"/>
                </a:lnTo>
                <a:lnTo>
                  <a:pt x="1092" y="168"/>
                </a:lnTo>
                <a:lnTo>
                  <a:pt x="1098" y="168"/>
                </a:lnTo>
                <a:lnTo>
                  <a:pt x="1092" y="180"/>
                </a:lnTo>
                <a:lnTo>
                  <a:pt x="1092" y="186"/>
                </a:lnTo>
                <a:lnTo>
                  <a:pt x="1086" y="192"/>
                </a:lnTo>
                <a:lnTo>
                  <a:pt x="1068" y="210"/>
                </a:lnTo>
                <a:lnTo>
                  <a:pt x="1068" y="216"/>
                </a:lnTo>
                <a:lnTo>
                  <a:pt x="1074" y="228"/>
                </a:lnTo>
                <a:lnTo>
                  <a:pt x="1092" y="234"/>
                </a:lnTo>
                <a:lnTo>
                  <a:pt x="1122" y="216"/>
                </a:lnTo>
                <a:lnTo>
                  <a:pt x="1188" y="204"/>
                </a:lnTo>
                <a:lnTo>
                  <a:pt x="1212" y="204"/>
                </a:lnTo>
                <a:lnTo>
                  <a:pt x="1230" y="198"/>
                </a:lnTo>
                <a:lnTo>
                  <a:pt x="1236" y="204"/>
                </a:lnTo>
                <a:lnTo>
                  <a:pt x="1242" y="210"/>
                </a:lnTo>
                <a:lnTo>
                  <a:pt x="1242" y="204"/>
                </a:lnTo>
                <a:lnTo>
                  <a:pt x="1248" y="198"/>
                </a:lnTo>
                <a:lnTo>
                  <a:pt x="1308" y="204"/>
                </a:lnTo>
                <a:lnTo>
                  <a:pt x="1338" y="204"/>
                </a:lnTo>
                <a:lnTo>
                  <a:pt x="1374" y="228"/>
                </a:lnTo>
                <a:lnTo>
                  <a:pt x="1380" y="234"/>
                </a:lnTo>
                <a:lnTo>
                  <a:pt x="1380" y="240"/>
                </a:lnTo>
                <a:lnTo>
                  <a:pt x="1386" y="252"/>
                </a:lnTo>
                <a:lnTo>
                  <a:pt x="1392" y="252"/>
                </a:lnTo>
                <a:lnTo>
                  <a:pt x="1416" y="270"/>
                </a:lnTo>
                <a:lnTo>
                  <a:pt x="1428" y="294"/>
                </a:lnTo>
                <a:lnTo>
                  <a:pt x="1440" y="312"/>
                </a:lnTo>
                <a:lnTo>
                  <a:pt x="1452" y="330"/>
                </a:lnTo>
                <a:lnTo>
                  <a:pt x="1464" y="330"/>
                </a:lnTo>
                <a:lnTo>
                  <a:pt x="1464" y="336"/>
                </a:lnTo>
                <a:lnTo>
                  <a:pt x="1470" y="336"/>
                </a:lnTo>
                <a:lnTo>
                  <a:pt x="1470" y="342"/>
                </a:lnTo>
                <a:lnTo>
                  <a:pt x="1476" y="342"/>
                </a:lnTo>
                <a:lnTo>
                  <a:pt x="1488" y="336"/>
                </a:lnTo>
                <a:lnTo>
                  <a:pt x="1494" y="342"/>
                </a:lnTo>
                <a:lnTo>
                  <a:pt x="1500" y="342"/>
                </a:lnTo>
                <a:lnTo>
                  <a:pt x="1512" y="366"/>
                </a:lnTo>
                <a:lnTo>
                  <a:pt x="1530" y="396"/>
                </a:lnTo>
                <a:lnTo>
                  <a:pt x="1536" y="444"/>
                </a:lnTo>
                <a:lnTo>
                  <a:pt x="1530" y="480"/>
                </a:lnTo>
                <a:lnTo>
                  <a:pt x="1506" y="510"/>
                </a:lnTo>
                <a:lnTo>
                  <a:pt x="1500" y="546"/>
                </a:lnTo>
                <a:lnTo>
                  <a:pt x="1494" y="564"/>
                </a:lnTo>
                <a:lnTo>
                  <a:pt x="1494" y="576"/>
                </a:lnTo>
                <a:lnTo>
                  <a:pt x="1500" y="582"/>
                </a:lnTo>
                <a:lnTo>
                  <a:pt x="1494" y="612"/>
                </a:lnTo>
                <a:lnTo>
                  <a:pt x="1476" y="630"/>
                </a:lnTo>
                <a:lnTo>
                  <a:pt x="1434" y="672"/>
                </a:lnTo>
                <a:lnTo>
                  <a:pt x="1392" y="756"/>
                </a:lnTo>
                <a:lnTo>
                  <a:pt x="1380" y="792"/>
                </a:lnTo>
                <a:lnTo>
                  <a:pt x="1374" y="798"/>
                </a:lnTo>
                <a:lnTo>
                  <a:pt x="1368" y="798"/>
                </a:lnTo>
                <a:lnTo>
                  <a:pt x="1380" y="804"/>
                </a:lnTo>
                <a:lnTo>
                  <a:pt x="1386" y="804"/>
                </a:lnTo>
                <a:lnTo>
                  <a:pt x="1380" y="822"/>
                </a:lnTo>
                <a:lnTo>
                  <a:pt x="1380" y="852"/>
                </a:lnTo>
                <a:lnTo>
                  <a:pt x="1374" y="858"/>
                </a:lnTo>
                <a:lnTo>
                  <a:pt x="1380" y="858"/>
                </a:lnTo>
                <a:lnTo>
                  <a:pt x="1374" y="864"/>
                </a:lnTo>
                <a:lnTo>
                  <a:pt x="1374" y="870"/>
                </a:lnTo>
                <a:lnTo>
                  <a:pt x="1374" y="876"/>
                </a:lnTo>
                <a:lnTo>
                  <a:pt x="1368" y="900"/>
                </a:lnTo>
                <a:lnTo>
                  <a:pt x="1362" y="906"/>
                </a:lnTo>
                <a:lnTo>
                  <a:pt x="1362" y="918"/>
                </a:lnTo>
                <a:lnTo>
                  <a:pt x="1362" y="924"/>
                </a:lnTo>
                <a:lnTo>
                  <a:pt x="1356" y="942"/>
                </a:lnTo>
                <a:lnTo>
                  <a:pt x="1350" y="972"/>
                </a:lnTo>
                <a:lnTo>
                  <a:pt x="1350" y="1014"/>
                </a:lnTo>
                <a:lnTo>
                  <a:pt x="1350" y="1020"/>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18457" name="Freeform 19"/>
          <p:cNvSpPr>
            <a:spLocks noEditPoints="1"/>
          </p:cNvSpPr>
          <p:nvPr/>
        </p:nvSpPr>
        <p:spPr bwMode="gray">
          <a:xfrm>
            <a:off x="4017963" y="5108575"/>
            <a:ext cx="820737" cy="1241425"/>
          </a:xfrm>
          <a:custGeom>
            <a:avLst/>
            <a:gdLst>
              <a:gd name="T0" fmla="*/ 9422 w 1044"/>
              <a:gd name="T1" fmla="*/ 76553 h 1542"/>
              <a:gd name="T2" fmla="*/ 5496 w 1044"/>
              <a:gd name="T3" fmla="*/ 74941 h 1542"/>
              <a:gd name="T4" fmla="*/ 0 w 1044"/>
              <a:gd name="T5" fmla="*/ 70912 h 1542"/>
              <a:gd name="T6" fmla="*/ 2356 w 1044"/>
              <a:gd name="T7" fmla="*/ 59630 h 1542"/>
              <a:gd name="T8" fmla="*/ 3141 w 1044"/>
              <a:gd name="T9" fmla="*/ 47543 h 1542"/>
              <a:gd name="T10" fmla="*/ 5496 w 1044"/>
              <a:gd name="T11" fmla="*/ 41902 h 1542"/>
              <a:gd name="T12" fmla="*/ 15704 w 1044"/>
              <a:gd name="T13" fmla="*/ 40291 h 1542"/>
              <a:gd name="T14" fmla="*/ 18845 w 1044"/>
              <a:gd name="T15" fmla="*/ 37068 h 1542"/>
              <a:gd name="T16" fmla="*/ 22770 w 1044"/>
              <a:gd name="T17" fmla="*/ 26592 h 1542"/>
              <a:gd name="T18" fmla="*/ 25126 w 1044"/>
              <a:gd name="T19" fmla="*/ 20951 h 1542"/>
              <a:gd name="T20" fmla="*/ 23556 w 1044"/>
              <a:gd name="T21" fmla="*/ 16116 h 1542"/>
              <a:gd name="T22" fmla="*/ 20415 w 1044"/>
              <a:gd name="T23" fmla="*/ 13699 h 1542"/>
              <a:gd name="T24" fmla="*/ 21985 w 1044"/>
              <a:gd name="T25" fmla="*/ 9670 h 1542"/>
              <a:gd name="T26" fmla="*/ 34548 w 1044"/>
              <a:gd name="T27" fmla="*/ 4029 h 1542"/>
              <a:gd name="T28" fmla="*/ 44756 w 1044"/>
              <a:gd name="T29" fmla="*/ 1612 h 1542"/>
              <a:gd name="T30" fmla="*/ 51037 w 1044"/>
              <a:gd name="T31" fmla="*/ 9670 h 1542"/>
              <a:gd name="T32" fmla="*/ 63600 w 1044"/>
              <a:gd name="T33" fmla="*/ 7252 h 1542"/>
              <a:gd name="T34" fmla="*/ 71452 w 1044"/>
              <a:gd name="T35" fmla="*/ 16116 h 1542"/>
              <a:gd name="T36" fmla="*/ 69882 w 1044"/>
              <a:gd name="T37" fmla="*/ 22563 h 1542"/>
              <a:gd name="T38" fmla="*/ 65171 w 1044"/>
              <a:gd name="T39" fmla="*/ 26592 h 1542"/>
              <a:gd name="T40" fmla="*/ 58104 w 1044"/>
              <a:gd name="T41" fmla="*/ 33844 h 1542"/>
              <a:gd name="T42" fmla="*/ 45541 w 1044"/>
              <a:gd name="T43" fmla="*/ 45932 h 1542"/>
              <a:gd name="T44" fmla="*/ 42400 w 1044"/>
              <a:gd name="T45" fmla="*/ 52378 h 1542"/>
              <a:gd name="T46" fmla="*/ 46326 w 1044"/>
              <a:gd name="T47" fmla="*/ 59630 h 1542"/>
              <a:gd name="T48" fmla="*/ 43185 w 1044"/>
              <a:gd name="T49" fmla="*/ 67689 h 1542"/>
              <a:gd name="T50" fmla="*/ 40830 w 1044"/>
              <a:gd name="T51" fmla="*/ 78970 h 1542"/>
              <a:gd name="T52" fmla="*/ 36904 w 1044"/>
              <a:gd name="T53" fmla="*/ 84611 h 1542"/>
              <a:gd name="T54" fmla="*/ 32978 w 1044"/>
              <a:gd name="T55" fmla="*/ 89446 h 1542"/>
              <a:gd name="T56" fmla="*/ 33763 w 1044"/>
              <a:gd name="T57" fmla="*/ 96698 h 1542"/>
              <a:gd name="T58" fmla="*/ 35333 w 1044"/>
              <a:gd name="T59" fmla="*/ 100727 h 1542"/>
              <a:gd name="T60" fmla="*/ 34548 w 1044"/>
              <a:gd name="T61" fmla="*/ 104756 h 1542"/>
              <a:gd name="T62" fmla="*/ 35333 w 1044"/>
              <a:gd name="T63" fmla="*/ 105562 h 1542"/>
              <a:gd name="T64" fmla="*/ 37689 w 1044"/>
              <a:gd name="T65" fmla="*/ 107174 h 1542"/>
              <a:gd name="T66" fmla="*/ 30622 w 1044"/>
              <a:gd name="T67" fmla="*/ 107174 h 1542"/>
              <a:gd name="T68" fmla="*/ 32978 w 1044"/>
              <a:gd name="T69" fmla="*/ 106368 h 1542"/>
              <a:gd name="T70" fmla="*/ 29837 w 1044"/>
              <a:gd name="T71" fmla="*/ 107174 h 1542"/>
              <a:gd name="T72" fmla="*/ 29052 w 1044"/>
              <a:gd name="T73" fmla="*/ 103950 h 1542"/>
              <a:gd name="T74" fmla="*/ 31408 w 1044"/>
              <a:gd name="T75" fmla="*/ 100727 h 1542"/>
              <a:gd name="T76" fmla="*/ 31408 w 1044"/>
              <a:gd name="T77" fmla="*/ 96698 h 1542"/>
              <a:gd name="T78" fmla="*/ 31408 w 1044"/>
              <a:gd name="T79" fmla="*/ 94281 h 1542"/>
              <a:gd name="T80" fmla="*/ 29052 w 1044"/>
              <a:gd name="T81" fmla="*/ 96698 h 1542"/>
              <a:gd name="T82" fmla="*/ 26696 w 1044"/>
              <a:gd name="T83" fmla="*/ 98310 h 1542"/>
              <a:gd name="T84" fmla="*/ 28267 w 1044"/>
              <a:gd name="T85" fmla="*/ 96698 h 1542"/>
              <a:gd name="T86" fmla="*/ 23556 w 1044"/>
              <a:gd name="T87" fmla="*/ 96698 h 1542"/>
              <a:gd name="T88" fmla="*/ 24341 w 1044"/>
              <a:gd name="T89" fmla="*/ 91057 h 1542"/>
              <a:gd name="T90" fmla="*/ 22770 w 1044"/>
              <a:gd name="T91" fmla="*/ 90252 h 1542"/>
              <a:gd name="T92" fmla="*/ 24341 w 1044"/>
              <a:gd name="T93" fmla="*/ 94281 h 1542"/>
              <a:gd name="T94" fmla="*/ 21200 w 1044"/>
              <a:gd name="T95" fmla="*/ 93475 h 1542"/>
              <a:gd name="T96" fmla="*/ 19630 w 1044"/>
              <a:gd name="T97" fmla="*/ 90252 h 1542"/>
              <a:gd name="T98" fmla="*/ 16489 w 1044"/>
              <a:gd name="T99" fmla="*/ 87834 h 1542"/>
              <a:gd name="T100" fmla="*/ 16489 w 1044"/>
              <a:gd name="T101" fmla="*/ 91057 h 1542"/>
              <a:gd name="T102" fmla="*/ 31408 w 1044"/>
              <a:gd name="T103" fmla="*/ 96698 h 1542"/>
              <a:gd name="T104" fmla="*/ 31408 w 1044"/>
              <a:gd name="T105" fmla="*/ 97504 h 1542"/>
              <a:gd name="T106" fmla="*/ 31408 w 1044"/>
              <a:gd name="T107" fmla="*/ 93475 h 1542"/>
              <a:gd name="T108" fmla="*/ 29837 w 1044"/>
              <a:gd name="T109" fmla="*/ 96698 h 1542"/>
              <a:gd name="T110" fmla="*/ 18059 w 1044"/>
              <a:gd name="T111" fmla="*/ 88640 h 1542"/>
              <a:gd name="T112" fmla="*/ 29052 w 1044"/>
              <a:gd name="T113" fmla="*/ 99921 h 1542"/>
              <a:gd name="T114" fmla="*/ 31408 w 1044"/>
              <a:gd name="T115" fmla="*/ 100727 h 1542"/>
              <a:gd name="T116" fmla="*/ 29837 w 1044"/>
              <a:gd name="T117" fmla="*/ 103145 h 1542"/>
              <a:gd name="T118" fmla="*/ 19630 w 1044"/>
              <a:gd name="T119" fmla="*/ 94281 h 1542"/>
              <a:gd name="T120" fmla="*/ 21200 w 1044"/>
              <a:gd name="T121" fmla="*/ 102339 h 1542"/>
              <a:gd name="T122" fmla="*/ 18845 w 1044"/>
              <a:gd name="T123" fmla="*/ 91057 h 15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44"/>
              <a:gd name="T187" fmla="*/ 0 h 1542"/>
              <a:gd name="T188" fmla="*/ 1044 w 1044"/>
              <a:gd name="T189" fmla="*/ 1542 h 15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44" h="1542">
                <a:moveTo>
                  <a:pt x="234" y="1278"/>
                </a:moveTo>
                <a:lnTo>
                  <a:pt x="228" y="1272"/>
                </a:lnTo>
                <a:lnTo>
                  <a:pt x="222" y="1266"/>
                </a:lnTo>
                <a:lnTo>
                  <a:pt x="222" y="1260"/>
                </a:lnTo>
                <a:lnTo>
                  <a:pt x="204" y="1248"/>
                </a:lnTo>
                <a:lnTo>
                  <a:pt x="192" y="1248"/>
                </a:lnTo>
                <a:lnTo>
                  <a:pt x="186" y="1236"/>
                </a:lnTo>
                <a:lnTo>
                  <a:pt x="174" y="1218"/>
                </a:lnTo>
                <a:lnTo>
                  <a:pt x="162" y="1194"/>
                </a:lnTo>
                <a:lnTo>
                  <a:pt x="156" y="1182"/>
                </a:lnTo>
                <a:lnTo>
                  <a:pt x="162" y="1146"/>
                </a:lnTo>
                <a:lnTo>
                  <a:pt x="156" y="1134"/>
                </a:lnTo>
                <a:lnTo>
                  <a:pt x="138" y="1122"/>
                </a:lnTo>
                <a:lnTo>
                  <a:pt x="132" y="1116"/>
                </a:lnTo>
                <a:lnTo>
                  <a:pt x="138" y="1098"/>
                </a:lnTo>
                <a:lnTo>
                  <a:pt x="138" y="1092"/>
                </a:lnTo>
                <a:lnTo>
                  <a:pt x="138" y="1086"/>
                </a:lnTo>
                <a:lnTo>
                  <a:pt x="132" y="1074"/>
                </a:lnTo>
                <a:lnTo>
                  <a:pt x="126" y="1074"/>
                </a:lnTo>
                <a:lnTo>
                  <a:pt x="126" y="1068"/>
                </a:lnTo>
                <a:lnTo>
                  <a:pt x="120" y="1062"/>
                </a:lnTo>
                <a:lnTo>
                  <a:pt x="120" y="1056"/>
                </a:lnTo>
                <a:lnTo>
                  <a:pt x="114" y="1050"/>
                </a:lnTo>
                <a:lnTo>
                  <a:pt x="108" y="1050"/>
                </a:lnTo>
                <a:lnTo>
                  <a:pt x="102" y="1056"/>
                </a:lnTo>
                <a:lnTo>
                  <a:pt x="102" y="1062"/>
                </a:lnTo>
                <a:lnTo>
                  <a:pt x="96" y="1062"/>
                </a:lnTo>
                <a:lnTo>
                  <a:pt x="96" y="1068"/>
                </a:lnTo>
                <a:lnTo>
                  <a:pt x="96" y="1074"/>
                </a:lnTo>
                <a:lnTo>
                  <a:pt x="90" y="1074"/>
                </a:lnTo>
                <a:lnTo>
                  <a:pt x="84" y="1080"/>
                </a:lnTo>
                <a:lnTo>
                  <a:pt x="78" y="1074"/>
                </a:lnTo>
                <a:lnTo>
                  <a:pt x="72" y="1074"/>
                </a:lnTo>
                <a:lnTo>
                  <a:pt x="72" y="1068"/>
                </a:lnTo>
                <a:lnTo>
                  <a:pt x="72" y="1062"/>
                </a:lnTo>
                <a:lnTo>
                  <a:pt x="60" y="1056"/>
                </a:lnTo>
                <a:lnTo>
                  <a:pt x="60" y="1044"/>
                </a:lnTo>
                <a:lnTo>
                  <a:pt x="60" y="1032"/>
                </a:lnTo>
                <a:lnTo>
                  <a:pt x="60" y="1026"/>
                </a:lnTo>
                <a:lnTo>
                  <a:pt x="54" y="1026"/>
                </a:lnTo>
                <a:lnTo>
                  <a:pt x="48" y="1014"/>
                </a:lnTo>
                <a:lnTo>
                  <a:pt x="42" y="1008"/>
                </a:lnTo>
                <a:lnTo>
                  <a:pt x="30" y="1008"/>
                </a:lnTo>
                <a:lnTo>
                  <a:pt x="30" y="1002"/>
                </a:lnTo>
                <a:lnTo>
                  <a:pt x="24" y="1008"/>
                </a:lnTo>
                <a:lnTo>
                  <a:pt x="12" y="1008"/>
                </a:lnTo>
                <a:lnTo>
                  <a:pt x="6" y="1008"/>
                </a:lnTo>
                <a:lnTo>
                  <a:pt x="0" y="1008"/>
                </a:lnTo>
                <a:lnTo>
                  <a:pt x="0" y="1002"/>
                </a:lnTo>
                <a:lnTo>
                  <a:pt x="6" y="990"/>
                </a:lnTo>
                <a:lnTo>
                  <a:pt x="6" y="984"/>
                </a:lnTo>
                <a:lnTo>
                  <a:pt x="0" y="978"/>
                </a:lnTo>
                <a:lnTo>
                  <a:pt x="6" y="972"/>
                </a:lnTo>
                <a:lnTo>
                  <a:pt x="12" y="972"/>
                </a:lnTo>
                <a:lnTo>
                  <a:pt x="72" y="978"/>
                </a:lnTo>
                <a:lnTo>
                  <a:pt x="78" y="972"/>
                </a:lnTo>
                <a:lnTo>
                  <a:pt x="72" y="960"/>
                </a:lnTo>
                <a:lnTo>
                  <a:pt x="66" y="960"/>
                </a:lnTo>
                <a:lnTo>
                  <a:pt x="60" y="930"/>
                </a:lnTo>
                <a:lnTo>
                  <a:pt x="54" y="912"/>
                </a:lnTo>
                <a:lnTo>
                  <a:pt x="42" y="906"/>
                </a:lnTo>
                <a:lnTo>
                  <a:pt x="36" y="894"/>
                </a:lnTo>
                <a:lnTo>
                  <a:pt x="30" y="876"/>
                </a:lnTo>
                <a:lnTo>
                  <a:pt x="30" y="858"/>
                </a:lnTo>
                <a:lnTo>
                  <a:pt x="30" y="840"/>
                </a:lnTo>
                <a:lnTo>
                  <a:pt x="36" y="816"/>
                </a:lnTo>
                <a:lnTo>
                  <a:pt x="36" y="792"/>
                </a:lnTo>
                <a:lnTo>
                  <a:pt x="36" y="780"/>
                </a:lnTo>
                <a:lnTo>
                  <a:pt x="12" y="774"/>
                </a:lnTo>
                <a:lnTo>
                  <a:pt x="24" y="756"/>
                </a:lnTo>
                <a:lnTo>
                  <a:pt x="24" y="744"/>
                </a:lnTo>
                <a:lnTo>
                  <a:pt x="30" y="738"/>
                </a:lnTo>
                <a:lnTo>
                  <a:pt x="30" y="732"/>
                </a:lnTo>
                <a:lnTo>
                  <a:pt x="36" y="720"/>
                </a:lnTo>
                <a:lnTo>
                  <a:pt x="42" y="714"/>
                </a:lnTo>
                <a:lnTo>
                  <a:pt x="54" y="708"/>
                </a:lnTo>
                <a:lnTo>
                  <a:pt x="60" y="702"/>
                </a:lnTo>
                <a:lnTo>
                  <a:pt x="48" y="690"/>
                </a:lnTo>
                <a:lnTo>
                  <a:pt x="48" y="684"/>
                </a:lnTo>
                <a:lnTo>
                  <a:pt x="48" y="678"/>
                </a:lnTo>
                <a:lnTo>
                  <a:pt x="48" y="672"/>
                </a:lnTo>
                <a:lnTo>
                  <a:pt x="54" y="672"/>
                </a:lnTo>
                <a:lnTo>
                  <a:pt x="60" y="672"/>
                </a:lnTo>
                <a:lnTo>
                  <a:pt x="66" y="666"/>
                </a:lnTo>
                <a:lnTo>
                  <a:pt x="72" y="654"/>
                </a:lnTo>
                <a:lnTo>
                  <a:pt x="72" y="648"/>
                </a:lnTo>
                <a:lnTo>
                  <a:pt x="84" y="642"/>
                </a:lnTo>
                <a:lnTo>
                  <a:pt x="84" y="636"/>
                </a:lnTo>
                <a:lnTo>
                  <a:pt x="84" y="630"/>
                </a:lnTo>
                <a:lnTo>
                  <a:pt x="90" y="630"/>
                </a:lnTo>
                <a:lnTo>
                  <a:pt x="96" y="630"/>
                </a:lnTo>
                <a:lnTo>
                  <a:pt x="96" y="624"/>
                </a:lnTo>
                <a:lnTo>
                  <a:pt x="90" y="624"/>
                </a:lnTo>
                <a:lnTo>
                  <a:pt x="84" y="612"/>
                </a:lnTo>
                <a:lnTo>
                  <a:pt x="78" y="606"/>
                </a:lnTo>
                <a:lnTo>
                  <a:pt x="78" y="600"/>
                </a:lnTo>
                <a:lnTo>
                  <a:pt x="84" y="600"/>
                </a:lnTo>
                <a:lnTo>
                  <a:pt x="90" y="600"/>
                </a:lnTo>
                <a:lnTo>
                  <a:pt x="84" y="600"/>
                </a:lnTo>
                <a:lnTo>
                  <a:pt x="78" y="594"/>
                </a:lnTo>
                <a:lnTo>
                  <a:pt x="78" y="582"/>
                </a:lnTo>
                <a:lnTo>
                  <a:pt x="78" y="576"/>
                </a:lnTo>
                <a:lnTo>
                  <a:pt x="126" y="564"/>
                </a:lnTo>
                <a:lnTo>
                  <a:pt x="144" y="564"/>
                </a:lnTo>
                <a:lnTo>
                  <a:pt x="156" y="582"/>
                </a:lnTo>
                <a:lnTo>
                  <a:pt x="162" y="600"/>
                </a:lnTo>
                <a:lnTo>
                  <a:pt x="180" y="588"/>
                </a:lnTo>
                <a:lnTo>
                  <a:pt x="192" y="588"/>
                </a:lnTo>
                <a:lnTo>
                  <a:pt x="198" y="588"/>
                </a:lnTo>
                <a:lnTo>
                  <a:pt x="210" y="582"/>
                </a:lnTo>
                <a:lnTo>
                  <a:pt x="216" y="576"/>
                </a:lnTo>
                <a:lnTo>
                  <a:pt x="222" y="570"/>
                </a:lnTo>
                <a:lnTo>
                  <a:pt x="222" y="564"/>
                </a:lnTo>
                <a:lnTo>
                  <a:pt x="228" y="558"/>
                </a:lnTo>
                <a:lnTo>
                  <a:pt x="234" y="558"/>
                </a:lnTo>
                <a:lnTo>
                  <a:pt x="240" y="558"/>
                </a:lnTo>
                <a:lnTo>
                  <a:pt x="246" y="558"/>
                </a:lnTo>
                <a:lnTo>
                  <a:pt x="252" y="558"/>
                </a:lnTo>
                <a:lnTo>
                  <a:pt x="252" y="564"/>
                </a:lnTo>
                <a:lnTo>
                  <a:pt x="258" y="570"/>
                </a:lnTo>
                <a:lnTo>
                  <a:pt x="264" y="570"/>
                </a:lnTo>
                <a:lnTo>
                  <a:pt x="270" y="564"/>
                </a:lnTo>
                <a:lnTo>
                  <a:pt x="276" y="558"/>
                </a:lnTo>
                <a:lnTo>
                  <a:pt x="276" y="552"/>
                </a:lnTo>
                <a:lnTo>
                  <a:pt x="276" y="546"/>
                </a:lnTo>
                <a:lnTo>
                  <a:pt x="276" y="540"/>
                </a:lnTo>
                <a:lnTo>
                  <a:pt x="276" y="534"/>
                </a:lnTo>
                <a:lnTo>
                  <a:pt x="276" y="528"/>
                </a:lnTo>
                <a:lnTo>
                  <a:pt x="282" y="528"/>
                </a:lnTo>
                <a:lnTo>
                  <a:pt x="282" y="522"/>
                </a:lnTo>
                <a:lnTo>
                  <a:pt x="282" y="516"/>
                </a:lnTo>
                <a:lnTo>
                  <a:pt x="282" y="510"/>
                </a:lnTo>
                <a:lnTo>
                  <a:pt x="282" y="504"/>
                </a:lnTo>
                <a:lnTo>
                  <a:pt x="282" y="492"/>
                </a:lnTo>
                <a:lnTo>
                  <a:pt x="288" y="486"/>
                </a:lnTo>
                <a:lnTo>
                  <a:pt x="300" y="480"/>
                </a:lnTo>
                <a:lnTo>
                  <a:pt x="306" y="462"/>
                </a:lnTo>
                <a:lnTo>
                  <a:pt x="318" y="444"/>
                </a:lnTo>
                <a:lnTo>
                  <a:pt x="330" y="444"/>
                </a:lnTo>
                <a:lnTo>
                  <a:pt x="330" y="432"/>
                </a:lnTo>
                <a:lnTo>
                  <a:pt x="342" y="432"/>
                </a:lnTo>
                <a:lnTo>
                  <a:pt x="354" y="402"/>
                </a:lnTo>
                <a:lnTo>
                  <a:pt x="348" y="390"/>
                </a:lnTo>
                <a:lnTo>
                  <a:pt x="336" y="384"/>
                </a:lnTo>
                <a:lnTo>
                  <a:pt x="336" y="360"/>
                </a:lnTo>
                <a:lnTo>
                  <a:pt x="336" y="354"/>
                </a:lnTo>
                <a:lnTo>
                  <a:pt x="336" y="342"/>
                </a:lnTo>
                <a:lnTo>
                  <a:pt x="342" y="336"/>
                </a:lnTo>
                <a:lnTo>
                  <a:pt x="342" y="324"/>
                </a:lnTo>
                <a:lnTo>
                  <a:pt x="372" y="324"/>
                </a:lnTo>
                <a:lnTo>
                  <a:pt x="378" y="324"/>
                </a:lnTo>
                <a:lnTo>
                  <a:pt x="378" y="318"/>
                </a:lnTo>
                <a:lnTo>
                  <a:pt x="372" y="312"/>
                </a:lnTo>
                <a:lnTo>
                  <a:pt x="378" y="312"/>
                </a:lnTo>
                <a:lnTo>
                  <a:pt x="384" y="312"/>
                </a:lnTo>
                <a:lnTo>
                  <a:pt x="384" y="306"/>
                </a:lnTo>
                <a:lnTo>
                  <a:pt x="384" y="300"/>
                </a:lnTo>
                <a:lnTo>
                  <a:pt x="384" y="294"/>
                </a:lnTo>
                <a:lnTo>
                  <a:pt x="378" y="294"/>
                </a:lnTo>
                <a:lnTo>
                  <a:pt x="372" y="294"/>
                </a:lnTo>
                <a:lnTo>
                  <a:pt x="366" y="294"/>
                </a:lnTo>
                <a:lnTo>
                  <a:pt x="366" y="288"/>
                </a:lnTo>
                <a:lnTo>
                  <a:pt x="372" y="288"/>
                </a:lnTo>
                <a:lnTo>
                  <a:pt x="372" y="282"/>
                </a:lnTo>
                <a:lnTo>
                  <a:pt x="366" y="276"/>
                </a:lnTo>
                <a:lnTo>
                  <a:pt x="360" y="270"/>
                </a:lnTo>
                <a:lnTo>
                  <a:pt x="360" y="264"/>
                </a:lnTo>
                <a:lnTo>
                  <a:pt x="354" y="264"/>
                </a:lnTo>
                <a:lnTo>
                  <a:pt x="348" y="258"/>
                </a:lnTo>
                <a:lnTo>
                  <a:pt x="354" y="258"/>
                </a:lnTo>
                <a:lnTo>
                  <a:pt x="354" y="252"/>
                </a:lnTo>
                <a:lnTo>
                  <a:pt x="360" y="246"/>
                </a:lnTo>
                <a:lnTo>
                  <a:pt x="360" y="240"/>
                </a:lnTo>
                <a:lnTo>
                  <a:pt x="354" y="240"/>
                </a:lnTo>
                <a:lnTo>
                  <a:pt x="342" y="234"/>
                </a:lnTo>
                <a:lnTo>
                  <a:pt x="342" y="228"/>
                </a:lnTo>
                <a:lnTo>
                  <a:pt x="348" y="228"/>
                </a:lnTo>
                <a:lnTo>
                  <a:pt x="342" y="228"/>
                </a:lnTo>
                <a:lnTo>
                  <a:pt x="342" y="222"/>
                </a:lnTo>
                <a:lnTo>
                  <a:pt x="342" y="216"/>
                </a:lnTo>
                <a:lnTo>
                  <a:pt x="336" y="216"/>
                </a:lnTo>
                <a:lnTo>
                  <a:pt x="330" y="222"/>
                </a:lnTo>
                <a:lnTo>
                  <a:pt x="330" y="216"/>
                </a:lnTo>
                <a:lnTo>
                  <a:pt x="330" y="210"/>
                </a:lnTo>
                <a:lnTo>
                  <a:pt x="324" y="210"/>
                </a:lnTo>
                <a:lnTo>
                  <a:pt x="318" y="210"/>
                </a:lnTo>
                <a:lnTo>
                  <a:pt x="318" y="204"/>
                </a:lnTo>
                <a:lnTo>
                  <a:pt x="312" y="204"/>
                </a:lnTo>
                <a:lnTo>
                  <a:pt x="306" y="198"/>
                </a:lnTo>
                <a:lnTo>
                  <a:pt x="306" y="192"/>
                </a:lnTo>
                <a:lnTo>
                  <a:pt x="300" y="192"/>
                </a:lnTo>
                <a:lnTo>
                  <a:pt x="300" y="198"/>
                </a:lnTo>
                <a:lnTo>
                  <a:pt x="294" y="192"/>
                </a:lnTo>
                <a:lnTo>
                  <a:pt x="300" y="186"/>
                </a:lnTo>
                <a:lnTo>
                  <a:pt x="294" y="186"/>
                </a:lnTo>
                <a:lnTo>
                  <a:pt x="294" y="180"/>
                </a:lnTo>
                <a:lnTo>
                  <a:pt x="294" y="174"/>
                </a:lnTo>
                <a:lnTo>
                  <a:pt x="300" y="174"/>
                </a:lnTo>
                <a:lnTo>
                  <a:pt x="300" y="168"/>
                </a:lnTo>
                <a:lnTo>
                  <a:pt x="300" y="162"/>
                </a:lnTo>
                <a:lnTo>
                  <a:pt x="294" y="162"/>
                </a:lnTo>
                <a:lnTo>
                  <a:pt x="288" y="162"/>
                </a:lnTo>
                <a:lnTo>
                  <a:pt x="288" y="156"/>
                </a:lnTo>
                <a:lnTo>
                  <a:pt x="288" y="150"/>
                </a:lnTo>
                <a:lnTo>
                  <a:pt x="288" y="144"/>
                </a:lnTo>
                <a:lnTo>
                  <a:pt x="282" y="144"/>
                </a:lnTo>
                <a:lnTo>
                  <a:pt x="282" y="138"/>
                </a:lnTo>
                <a:lnTo>
                  <a:pt x="312" y="132"/>
                </a:lnTo>
                <a:lnTo>
                  <a:pt x="324" y="120"/>
                </a:lnTo>
                <a:lnTo>
                  <a:pt x="330" y="114"/>
                </a:lnTo>
                <a:lnTo>
                  <a:pt x="336" y="102"/>
                </a:lnTo>
                <a:lnTo>
                  <a:pt x="348" y="90"/>
                </a:lnTo>
                <a:lnTo>
                  <a:pt x="360" y="84"/>
                </a:lnTo>
                <a:lnTo>
                  <a:pt x="372" y="84"/>
                </a:lnTo>
                <a:lnTo>
                  <a:pt x="378" y="84"/>
                </a:lnTo>
                <a:lnTo>
                  <a:pt x="384" y="90"/>
                </a:lnTo>
                <a:lnTo>
                  <a:pt x="402" y="90"/>
                </a:lnTo>
                <a:lnTo>
                  <a:pt x="438" y="84"/>
                </a:lnTo>
                <a:lnTo>
                  <a:pt x="456" y="84"/>
                </a:lnTo>
                <a:lnTo>
                  <a:pt x="462" y="78"/>
                </a:lnTo>
                <a:lnTo>
                  <a:pt x="486" y="72"/>
                </a:lnTo>
                <a:lnTo>
                  <a:pt x="492" y="66"/>
                </a:lnTo>
                <a:lnTo>
                  <a:pt x="498" y="60"/>
                </a:lnTo>
                <a:lnTo>
                  <a:pt x="504" y="60"/>
                </a:lnTo>
                <a:lnTo>
                  <a:pt x="504" y="54"/>
                </a:lnTo>
                <a:lnTo>
                  <a:pt x="510" y="42"/>
                </a:lnTo>
                <a:lnTo>
                  <a:pt x="504" y="42"/>
                </a:lnTo>
                <a:lnTo>
                  <a:pt x="504" y="36"/>
                </a:lnTo>
                <a:lnTo>
                  <a:pt x="504" y="30"/>
                </a:lnTo>
                <a:lnTo>
                  <a:pt x="498" y="30"/>
                </a:lnTo>
                <a:lnTo>
                  <a:pt x="492" y="30"/>
                </a:lnTo>
                <a:lnTo>
                  <a:pt x="492" y="24"/>
                </a:lnTo>
                <a:lnTo>
                  <a:pt x="486" y="18"/>
                </a:lnTo>
                <a:lnTo>
                  <a:pt x="498" y="18"/>
                </a:lnTo>
                <a:lnTo>
                  <a:pt x="510" y="18"/>
                </a:lnTo>
                <a:lnTo>
                  <a:pt x="522" y="12"/>
                </a:lnTo>
                <a:lnTo>
                  <a:pt x="528" y="6"/>
                </a:lnTo>
                <a:lnTo>
                  <a:pt x="570" y="0"/>
                </a:lnTo>
                <a:lnTo>
                  <a:pt x="606" y="6"/>
                </a:lnTo>
                <a:lnTo>
                  <a:pt x="654" y="24"/>
                </a:lnTo>
                <a:lnTo>
                  <a:pt x="666" y="36"/>
                </a:lnTo>
                <a:lnTo>
                  <a:pt x="672" y="30"/>
                </a:lnTo>
                <a:lnTo>
                  <a:pt x="690" y="42"/>
                </a:lnTo>
                <a:lnTo>
                  <a:pt x="702" y="48"/>
                </a:lnTo>
                <a:lnTo>
                  <a:pt x="714" y="60"/>
                </a:lnTo>
                <a:lnTo>
                  <a:pt x="714" y="66"/>
                </a:lnTo>
                <a:lnTo>
                  <a:pt x="720" y="72"/>
                </a:lnTo>
                <a:lnTo>
                  <a:pt x="720" y="78"/>
                </a:lnTo>
                <a:lnTo>
                  <a:pt x="720" y="102"/>
                </a:lnTo>
                <a:lnTo>
                  <a:pt x="720" y="108"/>
                </a:lnTo>
                <a:lnTo>
                  <a:pt x="714" y="108"/>
                </a:lnTo>
                <a:lnTo>
                  <a:pt x="714" y="126"/>
                </a:lnTo>
                <a:lnTo>
                  <a:pt x="732" y="126"/>
                </a:lnTo>
                <a:lnTo>
                  <a:pt x="726" y="132"/>
                </a:lnTo>
                <a:lnTo>
                  <a:pt x="738" y="132"/>
                </a:lnTo>
                <a:lnTo>
                  <a:pt x="738" y="138"/>
                </a:lnTo>
                <a:lnTo>
                  <a:pt x="738" y="144"/>
                </a:lnTo>
                <a:lnTo>
                  <a:pt x="744" y="144"/>
                </a:lnTo>
                <a:lnTo>
                  <a:pt x="744" y="150"/>
                </a:lnTo>
                <a:lnTo>
                  <a:pt x="756" y="156"/>
                </a:lnTo>
                <a:lnTo>
                  <a:pt x="768" y="156"/>
                </a:lnTo>
                <a:lnTo>
                  <a:pt x="780" y="156"/>
                </a:lnTo>
                <a:lnTo>
                  <a:pt x="792" y="150"/>
                </a:lnTo>
                <a:lnTo>
                  <a:pt x="786" y="150"/>
                </a:lnTo>
                <a:lnTo>
                  <a:pt x="786" y="144"/>
                </a:lnTo>
                <a:lnTo>
                  <a:pt x="804" y="144"/>
                </a:lnTo>
                <a:lnTo>
                  <a:pt x="816" y="132"/>
                </a:lnTo>
                <a:lnTo>
                  <a:pt x="822" y="126"/>
                </a:lnTo>
                <a:lnTo>
                  <a:pt x="828" y="132"/>
                </a:lnTo>
                <a:lnTo>
                  <a:pt x="834" y="126"/>
                </a:lnTo>
                <a:lnTo>
                  <a:pt x="834" y="120"/>
                </a:lnTo>
                <a:lnTo>
                  <a:pt x="924" y="108"/>
                </a:lnTo>
                <a:lnTo>
                  <a:pt x="942" y="144"/>
                </a:lnTo>
                <a:lnTo>
                  <a:pt x="948" y="144"/>
                </a:lnTo>
                <a:lnTo>
                  <a:pt x="960" y="168"/>
                </a:lnTo>
                <a:lnTo>
                  <a:pt x="972" y="186"/>
                </a:lnTo>
                <a:lnTo>
                  <a:pt x="984" y="192"/>
                </a:lnTo>
                <a:lnTo>
                  <a:pt x="996" y="192"/>
                </a:lnTo>
                <a:lnTo>
                  <a:pt x="996" y="198"/>
                </a:lnTo>
                <a:lnTo>
                  <a:pt x="1008" y="204"/>
                </a:lnTo>
                <a:lnTo>
                  <a:pt x="1008" y="210"/>
                </a:lnTo>
                <a:lnTo>
                  <a:pt x="1002" y="210"/>
                </a:lnTo>
                <a:lnTo>
                  <a:pt x="1008" y="216"/>
                </a:lnTo>
                <a:lnTo>
                  <a:pt x="1014" y="210"/>
                </a:lnTo>
                <a:lnTo>
                  <a:pt x="1014" y="216"/>
                </a:lnTo>
                <a:lnTo>
                  <a:pt x="1020" y="222"/>
                </a:lnTo>
                <a:lnTo>
                  <a:pt x="1014" y="228"/>
                </a:lnTo>
                <a:lnTo>
                  <a:pt x="1032" y="234"/>
                </a:lnTo>
                <a:lnTo>
                  <a:pt x="1044" y="240"/>
                </a:lnTo>
                <a:lnTo>
                  <a:pt x="1038" y="246"/>
                </a:lnTo>
                <a:lnTo>
                  <a:pt x="1038" y="252"/>
                </a:lnTo>
                <a:lnTo>
                  <a:pt x="1038" y="258"/>
                </a:lnTo>
                <a:lnTo>
                  <a:pt x="1032" y="264"/>
                </a:lnTo>
                <a:lnTo>
                  <a:pt x="1032" y="270"/>
                </a:lnTo>
                <a:lnTo>
                  <a:pt x="1032" y="276"/>
                </a:lnTo>
                <a:lnTo>
                  <a:pt x="1032" y="282"/>
                </a:lnTo>
                <a:lnTo>
                  <a:pt x="1026" y="282"/>
                </a:lnTo>
                <a:lnTo>
                  <a:pt x="1026" y="288"/>
                </a:lnTo>
                <a:lnTo>
                  <a:pt x="1026" y="294"/>
                </a:lnTo>
                <a:lnTo>
                  <a:pt x="1026" y="300"/>
                </a:lnTo>
                <a:lnTo>
                  <a:pt x="1026" y="306"/>
                </a:lnTo>
                <a:lnTo>
                  <a:pt x="1020" y="318"/>
                </a:lnTo>
                <a:lnTo>
                  <a:pt x="1020" y="324"/>
                </a:lnTo>
                <a:lnTo>
                  <a:pt x="1014" y="324"/>
                </a:lnTo>
                <a:lnTo>
                  <a:pt x="1014" y="330"/>
                </a:lnTo>
                <a:lnTo>
                  <a:pt x="1014" y="336"/>
                </a:lnTo>
                <a:lnTo>
                  <a:pt x="1008" y="366"/>
                </a:lnTo>
                <a:lnTo>
                  <a:pt x="1002" y="366"/>
                </a:lnTo>
                <a:lnTo>
                  <a:pt x="984" y="354"/>
                </a:lnTo>
                <a:lnTo>
                  <a:pt x="978" y="354"/>
                </a:lnTo>
                <a:lnTo>
                  <a:pt x="972" y="354"/>
                </a:lnTo>
                <a:lnTo>
                  <a:pt x="966" y="348"/>
                </a:lnTo>
                <a:lnTo>
                  <a:pt x="954" y="348"/>
                </a:lnTo>
                <a:lnTo>
                  <a:pt x="948" y="348"/>
                </a:lnTo>
                <a:lnTo>
                  <a:pt x="948" y="360"/>
                </a:lnTo>
                <a:lnTo>
                  <a:pt x="948" y="366"/>
                </a:lnTo>
                <a:lnTo>
                  <a:pt x="948" y="372"/>
                </a:lnTo>
                <a:lnTo>
                  <a:pt x="948" y="378"/>
                </a:lnTo>
                <a:lnTo>
                  <a:pt x="948" y="384"/>
                </a:lnTo>
                <a:lnTo>
                  <a:pt x="942" y="384"/>
                </a:lnTo>
                <a:lnTo>
                  <a:pt x="942" y="390"/>
                </a:lnTo>
                <a:lnTo>
                  <a:pt x="936" y="390"/>
                </a:lnTo>
                <a:lnTo>
                  <a:pt x="942" y="390"/>
                </a:lnTo>
                <a:lnTo>
                  <a:pt x="936" y="396"/>
                </a:lnTo>
                <a:lnTo>
                  <a:pt x="930" y="402"/>
                </a:lnTo>
                <a:lnTo>
                  <a:pt x="918" y="420"/>
                </a:lnTo>
                <a:lnTo>
                  <a:pt x="918" y="426"/>
                </a:lnTo>
                <a:lnTo>
                  <a:pt x="912" y="432"/>
                </a:lnTo>
                <a:lnTo>
                  <a:pt x="900" y="450"/>
                </a:lnTo>
                <a:lnTo>
                  <a:pt x="894" y="456"/>
                </a:lnTo>
                <a:lnTo>
                  <a:pt x="888" y="456"/>
                </a:lnTo>
                <a:lnTo>
                  <a:pt x="882" y="456"/>
                </a:lnTo>
                <a:lnTo>
                  <a:pt x="876" y="456"/>
                </a:lnTo>
                <a:lnTo>
                  <a:pt x="864" y="462"/>
                </a:lnTo>
                <a:lnTo>
                  <a:pt x="852" y="474"/>
                </a:lnTo>
                <a:lnTo>
                  <a:pt x="846" y="480"/>
                </a:lnTo>
                <a:lnTo>
                  <a:pt x="840" y="486"/>
                </a:lnTo>
                <a:lnTo>
                  <a:pt x="834" y="498"/>
                </a:lnTo>
                <a:lnTo>
                  <a:pt x="828" y="510"/>
                </a:lnTo>
                <a:lnTo>
                  <a:pt x="816" y="522"/>
                </a:lnTo>
                <a:lnTo>
                  <a:pt x="798" y="540"/>
                </a:lnTo>
                <a:lnTo>
                  <a:pt x="780" y="558"/>
                </a:lnTo>
                <a:lnTo>
                  <a:pt x="774" y="558"/>
                </a:lnTo>
                <a:lnTo>
                  <a:pt x="756" y="576"/>
                </a:lnTo>
                <a:lnTo>
                  <a:pt x="732" y="600"/>
                </a:lnTo>
                <a:lnTo>
                  <a:pt x="726" y="600"/>
                </a:lnTo>
                <a:lnTo>
                  <a:pt x="720" y="606"/>
                </a:lnTo>
                <a:lnTo>
                  <a:pt x="714" y="612"/>
                </a:lnTo>
                <a:lnTo>
                  <a:pt x="690" y="630"/>
                </a:lnTo>
                <a:lnTo>
                  <a:pt x="678" y="636"/>
                </a:lnTo>
                <a:lnTo>
                  <a:pt x="672" y="642"/>
                </a:lnTo>
                <a:lnTo>
                  <a:pt x="660" y="660"/>
                </a:lnTo>
                <a:lnTo>
                  <a:pt x="642" y="666"/>
                </a:lnTo>
                <a:lnTo>
                  <a:pt x="636" y="678"/>
                </a:lnTo>
                <a:lnTo>
                  <a:pt x="630" y="678"/>
                </a:lnTo>
                <a:lnTo>
                  <a:pt x="630" y="684"/>
                </a:lnTo>
                <a:lnTo>
                  <a:pt x="630" y="690"/>
                </a:lnTo>
                <a:lnTo>
                  <a:pt x="636" y="696"/>
                </a:lnTo>
                <a:lnTo>
                  <a:pt x="642" y="696"/>
                </a:lnTo>
                <a:lnTo>
                  <a:pt x="648" y="702"/>
                </a:lnTo>
                <a:lnTo>
                  <a:pt x="648" y="708"/>
                </a:lnTo>
                <a:lnTo>
                  <a:pt x="642" y="708"/>
                </a:lnTo>
                <a:lnTo>
                  <a:pt x="636" y="714"/>
                </a:lnTo>
                <a:lnTo>
                  <a:pt x="636" y="720"/>
                </a:lnTo>
                <a:lnTo>
                  <a:pt x="642" y="726"/>
                </a:lnTo>
                <a:lnTo>
                  <a:pt x="636" y="738"/>
                </a:lnTo>
                <a:lnTo>
                  <a:pt x="618" y="756"/>
                </a:lnTo>
                <a:lnTo>
                  <a:pt x="612" y="750"/>
                </a:lnTo>
                <a:lnTo>
                  <a:pt x="612" y="756"/>
                </a:lnTo>
                <a:lnTo>
                  <a:pt x="618" y="762"/>
                </a:lnTo>
                <a:lnTo>
                  <a:pt x="618" y="768"/>
                </a:lnTo>
                <a:lnTo>
                  <a:pt x="624" y="774"/>
                </a:lnTo>
                <a:lnTo>
                  <a:pt x="624" y="780"/>
                </a:lnTo>
                <a:lnTo>
                  <a:pt x="636" y="786"/>
                </a:lnTo>
                <a:lnTo>
                  <a:pt x="642" y="792"/>
                </a:lnTo>
                <a:lnTo>
                  <a:pt x="642" y="798"/>
                </a:lnTo>
                <a:lnTo>
                  <a:pt x="648" y="804"/>
                </a:lnTo>
                <a:lnTo>
                  <a:pt x="654" y="810"/>
                </a:lnTo>
                <a:lnTo>
                  <a:pt x="660" y="816"/>
                </a:lnTo>
                <a:lnTo>
                  <a:pt x="666" y="816"/>
                </a:lnTo>
                <a:lnTo>
                  <a:pt x="666" y="822"/>
                </a:lnTo>
                <a:lnTo>
                  <a:pt x="672" y="828"/>
                </a:lnTo>
                <a:lnTo>
                  <a:pt x="672" y="840"/>
                </a:lnTo>
                <a:lnTo>
                  <a:pt x="672" y="846"/>
                </a:lnTo>
                <a:lnTo>
                  <a:pt x="666" y="852"/>
                </a:lnTo>
                <a:lnTo>
                  <a:pt x="660" y="864"/>
                </a:lnTo>
                <a:lnTo>
                  <a:pt x="654" y="876"/>
                </a:lnTo>
                <a:lnTo>
                  <a:pt x="648" y="882"/>
                </a:lnTo>
                <a:lnTo>
                  <a:pt x="642" y="888"/>
                </a:lnTo>
                <a:lnTo>
                  <a:pt x="642" y="894"/>
                </a:lnTo>
                <a:lnTo>
                  <a:pt x="642" y="906"/>
                </a:lnTo>
                <a:lnTo>
                  <a:pt x="630" y="918"/>
                </a:lnTo>
                <a:lnTo>
                  <a:pt x="630" y="924"/>
                </a:lnTo>
                <a:lnTo>
                  <a:pt x="624" y="930"/>
                </a:lnTo>
                <a:lnTo>
                  <a:pt x="630" y="936"/>
                </a:lnTo>
                <a:lnTo>
                  <a:pt x="630" y="942"/>
                </a:lnTo>
                <a:lnTo>
                  <a:pt x="630" y="948"/>
                </a:lnTo>
                <a:lnTo>
                  <a:pt x="630" y="954"/>
                </a:lnTo>
                <a:lnTo>
                  <a:pt x="630" y="960"/>
                </a:lnTo>
                <a:lnTo>
                  <a:pt x="624" y="966"/>
                </a:lnTo>
                <a:lnTo>
                  <a:pt x="618" y="990"/>
                </a:lnTo>
                <a:lnTo>
                  <a:pt x="618" y="1008"/>
                </a:lnTo>
                <a:lnTo>
                  <a:pt x="612" y="1026"/>
                </a:lnTo>
                <a:lnTo>
                  <a:pt x="612" y="1038"/>
                </a:lnTo>
                <a:lnTo>
                  <a:pt x="612" y="1050"/>
                </a:lnTo>
                <a:lnTo>
                  <a:pt x="612" y="1056"/>
                </a:lnTo>
                <a:lnTo>
                  <a:pt x="612" y="1062"/>
                </a:lnTo>
                <a:lnTo>
                  <a:pt x="612" y="1068"/>
                </a:lnTo>
                <a:lnTo>
                  <a:pt x="612" y="1086"/>
                </a:lnTo>
                <a:lnTo>
                  <a:pt x="612" y="1092"/>
                </a:lnTo>
                <a:lnTo>
                  <a:pt x="606" y="1098"/>
                </a:lnTo>
                <a:lnTo>
                  <a:pt x="600" y="1110"/>
                </a:lnTo>
                <a:lnTo>
                  <a:pt x="600" y="1116"/>
                </a:lnTo>
                <a:lnTo>
                  <a:pt x="594" y="1122"/>
                </a:lnTo>
                <a:lnTo>
                  <a:pt x="594" y="1128"/>
                </a:lnTo>
                <a:lnTo>
                  <a:pt x="588" y="1134"/>
                </a:lnTo>
                <a:lnTo>
                  <a:pt x="582" y="1140"/>
                </a:lnTo>
                <a:lnTo>
                  <a:pt x="570" y="1140"/>
                </a:lnTo>
                <a:lnTo>
                  <a:pt x="564" y="1146"/>
                </a:lnTo>
                <a:lnTo>
                  <a:pt x="570" y="1146"/>
                </a:lnTo>
                <a:lnTo>
                  <a:pt x="564" y="1152"/>
                </a:lnTo>
                <a:lnTo>
                  <a:pt x="558" y="1158"/>
                </a:lnTo>
                <a:lnTo>
                  <a:pt x="552" y="1164"/>
                </a:lnTo>
                <a:lnTo>
                  <a:pt x="552" y="1170"/>
                </a:lnTo>
                <a:lnTo>
                  <a:pt x="546" y="1176"/>
                </a:lnTo>
                <a:lnTo>
                  <a:pt x="546" y="1182"/>
                </a:lnTo>
                <a:lnTo>
                  <a:pt x="546" y="1188"/>
                </a:lnTo>
                <a:lnTo>
                  <a:pt x="540" y="1188"/>
                </a:lnTo>
                <a:lnTo>
                  <a:pt x="540" y="1194"/>
                </a:lnTo>
                <a:lnTo>
                  <a:pt x="528" y="1206"/>
                </a:lnTo>
                <a:lnTo>
                  <a:pt x="528" y="1212"/>
                </a:lnTo>
                <a:lnTo>
                  <a:pt x="534" y="1212"/>
                </a:lnTo>
                <a:lnTo>
                  <a:pt x="540" y="1218"/>
                </a:lnTo>
                <a:lnTo>
                  <a:pt x="534" y="1218"/>
                </a:lnTo>
                <a:lnTo>
                  <a:pt x="528" y="1218"/>
                </a:lnTo>
                <a:lnTo>
                  <a:pt x="528" y="1224"/>
                </a:lnTo>
                <a:lnTo>
                  <a:pt x="522" y="1230"/>
                </a:lnTo>
                <a:lnTo>
                  <a:pt x="516" y="1236"/>
                </a:lnTo>
                <a:lnTo>
                  <a:pt x="522" y="1236"/>
                </a:lnTo>
                <a:lnTo>
                  <a:pt x="516" y="1242"/>
                </a:lnTo>
                <a:lnTo>
                  <a:pt x="510" y="1242"/>
                </a:lnTo>
                <a:lnTo>
                  <a:pt x="504" y="1248"/>
                </a:lnTo>
                <a:lnTo>
                  <a:pt x="510" y="1260"/>
                </a:lnTo>
                <a:lnTo>
                  <a:pt x="504" y="1266"/>
                </a:lnTo>
                <a:lnTo>
                  <a:pt x="492" y="1266"/>
                </a:lnTo>
                <a:lnTo>
                  <a:pt x="486" y="1272"/>
                </a:lnTo>
                <a:lnTo>
                  <a:pt x="486" y="1278"/>
                </a:lnTo>
                <a:lnTo>
                  <a:pt x="480" y="1278"/>
                </a:lnTo>
                <a:lnTo>
                  <a:pt x="480" y="1284"/>
                </a:lnTo>
                <a:lnTo>
                  <a:pt x="480" y="1290"/>
                </a:lnTo>
                <a:lnTo>
                  <a:pt x="480" y="1296"/>
                </a:lnTo>
                <a:lnTo>
                  <a:pt x="492" y="1302"/>
                </a:lnTo>
                <a:lnTo>
                  <a:pt x="492" y="1308"/>
                </a:lnTo>
                <a:lnTo>
                  <a:pt x="492" y="1320"/>
                </a:lnTo>
                <a:lnTo>
                  <a:pt x="492" y="1332"/>
                </a:lnTo>
                <a:lnTo>
                  <a:pt x="498" y="1344"/>
                </a:lnTo>
                <a:lnTo>
                  <a:pt x="498" y="1350"/>
                </a:lnTo>
                <a:lnTo>
                  <a:pt x="498" y="1356"/>
                </a:lnTo>
                <a:lnTo>
                  <a:pt x="504" y="1362"/>
                </a:lnTo>
                <a:lnTo>
                  <a:pt x="498" y="1362"/>
                </a:lnTo>
                <a:lnTo>
                  <a:pt x="498" y="1368"/>
                </a:lnTo>
                <a:lnTo>
                  <a:pt x="492" y="1368"/>
                </a:lnTo>
                <a:lnTo>
                  <a:pt x="492" y="1374"/>
                </a:lnTo>
                <a:lnTo>
                  <a:pt x="492" y="1380"/>
                </a:lnTo>
                <a:lnTo>
                  <a:pt x="498" y="1380"/>
                </a:lnTo>
                <a:lnTo>
                  <a:pt x="504" y="1380"/>
                </a:lnTo>
                <a:lnTo>
                  <a:pt x="498" y="1386"/>
                </a:lnTo>
                <a:lnTo>
                  <a:pt x="498" y="1392"/>
                </a:lnTo>
                <a:lnTo>
                  <a:pt x="498" y="1398"/>
                </a:lnTo>
                <a:lnTo>
                  <a:pt x="498" y="1404"/>
                </a:lnTo>
                <a:lnTo>
                  <a:pt x="498" y="1410"/>
                </a:lnTo>
                <a:lnTo>
                  <a:pt x="498" y="1416"/>
                </a:lnTo>
                <a:lnTo>
                  <a:pt x="492" y="1416"/>
                </a:lnTo>
                <a:lnTo>
                  <a:pt x="498" y="1416"/>
                </a:lnTo>
                <a:lnTo>
                  <a:pt x="504" y="1416"/>
                </a:lnTo>
                <a:lnTo>
                  <a:pt x="504" y="1422"/>
                </a:lnTo>
                <a:lnTo>
                  <a:pt x="510" y="1428"/>
                </a:lnTo>
                <a:lnTo>
                  <a:pt x="510" y="1434"/>
                </a:lnTo>
                <a:lnTo>
                  <a:pt x="510" y="1440"/>
                </a:lnTo>
                <a:lnTo>
                  <a:pt x="516" y="1446"/>
                </a:lnTo>
                <a:lnTo>
                  <a:pt x="516" y="1452"/>
                </a:lnTo>
                <a:lnTo>
                  <a:pt x="516" y="1458"/>
                </a:lnTo>
                <a:lnTo>
                  <a:pt x="516" y="1464"/>
                </a:lnTo>
                <a:lnTo>
                  <a:pt x="516" y="1482"/>
                </a:lnTo>
                <a:lnTo>
                  <a:pt x="516" y="1488"/>
                </a:lnTo>
                <a:lnTo>
                  <a:pt x="522" y="1488"/>
                </a:lnTo>
                <a:lnTo>
                  <a:pt x="522" y="1494"/>
                </a:lnTo>
                <a:lnTo>
                  <a:pt x="522" y="1500"/>
                </a:lnTo>
                <a:lnTo>
                  <a:pt x="516" y="1506"/>
                </a:lnTo>
                <a:lnTo>
                  <a:pt x="510" y="1500"/>
                </a:lnTo>
                <a:lnTo>
                  <a:pt x="504" y="1500"/>
                </a:lnTo>
                <a:lnTo>
                  <a:pt x="504" y="1494"/>
                </a:lnTo>
                <a:lnTo>
                  <a:pt x="504" y="1488"/>
                </a:lnTo>
                <a:lnTo>
                  <a:pt x="504" y="1482"/>
                </a:lnTo>
                <a:lnTo>
                  <a:pt x="504" y="1488"/>
                </a:lnTo>
                <a:lnTo>
                  <a:pt x="504" y="1494"/>
                </a:lnTo>
                <a:lnTo>
                  <a:pt x="504" y="1500"/>
                </a:lnTo>
                <a:lnTo>
                  <a:pt x="498" y="1500"/>
                </a:lnTo>
                <a:lnTo>
                  <a:pt x="492" y="1500"/>
                </a:lnTo>
                <a:lnTo>
                  <a:pt x="492" y="1494"/>
                </a:lnTo>
                <a:lnTo>
                  <a:pt x="492" y="1488"/>
                </a:lnTo>
                <a:lnTo>
                  <a:pt x="492" y="1494"/>
                </a:lnTo>
                <a:lnTo>
                  <a:pt x="492" y="1500"/>
                </a:lnTo>
                <a:lnTo>
                  <a:pt x="498" y="1500"/>
                </a:lnTo>
                <a:lnTo>
                  <a:pt x="498" y="1506"/>
                </a:lnTo>
                <a:lnTo>
                  <a:pt x="504" y="1500"/>
                </a:lnTo>
                <a:lnTo>
                  <a:pt x="510" y="1500"/>
                </a:lnTo>
                <a:lnTo>
                  <a:pt x="510" y="1506"/>
                </a:lnTo>
                <a:lnTo>
                  <a:pt x="516" y="1506"/>
                </a:lnTo>
                <a:lnTo>
                  <a:pt x="510" y="1506"/>
                </a:lnTo>
                <a:lnTo>
                  <a:pt x="510" y="1512"/>
                </a:lnTo>
                <a:lnTo>
                  <a:pt x="516" y="1506"/>
                </a:lnTo>
                <a:lnTo>
                  <a:pt x="522" y="1506"/>
                </a:lnTo>
                <a:lnTo>
                  <a:pt x="528" y="1506"/>
                </a:lnTo>
                <a:lnTo>
                  <a:pt x="528" y="1500"/>
                </a:lnTo>
                <a:lnTo>
                  <a:pt x="534" y="1500"/>
                </a:lnTo>
                <a:lnTo>
                  <a:pt x="534" y="1506"/>
                </a:lnTo>
                <a:lnTo>
                  <a:pt x="540" y="1512"/>
                </a:lnTo>
                <a:lnTo>
                  <a:pt x="540" y="1518"/>
                </a:lnTo>
                <a:lnTo>
                  <a:pt x="546" y="1518"/>
                </a:lnTo>
                <a:lnTo>
                  <a:pt x="540" y="1518"/>
                </a:lnTo>
                <a:lnTo>
                  <a:pt x="540" y="1524"/>
                </a:lnTo>
                <a:lnTo>
                  <a:pt x="534" y="1524"/>
                </a:lnTo>
                <a:lnTo>
                  <a:pt x="540" y="1524"/>
                </a:lnTo>
                <a:lnTo>
                  <a:pt x="546" y="1524"/>
                </a:lnTo>
                <a:lnTo>
                  <a:pt x="546" y="1530"/>
                </a:lnTo>
                <a:lnTo>
                  <a:pt x="540" y="1530"/>
                </a:lnTo>
                <a:lnTo>
                  <a:pt x="540" y="1536"/>
                </a:lnTo>
                <a:lnTo>
                  <a:pt x="534" y="1542"/>
                </a:lnTo>
                <a:lnTo>
                  <a:pt x="528" y="1542"/>
                </a:lnTo>
                <a:lnTo>
                  <a:pt x="522" y="1542"/>
                </a:lnTo>
                <a:lnTo>
                  <a:pt x="516" y="1542"/>
                </a:lnTo>
                <a:lnTo>
                  <a:pt x="510" y="1542"/>
                </a:lnTo>
                <a:lnTo>
                  <a:pt x="504" y="1542"/>
                </a:lnTo>
                <a:lnTo>
                  <a:pt x="492" y="1542"/>
                </a:lnTo>
                <a:lnTo>
                  <a:pt x="486" y="1536"/>
                </a:lnTo>
                <a:lnTo>
                  <a:pt x="480" y="1536"/>
                </a:lnTo>
                <a:lnTo>
                  <a:pt x="468" y="1536"/>
                </a:lnTo>
                <a:lnTo>
                  <a:pt x="468" y="1542"/>
                </a:lnTo>
                <a:lnTo>
                  <a:pt x="462" y="1542"/>
                </a:lnTo>
                <a:lnTo>
                  <a:pt x="456" y="1542"/>
                </a:lnTo>
                <a:lnTo>
                  <a:pt x="450" y="1542"/>
                </a:lnTo>
                <a:lnTo>
                  <a:pt x="444" y="1542"/>
                </a:lnTo>
                <a:lnTo>
                  <a:pt x="444" y="1536"/>
                </a:lnTo>
                <a:lnTo>
                  <a:pt x="450" y="1536"/>
                </a:lnTo>
                <a:lnTo>
                  <a:pt x="456" y="1536"/>
                </a:lnTo>
                <a:lnTo>
                  <a:pt x="450" y="1536"/>
                </a:lnTo>
                <a:lnTo>
                  <a:pt x="444" y="1536"/>
                </a:lnTo>
                <a:lnTo>
                  <a:pt x="444" y="1530"/>
                </a:lnTo>
                <a:lnTo>
                  <a:pt x="450" y="1530"/>
                </a:lnTo>
                <a:lnTo>
                  <a:pt x="456" y="1524"/>
                </a:lnTo>
                <a:lnTo>
                  <a:pt x="456" y="1518"/>
                </a:lnTo>
                <a:lnTo>
                  <a:pt x="462" y="1518"/>
                </a:lnTo>
                <a:lnTo>
                  <a:pt x="462" y="1524"/>
                </a:lnTo>
                <a:lnTo>
                  <a:pt x="468" y="1524"/>
                </a:lnTo>
                <a:lnTo>
                  <a:pt x="474" y="1524"/>
                </a:lnTo>
                <a:lnTo>
                  <a:pt x="474" y="1518"/>
                </a:lnTo>
                <a:lnTo>
                  <a:pt x="480" y="1518"/>
                </a:lnTo>
                <a:lnTo>
                  <a:pt x="474" y="1518"/>
                </a:lnTo>
                <a:lnTo>
                  <a:pt x="474" y="1524"/>
                </a:lnTo>
                <a:lnTo>
                  <a:pt x="468" y="1524"/>
                </a:lnTo>
                <a:lnTo>
                  <a:pt x="462" y="1518"/>
                </a:lnTo>
                <a:lnTo>
                  <a:pt x="456" y="1518"/>
                </a:lnTo>
                <a:lnTo>
                  <a:pt x="456" y="1512"/>
                </a:lnTo>
                <a:lnTo>
                  <a:pt x="462" y="1512"/>
                </a:lnTo>
                <a:lnTo>
                  <a:pt x="462" y="1506"/>
                </a:lnTo>
                <a:lnTo>
                  <a:pt x="456" y="1506"/>
                </a:lnTo>
                <a:lnTo>
                  <a:pt x="456" y="1512"/>
                </a:lnTo>
                <a:lnTo>
                  <a:pt x="456" y="1518"/>
                </a:lnTo>
                <a:lnTo>
                  <a:pt x="456" y="1512"/>
                </a:lnTo>
                <a:lnTo>
                  <a:pt x="450" y="1518"/>
                </a:lnTo>
                <a:lnTo>
                  <a:pt x="444" y="1518"/>
                </a:lnTo>
                <a:lnTo>
                  <a:pt x="444" y="1524"/>
                </a:lnTo>
                <a:lnTo>
                  <a:pt x="438" y="1524"/>
                </a:lnTo>
                <a:lnTo>
                  <a:pt x="438" y="1530"/>
                </a:lnTo>
                <a:lnTo>
                  <a:pt x="432" y="1530"/>
                </a:lnTo>
                <a:lnTo>
                  <a:pt x="432" y="1536"/>
                </a:lnTo>
                <a:lnTo>
                  <a:pt x="426" y="1530"/>
                </a:lnTo>
                <a:lnTo>
                  <a:pt x="420" y="1530"/>
                </a:lnTo>
                <a:lnTo>
                  <a:pt x="414" y="1530"/>
                </a:lnTo>
                <a:lnTo>
                  <a:pt x="414" y="1524"/>
                </a:lnTo>
                <a:lnTo>
                  <a:pt x="408" y="1518"/>
                </a:lnTo>
                <a:lnTo>
                  <a:pt x="414" y="1512"/>
                </a:lnTo>
                <a:lnTo>
                  <a:pt x="408" y="1512"/>
                </a:lnTo>
                <a:lnTo>
                  <a:pt x="408" y="1506"/>
                </a:lnTo>
                <a:lnTo>
                  <a:pt x="408" y="1500"/>
                </a:lnTo>
                <a:lnTo>
                  <a:pt x="408" y="1494"/>
                </a:lnTo>
                <a:lnTo>
                  <a:pt x="408" y="1488"/>
                </a:lnTo>
                <a:lnTo>
                  <a:pt x="408" y="1494"/>
                </a:lnTo>
                <a:lnTo>
                  <a:pt x="414" y="1494"/>
                </a:lnTo>
                <a:lnTo>
                  <a:pt x="420" y="1494"/>
                </a:lnTo>
                <a:lnTo>
                  <a:pt x="420" y="1488"/>
                </a:lnTo>
                <a:lnTo>
                  <a:pt x="426" y="1494"/>
                </a:lnTo>
                <a:lnTo>
                  <a:pt x="426" y="1488"/>
                </a:lnTo>
                <a:lnTo>
                  <a:pt x="426" y="1494"/>
                </a:lnTo>
                <a:lnTo>
                  <a:pt x="426" y="1488"/>
                </a:lnTo>
                <a:lnTo>
                  <a:pt x="426" y="1482"/>
                </a:lnTo>
                <a:lnTo>
                  <a:pt x="426" y="1476"/>
                </a:lnTo>
                <a:lnTo>
                  <a:pt x="432" y="1476"/>
                </a:lnTo>
                <a:lnTo>
                  <a:pt x="432" y="1470"/>
                </a:lnTo>
                <a:lnTo>
                  <a:pt x="438" y="1470"/>
                </a:lnTo>
                <a:lnTo>
                  <a:pt x="444" y="1464"/>
                </a:lnTo>
                <a:lnTo>
                  <a:pt x="450" y="1458"/>
                </a:lnTo>
                <a:lnTo>
                  <a:pt x="456" y="1458"/>
                </a:lnTo>
                <a:lnTo>
                  <a:pt x="462" y="1452"/>
                </a:lnTo>
                <a:lnTo>
                  <a:pt x="468" y="1452"/>
                </a:lnTo>
                <a:lnTo>
                  <a:pt x="468" y="1446"/>
                </a:lnTo>
                <a:lnTo>
                  <a:pt x="462" y="1440"/>
                </a:lnTo>
                <a:lnTo>
                  <a:pt x="456" y="1434"/>
                </a:lnTo>
                <a:lnTo>
                  <a:pt x="456" y="1428"/>
                </a:lnTo>
                <a:lnTo>
                  <a:pt x="456" y="1422"/>
                </a:lnTo>
                <a:lnTo>
                  <a:pt x="456" y="1416"/>
                </a:lnTo>
                <a:lnTo>
                  <a:pt x="450" y="1410"/>
                </a:lnTo>
                <a:lnTo>
                  <a:pt x="444" y="1410"/>
                </a:lnTo>
                <a:lnTo>
                  <a:pt x="450" y="1410"/>
                </a:lnTo>
                <a:lnTo>
                  <a:pt x="450" y="1404"/>
                </a:lnTo>
                <a:lnTo>
                  <a:pt x="456" y="1404"/>
                </a:lnTo>
                <a:lnTo>
                  <a:pt x="462" y="1404"/>
                </a:lnTo>
                <a:lnTo>
                  <a:pt x="468" y="1398"/>
                </a:lnTo>
                <a:lnTo>
                  <a:pt x="462" y="1398"/>
                </a:lnTo>
                <a:lnTo>
                  <a:pt x="462" y="1392"/>
                </a:lnTo>
                <a:lnTo>
                  <a:pt x="456" y="1392"/>
                </a:lnTo>
                <a:lnTo>
                  <a:pt x="456" y="1386"/>
                </a:lnTo>
                <a:lnTo>
                  <a:pt x="462" y="1386"/>
                </a:lnTo>
                <a:lnTo>
                  <a:pt x="468" y="1386"/>
                </a:lnTo>
                <a:lnTo>
                  <a:pt x="474" y="1386"/>
                </a:lnTo>
                <a:lnTo>
                  <a:pt x="468" y="1386"/>
                </a:lnTo>
                <a:lnTo>
                  <a:pt x="462" y="1386"/>
                </a:lnTo>
                <a:lnTo>
                  <a:pt x="456" y="1380"/>
                </a:lnTo>
                <a:lnTo>
                  <a:pt x="456" y="1374"/>
                </a:lnTo>
                <a:lnTo>
                  <a:pt x="462" y="1374"/>
                </a:lnTo>
                <a:lnTo>
                  <a:pt x="462" y="1368"/>
                </a:lnTo>
                <a:lnTo>
                  <a:pt x="456" y="1374"/>
                </a:lnTo>
                <a:lnTo>
                  <a:pt x="456" y="1368"/>
                </a:lnTo>
                <a:lnTo>
                  <a:pt x="456" y="1362"/>
                </a:lnTo>
                <a:lnTo>
                  <a:pt x="450" y="1362"/>
                </a:lnTo>
                <a:lnTo>
                  <a:pt x="450" y="1356"/>
                </a:lnTo>
                <a:lnTo>
                  <a:pt x="450" y="1350"/>
                </a:lnTo>
                <a:lnTo>
                  <a:pt x="450" y="1344"/>
                </a:lnTo>
                <a:lnTo>
                  <a:pt x="456" y="1344"/>
                </a:lnTo>
                <a:lnTo>
                  <a:pt x="456" y="1338"/>
                </a:lnTo>
                <a:lnTo>
                  <a:pt x="462" y="1338"/>
                </a:lnTo>
                <a:lnTo>
                  <a:pt x="462" y="1332"/>
                </a:lnTo>
                <a:lnTo>
                  <a:pt x="456" y="1332"/>
                </a:lnTo>
                <a:lnTo>
                  <a:pt x="456" y="1326"/>
                </a:lnTo>
                <a:lnTo>
                  <a:pt x="450" y="1326"/>
                </a:lnTo>
                <a:lnTo>
                  <a:pt x="444" y="1326"/>
                </a:lnTo>
                <a:lnTo>
                  <a:pt x="444" y="1332"/>
                </a:lnTo>
                <a:lnTo>
                  <a:pt x="438" y="1332"/>
                </a:lnTo>
                <a:lnTo>
                  <a:pt x="438" y="1338"/>
                </a:lnTo>
                <a:lnTo>
                  <a:pt x="432" y="1338"/>
                </a:lnTo>
                <a:lnTo>
                  <a:pt x="432" y="1344"/>
                </a:lnTo>
                <a:lnTo>
                  <a:pt x="432" y="1350"/>
                </a:lnTo>
                <a:lnTo>
                  <a:pt x="426" y="1356"/>
                </a:lnTo>
                <a:lnTo>
                  <a:pt x="426" y="1368"/>
                </a:lnTo>
                <a:lnTo>
                  <a:pt x="426" y="1374"/>
                </a:lnTo>
                <a:lnTo>
                  <a:pt x="426" y="1380"/>
                </a:lnTo>
                <a:lnTo>
                  <a:pt x="432" y="1386"/>
                </a:lnTo>
                <a:lnTo>
                  <a:pt x="432" y="1392"/>
                </a:lnTo>
                <a:lnTo>
                  <a:pt x="432" y="1398"/>
                </a:lnTo>
                <a:lnTo>
                  <a:pt x="426" y="1398"/>
                </a:lnTo>
                <a:lnTo>
                  <a:pt x="420" y="1398"/>
                </a:lnTo>
                <a:lnTo>
                  <a:pt x="414" y="1398"/>
                </a:lnTo>
                <a:lnTo>
                  <a:pt x="420" y="1398"/>
                </a:lnTo>
                <a:lnTo>
                  <a:pt x="414" y="1404"/>
                </a:lnTo>
                <a:lnTo>
                  <a:pt x="420" y="1404"/>
                </a:lnTo>
                <a:lnTo>
                  <a:pt x="414" y="1404"/>
                </a:lnTo>
                <a:lnTo>
                  <a:pt x="408" y="1404"/>
                </a:lnTo>
                <a:lnTo>
                  <a:pt x="402" y="1410"/>
                </a:lnTo>
                <a:lnTo>
                  <a:pt x="402" y="1404"/>
                </a:lnTo>
                <a:lnTo>
                  <a:pt x="396" y="1404"/>
                </a:lnTo>
                <a:lnTo>
                  <a:pt x="390" y="1404"/>
                </a:lnTo>
                <a:lnTo>
                  <a:pt x="384" y="1404"/>
                </a:lnTo>
                <a:lnTo>
                  <a:pt x="384" y="1398"/>
                </a:lnTo>
                <a:lnTo>
                  <a:pt x="384" y="1392"/>
                </a:lnTo>
                <a:lnTo>
                  <a:pt x="390" y="1392"/>
                </a:lnTo>
                <a:lnTo>
                  <a:pt x="390" y="1386"/>
                </a:lnTo>
                <a:lnTo>
                  <a:pt x="390" y="1380"/>
                </a:lnTo>
                <a:lnTo>
                  <a:pt x="396" y="1380"/>
                </a:lnTo>
                <a:lnTo>
                  <a:pt x="402" y="1380"/>
                </a:lnTo>
                <a:lnTo>
                  <a:pt x="408" y="1380"/>
                </a:lnTo>
                <a:lnTo>
                  <a:pt x="408" y="1374"/>
                </a:lnTo>
                <a:lnTo>
                  <a:pt x="414" y="1374"/>
                </a:lnTo>
                <a:lnTo>
                  <a:pt x="414" y="1368"/>
                </a:lnTo>
                <a:lnTo>
                  <a:pt x="414" y="1362"/>
                </a:lnTo>
                <a:lnTo>
                  <a:pt x="414" y="1368"/>
                </a:lnTo>
                <a:lnTo>
                  <a:pt x="414" y="1374"/>
                </a:lnTo>
                <a:lnTo>
                  <a:pt x="408" y="1374"/>
                </a:lnTo>
                <a:lnTo>
                  <a:pt x="402" y="1380"/>
                </a:lnTo>
                <a:lnTo>
                  <a:pt x="396" y="1380"/>
                </a:lnTo>
                <a:lnTo>
                  <a:pt x="396" y="1374"/>
                </a:lnTo>
                <a:lnTo>
                  <a:pt x="390" y="1374"/>
                </a:lnTo>
                <a:lnTo>
                  <a:pt x="390" y="1368"/>
                </a:lnTo>
                <a:lnTo>
                  <a:pt x="384" y="1368"/>
                </a:lnTo>
                <a:lnTo>
                  <a:pt x="384" y="1374"/>
                </a:lnTo>
                <a:lnTo>
                  <a:pt x="378" y="1374"/>
                </a:lnTo>
                <a:lnTo>
                  <a:pt x="378" y="1380"/>
                </a:lnTo>
                <a:lnTo>
                  <a:pt x="372" y="1380"/>
                </a:lnTo>
                <a:lnTo>
                  <a:pt x="366" y="1386"/>
                </a:lnTo>
                <a:lnTo>
                  <a:pt x="360" y="1386"/>
                </a:lnTo>
                <a:lnTo>
                  <a:pt x="354" y="1386"/>
                </a:lnTo>
                <a:lnTo>
                  <a:pt x="354" y="1380"/>
                </a:lnTo>
                <a:lnTo>
                  <a:pt x="348" y="1380"/>
                </a:lnTo>
                <a:lnTo>
                  <a:pt x="342" y="1380"/>
                </a:lnTo>
                <a:lnTo>
                  <a:pt x="342" y="1374"/>
                </a:lnTo>
                <a:lnTo>
                  <a:pt x="336" y="1368"/>
                </a:lnTo>
                <a:lnTo>
                  <a:pt x="342" y="1368"/>
                </a:lnTo>
                <a:lnTo>
                  <a:pt x="342" y="1362"/>
                </a:lnTo>
                <a:lnTo>
                  <a:pt x="348" y="1362"/>
                </a:lnTo>
                <a:lnTo>
                  <a:pt x="354" y="1362"/>
                </a:lnTo>
                <a:lnTo>
                  <a:pt x="354" y="1356"/>
                </a:lnTo>
                <a:lnTo>
                  <a:pt x="348" y="1356"/>
                </a:lnTo>
                <a:lnTo>
                  <a:pt x="348" y="1350"/>
                </a:lnTo>
                <a:lnTo>
                  <a:pt x="348" y="1344"/>
                </a:lnTo>
                <a:lnTo>
                  <a:pt x="354" y="1338"/>
                </a:lnTo>
                <a:lnTo>
                  <a:pt x="354" y="1332"/>
                </a:lnTo>
                <a:lnTo>
                  <a:pt x="354" y="1326"/>
                </a:lnTo>
                <a:lnTo>
                  <a:pt x="354" y="1320"/>
                </a:lnTo>
                <a:lnTo>
                  <a:pt x="354" y="1314"/>
                </a:lnTo>
                <a:lnTo>
                  <a:pt x="354" y="1308"/>
                </a:lnTo>
                <a:lnTo>
                  <a:pt x="348" y="1308"/>
                </a:lnTo>
                <a:lnTo>
                  <a:pt x="348" y="1302"/>
                </a:lnTo>
                <a:lnTo>
                  <a:pt x="342" y="1296"/>
                </a:lnTo>
                <a:lnTo>
                  <a:pt x="336" y="1296"/>
                </a:lnTo>
                <a:lnTo>
                  <a:pt x="336" y="1290"/>
                </a:lnTo>
                <a:lnTo>
                  <a:pt x="330" y="1290"/>
                </a:lnTo>
                <a:lnTo>
                  <a:pt x="324" y="1290"/>
                </a:lnTo>
                <a:lnTo>
                  <a:pt x="324" y="1284"/>
                </a:lnTo>
                <a:lnTo>
                  <a:pt x="318" y="1284"/>
                </a:lnTo>
                <a:lnTo>
                  <a:pt x="318" y="1278"/>
                </a:lnTo>
                <a:lnTo>
                  <a:pt x="312" y="1278"/>
                </a:lnTo>
                <a:lnTo>
                  <a:pt x="312" y="1272"/>
                </a:lnTo>
                <a:lnTo>
                  <a:pt x="312" y="1278"/>
                </a:lnTo>
                <a:lnTo>
                  <a:pt x="318" y="1284"/>
                </a:lnTo>
                <a:lnTo>
                  <a:pt x="324" y="1290"/>
                </a:lnTo>
                <a:lnTo>
                  <a:pt x="330" y="1290"/>
                </a:lnTo>
                <a:lnTo>
                  <a:pt x="330" y="1296"/>
                </a:lnTo>
                <a:lnTo>
                  <a:pt x="336" y="1296"/>
                </a:lnTo>
                <a:lnTo>
                  <a:pt x="336" y="1302"/>
                </a:lnTo>
                <a:lnTo>
                  <a:pt x="342" y="1302"/>
                </a:lnTo>
                <a:lnTo>
                  <a:pt x="348" y="1302"/>
                </a:lnTo>
                <a:lnTo>
                  <a:pt x="348" y="1308"/>
                </a:lnTo>
                <a:lnTo>
                  <a:pt x="348" y="1314"/>
                </a:lnTo>
                <a:lnTo>
                  <a:pt x="354" y="1314"/>
                </a:lnTo>
                <a:lnTo>
                  <a:pt x="354" y="1320"/>
                </a:lnTo>
                <a:lnTo>
                  <a:pt x="354" y="1326"/>
                </a:lnTo>
                <a:lnTo>
                  <a:pt x="348" y="1326"/>
                </a:lnTo>
                <a:lnTo>
                  <a:pt x="348" y="1332"/>
                </a:lnTo>
                <a:lnTo>
                  <a:pt x="348" y="1338"/>
                </a:lnTo>
                <a:lnTo>
                  <a:pt x="348" y="1344"/>
                </a:lnTo>
                <a:lnTo>
                  <a:pt x="342" y="1344"/>
                </a:lnTo>
                <a:lnTo>
                  <a:pt x="348" y="1344"/>
                </a:lnTo>
                <a:lnTo>
                  <a:pt x="342" y="1344"/>
                </a:lnTo>
                <a:lnTo>
                  <a:pt x="342" y="1350"/>
                </a:lnTo>
                <a:lnTo>
                  <a:pt x="336" y="1350"/>
                </a:lnTo>
                <a:lnTo>
                  <a:pt x="330" y="1350"/>
                </a:lnTo>
                <a:lnTo>
                  <a:pt x="330" y="1356"/>
                </a:lnTo>
                <a:lnTo>
                  <a:pt x="330" y="1350"/>
                </a:lnTo>
                <a:lnTo>
                  <a:pt x="324" y="1350"/>
                </a:lnTo>
                <a:lnTo>
                  <a:pt x="318" y="1344"/>
                </a:lnTo>
                <a:lnTo>
                  <a:pt x="318" y="1350"/>
                </a:lnTo>
                <a:lnTo>
                  <a:pt x="312" y="1344"/>
                </a:lnTo>
                <a:lnTo>
                  <a:pt x="312" y="1338"/>
                </a:lnTo>
                <a:lnTo>
                  <a:pt x="306" y="1338"/>
                </a:lnTo>
                <a:lnTo>
                  <a:pt x="300" y="1332"/>
                </a:lnTo>
                <a:lnTo>
                  <a:pt x="306" y="1332"/>
                </a:lnTo>
                <a:lnTo>
                  <a:pt x="300" y="1332"/>
                </a:lnTo>
                <a:lnTo>
                  <a:pt x="306" y="1332"/>
                </a:lnTo>
                <a:lnTo>
                  <a:pt x="306" y="1326"/>
                </a:lnTo>
                <a:lnTo>
                  <a:pt x="306" y="1320"/>
                </a:lnTo>
                <a:lnTo>
                  <a:pt x="306" y="1326"/>
                </a:lnTo>
                <a:lnTo>
                  <a:pt x="312" y="1326"/>
                </a:lnTo>
                <a:lnTo>
                  <a:pt x="312" y="1320"/>
                </a:lnTo>
                <a:lnTo>
                  <a:pt x="306" y="1320"/>
                </a:lnTo>
                <a:lnTo>
                  <a:pt x="300" y="1320"/>
                </a:lnTo>
                <a:lnTo>
                  <a:pt x="294" y="1320"/>
                </a:lnTo>
                <a:lnTo>
                  <a:pt x="294" y="1314"/>
                </a:lnTo>
                <a:lnTo>
                  <a:pt x="288" y="1314"/>
                </a:lnTo>
                <a:lnTo>
                  <a:pt x="288" y="1308"/>
                </a:lnTo>
                <a:lnTo>
                  <a:pt x="288" y="1302"/>
                </a:lnTo>
                <a:lnTo>
                  <a:pt x="294" y="1302"/>
                </a:lnTo>
                <a:lnTo>
                  <a:pt x="294" y="1296"/>
                </a:lnTo>
                <a:lnTo>
                  <a:pt x="288" y="1296"/>
                </a:lnTo>
                <a:lnTo>
                  <a:pt x="288" y="1290"/>
                </a:lnTo>
                <a:lnTo>
                  <a:pt x="288" y="1296"/>
                </a:lnTo>
                <a:lnTo>
                  <a:pt x="294" y="1302"/>
                </a:lnTo>
                <a:lnTo>
                  <a:pt x="288" y="1302"/>
                </a:lnTo>
                <a:lnTo>
                  <a:pt x="282" y="1296"/>
                </a:lnTo>
                <a:lnTo>
                  <a:pt x="276" y="1296"/>
                </a:lnTo>
                <a:lnTo>
                  <a:pt x="276" y="1290"/>
                </a:lnTo>
                <a:lnTo>
                  <a:pt x="270" y="1290"/>
                </a:lnTo>
                <a:lnTo>
                  <a:pt x="264" y="1284"/>
                </a:lnTo>
                <a:lnTo>
                  <a:pt x="264" y="1278"/>
                </a:lnTo>
                <a:lnTo>
                  <a:pt x="264" y="1272"/>
                </a:lnTo>
                <a:lnTo>
                  <a:pt x="264" y="1266"/>
                </a:lnTo>
                <a:lnTo>
                  <a:pt x="258" y="1266"/>
                </a:lnTo>
                <a:lnTo>
                  <a:pt x="252" y="1266"/>
                </a:lnTo>
                <a:lnTo>
                  <a:pt x="246" y="1260"/>
                </a:lnTo>
                <a:lnTo>
                  <a:pt x="240" y="1254"/>
                </a:lnTo>
                <a:lnTo>
                  <a:pt x="240" y="1260"/>
                </a:lnTo>
                <a:lnTo>
                  <a:pt x="240" y="1266"/>
                </a:lnTo>
                <a:lnTo>
                  <a:pt x="240" y="1272"/>
                </a:lnTo>
                <a:lnTo>
                  <a:pt x="246" y="1272"/>
                </a:lnTo>
                <a:lnTo>
                  <a:pt x="246" y="1278"/>
                </a:lnTo>
                <a:lnTo>
                  <a:pt x="246" y="1284"/>
                </a:lnTo>
                <a:lnTo>
                  <a:pt x="252" y="1284"/>
                </a:lnTo>
                <a:lnTo>
                  <a:pt x="252" y="1290"/>
                </a:lnTo>
                <a:lnTo>
                  <a:pt x="258" y="1296"/>
                </a:lnTo>
                <a:lnTo>
                  <a:pt x="264" y="1302"/>
                </a:lnTo>
                <a:lnTo>
                  <a:pt x="264" y="1308"/>
                </a:lnTo>
                <a:lnTo>
                  <a:pt x="264" y="1314"/>
                </a:lnTo>
                <a:lnTo>
                  <a:pt x="258" y="1314"/>
                </a:lnTo>
                <a:lnTo>
                  <a:pt x="258" y="1308"/>
                </a:lnTo>
                <a:lnTo>
                  <a:pt x="252" y="1308"/>
                </a:lnTo>
                <a:lnTo>
                  <a:pt x="252" y="1302"/>
                </a:lnTo>
                <a:lnTo>
                  <a:pt x="246" y="1302"/>
                </a:lnTo>
                <a:lnTo>
                  <a:pt x="246" y="1296"/>
                </a:lnTo>
                <a:lnTo>
                  <a:pt x="240" y="1296"/>
                </a:lnTo>
                <a:lnTo>
                  <a:pt x="240" y="1290"/>
                </a:lnTo>
                <a:lnTo>
                  <a:pt x="234" y="1284"/>
                </a:lnTo>
                <a:lnTo>
                  <a:pt x="234" y="1278"/>
                </a:lnTo>
                <a:close/>
                <a:moveTo>
                  <a:pt x="444" y="1332"/>
                </a:moveTo>
                <a:lnTo>
                  <a:pt x="450" y="1326"/>
                </a:lnTo>
                <a:lnTo>
                  <a:pt x="456" y="1326"/>
                </a:lnTo>
                <a:lnTo>
                  <a:pt x="456" y="1332"/>
                </a:lnTo>
                <a:lnTo>
                  <a:pt x="456" y="1338"/>
                </a:lnTo>
                <a:lnTo>
                  <a:pt x="450" y="1338"/>
                </a:lnTo>
                <a:lnTo>
                  <a:pt x="444" y="1338"/>
                </a:lnTo>
                <a:lnTo>
                  <a:pt x="444" y="1332"/>
                </a:lnTo>
                <a:close/>
                <a:moveTo>
                  <a:pt x="444" y="1368"/>
                </a:moveTo>
                <a:lnTo>
                  <a:pt x="456" y="1368"/>
                </a:lnTo>
                <a:lnTo>
                  <a:pt x="456" y="1374"/>
                </a:lnTo>
                <a:lnTo>
                  <a:pt x="444" y="1374"/>
                </a:lnTo>
                <a:lnTo>
                  <a:pt x="444" y="1368"/>
                </a:lnTo>
                <a:close/>
                <a:moveTo>
                  <a:pt x="444" y="1386"/>
                </a:moveTo>
                <a:lnTo>
                  <a:pt x="444" y="1380"/>
                </a:lnTo>
                <a:lnTo>
                  <a:pt x="444" y="1374"/>
                </a:lnTo>
                <a:lnTo>
                  <a:pt x="444" y="1380"/>
                </a:lnTo>
                <a:lnTo>
                  <a:pt x="450" y="1380"/>
                </a:lnTo>
                <a:lnTo>
                  <a:pt x="456" y="1380"/>
                </a:lnTo>
                <a:lnTo>
                  <a:pt x="456" y="1386"/>
                </a:lnTo>
                <a:lnTo>
                  <a:pt x="456" y="1392"/>
                </a:lnTo>
                <a:lnTo>
                  <a:pt x="462" y="1392"/>
                </a:lnTo>
                <a:lnTo>
                  <a:pt x="462" y="1398"/>
                </a:lnTo>
                <a:lnTo>
                  <a:pt x="462" y="1404"/>
                </a:lnTo>
                <a:lnTo>
                  <a:pt x="456" y="1404"/>
                </a:lnTo>
                <a:lnTo>
                  <a:pt x="450" y="1404"/>
                </a:lnTo>
                <a:lnTo>
                  <a:pt x="450" y="1398"/>
                </a:lnTo>
                <a:lnTo>
                  <a:pt x="444" y="1398"/>
                </a:lnTo>
                <a:lnTo>
                  <a:pt x="444" y="1392"/>
                </a:lnTo>
                <a:lnTo>
                  <a:pt x="444" y="1386"/>
                </a:lnTo>
                <a:close/>
                <a:moveTo>
                  <a:pt x="438" y="1362"/>
                </a:moveTo>
                <a:lnTo>
                  <a:pt x="444" y="1356"/>
                </a:lnTo>
                <a:lnTo>
                  <a:pt x="450" y="1356"/>
                </a:lnTo>
                <a:lnTo>
                  <a:pt x="450" y="1362"/>
                </a:lnTo>
                <a:lnTo>
                  <a:pt x="450" y="1368"/>
                </a:lnTo>
                <a:lnTo>
                  <a:pt x="444" y="1368"/>
                </a:lnTo>
                <a:lnTo>
                  <a:pt x="444" y="1362"/>
                </a:lnTo>
                <a:lnTo>
                  <a:pt x="438" y="1362"/>
                </a:lnTo>
                <a:close/>
                <a:moveTo>
                  <a:pt x="438" y="1350"/>
                </a:moveTo>
                <a:lnTo>
                  <a:pt x="438" y="1344"/>
                </a:lnTo>
                <a:lnTo>
                  <a:pt x="438" y="1338"/>
                </a:lnTo>
                <a:lnTo>
                  <a:pt x="444" y="1338"/>
                </a:lnTo>
                <a:lnTo>
                  <a:pt x="450" y="1338"/>
                </a:lnTo>
                <a:lnTo>
                  <a:pt x="456" y="1338"/>
                </a:lnTo>
                <a:lnTo>
                  <a:pt x="450" y="1344"/>
                </a:lnTo>
                <a:lnTo>
                  <a:pt x="444" y="1350"/>
                </a:lnTo>
                <a:lnTo>
                  <a:pt x="438" y="1350"/>
                </a:lnTo>
                <a:close/>
                <a:moveTo>
                  <a:pt x="432" y="1380"/>
                </a:moveTo>
                <a:lnTo>
                  <a:pt x="432" y="1368"/>
                </a:lnTo>
                <a:lnTo>
                  <a:pt x="432" y="1362"/>
                </a:lnTo>
                <a:lnTo>
                  <a:pt x="432" y="1356"/>
                </a:lnTo>
                <a:lnTo>
                  <a:pt x="438" y="1356"/>
                </a:lnTo>
                <a:lnTo>
                  <a:pt x="438" y="1362"/>
                </a:lnTo>
                <a:lnTo>
                  <a:pt x="438" y="1368"/>
                </a:lnTo>
                <a:lnTo>
                  <a:pt x="438" y="1374"/>
                </a:lnTo>
                <a:lnTo>
                  <a:pt x="438" y="1380"/>
                </a:lnTo>
                <a:lnTo>
                  <a:pt x="438" y="1386"/>
                </a:lnTo>
                <a:lnTo>
                  <a:pt x="438" y="1380"/>
                </a:lnTo>
                <a:lnTo>
                  <a:pt x="432" y="1380"/>
                </a:lnTo>
                <a:close/>
                <a:moveTo>
                  <a:pt x="246" y="1272"/>
                </a:moveTo>
                <a:lnTo>
                  <a:pt x="252" y="1272"/>
                </a:lnTo>
                <a:lnTo>
                  <a:pt x="252" y="1278"/>
                </a:lnTo>
                <a:lnTo>
                  <a:pt x="246" y="1278"/>
                </a:lnTo>
                <a:lnTo>
                  <a:pt x="246" y="1272"/>
                </a:lnTo>
                <a:close/>
                <a:moveTo>
                  <a:pt x="426" y="1416"/>
                </a:moveTo>
                <a:lnTo>
                  <a:pt x="432" y="1410"/>
                </a:lnTo>
                <a:lnTo>
                  <a:pt x="438" y="1410"/>
                </a:lnTo>
                <a:lnTo>
                  <a:pt x="438" y="1416"/>
                </a:lnTo>
                <a:lnTo>
                  <a:pt x="438" y="1422"/>
                </a:lnTo>
                <a:lnTo>
                  <a:pt x="432" y="1422"/>
                </a:lnTo>
                <a:lnTo>
                  <a:pt x="426" y="1422"/>
                </a:lnTo>
                <a:lnTo>
                  <a:pt x="426" y="1416"/>
                </a:lnTo>
                <a:close/>
                <a:moveTo>
                  <a:pt x="246" y="1266"/>
                </a:moveTo>
                <a:lnTo>
                  <a:pt x="252" y="1266"/>
                </a:lnTo>
                <a:lnTo>
                  <a:pt x="258" y="1272"/>
                </a:lnTo>
                <a:lnTo>
                  <a:pt x="258" y="1278"/>
                </a:lnTo>
                <a:lnTo>
                  <a:pt x="258" y="1284"/>
                </a:lnTo>
                <a:lnTo>
                  <a:pt x="252" y="1284"/>
                </a:lnTo>
                <a:lnTo>
                  <a:pt x="252" y="1278"/>
                </a:lnTo>
                <a:lnTo>
                  <a:pt x="252" y="1272"/>
                </a:lnTo>
                <a:lnTo>
                  <a:pt x="252" y="1266"/>
                </a:lnTo>
                <a:lnTo>
                  <a:pt x="246" y="1266"/>
                </a:lnTo>
                <a:close/>
                <a:moveTo>
                  <a:pt x="408" y="1458"/>
                </a:moveTo>
                <a:lnTo>
                  <a:pt x="408" y="1452"/>
                </a:lnTo>
                <a:lnTo>
                  <a:pt x="414" y="1452"/>
                </a:lnTo>
                <a:lnTo>
                  <a:pt x="414" y="1446"/>
                </a:lnTo>
                <a:lnTo>
                  <a:pt x="414" y="1440"/>
                </a:lnTo>
                <a:lnTo>
                  <a:pt x="420" y="1440"/>
                </a:lnTo>
                <a:lnTo>
                  <a:pt x="420" y="1434"/>
                </a:lnTo>
                <a:lnTo>
                  <a:pt x="420" y="1428"/>
                </a:lnTo>
                <a:lnTo>
                  <a:pt x="420" y="1422"/>
                </a:lnTo>
                <a:lnTo>
                  <a:pt x="426" y="1422"/>
                </a:lnTo>
                <a:lnTo>
                  <a:pt x="432" y="1428"/>
                </a:lnTo>
                <a:lnTo>
                  <a:pt x="438" y="1428"/>
                </a:lnTo>
                <a:lnTo>
                  <a:pt x="438" y="1434"/>
                </a:lnTo>
                <a:lnTo>
                  <a:pt x="438" y="1428"/>
                </a:lnTo>
                <a:lnTo>
                  <a:pt x="438" y="1422"/>
                </a:lnTo>
                <a:lnTo>
                  <a:pt x="444" y="1416"/>
                </a:lnTo>
                <a:lnTo>
                  <a:pt x="444" y="1410"/>
                </a:lnTo>
                <a:lnTo>
                  <a:pt x="450" y="1416"/>
                </a:lnTo>
                <a:lnTo>
                  <a:pt x="456" y="1416"/>
                </a:lnTo>
                <a:lnTo>
                  <a:pt x="456" y="1422"/>
                </a:lnTo>
                <a:lnTo>
                  <a:pt x="456" y="1428"/>
                </a:lnTo>
                <a:lnTo>
                  <a:pt x="456" y="1434"/>
                </a:lnTo>
                <a:lnTo>
                  <a:pt x="456" y="1440"/>
                </a:lnTo>
                <a:lnTo>
                  <a:pt x="462" y="1440"/>
                </a:lnTo>
                <a:lnTo>
                  <a:pt x="462" y="1446"/>
                </a:lnTo>
                <a:lnTo>
                  <a:pt x="462" y="1452"/>
                </a:lnTo>
                <a:lnTo>
                  <a:pt x="456" y="1452"/>
                </a:lnTo>
                <a:lnTo>
                  <a:pt x="450" y="1452"/>
                </a:lnTo>
                <a:lnTo>
                  <a:pt x="444" y="1446"/>
                </a:lnTo>
                <a:lnTo>
                  <a:pt x="444" y="1452"/>
                </a:lnTo>
                <a:lnTo>
                  <a:pt x="450" y="1452"/>
                </a:lnTo>
                <a:lnTo>
                  <a:pt x="450" y="1458"/>
                </a:lnTo>
                <a:lnTo>
                  <a:pt x="444" y="1458"/>
                </a:lnTo>
                <a:lnTo>
                  <a:pt x="438" y="1464"/>
                </a:lnTo>
                <a:lnTo>
                  <a:pt x="438" y="1458"/>
                </a:lnTo>
                <a:lnTo>
                  <a:pt x="432" y="1458"/>
                </a:lnTo>
                <a:lnTo>
                  <a:pt x="426" y="1458"/>
                </a:lnTo>
                <a:lnTo>
                  <a:pt x="432" y="1458"/>
                </a:lnTo>
                <a:lnTo>
                  <a:pt x="438" y="1464"/>
                </a:lnTo>
                <a:lnTo>
                  <a:pt x="432" y="1464"/>
                </a:lnTo>
                <a:lnTo>
                  <a:pt x="432" y="1470"/>
                </a:lnTo>
                <a:lnTo>
                  <a:pt x="426" y="1470"/>
                </a:lnTo>
                <a:lnTo>
                  <a:pt x="420" y="1476"/>
                </a:lnTo>
                <a:lnTo>
                  <a:pt x="420" y="1470"/>
                </a:lnTo>
                <a:lnTo>
                  <a:pt x="414" y="1470"/>
                </a:lnTo>
                <a:lnTo>
                  <a:pt x="414" y="1464"/>
                </a:lnTo>
                <a:lnTo>
                  <a:pt x="414" y="1458"/>
                </a:lnTo>
                <a:lnTo>
                  <a:pt x="408" y="1458"/>
                </a:lnTo>
                <a:close/>
                <a:moveTo>
                  <a:pt x="270" y="1326"/>
                </a:moveTo>
                <a:lnTo>
                  <a:pt x="270" y="1320"/>
                </a:lnTo>
                <a:lnTo>
                  <a:pt x="276" y="1320"/>
                </a:lnTo>
                <a:lnTo>
                  <a:pt x="282" y="1326"/>
                </a:lnTo>
                <a:lnTo>
                  <a:pt x="288" y="1326"/>
                </a:lnTo>
                <a:lnTo>
                  <a:pt x="288" y="1332"/>
                </a:lnTo>
                <a:lnTo>
                  <a:pt x="288" y="1338"/>
                </a:lnTo>
                <a:lnTo>
                  <a:pt x="288" y="1344"/>
                </a:lnTo>
                <a:lnTo>
                  <a:pt x="282" y="1344"/>
                </a:lnTo>
                <a:lnTo>
                  <a:pt x="282" y="1338"/>
                </a:lnTo>
                <a:lnTo>
                  <a:pt x="276" y="1338"/>
                </a:lnTo>
                <a:lnTo>
                  <a:pt x="276" y="1332"/>
                </a:lnTo>
                <a:lnTo>
                  <a:pt x="270" y="1332"/>
                </a:lnTo>
                <a:lnTo>
                  <a:pt x="270" y="1326"/>
                </a:lnTo>
                <a:close/>
                <a:moveTo>
                  <a:pt x="288" y="1458"/>
                </a:moveTo>
                <a:lnTo>
                  <a:pt x="294" y="1458"/>
                </a:lnTo>
                <a:lnTo>
                  <a:pt x="294" y="1452"/>
                </a:lnTo>
                <a:lnTo>
                  <a:pt x="294" y="1446"/>
                </a:lnTo>
                <a:lnTo>
                  <a:pt x="300" y="1446"/>
                </a:lnTo>
                <a:lnTo>
                  <a:pt x="300" y="1440"/>
                </a:lnTo>
                <a:lnTo>
                  <a:pt x="306" y="1440"/>
                </a:lnTo>
                <a:lnTo>
                  <a:pt x="306" y="1446"/>
                </a:lnTo>
                <a:lnTo>
                  <a:pt x="312" y="1452"/>
                </a:lnTo>
                <a:lnTo>
                  <a:pt x="306" y="1452"/>
                </a:lnTo>
                <a:lnTo>
                  <a:pt x="306" y="1458"/>
                </a:lnTo>
                <a:lnTo>
                  <a:pt x="312" y="1464"/>
                </a:lnTo>
                <a:lnTo>
                  <a:pt x="306" y="1464"/>
                </a:lnTo>
                <a:lnTo>
                  <a:pt x="306" y="1470"/>
                </a:lnTo>
                <a:lnTo>
                  <a:pt x="300" y="1476"/>
                </a:lnTo>
                <a:lnTo>
                  <a:pt x="294" y="1476"/>
                </a:lnTo>
                <a:lnTo>
                  <a:pt x="294" y="1470"/>
                </a:lnTo>
                <a:lnTo>
                  <a:pt x="288" y="1470"/>
                </a:lnTo>
                <a:lnTo>
                  <a:pt x="288" y="1464"/>
                </a:lnTo>
                <a:lnTo>
                  <a:pt x="288" y="1458"/>
                </a:lnTo>
                <a:close/>
                <a:moveTo>
                  <a:pt x="270" y="1296"/>
                </a:moveTo>
                <a:lnTo>
                  <a:pt x="276" y="1296"/>
                </a:lnTo>
                <a:lnTo>
                  <a:pt x="282" y="1296"/>
                </a:lnTo>
                <a:lnTo>
                  <a:pt x="288" y="1296"/>
                </a:lnTo>
                <a:lnTo>
                  <a:pt x="288" y="1302"/>
                </a:lnTo>
                <a:lnTo>
                  <a:pt x="282" y="1308"/>
                </a:lnTo>
                <a:lnTo>
                  <a:pt x="276" y="1308"/>
                </a:lnTo>
                <a:lnTo>
                  <a:pt x="276" y="1302"/>
                </a:lnTo>
                <a:lnTo>
                  <a:pt x="270" y="1296"/>
                </a:lnTo>
                <a:close/>
              </a:path>
            </a:pathLst>
          </a:custGeom>
          <a:solidFill>
            <a:srgbClr val="33CC33"/>
          </a:solidFill>
          <a:ln w="9525">
            <a:solidFill>
              <a:schemeClr val="bg1"/>
            </a:solidFill>
            <a:round/>
            <a:headEnd/>
            <a:tailEnd/>
          </a:ln>
        </p:spPr>
        <p:txBody>
          <a:bodyPr/>
          <a:lstStyle/>
          <a:p>
            <a:endParaRPr lang="en-GB"/>
          </a:p>
        </p:txBody>
      </p:sp>
      <p:sp>
        <p:nvSpPr>
          <p:cNvPr id="18458" name="Freeform 20"/>
          <p:cNvSpPr>
            <a:spLocks/>
          </p:cNvSpPr>
          <p:nvPr/>
        </p:nvSpPr>
        <p:spPr bwMode="gray">
          <a:xfrm>
            <a:off x="3556000" y="4999038"/>
            <a:ext cx="487363" cy="603250"/>
          </a:xfrm>
          <a:custGeom>
            <a:avLst/>
            <a:gdLst>
              <a:gd name="T0" fmla="*/ 23442 w 624"/>
              <a:gd name="T1" fmla="*/ 49125 h 750"/>
              <a:gd name="T2" fmla="*/ 21098 w 624"/>
              <a:gd name="T3" fmla="*/ 49931 h 750"/>
              <a:gd name="T4" fmla="*/ 17973 w 624"/>
              <a:gd name="T5" fmla="*/ 47515 h 750"/>
              <a:gd name="T6" fmla="*/ 15628 w 624"/>
              <a:gd name="T7" fmla="*/ 46709 h 750"/>
              <a:gd name="T8" fmla="*/ 14847 w 624"/>
              <a:gd name="T9" fmla="*/ 45099 h 750"/>
              <a:gd name="T10" fmla="*/ 13284 w 624"/>
              <a:gd name="T11" fmla="*/ 44293 h 750"/>
              <a:gd name="T12" fmla="*/ 12503 w 624"/>
              <a:gd name="T13" fmla="*/ 41072 h 750"/>
              <a:gd name="T14" fmla="*/ 10940 w 624"/>
              <a:gd name="T15" fmla="*/ 38656 h 750"/>
              <a:gd name="T16" fmla="*/ 9377 w 624"/>
              <a:gd name="T17" fmla="*/ 37045 h 750"/>
              <a:gd name="T18" fmla="*/ 9377 w 624"/>
              <a:gd name="T19" fmla="*/ 35435 h 750"/>
              <a:gd name="T20" fmla="*/ 8596 w 624"/>
              <a:gd name="T21" fmla="*/ 33019 h 750"/>
              <a:gd name="T22" fmla="*/ 6251 w 624"/>
              <a:gd name="T23" fmla="*/ 30603 h 750"/>
              <a:gd name="T24" fmla="*/ 4688 w 624"/>
              <a:gd name="T25" fmla="*/ 30603 h 750"/>
              <a:gd name="T26" fmla="*/ 4688 w 624"/>
              <a:gd name="T27" fmla="*/ 28187 h 750"/>
              <a:gd name="T28" fmla="*/ 5470 w 624"/>
              <a:gd name="T29" fmla="*/ 24965 h 750"/>
              <a:gd name="T30" fmla="*/ 7814 w 624"/>
              <a:gd name="T31" fmla="*/ 21744 h 750"/>
              <a:gd name="T32" fmla="*/ 6251 w 624"/>
              <a:gd name="T33" fmla="*/ 18523 h 750"/>
              <a:gd name="T34" fmla="*/ 4688 w 624"/>
              <a:gd name="T35" fmla="*/ 18523 h 750"/>
              <a:gd name="T36" fmla="*/ 2344 w 624"/>
              <a:gd name="T37" fmla="*/ 17717 h 750"/>
              <a:gd name="T38" fmla="*/ 0 w 624"/>
              <a:gd name="T39" fmla="*/ 17717 h 750"/>
              <a:gd name="T40" fmla="*/ 0 w 624"/>
              <a:gd name="T41" fmla="*/ 15301 h 750"/>
              <a:gd name="T42" fmla="*/ 781 w 624"/>
              <a:gd name="T43" fmla="*/ 14496 h 750"/>
              <a:gd name="T44" fmla="*/ 1563 w 624"/>
              <a:gd name="T45" fmla="*/ 11275 h 750"/>
              <a:gd name="T46" fmla="*/ 3126 w 624"/>
              <a:gd name="T47" fmla="*/ 13691 h 750"/>
              <a:gd name="T48" fmla="*/ 4688 w 624"/>
              <a:gd name="T49" fmla="*/ 13691 h 750"/>
              <a:gd name="T50" fmla="*/ 5470 w 624"/>
              <a:gd name="T51" fmla="*/ 13691 h 750"/>
              <a:gd name="T52" fmla="*/ 7033 w 624"/>
              <a:gd name="T53" fmla="*/ 12080 h 750"/>
              <a:gd name="T54" fmla="*/ 7814 w 624"/>
              <a:gd name="T55" fmla="*/ 11275 h 750"/>
              <a:gd name="T56" fmla="*/ 8596 w 624"/>
              <a:gd name="T57" fmla="*/ 9664 h 750"/>
              <a:gd name="T58" fmla="*/ 10158 w 624"/>
              <a:gd name="T59" fmla="*/ 9664 h 750"/>
              <a:gd name="T60" fmla="*/ 14065 w 624"/>
              <a:gd name="T61" fmla="*/ 8053 h 750"/>
              <a:gd name="T62" fmla="*/ 17191 w 624"/>
              <a:gd name="T63" fmla="*/ 3221 h 750"/>
              <a:gd name="T64" fmla="*/ 18754 w 624"/>
              <a:gd name="T65" fmla="*/ 3221 h 750"/>
              <a:gd name="T66" fmla="*/ 20317 w 624"/>
              <a:gd name="T67" fmla="*/ 1611 h 750"/>
              <a:gd name="T68" fmla="*/ 22661 w 624"/>
              <a:gd name="T69" fmla="*/ 0 h 750"/>
              <a:gd name="T70" fmla="*/ 25005 w 624"/>
              <a:gd name="T71" fmla="*/ 1611 h 750"/>
              <a:gd name="T72" fmla="*/ 26568 w 624"/>
              <a:gd name="T73" fmla="*/ 4027 h 750"/>
              <a:gd name="T74" fmla="*/ 27349 w 624"/>
              <a:gd name="T75" fmla="*/ 6443 h 750"/>
              <a:gd name="T76" fmla="*/ 30475 w 624"/>
              <a:gd name="T77" fmla="*/ 8859 h 750"/>
              <a:gd name="T78" fmla="*/ 32819 w 624"/>
              <a:gd name="T79" fmla="*/ 11275 h 750"/>
              <a:gd name="T80" fmla="*/ 35945 w 624"/>
              <a:gd name="T81" fmla="*/ 9664 h 750"/>
              <a:gd name="T82" fmla="*/ 38289 w 624"/>
              <a:gd name="T83" fmla="*/ 9664 h 750"/>
              <a:gd name="T84" fmla="*/ 39852 w 624"/>
              <a:gd name="T85" fmla="*/ 9664 h 750"/>
              <a:gd name="T86" fmla="*/ 41415 w 624"/>
              <a:gd name="T87" fmla="*/ 9664 h 750"/>
              <a:gd name="T88" fmla="*/ 41415 w 624"/>
              <a:gd name="T89" fmla="*/ 13691 h 750"/>
              <a:gd name="T90" fmla="*/ 39852 w 624"/>
              <a:gd name="T91" fmla="*/ 16107 h 750"/>
              <a:gd name="T92" fmla="*/ 38289 w 624"/>
              <a:gd name="T93" fmla="*/ 20939 h 750"/>
              <a:gd name="T94" fmla="*/ 36726 w 624"/>
              <a:gd name="T95" fmla="*/ 20939 h 750"/>
              <a:gd name="T96" fmla="*/ 34382 w 624"/>
              <a:gd name="T97" fmla="*/ 20939 h 750"/>
              <a:gd name="T98" fmla="*/ 33601 w 624"/>
              <a:gd name="T99" fmla="*/ 21744 h 750"/>
              <a:gd name="T100" fmla="*/ 35164 w 624"/>
              <a:gd name="T101" fmla="*/ 25771 h 750"/>
              <a:gd name="T102" fmla="*/ 34382 w 624"/>
              <a:gd name="T103" fmla="*/ 34629 h 750"/>
              <a:gd name="T104" fmla="*/ 34382 w 624"/>
              <a:gd name="T105" fmla="*/ 37851 h 750"/>
              <a:gd name="T106" fmla="*/ 34382 w 624"/>
              <a:gd name="T107" fmla="*/ 43488 h 750"/>
              <a:gd name="T108" fmla="*/ 32038 w 624"/>
              <a:gd name="T109" fmla="*/ 48320 h 750"/>
              <a:gd name="T110" fmla="*/ 32819 w 624"/>
              <a:gd name="T111" fmla="*/ 49931 h 750"/>
              <a:gd name="T112" fmla="*/ 33601 w 624"/>
              <a:gd name="T113" fmla="*/ 52347 h 750"/>
              <a:gd name="T114" fmla="*/ 30475 w 624"/>
              <a:gd name="T115" fmla="*/ 50736 h 750"/>
              <a:gd name="T116" fmla="*/ 27349 w 624"/>
              <a:gd name="T117" fmla="*/ 49931 h 7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24"/>
              <a:gd name="T178" fmla="*/ 0 h 750"/>
              <a:gd name="T179" fmla="*/ 624 w 624"/>
              <a:gd name="T180" fmla="*/ 750 h 75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24" h="750">
                <a:moveTo>
                  <a:pt x="390" y="702"/>
                </a:moveTo>
                <a:lnTo>
                  <a:pt x="372" y="696"/>
                </a:lnTo>
                <a:lnTo>
                  <a:pt x="360" y="702"/>
                </a:lnTo>
                <a:lnTo>
                  <a:pt x="348" y="702"/>
                </a:lnTo>
                <a:lnTo>
                  <a:pt x="336" y="702"/>
                </a:lnTo>
                <a:lnTo>
                  <a:pt x="330" y="702"/>
                </a:lnTo>
                <a:lnTo>
                  <a:pt x="318" y="708"/>
                </a:lnTo>
                <a:lnTo>
                  <a:pt x="306" y="708"/>
                </a:lnTo>
                <a:lnTo>
                  <a:pt x="294" y="690"/>
                </a:lnTo>
                <a:lnTo>
                  <a:pt x="294" y="684"/>
                </a:lnTo>
                <a:lnTo>
                  <a:pt x="276" y="684"/>
                </a:lnTo>
                <a:lnTo>
                  <a:pt x="270" y="678"/>
                </a:lnTo>
                <a:lnTo>
                  <a:pt x="240" y="672"/>
                </a:lnTo>
                <a:lnTo>
                  <a:pt x="234" y="672"/>
                </a:lnTo>
                <a:lnTo>
                  <a:pt x="228" y="672"/>
                </a:lnTo>
                <a:lnTo>
                  <a:pt x="228" y="666"/>
                </a:lnTo>
                <a:lnTo>
                  <a:pt x="222" y="666"/>
                </a:lnTo>
                <a:lnTo>
                  <a:pt x="216" y="660"/>
                </a:lnTo>
                <a:lnTo>
                  <a:pt x="216" y="654"/>
                </a:lnTo>
                <a:lnTo>
                  <a:pt x="216" y="642"/>
                </a:lnTo>
                <a:lnTo>
                  <a:pt x="210" y="642"/>
                </a:lnTo>
                <a:lnTo>
                  <a:pt x="204" y="636"/>
                </a:lnTo>
                <a:lnTo>
                  <a:pt x="198" y="636"/>
                </a:lnTo>
                <a:lnTo>
                  <a:pt x="192" y="636"/>
                </a:lnTo>
                <a:lnTo>
                  <a:pt x="192" y="624"/>
                </a:lnTo>
                <a:lnTo>
                  <a:pt x="186" y="612"/>
                </a:lnTo>
                <a:lnTo>
                  <a:pt x="186" y="600"/>
                </a:lnTo>
                <a:lnTo>
                  <a:pt x="186" y="588"/>
                </a:lnTo>
                <a:lnTo>
                  <a:pt x="180" y="582"/>
                </a:lnTo>
                <a:lnTo>
                  <a:pt x="180" y="570"/>
                </a:lnTo>
                <a:lnTo>
                  <a:pt x="174" y="558"/>
                </a:lnTo>
                <a:lnTo>
                  <a:pt x="162" y="558"/>
                </a:lnTo>
                <a:lnTo>
                  <a:pt x="144" y="564"/>
                </a:lnTo>
                <a:lnTo>
                  <a:pt x="138" y="552"/>
                </a:lnTo>
                <a:lnTo>
                  <a:pt x="144" y="540"/>
                </a:lnTo>
                <a:lnTo>
                  <a:pt x="138" y="534"/>
                </a:lnTo>
                <a:lnTo>
                  <a:pt x="138" y="528"/>
                </a:lnTo>
                <a:lnTo>
                  <a:pt x="132" y="522"/>
                </a:lnTo>
                <a:lnTo>
                  <a:pt x="144" y="522"/>
                </a:lnTo>
                <a:lnTo>
                  <a:pt x="144" y="510"/>
                </a:lnTo>
                <a:lnTo>
                  <a:pt x="144" y="504"/>
                </a:lnTo>
                <a:lnTo>
                  <a:pt x="138" y="492"/>
                </a:lnTo>
                <a:lnTo>
                  <a:pt x="138" y="474"/>
                </a:lnTo>
                <a:lnTo>
                  <a:pt x="126" y="468"/>
                </a:lnTo>
                <a:lnTo>
                  <a:pt x="120" y="456"/>
                </a:lnTo>
                <a:lnTo>
                  <a:pt x="114" y="450"/>
                </a:lnTo>
                <a:lnTo>
                  <a:pt x="108" y="438"/>
                </a:lnTo>
                <a:lnTo>
                  <a:pt x="96" y="432"/>
                </a:lnTo>
                <a:lnTo>
                  <a:pt x="84" y="432"/>
                </a:lnTo>
                <a:lnTo>
                  <a:pt x="78" y="432"/>
                </a:lnTo>
                <a:lnTo>
                  <a:pt x="72" y="432"/>
                </a:lnTo>
                <a:lnTo>
                  <a:pt x="66" y="432"/>
                </a:lnTo>
                <a:lnTo>
                  <a:pt x="60" y="426"/>
                </a:lnTo>
                <a:lnTo>
                  <a:pt x="66" y="420"/>
                </a:lnTo>
                <a:lnTo>
                  <a:pt x="66" y="408"/>
                </a:lnTo>
                <a:lnTo>
                  <a:pt x="72" y="408"/>
                </a:lnTo>
                <a:lnTo>
                  <a:pt x="72" y="384"/>
                </a:lnTo>
                <a:lnTo>
                  <a:pt x="72" y="366"/>
                </a:lnTo>
                <a:lnTo>
                  <a:pt x="78" y="354"/>
                </a:lnTo>
                <a:lnTo>
                  <a:pt x="84" y="354"/>
                </a:lnTo>
                <a:lnTo>
                  <a:pt x="90" y="348"/>
                </a:lnTo>
                <a:lnTo>
                  <a:pt x="102" y="336"/>
                </a:lnTo>
                <a:lnTo>
                  <a:pt x="114" y="324"/>
                </a:lnTo>
                <a:lnTo>
                  <a:pt x="120" y="312"/>
                </a:lnTo>
                <a:lnTo>
                  <a:pt x="126" y="294"/>
                </a:lnTo>
                <a:lnTo>
                  <a:pt x="126" y="288"/>
                </a:lnTo>
                <a:lnTo>
                  <a:pt x="120" y="276"/>
                </a:lnTo>
                <a:lnTo>
                  <a:pt x="96" y="270"/>
                </a:lnTo>
                <a:lnTo>
                  <a:pt x="84" y="270"/>
                </a:lnTo>
                <a:lnTo>
                  <a:pt x="78" y="270"/>
                </a:lnTo>
                <a:lnTo>
                  <a:pt x="72" y="270"/>
                </a:lnTo>
                <a:lnTo>
                  <a:pt x="72" y="264"/>
                </a:lnTo>
                <a:lnTo>
                  <a:pt x="60" y="252"/>
                </a:lnTo>
                <a:lnTo>
                  <a:pt x="42" y="252"/>
                </a:lnTo>
                <a:lnTo>
                  <a:pt x="42" y="258"/>
                </a:lnTo>
                <a:lnTo>
                  <a:pt x="36" y="258"/>
                </a:lnTo>
                <a:lnTo>
                  <a:pt x="36" y="252"/>
                </a:lnTo>
                <a:lnTo>
                  <a:pt x="18" y="252"/>
                </a:lnTo>
                <a:lnTo>
                  <a:pt x="6" y="258"/>
                </a:lnTo>
                <a:lnTo>
                  <a:pt x="0" y="258"/>
                </a:lnTo>
                <a:lnTo>
                  <a:pt x="0" y="252"/>
                </a:lnTo>
                <a:lnTo>
                  <a:pt x="6" y="240"/>
                </a:lnTo>
                <a:lnTo>
                  <a:pt x="6" y="234"/>
                </a:lnTo>
                <a:lnTo>
                  <a:pt x="6" y="222"/>
                </a:lnTo>
                <a:lnTo>
                  <a:pt x="6" y="216"/>
                </a:lnTo>
                <a:lnTo>
                  <a:pt x="6" y="210"/>
                </a:lnTo>
                <a:lnTo>
                  <a:pt x="6" y="204"/>
                </a:lnTo>
                <a:lnTo>
                  <a:pt x="12" y="204"/>
                </a:lnTo>
                <a:lnTo>
                  <a:pt x="12" y="198"/>
                </a:lnTo>
                <a:lnTo>
                  <a:pt x="12" y="186"/>
                </a:lnTo>
                <a:lnTo>
                  <a:pt x="12" y="180"/>
                </a:lnTo>
                <a:lnTo>
                  <a:pt x="24" y="162"/>
                </a:lnTo>
                <a:lnTo>
                  <a:pt x="30" y="162"/>
                </a:lnTo>
                <a:lnTo>
                  <a:pt x="30" y="156"/>
                </a:lnTo>
                <a:lnTo>
                  <a:pt x="42" y="156"/>
                </a:lnTo>
                <a:lnTo>
                  <a:pt x="48" y="198"/>
                </a:lnTo>
                <a:lnTo>
                  <a:pt x="48" y="204"/>
                </a:lnTo>
                <a:lnTo>
                  <a:pt x="54" y="198"/>
                </a:lnTo>
                <a:lnTo>
                  <a:pt x="60" y="204"/>
                </a:lnTo>
                <a:lnTo>
                  <a:pt x="66" y="198"/>
                </a:lnTo>
                <a:lnTo>
                  <a:pt x="66" y="204"/>
                </a:lnTo>
                <a:lnTo>
                  <a:pt x="72" y="204"/>
                </a:lnTo>
                <a:lnTo>
                  <a:pt x="78" y="204"/>
                </a:lnTo>
                <a:lnTo>
                  <a:pt x="78" y="192"/>
                </a:lnTo>
                <a:lnTo>
                  <a:pt x="84" y="192"/>
                </a:lnTo>
                <a:lnTo>
                  <a:pt x="90" y="192"/>
                </a:lnTo>
                <a:lnTo>
                  <a:pt x="96" y="186"/>
                </a:lnTo>
                <a:lnTo>
                  <a:pt x="102" y="180"/>
                </a:lnTo>
                <a:lnTo>
                  <a:pt x="102" y="174"/>
                </a:lnTo>
                <a:lnTo>
                  <a:pt x="108" y="168"/>
                </a:lnTo>
                <a:lnTo>
                  <a:pt x="108" y="162"/>
                </a:lnTo>
                <a:lnTo>
                  <a:pt x="114" y="156"/>
                </a:lnTo>
                <a:lnTo>
                  <a:pt x="120" y="156"/>
                </a:lnTo>
                <a:lnTo>
                  <a:pt x="126" y="156"/>
                </a:lnTo>
                <a:lnTo>
                  <a:pt x="132" y="150"/>
                </a:lnTo>
                <a:lnTo>
                  <a:pt x="132" y="144"/>
                </a:lnTo>
                <a:lnTo>
                  <a:pt x="138" y="138"/>
                </a:lnTo>
                <a:lnTo>
                  <a:pt x="144" y="138"/>
                </a:lnTo>
                <a:lnTo>
                  <a:pt x="150" y="138"/>
                </a:lnTo>
                <a:lnTo>
                  <a:pt x="150" y="132"/>
                </a:lnTo>
                <a:lnTo>
                  <a:pt x="150" y="126"/>
                </a:lnTo>
                <a:lnTo>
                  <a:pt x="156" y="126"/>
                </a:lnTo>
                <a:lnTo>
                  <a:pt x="174" y="126"/>
                </a:lnTo>
                <a:lnTo>
                  <a:pt x="204" y="120"/>
                </a:lnTo>
                <a:lnTo>
                  <a:pt x="210" y="78"/>
                </a:lnTo>
                <a:lnTo>
                  <a:pt x="246" y="60"/>
                </a:lnTo>
                <a:lnTo>
                  <a:pt x="258" y="60"/>
                </a:lnTo>
                <a:lnTo>
                  <a:pt x="258" y="48"/>
                </a:lnTo>
                <a:lnTo>
                  <a:pt x="264" y="48"/>
                </a:lnTo>
                <a:lnTo>
                  <a:pt x="270" y="54"/>
                </a:lnTo>
                <a:lnTo>
                  <a:pt x="276" y="54"/>
                </a:lnTo>
                <a:lnTo>
                  <a:pt x="276" y="48"/>
                </a:lnTo>
                <a:lnTo>
                  <a:pt x="282" y="48"/>
                </a:lnTo>
                <a:lnTo>
                  <a:pt x="288" y="42"/>
                </a:lnTo>
                <a:lnTo>
                  <a:pt x="294" y="42"/>
                </a:lnTo>
                <a:lnTo>
                  <a:pt x="294" y="18"/>
                </a:lnTo>
                <a:lnTo>
                  <a:pt x="312" y="6"/>
                </a:lnTo>
                <a:lnTo>
                  <a:pt x="318" y="6"/>
                </a:lnTo>
                <a:lnTo>
                  <a:pt x="324" y="6"/>
                </a:lnTo>
                <a:lnTo>
                  <a:pt x="330" y="0"/>
                </a:lnTo>
                <a:lnTo>
                  <a:pt x="336" y="0"/>
                </a:lnTo>
                <a:lnTo>
                  <a:pt x="342" y="0"/>
                </a:lnTo>
                <a:lnTo>
                  <a:pt x="354" y="6"/>
                </a:lnTo>
                <a:lnTo>
                  <a:pt x="366" y="18"/>
                </a:lnTo>
                <a:lnTo>
                  <a:pt x="378" y="36"/>
                </a:lnTo>
                <a:lnTo>
                  <a:pt x="390" y="42"/>
                </a:lnTo>
                <a:lnTo>
                  <a:pt x="390" y="48"/>
                </a:lnTo>
                <a:lnTo>
                  <a:pt x="396" y="60"/>
                </a:lnTo>
                <a:lnTo>
                  <a:pt x="402" y="72"/>
                </a:lnTo>
                <a:lnTo>
                  <a:pt x="408" y="78"/>
                </a:lnTo>
                <a:lnTo>
                  <a:pt x="402" y="84"/>
                </a:lnTo>
                <a:lnTo>
                  <a:pt x="408" y="90"/>
                </a:lnTo>
                <a:lnTo>
                  <a:pt x="414" y="102"/>
                </a:lnTo>
                <a:lnTo>
                  <a:pt x="444" y="114"/>
                </a:lnTo>
                <a:lnTo>
                  <a:pt x="450" y="114"/>
                </a:lnTo>
                <a:lnTo>
                  <a:pt x="450" y="126"/>
                </a:lnTo>
                <a:lnTo>
                  <a:pt x="456" y="126"/>
                </a:lnTo>
                <a:lnTo>
                  <a:pt x="462" y="144"/>
                </a:lnTo>
                <a:lnTo>
                  <a:pt x="480" y="156"/>
                </a:lnTo>
                <a:lnTo>
                  <a:pt x="492" y="156"/>
                </a:lnTo>
                <a:lnTo>
                  <a:pt x="516" y="150"/>
                </a:lnTo>
                <a:lnTo>
                  <a:pt x="516" y="144"/>
                </a:lnTo>
                <a:lnTo>
                  <a:pt x="516" y="138"/>
                </a:lnTo>
                <a:lnTo>
                  <a:pt x="528" y="138"/>
                </a:lnTo>
                <a:lnTo>
                  <a:pt x="546" y="144"/>
                </a:lnTo>
                <a:lnTo>
                  <a:pt x="546" y="138"/>
                </a:lnTo>
                <a:lnTo>
                  <a:pt x="552" y="138"/>
                </a:lnTo>
                <a:lnTo>
                  <a:pt x="564" y="138"/>
                </a:lnTo>
                <a:lnTo>
                  <a:pt x="570" y="132"/>
                </a:lnTo>
                <a:lnTo>
                  <a:pt x="576" y="138"/>
                </a:lnTo>
                <a:lnTo>
                  <a:pt x="582" y="138"/>
                </a:lnTo>
                <a:lnTo>
                  <a:pt x="588" y="138"/>
                </a:lnTo>
                <a:lnTo>
                  <a:pt x="594" y="138"/>
                </a:lnTo>
                <a:lnTo>
                  <a:pt x="594" y="144"/>
                </a:lnTo>
                <a:lnTo>
                  <a:pt x="600" y="138"/>
                </a:lnTo>
                <a:lnTo>
                  <a:pt x="606" y="138"/>
                </a:lnTo>
                <a:lnTo>
                  <a:pt x="606" y="144"/>
                </a:lnTo>
                <a:lnTo>
                  <a:pt x="612" y="144"/>
                </a:lnTo>
                <a:lnTo>
                  <a:pt x="618" y="156"/>
                </a:lnTo>
                <a:lnTo>
                  <a:pt x="612" y="198"/>
                </a:lnTo>
                <a:lnTo>
                  <a:pt x="624" y="198"/>
                </a:lnTo>
                <a:lnTo>
                  <a:pt x="624" y="204"/>
                </a:lnTo>
                <a:lnTo>
                  <a:pt x="612" y="216"/>
                </a:lnTo>
                <a:lnTo>
                  <a:pt x="594" y="234"/>
                </a:lnTo>
                <a:lnTo>
                  <a:pt x="588" y="252"/>
                </a:lnTo>
                <a:lnTo>
                  <a:pt x="576" y="270"/>
                </a:lnTo>
                <a:lnTo>
                  <a:pt x="564" y="282"/>
                </a:lnTo>
                <a:lnTo>
                  <a:pt x="564" y="294"/>
                </a:lnTo>
                <a:lnTo>
                  <a:pt x="558" y="282"/>
                </a:lnTo>
                <a:lnTo>
                  <a:pt x="552" y="282"/>
                </a:lnTo>
                <a:lnTo>
                  <a:pt x="546" y="288"/>
                </a:lnTo>
                <a:lnTo>
                  <a:pt x="546" y="294"/>
                </a:lnTo>
                <a:lnTo>
                  <a:pt x="540" y="294"/>
                </a:lnTo>
                <a:lnTo>
                  <a:pt x="534" y="294"/>
                </a:lnTo>
                <a:lnTo>
                  <a:pt x="522" y="300"/>
                </a:lnTo>
                <a:lnTo>
                  <a:pt x="510" y="294"/>
                </a:lnTo>
                <a:lnTo>
                  <a:pt x="492" y="300"/>
                </a:lnTo>
                <a:lnTo>
                  <a:pt x="492" y="306"/>
                </a:lnTo>
                <a:lnTo>
                  <a:pt x="498" y="312"/>
                </a:lnTo>
                <a:lnTo>
                  <a:pt x="498" y="318"/>
                </a:lnTo>
                <a:lnTo>
                  <a:pt x="498" y="324"/>
                </a:lnTo>
                <a:lnTo>
                  <a:pt x="504" y="336"/>
                </a:lnTo>
                <a:lnTo>
                  <a:pt x="510" y="348"/>
                </a:lnTo>
                <a:lnTo>
                  <a:pt x="516" y="366"/>
                </a:lnTo>
                <a:lnTo>
                  <a:pt x="522" y="432"/>
                </a:lnTo>
                <a:lnTo>
                  <a:pt x="522" y="456"/>
                </a:lnTo>
                <a:lnTo>
                  <a:pt x="504" y="492"/>
                </a:lnTo>
                <a:lnTo>
                  <a:pt x="504" y="498"/>
                </a:lnTo>
                <a:lnTo>
                  <a:pt x="498" y="504"/>
                </a:lnTo>
                <a:lnTo>
                  <a:pt x="498" y="522"/>
                </a:lnTo>
                <a:lnTo>
                  <a:pt x="504" y="534"/>
                </a:lnTo>
                <a:lnTo>
                  <a:pt x="510" y="546"/>
                </a:lnTo>
                <a:lnTo>
                  <a:pt x="516" y="558"/>
                </a:lnTo>
                <a:lnTo>
                  <a:pt x="516" y="588"/>
                </a:lnTo>
                <a:lnTo>
                  <a:pt x="516" y="600"/>
                </a:lnTo>
                <a:lnTo>
                  <a:pt x="510" y="618"/>
                </a:lnTo>
                <a:lnTo>
                  <a:pt x="504" y="636"/>
                </a:lnTo>
                <a:lnTo>
                  <a:pt x="504" y="642"/>
                </a:lnTo>
                <a:lnTo>
                  <a:pt x="474" y="654"/>
                </a:lnTo>
                <a:lnTo>
                  <a:pt x="474" y="690"/>
                </a:lnTo>
                <a:lnTo>
                  <a:pt x="474" y="696"/>
                </a:lnTo>
                <a:lnTo>
                  <a:pt x="480" y="702"/>
                </a:lnTo>
                <a:lnTo>
                  <a:pt x="486" y="708"/>
                </a:lnTo>
                <a:lnTo>
                  <a:pt x="492" y="708"/>
                </a:lnTo>
                <a:lnTo>
                  <a:pt x="498" y="726"/>
                </a:lnTo>
                <a:lnTo>
                  <a:pt x="504" y="726"/>
                </a:lnTo>
                <a:lnTo>
                  <a:pt x="504" y="738"/>
                </a:lnTo>
                <a:lnTo>
                  <a:pt x="498" y="744"/>
                </a:lnTo>
                <a:lnTo>
                  <a:pt x="486" y="750"/>
                </a:lnTo>
                <a:lnTo>
                  <a:pt x="474" y="744"/>
                </a:lnTo>
                <a:lnTo>
                  <a:pt x="462" y="744"/>
                </a:lnTo>
                <a:lnTo>
                  <a:pt x="456" y="732"/>
                </a:lnTo>
                <a:lnTo>
                  <a:pt x="444" y="732"/>
                </a:lnTo>
                <a:lnTo>
                  <a:pt x="432" y="726"/>
                </a:lnTo>
                <a:lnTo>
                  <a:pt x="420" y="720"/>
                </a:lnTo>
                <a:lnTo>
                  <a:pt x="408" y="708"/>
                </a:lnTo>
                <a:lnTo>
                  <a:pt x="402" y="708"/>
                </a:lnTo>
                <a:lnTo>
                  <a:pt x="390" y="702"/>
                </a:lnTo>
                <a:close/>
              </a:path>
            </a:pathLst>
          </a:custGeom>
          <a:solidFill>
            <a:srgbClr val="33CC33"/>
          </a:solidFill>
          <a:ln w="9525">
            <a:solidFill>
              <a:schemeClr val="bg1"/>
            </a:solidFill>
            <a:round/>
            <a:headEnd/>
            <a:tailEnd/>
          </a:ln>
        </p:spPr>
        <p:txBody>
          <a:bodyPr/>
          <a:lstStyle/>
          <a:p>
            <a:endParaRPr lang="en-GB"/>
          </a:p>
        </p:txBody>
      </p:sp>
      <p:sp>
        <p:nvSpPr>
          <p:cNvPr id="18459" name="Freeform 21"/>
          <p:cNvSpPr>
            <a:spLocks/>
          </p:cNvSpPr>
          <p:nvPr/>
        </p:nvSpPr>
        <p:spPr bwMode="gray">
          <a:xfrm>
            <a:off x="3860800" y="5157788"/>
            <a:ext cx="460375" cy="574675"/>
          </a:xfrm>
          <a:custGeom>
            <a:avLst/>
            <a:gdLst>
              <a:gd name="T0" fmla="*/ 11718 w 588"/>
              <a:gd name="T1" fmla="*/ 47505 h 714"/>
              <a:gd name="T2" fmla="*/ 10937 w 588"/>
              <a:gd name="T3" fmla="*/ 46700 h 714"/>
              <a:gd name="T4" fmla="*/ 7031 w 588"/>
              <a:gd name="T5" fmla="*/ 43479 h 714"/>
              <a:gd name="T6" fmla="*/ 3125 w 588"/>
              <a:gd name="T7" fmla="*/ 43479 h 714"/>
              <a:gd name="T8" fmla="*/ 0 w 588"/>
              <a:gd name="T9" fmla="*/ 40259 h 714"/>
              <a:gd name="T10" fmla="*/ 0 w 588"/>
              <a:gd name="T11" fmla="*/ 35428 h 714"/>
              <a:gd name="T12" fmla="*/ 3125 w 588"/>
              <a:gd name="T13" fmla="*/ 37038 h 714"/>
              <a:gd name="T14" fmla="*/ 5468 w 588"/>
              <a:gd name="T15" fmla="*/ 37843 h 714"/>
              <a:gd name="T16" fmla="*/ 7812 w 588"/>
              <a:gd name="T17" fmla="*/ 37038 h 714"/>
              <a:gd name="T18" fmla="*/ 6249 w 588"/>
              <a:gd name="T19" fmla="*/ 35428 h 714"/>
              <a:gd name="T20" fmla="*/ 7812 w 588"/>
              <a:gd name="T21" fmla="*/ 31402 h 714"/>
              <a:gd name="T22" fmla="*/ 8593 w 588"/>
              <a:gd name="T23" fmla="*/ 27376 h 714"/>
              <a:gd name="T24" fmla="*/ 7031 w 588"/>
              <a:gd name="T25" fmla="*/ 22545 h 714"/>
              <a:gd name="T26" fmla="*/ 8593 w 588"/>
              <a:gd name="T27" fmla="*/ 17714 h 714"/>
              <a:gd name="T28" fmla="*/ 7812 w 588"/>
              <a:gd name="T29" fmla="*/ 9662 h 714"/>
              <a:gd name="T30" fmla="*/ 7031 w 588"/>
              <a:gd name="T31" fmla="*/ 7247 h 714"/>
              <a:gd name="T32" fmla="*/ 9374 w 588"/>
              <a:gd name="T33" fmla="*/ 6441 h 714"/>
              <a:gd name="T34" fmla="*/ 10937 w 588"/>
              <a:gd name="T35" fmla="*/ 5636 h 714"/>
              <a:gd name="T36" fmla="*/ 13280 w 588"/>
              <a:gd name="T37" fmla="*/ 8052 h 714"/>
              <a:gd name="T38" fmla="*/ 17967 w 588"/>
              <a:gd name="T39" fmla="*/ 11272 h 714"/>
              <a:gd name="T40" fmla="*/ 21873 w 588"/>
              <a:gd name="T41" fmla="*/ 3221 h 714"/>
              <a:gd name="T42" fmla="*/ 27341 w 588"/>
              <a:gd name="T43" fmla="*/ 1610 h 714"/>
              <a:gd name="T44" fmla="*/ 29685 w 588"/>
              <a:gd name="T45" fmla="*/ 0 h 714"/>
              <a:gd name="T46" fmla="*/ 31247 w 588"/>
              <a:gd name="T47" fmla="*/ 1610 h 714"/>
              <a:gd name="T48" fmla="*/ 30466 w 588"/>
              <a:gd name="T49" fmla="*/ 3221 h 714"/>
              <a:gd name="T50" fmla="*/ 32029 w 588"/>
              <a:gd name="T51" fmla="*/ 4026 h 714"/>
              <a:gd name="T52" fmla="*/ 32810 w 588"/>
              <a:gd name="T53" fmla="*/ 5636 h 714"/>
              <a:gd name="T54" fmla="*/ 33591 w 588"/>
              <a:gd name="T55" fmla="*/ 7247 h 714"/>
              <a:gd name="T56" fmla="*/ 33591 w 588"/>
              <a:gd name="T57" fmla="*/ 8052 h 714"/>
              <a:gd name="T58" fmla="*/ 33591 w 588"/>
              <a:gd name="T59" fmla="*/ 9662 h 714"/>
              <a:gd name="T60" fmla="*/ 34372 w 588"/>
              <a:gd name="T61" fmla="*/ 9662 h 714"/>
              <a:gd name="T62" fmla="*/ 35934 w 588"/>
              <a:gd name="T63" fmla="*/ 10467 h 714"/>
              <a:gd name="T64" fmla="*/ 36716 w 588"/>
              <a:gd name="T65" fmla="*/ 11272 h 714"/>
              <a:gd name="T66" fmla="*/ 37497 w 588"/>
              <a:gd name="T67" fmla="*/ 12078 h 714"/>
              <a:gd name="T68" fmla="*/ 38278 w 588"/>
              <a:gd name="T69" fmla="*/ 12078 h 714"/>
              <a:gd name="T70" fmla="*/ 37497 w 588"/>
              <a:gd name="T71" fmla="*/ 13688 h 714"/>
              <a:gd name="T72" fmla="*/ 38278 w 588"/>
              <a:gd name="T73" fmla="*/ 15298 h 714"/>
              <a:gd name="T74" fmla="*/ 38278 w 588"/>
              <a:gd name="T75" fmla="*/ 16103 h 714"/>
              <a:gd name="T76" fmla="*/ 39840 w 588"/>
              <a:gd name="T77" fmla="*/ 16909 h 714"/>
              <a:gd name="T78" fmla="*/ 39059 w 588"/>
              <a:gd name="T79" fmla="*/ 17714 h 714"/>
              <a:gd name="T80" fmla="*/ 36716 w 588"/>
              <a:gd name="T81" fmla="*/ 18519 h 714"/>
              <a:gd name="T82" fmla="*/ 36716 w 588"/>
              <a:gd name="T83" fmla="*/ 20935 h 714"/>
              <a:gd name="T84" fmla="*/ 36716 w 588"/>
              <a:gd name="T85" fmla="*/ 25766 h 714"/>
              <a:gd name="T86" fmla="*/ 34372 w 588"/>
              <a:gd name="T87" fmla="*/ 28181 h 714"/>
              <a:gd name="T88" fmla="*/ 32810 w 588"/>
              <a:gd name="T89" fmla="*/ 31402 h 714"/>
              <a:gd name="T90" fmla="*/ 32810 w 588"/>
              <a:gd name="T91" fmla="*/ 33012 h 714"/>
              <a:gd name="T92" fmla="*/ 32810 w 588"/>
              <a:gd name="T93" fmla="*/ 33817 h 714"/>
              <a:gd name="T94" fmla="*/ 32029 w 588"/>
              <a:gd name="T95" fmla="*/ 35428 h 714"/>
              <a:gd name="T96" fmla="*/ 30466 w 588"/>
              <a:gd name="T97" fmla="*/ 34622 h 714"/>
              <a:gd name="T98" fmla="*/ 28904 w 588"/>
              <a:gd name="T99" fmla="*/ 35428 h 714"/>
              <a:gd name="T100" fmla="*/ 27341 w 588"/>
              <a:gd name="T101" fmla="*/ 37038 h 714"/>
              <a:gd name="T102" fmla="*/ 24217 w 588"/>
              <a:gd name="T103" fmla="*/ 36233 h 714"/>
              <a:gd name="T104" fmla="*/ 18748 w 588"/>
              <a:gd name="T105" fmla="*/ 36233 h 714"/>
              <a:gd name="T106" fmla="*/ 19530 w 588"/>
              <a:gd name="T107" fmla="*/ 37843 h 714"/>
              <a:gd name="T108" fmla="*/ 19530 w 588"/>
              <a:gd name="T109" fmla="*/ 39454 h 714"/>
              <a:gd name="T110" fmla="*/ 19530 w 588"/>
              <a:gd name="T111" fmla="*/ 40259 h 714"/>
              <a:gd name="T112" fmla="*/ 18748 w 588"/>
              <a:gd name="T113" fmla="*/ 41064 h 714"/>
              <a:gd name="T114" fmla="*/ 17186 w 588"/>
              <a:gd name="T115" fmla="*/ 42674 h 714"/>
              <a:gd name="T116" fmla="*/ 17967 w 588"/>
              <a:gd name="T117" fmla="*/ 45090 h 714"/>
              <a:gd name="T118" fmla="*/ 15624 w 588"/>
              <a:gd name="T119" fmla="*/ 46700 h 714"/>
              <a:gd name="T120" fmla="*/ 14842 w 588"/>
              <a:gd name="T121" fmla="*/ 49921 h 7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88"/>
              <a:gd name="T184" fmla="*/ 0 h 714"/>
              <a:gd name="T185" fmla="*/ 588 w 588"/>
              <a:gd name="T186" fmla="*/ 714 h 7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88" h="714">
                <a:moveTo>
                  <a:pt x="216" y="714"/>
                </a:moveTo>
                <a:lnTo>
                  <a:pt x="198" y="702"/>
                </a:lnTo>
                <a:lnTo>
                  <a:pt x="186" y="696"/>
                </a:lnTo>
                <a:lnTo>
                  <a:pt x="180" y="684"/>
                </a:lnTo>
                <a:lnTo>
                  <a:pt x="174" y="684"/>
                </a:lnTo>
                <a:lnTo>
                  <a:pt x="174" y="678"/>
                </a:lnTo>
                <a:lnTo>
                  <a:pt x="168" y="672"/>
                </a:lnTo>
                <a:lnTo>
                  <a:pt x="162" y="666"/>
                </a:lnTo>
                <a:lnTo>
                  <a:pt x="156" y="636"/>
                </a:lnTo>
                <a:lnTo>
                  <a:pt x="144" y="630"/>
                </a:lnTo>
                <a:lnTo>
                  <a:pt x="108" y="630"/>
                </a:lnTo>
                <a:lnTo>
                  <a:pt x="102" y="624"/>
                </a:lnTo>
                <a:lnTo>
                  <a:pt x="96" y="624"/>
                </a:lnTo>
                <a:lnTo>
                  <a:pt x="72" y="624"/>
                </a:lnTo>
                <a:lnTo>
                  <a:pt x="54" y="624"/>
                </a:lnTo>
                <a:lnTo>
                  <a:pt x="42" y="618"/>
                </a:lnTo>
                <a:lnTo>
                  <a:pt x="30" y="612"/>
                </a:lnTo>
                <a:lnTo>
                  <a:pt x="6" y="606"/>
                </a:lnTo>
                <a:lnTo>
                  <a:pt x="0" y="606"/>
                </a:lnTo>
                <a:lnTo>
                  <a:pt x="0" y="570"/>
                </a:lnTo>
                <a:lnTo>
                  <a:pt x="6" y="552"/>
                </a:lnTo>
                <a:lnTo>
                  <a:pt x="6" y="522"/>
                </a:lnTo>
                <a:lnTo>
                  <a:pt x="0" y="510"/>
                </a:lnTo>
                <a:lnTo>
                  <a:pt x="0" y="504"/>
                </a:lnTo>
                <a:lnTo>
                  <a:pt x="12" y="510"/>
                </a:lnTo>
                <a:lnTo>
                  <a:pt x="18" y="510"/>
                </a:lnTo>
                <a:lnTo>
                  <a:pt x="30" y="522"/>
                </a:lnTo>
                <a:lnTo>
                  <a:pt x="42" y="528"/>
                </a:lnTo>
                <a:lnTo>
                  <a:pt x="54" y="534"/>
                </a:lnTo>
                <a:lnTo>
                  <a:pt x="66" y="534"/>
                </a:lnTo>
                <a:lnTo>
                  <a:pt x="72" y="546"/>
                </a:lnTo>
                <a:lnTo>
                  <a:pt x="84" y="546"/>
                </a:lnTo>
                <a:lnTo>
                  <a:pt x="96" y="552"/>
                </a:lnTo>
                <a:lnTo>
                  <a:pt x="108" y="546"/>
                </a:lnTo>
                <a:lnTo>
                  <a:pt x="114" y="540"/>
                </a:lnTo>
                <a:lnTo>
                  <a:pt x="114" y="528"/>
                </a:lnTo>
                <a:lnTo>
                  <a:pt x="108" y="528"/>
                </a:lnTo>
                <a:lnTo>
                  <a:pt x="102" y="510"/>
                </a:lnTo>
                <a:lnTo>
                  <a:pt x="96" y="510"/>
                </a:lnTo>
                <a:lnTo>
                  <a:pt x="90" y="504"/>
                </a:lnTo>
                <a:lnTo>
                  <a:pt x="84" y="498"/>
                </a:lnTo>
                <a:lnTo>
                  <a:pt x="84" y="492"/>
                </a:lnTo>
                <a:lnTo>
                  <a:pt x="84" y="456"/>
                </a:lnTo>
                <a:lnTo>
                  <a:pt x="114" y="444"/>
                </a:lnTo>
                <a:lnTo>
                  <a:pt x="114" y="438"/>
                </a:lnTo>
                <a:lnTo>
                  <a:pt x="120" y="420"/>
                </a:lnTo>
                <a:lnTo>
                  <a:pt x="126" y="402"/>
                </a:lnTo>
                <a:lnTo>
                  <a:pt x="126" y="390"/>
                </a:lnTo>
                <a:lnTo>
                  <a:pt x="126" y="360"/>
                </a:lnTo>
                <a:lnTo>
                  <a:pt x="120" y="348"/>
                </a:lnTo>
                <a:lnTo>
                  <a:pt x="114" y="336"/>
                </a:lnTo>
                <a:lnTo>
                  <a:pt x="108" y="324"/>
                </a:lnTo>
                <a:lnTo>
                  <a:pt x="108" y="306"/>
                </a:lnTo>
                <a:lnTo>
                  <a:pt x="114" y="300"/>
                </a:lnTo>
                <a:lnTo>
                  <a:pt x="114" y="294"/>
                </a:lnTo>
                <a:lnTo>
                  <a:pt x="132" y="258"/>
                </a:lnTo>
                <a:lnTo>
                  <a:pt x="132" y="234"/>
                </a:lnTo>
                <a:lnTo>
                  <a:pt x="126" y="168"/>
                </a:lnTo>
                <a:lnTo>
                  <a:pt x="120" y="150"/>
                </a:lnTo>
                <a:lnTo>
                  <a:pt x="114" y="138"/>
                </a:lnTo>
                <a:lnTo>
                  <a:pt x="108" y="126"/>
                </a:lnTo>
                <a:lnTo>
                  <a:pt x="108" y="120"/>
                </a:lnTo>
                <a:lnTo>
                  <a:pt x="108" y="114"/>
                </a:lnTo>
                <a:lnTo>
                  <a:pt x="102" y="108"/>
                </a:lnTo>
                <a:lnTo>
                  <a:pt x="102" y="102"/>
                </a:lnTo>
                <a:lnTo>
                  <a:pt x="120" y="96"/>
                </a:lnTo>
                <a:lnTo>
                  <a:pt x="132" y="102"/>
                </a:lnTo>
                <a:lnTo>
                  <a:pt x="144" y="96"/>
                </a:lnTo>
                <a:lnTo>
                  <a:pt x="150" y="96"/>
                </a:lnTo>
                <a:lnTo>
                  <a:pt x="156" y="96"/>
                </a:lnTo>
                <a:lnTo>
                  <a:pt x="156" y="90"/>
                </a:lnTo>
                <a:lnTo>
                  <a:pt x="162" y="84"/>
                </a:lnTo>
                <a:lnTo>
                  <a:pt x="168" y="84"/>
                </a:lnTo>
                <a:lnTo>
                  <a:pt x="174" y="96"/>
                </a:lnTo>
                <a:lnTo>
                  <a:pt x="186" y="96"/>
                </a:lnTo>
                <a:lnTo>
                  <a:pt x="192" y="114"/>
                </a:lnTo>
                <a:lnTo>
                  <a:pt x="204" y="132"/>
                </a:lnTo>
                <a:lnTo>
                  <a:pt x="216" y="144"/>
                </a:lnTo>
                <a:lnTo>
                  <a:pt x="240" y="162"/>
                </a:lnTo>
                <a:lnTo>
                  <a:pt x="270" y="156"/>
                </a:lnTo>
                <a:lnTo>
                  <a:pt x="282" y="126"/>
                </a:lnTo>
                <a:lnTo>
                  <a:pt x="282" y="96"/>
                </a:lnTo>
                <a:lnTo>
                  <a:pt x="294" y="54"/>
                </a:lnTo>
                <a:lnTo>
                  <a:pt x="324" y="48"/>
                </a:lnTo>
                <a:lnTo>
                  <a:pt x="342" y="48"/>
                </a:lnTo>
                <a:lnTo>
                  <a:pt x="384" y="48"/>
                </a:lnTo>
                <a:lnTo>
                  <a:pt x="390" y="30"/>
                </a:lnTo>
                <a:lnTo>
                  <a:pt x="402" y="18"/>
                </a:lnTo>
                <a:lnTo>
                  <a:pt x="438" y="6"/>
                </a:lnTo>
                <a:lnTo>
                  <a:pt x="438" y="0"/>
                </a:lnTo>
                <a:lnTo>
                  <a:pt x="444" y="0"/>
                </a:lnTo>
                <a:lnTo>
                  <a:pt x="444" y="6"/>
                </a:lnTo>
                <a:lnTo>
                  <a:pt x="450" y="6"/>
                </a:lnTo>
                <a:lnTo>
                  <a:pt x="456" y="12"/>
                </a:lnTo>
                <a:lnTo>
                  <a:pt x="456" y="18"/>
                </a:lnTo>
                <a:lnTo>
                  <a:pt x="462" y="24"/>
                </a:lnTo>
                <a:lnTo>
                  <a:pt x="462" y="30"/>
                </a:lnTo>
                <a:lnTo>
                  <a:pt x="468" y="36"/>
                </a:lnTo>
                <a:lnTo>
                  <a:pt x="462" y="36"/>
                </a:lnTo>
                <a:lnTo>
                  <a:pt x="456" y="42"/>
                </a:lnTo>
                <a:lnTo>
                  <a:pt x="462" y="42"/>
                </a:lnTo>
                <a:lnTo>
                  <a:pt x="468" y="48"/>
                </a:lnTo>
                <a:lnTo>
                  <a:pt x="468" y="54"/>
                </a:lnTo>
                <a:lnTo>
                  <a:pt x="474" y="54"/>
                </a:lnTo>
                <a:lnTo>
                  <a:pt x="474" y="60"/>
                </a:lnTo>
                <a:lnTo>
                  <a:pt x="486" y="78"/>
                </a:lnTo>
                <a:lnTo>
                  <a:pt x="486" y="84"/>
                </a:lnTo>
                <a:lnTo>
                  <a:pt x="492" y="84"/>
                </a:lnTo>
                <a:lnTo>
                  <a:pt x="492" y="90"/>
                </a:lnTo>
                <a:lnTo>
                  <a:pt x="492" y="96"/>
                </a:lnTo>
                <a:lnTo>
                  <a:pt x="492" y="102"/>
                </a:lnTo>
                <a:lnTo>
                  <a:pt x="498" y="102"/>
                </a:lnTo>
                <a:lnTo>
                  <a:pt x="504" y="102"/>
                </a:lnTo>
                <a:lnTo>
                  <a:pt x="504" y="108"/>
                </a:lnTo>
                <a:lnTo>
                  <a:pt x="504" y="114"/>
                </a:lnTo>
                <a:lnTo>
                  <a:pt x="498" y="114"/>
                </a:lnTo>
                <a:lnTo>
                  <a:pt x="498" y="120"/>
                </a:lnTo>
                <a:lnTo>
                  <a:pt x="498" y="126"/>
                </a:lnTo>
                <a:lnTo>
                  <a:pt x="504" y="126"/>
                </a:lnTo>
                <a:lnTo>
                  <a:pt x="498" y="132"/>
                </a:lnTo>
                <a:lnTo>
                  <a:pt x="504" y="138"/>
                </a:lnTo>
                <a:lnTo>
                  <a:pt x="504" y="132"/>
                </a:lnTo>
                <a:lnTo>
                  <a:pt x="510" y="132"/>
                </a:lnTo>
                <a:lnTo>
                  <a:pt x="510" y="138"/>
                </a:lnTo>
                <a:lnTo>
                  <a:pt x="516" y="144"/>
                </a:lnTo>
                <a:lnTo>
                  <a:pt x="522" y="144"/>
                </a:lnTo>
                <a:lnTo>
                  <a:pt x="522" y="150"/>
                </a:lnTo>
                <a:lnTo>
                  <a:pt x="528" y="150"/>
                </a:lnTo>
                <a:lnTo>
                  <a:pt x="534" y="150"/>
                </a:lnTo>
                <a:lnTo>
                  <a:pt x="534" y="156"/>
                </a:lnTo>
                <a:lnTo>
                  <a:pt x="534" y="162"/>
                </a:lnTo>
                <a:lnTo>
                  <a:pt x="540" y="156"/>
                </a:lnTo>
                <a:lnTo>
                  <a:pt x="546" y="156"/>
                </a:lnTo>
                <a:lnTo>
                  <a:pt x="546" y="162"/>
                </a:lnTo>
                <a:lnTo>
                  <a:pt x="546" y="168"/>
                </a:lnTo>
                <a:lnTo>
                  <a:pt x="552" y="168"/>
                </a:lnTo>
                <a:lnTo>
                  <a:pt x="546" y="168"/>
                </a:lnTo>
                <a:lnTo>
                  <a:pt x="546" y="174"/>
                </a:lnTo>
                <a:lnTo>
                  <a:pt x="558" y="180"/>
                </a:lnTo>
                <a:lnTo>
                  <a:pt x="564" y="180"/>
                </a:lnTo>
                <a:lnTo>
                  <a:pt x="564" y="186"/>
                </a:lnTo>
                <a:lnTo>
                  <a:pt x="558" y="192"/>
                </a:lnTo>
                <a:lnTo>
                  <a:pt x="558" y="198"/>
                </a:lnTo>
                <a:lnTo>
                  <a:pt x="552" y="198"/>
                </a:lnTo>
                <a:lnTo>
                  <a:pt x="558" y="204"/>
                </a:lnTo>
                <a:lnTo>
                  <a:pt x="564" y="204"/>
                </a:lnTo>
                <a:lnTo>
                  <a:pt x="564" y="210"/>
                </a:lnTo>
                <a:lnTo>
                  <a:pt x="570" y="216"/>
                </a:lnTo>
                <a:lnTo>
                  <a:pt x="576" y="222"/>
                </a:lnTo>
                <a:lnTo>
                  <a:pt x="576" y="228"/>
                </a:lnTo>
                <a:lnTo>
                  <a:pt x="570" y="228"/>
                </a:lnTo>
                <a:lnTo>
                  <a:pt x="570" y="234"/>
                </a:lnTo>
                <a:lnTo>
                  <a:pt x="576" y="234"/>
                </a:lnTo>
                <a:lnTo>
                  <a:pt x="582" y="234"/>
                </a:lnTo>
                <a:lnTo>
                  <a:pt x="588" y="234"/>
                </a:lnTo>
                <a:lnTo>
                  <a:pt x="588" y="240"/>
                </a:lnTo>
                <a:lnTo>
                  <a:pt x="588" y="246"/>
                </a:lnTo>
                <a:lnTo>
                  <a:pt x="588" y="252"/>
                </a:lnTo>
                <a:lnTo>
                  <a:pt x="582" y="252"/>
                </a:lnTo>
                <a:lnTo>
                  <a:pt x="576" y="252"/>
                </a:lnTo>
                <a:lnTo>
                  <a:pt x="582" y="258"/>
                </a:lnTo>
                <a:lnTo>
                  <a:pt x="582" y="264"/>
                </a:lnTo>
                <a:lnTo>
                  <a:pt x="576" y="264"/>
                </a:lnTo>
                <a:lnTo>
                  <a:pt x="546" y="264"/>
                </a:lnTo>
                <a:lnTo>
                  <a:pt x="546" y="276"/>
                </a:lnTo>
                <a:lnTo>
                  <a:pt x="540" y="282"/>
                </a:lnTo>
                <a:lnTo>
                  <a:pt x="540" y="294"/>
                </a:lnTo>
                <a:lnTo>
                  <a:pt x="540" y="300"/>
                </a:lnTo>
                <a:lnTo>
                  <a:pt x="540" y="324"/>
                </a:lnTo>
                <a:lnTo>
                  <a:pt x="552" y="330"/>
                </a:lnTo>
                <a:lnTo>
                  <a:pt x="558" y="342"/>
                </a:lnTo>
                <a:lnTo>
                  <a:pt x="546" y="372"/>
                </a:lnTo>
                <a:lnTo>
                  <a:pt x="534" y="372"/>
                </a:lnTo>
                <a:lnTo>
                  <a:pt x="534" y="384"/>
                </a:lnTo>
                <a:lnTo>
                  <a:pt x="522" y="384"/>
                </a:lnTo>
                <a:lnTo>
                  <a:pt x="510" y="402"/>
                </a:lnTo>
                <a:lnTo>
                  <a:pt x="504" y="420"/>
                </a:lnTo>
                <a:lnTo>
                  <a:pt x="492" y="426"/>
                </a:lnTo>
                <a:lnTo>
                  <a:pt x="486" y="432"/>
                </a:lnTo>
                <a:lnTo>
                  <a:pt x="486" y="444"/>
                </a:lnTo>
                <a:lnTo>
                  <a:pt x="486" y="450"/>
                </a:lnTo>
                <a:lnTo>
                  <a:pt x="486" y="456"/>
                </a:lnTo>
                <a:lnTo>
                  <a:pt x="486" y="462"/>
                </a:lnTo>
                <a:lnTo>
                  <a:pt x="486" y="468"/>
                </a:lnTo>
                <a:lnTo>
                  <a:pt x="480" y="468"/>
                </a:lnTo>
                <a:lnTo>
                  <a:pt x="480" y="474"/>
                </a:lnTo>
                <a:lnTo>
                  <a:pt x="480" y="480"/>
                </a:lnTo>
                <a:lnTo>
                  <a:pt x="480" y="486"/>
                </a:lnTo>
                <a:lnTo>
                  <a:pt x="480" y="492"/>
                </a:lnTo>
                <a:lnTo>
                  <a:pt x="480" y="498"/>
                </a:lnTo>
                <a:lnTo>
                  <a:pt x="474" y="504"/>
                </a:lnTo>
                <a:lnTo>
                  <a:pt x="468" y="510"/>
                </a:lnTo>
                <a:lnTo>
                  <a:pt x="462" y="510"/>
                </a:lnTo>
                <a:lnTo>
                  <a:pt x="456" y="504"/>
                </a:lnTo>
                <a:lnTo>
                  <a:pt x="456" y="498"/>
                </a:lnTo>
                <a:lnTo>
                  <a:pt x="450" y="498"/>
                </a:lnTo>
                <a:lnTo>
                  <a:pt x="444" y="498"/>
                </a:lnTo>
                <a:lnTo>
                  <a:pt x="438" y="498"/>
                </a:lnTo>
                <a:lnTo>
                  <a:pt x="432" y="498"/>
                </a:lnTo>
                <a:lnTo>
                  <a:pt x="426" y="504"/>
                </a:lnTo>
                <a:lnTo>
                  <a:pt x="426" y="510"/>
                </a:lnTo>
                <a:lnTo>
                  <a:pt x="420" y="516"/>
                </a:lnTo>
                <a:lnTo>
                  <a:pt x="414" y="522"/>
                </a:lnTo>
                <a:lnTo>
                  <a:pt x="402" y="528"/>
                </a:lnTo>
                <a:lnTo>
                  <a:pt x="396" y="528"/>
                </a:lnTo>
                <a:lnTo>
                  <a:pt x="384" y="528"/>
                </a:lnTo>
                <a:lnTo>
                  <a:pt x="366" y="540"/>
                </a:lnTo>
                <a:lnTo>
                  <a:pt x="360" y="522"/>
                </a:lnTo>
                <a:lnTo>
                  <a:pt x="348" y="504"/>
                </a:lnTo>
                <a:lnTo>
                  <a:pt x="330" y="504"/>
                </a:lnTo>
                <a:lnTo>
                  <a:pt x="282" y="516"/>
                </a:lnTo>
                <a:lnTo>
                  <a:pt x="282" y="522"/>
                </a:lnTo>
                <a:lnTo>
                  <a:pt x="282" y="534"/>
                </a:lnTo>
                <a:lnTo>
                  <a:pt x="288" y="540"/>
                </a:lnTo>
                <a:lnTo>
                  <a:pt x="294" y="540"/>
                </a:lnTo>
                <a:lnTo>
                  <a:pt x="288" y="540"/>
                </a:lnTo>
                <a:lnTo>
                  <a:pt x="282" y="540"/>
                </a:lnTo>
                <a:lnTo>
                  <a:pt x="282" y="546"/>
                </a:lnTo>
                <a:lnTo>
                  <a:pt x="288" y="552"/>
                </a:lnTo>
                <a:lnTo>
                  <a:pt x="294" y="564"/>
                </a:lnTo>
                <a:lnTo>
                  <a:pt x="300" y="564"/>
                </a:lnTo>
                <a:lnTo>
                  <a:pt x="300" y="570"/>
                </a:lnTo>
                <a:lnTo>
                  <a:pt x="294" y="570"/>
                </a:lnTo>
                <a:lnTo>
                  <a:pt x="288" y="570"/>
                </a:lnTo>
                <a:lnTo>
                  <a:pt x="288" y="576"/>
                </a:lnTo>
                <a:lnTo>
                  <a:pt x="288" y="582"/>
                </a:lnTo>
                <a:lnTo>
                  <a:pt x="276" y="588"/>
                </a:lnTo>
                <a:lnTo>
                  <a:pt x="276" y="594"/>
                </a:lnTo>
                <a:lnTo>
                  <a:pt x="270" y="606"/>
                </a:lnTo>
                <a:lnTo>
                  <a:pt x="264" y="612"/>
                </a:lnTo>
                <a:lnTo>
                  <a:pt x="258" y="612"/>
                </a:lnTo>
                <a:lnTo>
                  <a:pt x="252" y="612"/>
                </a:lnTo>
                <a:lnTo>
                  <a:pt x="252" y="618"/>
                </a:lnTo>
                <a:lnTo>
                  <a:pt x="252" y="624"/>
                </a:lnTo>
                <a:lnTo>
                  <a:pt x="252" y="630"/>
                </a:lnTo>
                <a:lnTo>
                  <a:pt x="264" y="642"/>
                </a:lnTo>
                <a:lnTo>
                  <a:pt x="258" y="648"/>
                </a:lnTo>
                <a:lnTo>
                  <a:pt x="246" y="654"/>
                </a:lnTo>
                <a:lnTo>
                  <a:pt x="240" y="660"/>
                </a:lnTo>
                <a:lnTo>
                  <a:pt x="234" y="672"/>
                </a:lnTo>
                <a:lnTo>
                  <a:pt x="234" y="678"/>
                </a:lnTo>
                <a:lnTo>
                  <a:pt x="228" y="684"/>
                </a:lnTo>
                <a:lnTo>
                  <a:pt x="228" y="696"/>
                </a:lnTo>
                <a:lnTo>
                  <a:pt x="216" y="714"/>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18460" name="Freeform 22"/>
          <p:cNvSpPr>
            <a:spLocks/>
          </p:cNvSpPr>
          <p:nvPr/>
        </p:nvSpPr>
        <p:spPr bwMode="gray">
          <a:xfrm>
            <a:off x="3403600" y="5151438"/>
            <a:ext cx="368300" cy="561975"/>
          </a:xfrm>
          <a:custGeom>
            <a:avLst/>
            <a:gdLst>
              <a:gd name="T0" fmla="*/ 0 w 468"/>
              <a:gd name="T1" fmla="*/ 49270 h 696"/>
              <a:gd name="T2" fmla="*/ 785 w 468"/>
              <a:gd name="T3" fmla="*/ 46846 h 696"/>
              <a:gd name="T4" fmla="*/ 1570 w 468"/>
              <a:gd name="T5" fmla="*/ 43616 h 696"/>
              <a:gd name="T6" fmla="*/ 2356 w 468"/>
              <a:gd name="T7" fmla="*/ 41193 h 696"/>
              <a:gd name="T8" fmla="*/ 3141 w 468"/>
              <a:gd name="T9" fmla="*/ 38770 h 696"/>
              <a:gd name="T10" fmla="*/ 4711 w 468"/>
              <a:gd name="T11" fmla="*/ 35539 h 696"/>
              <a:gd name="T12" fmla="*/ 3926 w 468"/>
              <a:gd name="T13" fmla="*/ 33116 h 696"/>
              <a:gd name="T14" fmla="*/ 5496 w 468"/>
              <a:gd name="T15" fmla="*/ 30693 h 696"/>
              <a:gd name="T16" fmla="*/ 6282 w 468"/>
              <a:gd name="T17" fmla="*/ 29077 h 696"/>
              <a:gd name="T18" fmla="*/ 5496 w 468"/>
              <a:gd name="T19" fmla="*/ 26654 h 696"/>
              <a:gd name="T20" fmla="*/ 4711 w 468"/>
              <a:gd name="T21" fmla="*/ 23423 h 696"/>
              <a:gd name="T22" fmla="*/ 3141 w 468"/>
              <a:gd name="T23" fmla="*/ 17769 h 696"/>
              <a:gd name="T24" fmla="*/ 1570 w 468"/>
              <a:gd name="T25" fmla="*/ 11308 h 696"/>
              <a:gd name="T26" fmla="*/ 9422 w 468"/>
              <a:gd name="T27" fmla="*/ 8885 h 696"/>
              <a:gd name="T28" fmla="*/ 10993 w 468"/>
              <a:gd name="T29" fmla="*/ 1615 h 696"/>
              <a:gd name="T30" fmla="*/ 12563 w 468"/>
              <a:gd name="T31" fmla="*/ 0 h 696"/>
              <a:gd name="T32" fmla="*/ 13348 w 468"/>
              <a:gd name="T33" fmla="*/ 0 h 696"/>
              <a:gd name="T34" fmla="*/ 14133 w 468"/>
              <a:gd name="T35" fmla="*/ 808 h 696"/>
              <a:gd name="T36" fmla="*/ 13348 w 468"/>
              <a:gd name="T37" fmla="*/ 1615 h 696"/>
              <a:gd name="T38" fmla="*/ 13348 w 468"/>
              <a:gd name="T39" fmla="*/ 3231 h 696"/>
              <a:gd name="T40" fmla="*/ 13348 w 468"/>
              <a:gd name="T41" fmla="*/ 4846 h 696"/>
              <a:gd name="T42" fmla="*/ 15704 w 468"/>
              <a:gd name="T43" fmla="*/ 4846 h 696"/>
              <a:gd name="T44" fmla="*/ 17274 w 468"/>
              <a:gd name="T45" fmla="*/ 4038 h 696"/>
              <a:gd name="T46" fmla="*/ 18845 w 468"/>
              <a:gd name="T47" fmla="*/ 5654 h 696"/>
              <a:gd name="T48" fmla="*/ 21985 w 468"/>
              <a:gd name="T49" fmla="*/ 5654 h 696"/>
              <a:gd name="T50" fmla="*/ 21985 w 468"/>
              <a:gd name="T51" fmla="*/ 8885 h 696"/>
              <a:gd name="T52" fmla="*/ 19630 w 468"/>
              <a:gd name="T53" fmla="*/ 11308 h 696"/>
              <a:gd name="T54" fmla="*/ 18059 w 468"/>
              <a:gd name="T55" fmla="*/ 12115 h 696"/>
              <a:gd name="T56" fmla="*/ 18059 w 468"/>
              <a:gd name="T57" fmla="*/ 15346 h 696"/>
              <a:gd name="T58" fmla="*/ 18059 w 468"/>
              <a:gd name="T59" fmla="*/ 16962 h 696"/>
              <a:gd name="T60" fmla="*/ 18845 w 468"/>
              <a:gd name="T61" fmla="*/ 16962 h 696"/>
              <a:gd name="T62" fmla="*/ 21200 w 468"/>
              <a:gd name="T63" fmla="*/ 18577 h 696"/>
              <a:gd name="T64" fmla="*/ 22771 w 468"/>
              <a:gd name="T65" fmla="*/ 19385 h 696"/>
              <a:gd name="T66" fmla="*/ 22771 w 468"/>
              <a:gd name="T67" fmla="*/ 22616 h 696"/>
              <a:gd name="T68" fmla="*/ 22771 w 468"/>
              <a:gd name="T69" fmla="*/ 23423 h 696"/>
              <a:gd name="T70" fmla="*/ 22771 w 468"/>
              <a:gd name="T71" fmla="*/ 25846 h 696"/>
              <a:gd name="T72" fmla="*/ 25126 w 468"/>
              <a:gd name="T73" fmla="*/ 25846 h 696"/>
              <a:gd name="T74" fmla="*/ 25911 w 468"/>
              <a:gd name="T75" fmla="*/ 28269 h 696"/>
              <a:gd name="T76" fmla="*/ 26696 w 468"/>
              <a:gd name="T77" fmla="*/ 30693 h 696"/>
              <a:gd name="T78" fmla="*/ 27482 w 468"/>
              <a:gd name="T79" fmla="*/ 31500 h 696"/>
              <a:gd name="T80" fmla="*/ 28267 w 468"/>
              <a:gd name="T81" fmla="*/ 32308 h 696"/>
              <a:gd name="T82" fmla="*/ 29052 w 468"/>
              <a:gd name="T83" fmla="*/ 33116 h 696"/>
              <a:gd name="T84" fmla="*/ 29837 w 468"/>
              <a:gd name="T85" fmla="*/ 33923 h 696"/>
              <a:gd name="T86" fmla="*/ 32193 w 468"/>
              <a:gd name="T87" fmla="*/ 35539 h 696"/>
              <a:gd name="T88" fmla="*/ 31408 w 468"/>
              <a:gd name="T89" fmla="*/ 35539 h 696"/>
              <a:gd name="T90" fmla="*/ 29052 w 468"/>
              <a:gd name="T91" fmla="*/ 36346 h 696"/>
              <a:gd name="T92" fmla="*/ 28267 w 468"/>
              <a:gd name="T93" fmla="*/ 38770 h 696"/>
              <a:gd name="T94" fmla="*/ 26696 w 468"/>
              <a:gd name="T95" fmla="*/ 39577 h 696"/>
              <a:gd name="T96" fmla="*/ 25126 w 468"/>
              <a:gd name="T97" fmla="*/ 41193 h 696"/>
              <a:gd name="T98" fmla="*/ 24341 w 468"/>
              <a:gd name="T99" fmla="*/ 41193 h 696"/>
              <a:gd name="T100" fmla="*/ 20415 w 468"/>
              <a:gd name="T101" fmla="*/ 39577 h 696"/>
              <a:gd name="T102" fmla="*/ 18059 w 468"/>
              <a:gd name="T103" fmla="*/ 41193 h 696"/>
              <a:gd name="T104" fmla="*/ 16489 w 468"/>
              <a:gd name="T105" fmla="*/ 41193 h 696"/>
              <a:gd name="T106" fmla="*/ 15704 w 468"/>
              <a:gd name="T107" fmla="*/ 42000 h 696"/>
              <a:gd name="T108" fmla="*/ 13348 w 468"/>
              <a:gd name="T109" fmla="*/ 44423 h 696"/>
              <a:gd name="T110" fmla="*/ 11778 w 468"/>
              <a:gd name="T111" fmla="*/ 45231 h 696"/>
              <a:gd name="T112" fmla="*/ 11778 w 468"/>
              <a:gd name="T113" fmla="*/ 47654 h 696"/>
              <a:gd name="T114" fmla="*/ 10993 w 468"/>
              <a:gd name="T115" fmla="*/ 47654 h 696"/>
              <a:gd name="T116" fmla="*/ 9422 w 468"/>
              <a:gd name="T117" fmla="*/ 47654 h 696"/>
              <a:gd name="T118" fmla="*/ 8637 w 468"/>
              <a:gd name="T119" fmla="*/ 46039 h 696"/>
              <a:gd name="T120" fmla="*/ 7067 w 468"/>
              <a:gd name="T121" fmla="*/ 46039 h 696"/>
              <a:gd name="T122" fmla="*/ 4711 w 468"/>
              <a:gd name="T123" fmla="*/ 46846 h 696"/>
              <a:gd name="T124" fmla="*/ 3141 w 468"/>
              <a:gd name="T125" fmla="*/ 48462 h 6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8"/>
              <a:gd name="T190" fmla="*/ 0 h 696"/>
              <a:gd name="T191" fmla="*/ 468 w 468"/>
              <a:gd name="T192" fmla="*/ 696 h 6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8" h="696">
                <a:moveTo>
                  <a:pt x="30" y="696"/>
                </a:moveTo>
                <a:lnTo>
                  <a:pt x="18" y="696"/>
                </a:lnTo>
                <a:lnTo>
                  <a:pt x="6" y="696"/>
                </a:lnTo>
                <a:lnTo>
                  <a:pt x="0" y="690"/>
                </a:lnTo>
                <a:lnTo>
                  <a:pt x="6" y="678"/>
                </a:lnTo>
                <a:lnTo>
                  <a:pt x="12" y="666"/>
                </a:lnTo>
                <a:lnTo>
                  <a:pt x="18" y="654"/>
                </a:lnTo>
                <a:lnTo>
                  <a:pt x="18" y="642"/>
                </a:lnTo>
                <a:lnTo>
                  <a:pt x="18" y="618"/>
                </a:lnTo>
                <a:lnTo>
                  <a:pt x="24" y="606"/>
                </a:lnTo>
                <a:lnTo>
                  <a:pt x="30" y="594"/>
                </a:lnTo>
                <a:lnTo>
                  <a:pt x="30" y="582"/>
                </a:lnTo>
                <a:lnTo>
                  <a:pt x="36" y="576"/>
                </a:lnTo>
                <a:lnTo>
                  <a:pt x="42" y="564"/>
                </a:lnTo>
                <a:lnTo>
                  <a:pt x="48" y="546"/>
                </a:lnTo>
                <a:lnTo>
                  <a:pt x="48" y="528"/>
                </a:lnTo>
                <a:lnTo>
                  <a:pt x="60" y="516"/>
                </a:lnTo>
                <a:lnTo>
                  <a:pt x="66" y="504"/>
                </a:lnTo>
                <a:lnTo>
                  <a:pt x="66" y="492"/>
                </a:lnTo>
                <a:lnTo>
                  <a:pt x="60" y="480"/>
                </a:lnTo>
                <a:lnTo>
                  <a:pt x="54" y="468"/>
                </a:lnTo>
                <a:lnTo>
                  <a:pt x="60" y="456"/>
                </a:lnTo>
                <a:lnTo>
                  <a:pt x="72" y="450"/>
                </a:lnTo>
                <a:lnTo>
                  <a:pt x="84" y="438"/>
                </a:lnTo>
                <a:lnTo>
                  <a:pt x="90" y="426"/>
                </a:lnTo>
                <a:lnTo>
                  <a:pt x="90" y="420"/>
                </a:lnTo>
                <a:lnTo>
                  <a:pt x="90" y="408"/>
                </a:lnTo>
                <a:lnTo>
                  <a:pt x="90" y="402"/>
                </a:lnTo>
                <a:lnTo>
                  <a:pt x="84" y="396"/>
                </a:lnTo>
                <a:lnTo>
                  <a:pt x="78" y="378"/>
                </a:lnTo>
                <a:lnTo>
                  <a:pt x="72" y="360"/>
                </a:lnTo>
                <a:lnTo>
                  <a:pt x="66" y="348"/>
                </a:lnTo>
                <a:lnTo>
                  <a:pt x="72" y="336"/>
                </a:lnTo>
                <a:lnTo>
                  <a:pt x="66" y="306"/>
                </a:lnTo>
                <a:lnTo>
                  <a:pt x="54" y="276"/>
                </a:lnTo>
                <a:lnTo>
                  <a:pt x="42" y="252"/>
                </a:lnTo>
                <a:lnTo>
                  <a:pt x="36" y="222"/>
                </a:lnTo>
                <a:lnTo>
                  <a:pt x="30" y="192"/>
                </a:lnTo>
                <a:lnTo>
                  <a:pt x="24" y="162"/>
                </a:lnTo>
                <a:lnTo>
                  <a:pt x="42" y="174"/>
                </a:lnTo>
                <a:lnTo>
                  <a:pt x="120" y="138"/>
                </a:lnTo>
                <a:lnTo>
                  <a:pt x="132" y="126"/>
                </a:lnTo>
                <a:lnTo>
                  <a:pt x="120" y="54"/>
                </a:lnTo>
                <a:lnTo>
                  <a:pt x="156" y="30"/>
                </a:lnTo>
                <a:lnTo>
                  <a:pt x="162" y="24"/>
                </a:lnTo>
                <a:lnTo>
                  <a:pt x="168" y="18"/>
                </a:lnTo>
                <a:lnTo>
                  <a:pt x="174" y="6"/>
                </a:lnTo>
                <a:lnTo>
                  <a:pt x="180" y="0"/>
                </a:lnTo>
                <a:lnTo>
                  <a:pt x="180" y="6"/>
                </a:lnTo>
                <a:lnTo>
                  <a:pt x="186" y="6"/>
                </a:lnTo>
                <a:lnTo>
                  <a:pt x="192" y="0"/>
                </a:lnTo>
                <a:lnTo>
                  <a:pt x="192" y="6"/>
                </a:lnTo>
                <a:lnTo>
                  <a:pt x="198" y="12"/>
                </a:lnTo>
                <a:lnTo>
                  <a:pt x="204" y="12"/>
                </a:lnTo>
                <a:lnTo>
                  <a:pt x="198" y="12"/>
                </a:lnTo>
                <a:lnTo>
                  <a:pt x="198" y="18"/>
                </a:lnTo>
                <a:lnTo>
                  <a:pt x="198" y="24"/>
                </a:lnTo>
                <a:lnTo>
                  <a:pt x="198" y="30"/>
                </a:lnTo>
                <a:lnTo>
                  <a:pt x="198" y="42"/>
                </a:lnTo>
                <a:lnTo>
                  <a:pt x="198" y="48"/>
                </a:lnTo>
                <a:lnTo>
                  <a:pt x="192" y="60"/>
                </a:lnTo>
                <a:lnTo>
                  <a:pt x="192" y="66"/>
                </a:lnTo>
                <a:lnTo>
                  <a:pt x="198" y="66"/>
                </a:lnTo>
                <a:lnTo>
                  <a:pt x="210" y="60"/>
                </a:lnTo>
                <a:lnTo>
                  <a:pt x="228" y="60"/>
                </a:lnTo>
                <a:lnTo>
                  <a:pt x="228" y="66"/>
                </a:lnTo>
                <a:lnTo>
                  <a:pt x="234" y="66"/>
                </a:lnTo>
                <a:lnTo>
                  <a:pt x="234" y="60"/>
                </a:lnTo>
                <a:lnTo>
                  <a:pt x="252" y="60"/>
                </a:lnTo>
                <a:lnTo>
                  <a:pt x="264" y="72"/>
                </a:lnTo>
                <a:lnTo>
                  <a:pt x="264" y="78"/>
                </a:lnTo>
                <a:lnTo>
                  <a:pt x="270" y="78"/>
                </a:lnTo>
                <a:lnTo>
                  <a:pt x="276" y="78"/>
                </a:lnTo>
                <a:lnTo>
                  <a:pt x="288" y="78"/>
                </a:lnTo>
                <a:lnTo>
                  <a:pt x="312" y="84"/>
                </a:lnTo>
                <a:lnTo>
                  <a:pt x="318" y="96"/>
                </a:lnTo>
                <a:lnTo>
                  <a:pt x="318" y="102"/>
                </a:lnTo>
                <a:lnTo>
                  <a:pt x="312" y="120"/>
                </a:lnTo>
                <a:lnTo>
                  <a:pt x="306" y="132"/>
                </a:lnTo>
                <a:lnTo>
                  <a:pt x="294" y="144"/>
                </a:lnTo>
                <a:lnTo>
                  <a:pt x="282" y="156"/>
                </a:lnTo>
                <a:lnTo>
                  <a:pt x="276" y="162"/>
                </a:lnTo>
                <a:lnTo>
                  <a:pt x="270" y="162"/>
                </a:lnTo>
                <a:lnTo>
                  <a:pt x="264" y="174"/>
                </a:lnTo>
                <a:lnTo>
                  <a:pt x="264" y="192"/>
                </a:lnTo>
                <a:lnTo>
                  <a:pt x="264" y="216"/>
                </a:lnTo>
                <a:lnTo>
                  <a:pt x="258" y="216"/>
                </a:lnTo>
                <a:lnTo>
                  <a:pt x="258" y="228"/>
                </a:lnTo>
                <a:lnTo>
                  <a:pt x="252" y="234"/>
                </a:lnTo>
                <a:lnTo>
                  <a:pt x="258" y="240"/>
                </a:lnTo>
                <a:lnTo>
                  <a:pt x="264" y="240"/>
                </a:lnTo>
                <a:lnTo>
                  <a:pt x="270" y="240"/>
                </a:lnTo>
                <a:lnTo>
                  <a:pt x="276" y="240"/>
                </a:lnTo>
                <a:lnTo>
                  <a:pt x="288" y="240"/>
                </a:lnTo>
                <a:lnTo>
                  <a:pt x="300" y="246"/>
                </a:lnTo>
                <a:lnTo>
                  <a:pt x="306" y="258"/>
                </a:lnTo>
                <a:lnTo>
                  <a:pt x="312" y="264"/>
                </a:lnTo>
                <a:lnTo>
                  <a:pt x="318" y="276"/>
                </a:lnTo>
                <a:lnTo>
                  <a:pt x="330" y="282"/>
                </a:lnTo>
                <a:lnTo>
                  <a:pt x="330" y="300"/>
                </a:lnTo>
                <a:lnTo>
                  <a:pt x="336" y="312"/>
                </a:lnTo>
                <a:lnTo>
                  <a:pt x="336" y="318"/>
                </a:lnTo>
                <a:lnTo>
                  <a:pt x="336" y="330"/>
                </a:lnTo>
                <a:lnTo>
                  <a:pt x="324" y="330"/>
                </a:lnTo>
                <a:lnTo>
                  <a:pt x="330" y="336"/>
                </a:lnTo>
                <a:lnTo>
                  <a:pt x="330" y="342"/>
                </a:lnTo>
                <a:lnTo>
                  <a:pt x="336" y="348"/>
                </a:lnTo>
                <a:lnTo>
                  <a:pt x="330" y="360"/>
                </a:lnTo>
                <a:lnTo>
                  <a:pt x="336" y="372"/>
                </a:lnTo>
                <a:lnTo>
                  <a:pt x="354" y="366"/>
                </a:lnTo>
                <a:lnTo>
                  <a:pt x="366" y="366"/>
                </a:lnTo>
                <a:lnTo>
                  <a:pt x="372" y="378"/>
                </a:lnTo>
                <a:lnTo>
                  <a:pt x="372" y="390"/>
                </a:lnTo>
                <a:lnTo>
                  <a:pt x="378" y="396"/>
                </a:lnTo>
                <a:lnTo>
                  <a:pt x="378" y="408"/>
                </a:lnTo>
                <a:lnTo>
                  <a:pt x="378" y="420"/>
                </a:lnTo>
                <a:lnTo>
                  <a:pt x="384" y="432"/>
                </a:lnTo>
                <a:lnTo>
                  <a:pt x="384" y="444"/>
                </a:lnTo>
                <a:lnTo>
                  <a:pt x="390" y="444"/>
                </a:lnTo>
                <a:lnTo>
                  <a:pt x="396" y="444"/>
                </a:lnTo>
                <a:lnTo>
                  <a:pt x="402" y="450"/>
                </a:lnTo>
                <a:lnTo>
                  <a:pt x="408" y="450"/>
                </a:lnTo>
                <a:lnTo>
                  <a:pt x="408" y="462"/>
                </a:lnTo>
                <a:lnTo>
                  <a:pt x="408" y="468"/>
                </a:lnTo>
                <a:lnTo>
                  <a:pt x="414" y="474"/>
                </a:lnTo>
                <a:lnTo>
                  <a:pt x="420" y="474"/>
                </a:lnTo>
                <a:lnTo>
                  <a:pt x="420" y="480"/>
                </a:lnTo>
                <a:lnTo>
                  <a:pt x="426" y="480"/>
                </a:lnTo>
                <a:lnTo>
                  <a:pt x="432" y="480"/>
                </a:lnTo>
                <a:lnTo>
                  <a:pt x="462" y="486"/>
                </a:lnTo>
                <a:lnTo>
                  <a:pt x="468" y="492"/>
                </a:lnTo>
                <a:lnTo>
                  <a:pt x="468" y="498"/>
                </a:lnTo>
                <a:lnTo>
                  <a:pt x="462" y="498"/>
                </a:lnTo>
                <a:lnTo>
                  <a:pt x="456" y="498"/>
                </a:lnTo>
                <a:lnTo>
                  <a:pt x="456" y="504"/>
                </a:lnTo>
                <a:lnTo>
                  <a:pt x="456" y="510"/>
                </a:lnTo>
                <a:lnTo>
                  <a:pt x="450" y="516"/>
                </a:lnTo>
                <a:lnTo>
                  <a:pt x="426" y="516"/>
                </a:lnTo>
                <a:lnTo>
                  <a:pt x="408" y="528"/>
                </a:lnTo>
                <a:lnTo>
                  <a:pt x="408" y="546"/>
                </a:lnTo>
                <a:lnTo>
                  <a:pt x="414" y="552"/>
                </a:lnTo>
                <a:lnTo>
                  <a:pt x="408" y="558"/>
                </a:lnTo>
                <a:lnTo>
                  <a:pt x="402" y="564"/>
                </a:lnTo>
                <a:lnTo>
                  <a:pt x="384" y="564"/>
                </a:lnTo>
                <a:lnTo>
                  <a:pt x="372" y="564"/>
                </a:lnTo>
                <a:lnTo>
                  <a:pt x="372" y="576"/>
                </a:lnTo>
                <a:lnTo>
                  <a:pt x="366" y="576"/>
                </a:lnTo>
                <a:lnTo>
                  <a:pt x="366" y="582"/>
                </a:lnTo>
                <a:lnTo>
                  <a:pt x="360" y="582"/>
                </a:lnTo>
                <a:lnTo>
                  <a:pt x="348" y="576"/>
                </a:lnTo>
                <a:lnTo>
                  <a:pt x="336" y="570"/>
                </a:lnTo>
                <a:lnTo>
                  <a:pt x="324" y="570"/>
                </a:lnTo>
                <a:lnTo>
                  <a:pt x="300" y="564"/>
                </a:lnTo>
                <a:lnTo>
                  <a:pt x="282" y="564"/>
                </a:lnTo>
                <a:lnTo>
                  <a:pt x="270" y="570"/>
                </a:lnTo>
                <a:lnTo>
                  <a:pt x="264" y="576"/>
                </a:lnTo>
                <a:lnTo>
                  <a:pt x="258" y="576"/>
                </a:lnTo>
                <a:lnTo>
                  <a:pt x="240" y="582"/>
                </a:lnTo>
                <a:lnTo>
                  <a:pt x="240" y="588"/>
                </a:lnTo>
                <a:lnTo>
                  <a:pt x="240" y="594"/>
                </a:lnTo>
                <a:lnTo>
                  <a:pt x="234" y="594"/>
                </a:lnTo>
                <a:lnTo>
                  <a:pt x="228" y="600"/>
                </a:lnTo>
                <a:lnTo>
                  <a:pt x="210" y="618"/>
                </a:lnTo>
                <a:lnTo>
                  <a:pt x="210" y="624"/>
                </a:lnTo>
                <a:lnTo>
                  <a:pt x="192" y="630"/>
                </a:lnTo>
                <a:lnTo>
                  <a:pt x="186" y="630"/>
                </a:lnTo>
                <a:lnTo>
                  <a:pt x="180" y="636"/>
                </a:lnTo>
                <a:lnTo>
                  <a:pt x="174" y="642"/>
                </a:lnTo>
                <a:lnTo>
                  <a:pt x="168" y="642"/>
                </a:lnTo>
                <a:lnTo>
                  <a:pt x="168" y="654"/>
                </a:lnTo>
                <a:lnTo>
                  <a:pt x="168" y="678"/>
                </a:lnTo>
                <a:lnTo>
                  <a:pt x="162" y="684"/>
                </a:lnTo>
                <a:lnTo>
                  <a:pt x="156" y="684"/>
                </a:lnTo>
                <a:lnTo>
                  <a:pt x="156" y="678"/>
                </a:lnTo>
                <a:lnTo>
                  <a:pt x="150" y="678"/>
                </a:lnTo>
                <a:lnTo>
                  <a:pt x="144" y="672"/>
                </a:lnTo>
                <a:lnTo>
                  <a:pt x="138" y="672"/>
                </a:lnTo>
                <a:lnTo>
                  <a:pt x="138" y="666"/>
                </a:lnTo>
                <a:lnTo>
                  <a:pt x="132" y="660"/>
                </a:lnTo>
                <a:lnTo>
                  <a:pt x="120" y="654"/>
                </a:lnTo>
                <a:lnTo>
                  <a:pt x="114" y="654"/>
                </a:lnTo>
                <a:lnTo>
                  <a:pt x="108" y="648"/>
                </a:lnTo>
                <a:lnTo>
                  <a:pt x="102" y="654"/>
                </a:lnTo>
                <a:lnTo>
                  <a:pt x="90" y="654"/>
                </a:lnTo>
                <a:lnTo>
                  <a:pt x="84" y="654"/>
                </a:lnTo>
                <a:lnTo>
                  <a:pt x="72" y="660"/>
                </a:lnTo>
                <a:lnTo>
                  <a:pt x="60" y="672"/>
                </a:lnTo>
                <a:lnTo>
                  <a:pt x="54" y="678"/>
                </a:lnTo>
                <a:lnTo>
                  <a:pt x="42" y="684"/>
                </a:lnTo>
                <a:lnTo>
                  <a:pt x="36" y="684"/>
                </a:lnTo>
                <a:lnTo>
                  <a:pt x="30" y="696"/>
                </a:lnTo>
                <a:close/>
              </a:path>
            </a:pathLst>
          </a:custGeom>
          <a:solidFill>
            <a:srgbClr val="33CC33"/>
          </a:solidFill>
          <a:ln w="9525">
            <a:solidFill>
              <a:schemeClr val="bg1"/>
            </a:solidFill>
            <a:round/>
            <a:headEnd/>
            <a:tailEnd/>
          </a:ln>
        </p:spPr>
        <p:txBody>
          <a:bodyPr/>
          <a:lstStyle/>
          <a:p>
            <a:endParaRPr lang="en-GB"/>
          </a:p>
        </p:txBody>
      </p:sp>
      <p:sp>
        <p:nvSpPr>
          <p:cNvPr id="18461" name="Freeform 23"/>
          <p:cNvSpPr>
            <a:spLocks noEditPoints="1"/>
          </p:cNvSpPr>
          <p:nvPr/>
        </p:nvSpPr>
        <p:spPr bwMode="gray">
          <a:xfrm>
            <a:off x="2576513" y="5305425"/>
            <a:ext cx="900112" cy="768350"/>
          </a:xfrm>
          <a:custGeom>
            <a:avLst/>
            <a:gdLst>
              <a:gd name="T0" fmla="*/ 68267 w 1146"/>
              <a:gd name="T1" fmla="*/ 45066 h 954"/>
              <a:gd name="T2" fmla="*/ 65128 w 1146"/>
              <a:gd name="T3" fmla="*/ 53114 h 954"/>
              <a:gd name="T4" fmla="*/ 58066 w 1146"/>
              <a:gd name="T5" fmla="*/ 55528 h 954"/>
              <a:gd name="T6" fmla="*/ 52573 w 1146"/>
              <a:gd name="T7" fmla="*/ 60357 h 954"/>
              <a:gd name="T8" fmla="*/ 46296 w 1146"/>
              <a:gd name="T9" fmla="*/ 62771 h 954"/>
              <a:gd name="T10" fmla="*/ 40803 w 1146"/>
              <a:gd name="T11" fmla="*/ 61966 h 954"/>
              <a:gd name="T12" fmla="*/ 37664 w 1146"/>
              <a:gd name="T13" fmla="*/ 63576 h 954"/>
              <a:gd name="T14" fmla="*/ 32172 w 1146"/>
              <a:gd name="T15" fmla="*/ 65990 h 954"/>
              <a:gd name="T16" fmla="*/ 22756 w 1146"/>
              <a:gd name="T17" fmla="*/ 62771 h 954"/>
              <a:gd name="T18" fmla="*/ 21971 w 1146"/>
              <a:gd name="T19" fmla="*/ 61162 h 954"/>
              <a:gd name="T20" fmla="*/ 21971 w 1146"/>
              <a:gd name="T21" fmla="*/ 57943 h 954"/>
              <a:gd name="T22" fmla="*/ 21971 w 1146"/>
              <a:gd name="T23" fmla="*/ 59552 h 954"/>
              <a:gd name="T24" fmla="*/ 16478 w 1146"/>
              <a:gd name="T25" fmla="*/ 59552 h 954"/>
              <a:gd name="T26" fmla="*/ 15693 w 1146"/>
              <a:gd name="T27" fmla="*/ 53919 h 954"/>
              <a:gd name="T28" fmla="*/ 18048 w 1146"/>
              <a:gd name="T29" fmla="*/ 51504 h 954"/>
              <a:gd name="T30" fmla="*/ 21971 w 1146"/>
              <a:gd name="T31" fmla="*/ 52309 h 954"/>
              <a:gd name="T32" fmla="*/ 25110 w 1146"/>
              <a:gd name="T33" fmla="*/ 49895 h 954"/>
              <a:gd name="T34" fmla="*/ 24325 w 1146"/>
              <a:gd name="T35" fmla="*/ 45066 h 954"/>
              <a:gd name="T36" fmla="*/ 28248 w 1146"/>
              <a:gd name="T37" fmla="*/ 43457 h 954"/>
              <a:gd name="T38" fmla="*/ 29818 w 1146"/>
              <a:gd name="T39" fmla="*/ 43457 h 954"/>
              <a:gd name="T40" fmla="*/ 25110 w 1146"/>
              <a:gd name="T41" fmla="*/ 43457 h 954"/>
              <a:gd name="T42" fmla="*/ 22756 w 1146"/>
              <a:gd name="T43" fmla="*/ 47481 h 954"/>
              <a:gd name="T44" fmla="*/ 20402 w 1146"/>
              <a:gd name="T45" fmla="*/ 47481 h 954"/>
              <a:gd name="T46" fmla="*/ 19617 w 1146"/>
              <a:gd name="T47" fmla="*/ 49090 h 954"/>
              <a:gd name="T48" fmla="*/ 15693 w 1146"/>
              <a:gd name="T49" fmla="*/ 49090 h 954"/>
              <a:gd name="T50" fmla="*/ 8631 w 1146"/>
              <a:gd name="T51" fmla="*/ 43457 h 954"/>
              <a:gd name="T52" fmla="*/ 10985 w 1146"/>
              <a:gd name="T53" fmla="*/ 40238 h 954"/>
              <a:gd name="T54" fmla="*/ 16478 w 1146"/>
              <a:gd name="T55" fmla="*/ 41043 h 954"/>
              <a:gd name="T56" fmla="*/ 18832 w 1146"/>
              <a:gd name="T57" fmla="*/ 40238 h 954"/>
              <a:gd name="T58" fmla="*/ 21971 w 1146"/>
              <a:gd name="T59" fmla="*/ 38628 h 954"/>
              <a:gd name="T60" fmla="*/ 23540 w 1146"/>
              <a:gd name="T61" fmla="*/ 39433 h 954"/>
              <a:gd name="T62" fmla="*/ 20402 w 1146"/>
              <a:gd name="T63" fmla="*/ 37824 h 954"/>
              <a:gd name="T64" fmla="*/ 15693 w 1146"/>
              <a:gd name="T65" fmla="*/ 40238 h 954"/>
              <a:gd name="T66" fmla="*/ 15693 w 1146"/>
              <a:gd name="T67" fmla="*/ 35409 h 954"/>
              <a:gd name="T68" fmla="*/ 14909 w 1146"/>
              <a:gd name="T69" fmla="*/ 37019 h 954"/>
              <a:gd name="T70" fmla="*/ 11770 w 1146"/>
              <a:gd name="T71" fmla="*/ 39433 h 954"/>
              <a:gd name="T72" fmla="*/ 6277 w 1146"/>
              <a:gd name="T73" fmla="*/ 38628 h 954"/>
              <a:gd name="T74" fmla="*/ 4708 w 1146"/>
              <a:gd name="T75" fmla="*/ 32995 h 954"/>
              <a:gd name="T76" fmla="*/ 7847 w 1146"/>
              <a:gd name="T77" fmla="*/ 32995 h 954"/>
              <a:gd name="T78" fmla="*/ 7062 w 1146"/>
              <a:gd name="T79" fmla="*/ 31386 h 954"/>
              <a:gd name="T80" fmla="*/ 10985 w 1146"/>
              <a:gd name="T81" fmla="*/ 28166 h 954"/>
              <a:gd name="T82" fmla="*/ 14909 w 1146"/>
              <a:gd name="T83" fmla="*/ 25752 h 954"/>
              <a:gd name="T84" fmla="*/ 15693 w 1146"/>
              <a:gd name="T85" fmla="*/ 23338 h 954"/>
              <a:gd name="T86" fmla="*/ 21186 w 1146"/>
              <a:gd name="T87" fmla="*/ 21728 h 954"/>
              <a:gd name="T88" fmla="*/ 25894 w 1146"/>
              <a:gd name="T89" fmla="*/ 22533 h 954"/>
              <a:gd name="T90" fmla="*/ 34526 w 1146"/>
              <a:gd name="T91" fmla="*/ 21728 h 954"/>
              <a:gd name="T92" fmla="*/ 40803 w 1146"/>
              <a:gd name="T93" fmla="*/ 32995 h 954"/>
              <a:gd name="T94" fmla="*/ 47865 w 1146"/>
              <a:gd name="T95" fmla="*/ 32190 h 954"/>
              <a:gd name="T96" fmla="*/ 54143 w 1146"/>
              <a:gd name="T97" fmla="*/ 27362 h 954"/>
              <a:gd name="T98" fmla="*/ 48650 w 1146"/>
              <a:gd name="T99" fmla="*/ 9657 h 954"/>
              <a:gd name="T100" fmla="*/ 58066 w 1146"/>
              <a:gd name="T101" fmla="*/ 6438 h 954"/>
              <a:gd name="T102" fmla="*/ 68267 w 1146"/>
              <a:gd name="T103" fmla="*/ 805 h 954"/>
              <a:gd name="T104" fmla="*/ 77683 w 1146"/>
              <a:gd name="T105" fmla="*/ 9657 h 954"/>
              <a:gd name="T106" fmla="*/ 76898 w 1146"/>
              <a:gd name="T107" fmla="*/ 21728 h 954"/>
              <a:gd name="T108" fmla="*/ 12555 w 1146"/>
              <a:gd name="T109" fmla="*/ 26557 h 954"/>
              <a:gd name="T110" fmla="*/ 8631 w 1146"/>
              <a:gd name="T111" fmla="*/ 28971 h 954"/>
              <a:gd name="T112" fmla="*/ 3923 w 1146"/>
              <a:gd name="T113" fmla="*/ 32995 h 954"/>
              <a:gd name="T114" fmla="*/ 1569 w 1146"/>
              <a:gd name="T115" fmla="*/ 28971 h 954"/>
              <a:gd name="T116" fmla="*/ 3923 w 1146"/>
              <a:gd name="T117" fmla="*/ 20924 h 954"/>
              <a:gd name="T118" fmla="*/ 7847 w 1146"/>
              <a:gd name="T119" fmla="*/ 16095 h 954"/>
              <a:gd name="T120" fmla="*/ 10201 w 1146"/>
              <a:gd name="T121" fmla="*/ 16095 h 954"/>
              <a:gd name="T122" fmla="*/ 11770 w 1146"/>
              <a:gd name="T123" fmla="*/ 21728 h 9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46"/>
              <a:gd name="T187" fmla="*/ 0 h 954"/>
              <a:gd name="T188" fmla="*/ 1146 w 1146"/>
              <a:gd name="T189" fmla="*/ 954 h 9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46" h="954">
                <a:moveTo>
                  <a:pt x="1056" y="498"/>
                </a:moveTo>
                <a:lnTo>
                  <a:pt x="1044" y="510"/>
                </a:lnTo>
                <a:lnTo>
                  <a:pt x="1032" y="516"/>
                </a:lnTo>
                <a:lnTo>
                  <a:pt x="1038" y="528"/>
                </a:lnTo>
                <a:lnTo>
                  <a:pt x="1050" y="540"/>
                </a:lnTo>
                <a:lnTo>
                  <a:pt x="1050" y="546"/>
                </a:lnTo>
                <a:lnTo>
                  <a:pt x="1050" y="564"/>
                </a:lnTo>
                <a:lnTo>
                  <a:pt x="1038" y="576"/>
                </a:lnTo>
                <a:lnTo>
                  <a:pt x="1032" y="588"/>
                </a:lnTo>
                <a:lnTo>
                  <a:pt x="1020" y="594"/>
                </a:lnTo>
                <a:lnTo>
                  <a:pt x="1008" y="594"/>
                </a:lnTo>
                <a:lnTo>
                  <a:pt x="1002" y="600"/>
                </a:lnTo>
                <a:lnTo>
                  <a:pt x="996" y="612"/>
                </a:lnTo>
                <a:lnTo>
                  <a:pt x="996" y="624"/>
                </a:lnTo>
                <a:lnTo>
                  <a:pt x="996" y="648"/>
                </a:lnTo>
                <a:lnTo>
                  <a:pt x="996" y="660"/>
                </a:lnTo>
                <a:lnTo>
                  <a:pt x="1002" y="672"/>
                </a:lnTo>
                <a:lnTo>
                  <a:pt x="1002" y="684"/>
                </a:lnTo>
                <a:lnTo>
                  <a:pt x="996" y="684"/>
                </a:lnTo>
                <a:lnTo>
                  <a:pt x="984" y="690"/>
                </a:lnTo>
                <a:lnTo>
                  <a:pt x="972" y="690"/>
                </a:lnTo>
                <a:lnTo>
                  <a:pt x="966" y="696"/>
                </a:lnTo>
                <a:lnTo>
                  <a:pt x="966" y="702"/>
                </a:lnTo>
                <a:lnTo>
                  <a:pt x="966" y="714"/>
                </a:lnTo>
                <a:lnTo>
                  <a:pt x="972" y="726"/>
                </a:lnTo>
                <a:lnTo>
                  <a:pt x="978" y="744"/>
                </a:lnTo>
                <a:lnTo>
                  <a:pt x="978" y="750"/>
                </a:lnTo>
                <a:lnTo>
                  <a:pt x="972" y="756"/>
                </a:lnTo>
                <a:lnTo>
                  <a:pt x="966" y="756"/>
                </a:lnTo>
                <a:lnTo>
                  <a:pt x="942" y="762"/>
                </a:lnTo>
                <a:lnTo>
                  <a:pt x="930" y="768"/>
                </a:lnTo>
                <a:lnTo>
                  <a:pt x="924" y="774"/>
                </a:lnTo>
                <a:lnTo>
                  <a:pt x="918" y="768"/>
                </a:lnTo>
                <a:lnTo>
                  <a:pt x="906" y="768"/>
                </a:lnTo>
                <a:lnTo>
                  <a:pt x="894" y="762"/>
                </a:lnTo>
                <a:lnTo>
                  <a:pt x="882" y="756"/>
                </a:lnTo>
                <a:lnTo>
                  <a:pt x="876" y="756"/>
                </a:lnTo>
                <a:lnTo>
                  <a:pt x="876" y="762"/>
                </a:lnTo>
                <a:lnTo>
                  <a:pt x="864" y="768"/>
                </a:lnTo>
                <a:lnTo>
                  <a:pt x="858" y="774"/>
                </a:lnTo>
                <a:lnTo>
                  <a:pt x="852" y="774"/>
                </a:lnTo>
                <a:lnTo>
                  <a:pt x="840" y="780"/>
                </a:lnTo>
                <a:lnTo>
                  <a:pt x="840" y="786"/>
                </a:lnTo>
                <a:lnTo>
                  <a:pt x="840" y="792"/>
                </a:lnTo>
                <a:lnTo>
                  <a:pt x="840" y="804"/>
                </a:lnTo>
                <a:lnTo>
                  <a:pt x="840" y="810"/>
                </a:lnTo>
                <a:lnTo>
                  <a:pt x="828" y="816"/>
                </a:lnTo>
                <a:lnTo>
                  <a:pt x="810" y="810"/>
                </a:lnTo>
                <a:lnTo>
                  <a:pt x="792" y="810"/>
                </a:lnTo>
                <a:lnTo>
                  <a:pt x="786" y="816"/>
                </a:lnTo>
                <a:lnTo>
                  <a:pt x="780" y="816"/>
                </a:lnTo>
                <a:lnTo>
                  <a:pt x="780" y="822"/>
                </a:lnTo>
                <a:lnTo>
                  <a:pt x="780" y="828"/>
                </a:lnTo>
                <a:lnTo>
                  <a:pt x="780" y="834"/>
                </a:lnTo>
                <a:lnTo>
                  <a:pt x="786" y="840"/>
                </a:lnTo>
                <a:lnTo>
                  <a:pt x="786" y="846"/>
                </a:lnTo>
                <a:lnTo>
                  <a:pt x="786" y="852"/>
                </a:lnTo>
                <a:lnTo>
                  <a:pt x="780" y="858"/>
                </a:lnTo>
                <a:lnTo>
                  <a:pt x="768" y="858"/>
                </a:lnTo>
                <a:lnTo>
                  <a:pt x="762" y="864"/>
                </a:lnTo>
                <a:lnTo>
                  <a:pt x="756" y="864"/>
                </a:lnTo>
                <a:lnTo>
                  <a:pt x="750" y="870"/>
                </a:lnTo>
                <a:lnTo>
                  <a:pt x="744" y="876"/>
                </a:lnTo>
                <a:lnTo>
                  <a:pt x="732" y="876"/>
                </a:lnTo>
                <a:lnTo>
                  <a:pt x="726" y="876"/>
                </a:lnTo>
                <a:lnTo>
                  <a:pt x="720" y="870"/>
                </a:lnTo>
                <a:lnTo>
                  <a:pt x="714" y="864"/>
                </a:lnTo>
                <a:lnTo>
                  <a:pt x="708" y="870"/>
                </a:lnTo>
                <a:lnTo>
                  <a:pt x="702" y="870"/>
                </a:lnTo>
                <a:lnTo>
                  <a:pt x="696" y="876"/>
                </a:lnTo>
                <a:lnTo>
                  <a:pt x="696" y="882"/>
                </a:lnTo>
                <a:lnTo>
                  <a:pt x="696" y="894"/>
                </a:lnTo>
                <a:lnTo>
                  <a:pt x="690" y="900"/>
                </a:lnTo>
                <a:lnTo>
                  <a:pt x="684" y="900"/>
                </a:lnTo>
                <a:lnTo>
                  <a:pt x="672" y="900"/>
                </a:lnTo>
                <a:lnTo>
                  <a:pt x="666" y="900"/>
                </a:lnTo>
                <a:lnTo>
                  <a:pt x="654" y="888"/>
                </a:lnTo>
                <a:lnTo>
                  <a:pt x="654" y="882"/>
                </a:lnTo>
                <a:lnTo>
                  <a:pt x="642" y="876"/>
                </a:lnTo>
                <a:lnTo>
                  <a:pt x="636" y="876"/>
                </a:lnTo>
                <a:lnTo>
                  <a:pt x="630" y="876"/>
                </a:lnTo>
                <a:lnTo>
                  <a:pt x="630" y="870"/>
                </a:lnTo>
                <a:lnTo>
                  <a:pt x="618" y="858"/>
                </a:lnTo>
                <a:lnTo>
                  <a:pt x="612" y="858"/>
                </a:lnTo>
                <a:lnTo>
                  <a:pt x="612" y="864"/>
                </a:lnTo>
                <a:lnTo>
                  <a:pt x="612" y="870"/>
                </a:lnTo>
                <a:lnTo>
                  <a:pt x="606" y="876"/>
                </a:lnTo>
                <a:lnTo>
                  <a:pt x="606" y="882"/>
                </a:lnTo>
                <a:lnTo>
                  <a:pt x="606" y="888"/>
                </a:lnTo>
                <a:lnTo>
                  <a:pt x="600" y="894"/>
                </a:lnTo>
                <a:lnTo>
                  <a:pt x="594" y="894"/>
                </a:lnTo>
                <a:lnTo>
                  <a:pt x="588" y="900"/>
                </a:lnTo>
                <a:lnTo>
                  <a:pt x="582" y="894"/>
                </a:lnTo>
                <a:lnTo>
                  <a:pt x="576" y="894"/>
                </a:lnTo>
                <a:lnTo>
                  <a:pt x="582" y="900"/>
                </a:lnTo>
                <a:lnTo>
                  <a:pt x="576" y="906"/>
                </a:lnTo>
                <a:lnTo>
                  <a:pt x="576" y="918"/>
                </a:lnTo>
                <a:lnTo>
                  <a:pt x="570" y="918"/>
                </a:lnTo>
                <a:lnTo>
                  <a:pt x="570" y="912"/>
                </a:lnTo>
                <a:lnTo>
                  <a:pt x="564" y="912"/>
                </a:lnTo>
                <a:lnTo>
                  <a:pt x="564" y="918"/>
                </a:lnTo>
                <a:lnTo>
                  <a:pt x="558" y="918"/>
                </a:lnTo>
                <a:lnTo>
                  <a:pt x="558" y="912"/>
                </a:lnTo>
                <a:lnTo>
                  <a:pt x="552" y="906"/>
                </a:lnTo>
                <a:lnTo>
                  <a:pt x="552" y="912"/>
                </a:lnTo>
                <a:lnTo>
                  <a:pt x="546" y="912"/>
                </a:lnTo>
                <a:lnTo>
                  <a:pt x="540" y="906"/>
                </a:lnTo>
                <a:lnTo>
                  <a:pt x="534" y="906"/>
                </a:lnTo>
                <a:lnTo>
                  <a:pt x="528" y="906"/>
                </a:lnTo>
                <a:lnTo>
                  <a:pt x="522" y="906"/>
                </a:lnTo>
                <a:lnTo>
                  <a:pt x="522" y="918"/>
                </a:lnTo>
                <a:lnTo>
                  <a:pt x="516" y="918"/>
                </a:lnTo>
                <a:lnTo>
                  <a:pt x="516" y="924"/>
                </a:lnTo>
                <a:lnTo>
                  <a:pt x="510" y="924"/>
                </a:lnTo>
                <a:lnTo>
                  <a:pt x="504" y="924"/>
                </a:lnTo>
                <a:lnTo>
                  <a:pt x="498" y="930"/>
                </a:lnTo>
                <a:lnTo>
                  <a:pt x="492" y="924"/>
                </a:lnTo>
                <a:lnTo>
                  <a:pt x="486" y="930"/>
                </a:lnTo>
                <a:lnTo>
                  <a:pt x="480" y="942"/>
                </a:lnTo>
                <a:lnTo>
                  <a:pt x="468" y="948"/>
                </a:lnTo>
                <a:lnTo>
                  <a:pt x="444" y="942"/>
                </a:lnTo>
                <a:lnTo>
                  <a:pt x="438" y="954"/>
                </a:lnTo>
                <a:lnTo>
                  <a:pt x="426" y="954"/>
                </a:lnTo>
                <a:lnTo>
                  <a:pt x="420" y="948"/>
                </a:lnTo>
                <a:lnTo>
                  <a:pt x="408" y="936"/>
                </a:lnTo>
                <a:lnTo>
                  <a:pt x="396" y="936"/>
                </a:lnTo>
                <a:lnTo>
                  <a:pt x="390" y="930"/>
                </a:lnTo>
                <a:lnTo>
                  <a:pt x="390" y="924"/>
                </a:lnTo>
                <a:lnTo>
                  <a:pt x="384" y="924"/>
                </a:lnTo>
                <a:lnTo>
                  <a:pt x="378" y="924"/>
                </a:lnTo>
                <a:lnTo>
                  <a:pt x="366" y="924"/>
                </a:lnTo>
                <a:lnTo>
                  <a:pt x="360" y="924"/>
                </a:lnTo>
                <a:lnTo>
                  <a:pt x="348" y="918"/>
                </a:lnTo>
                <a:lnTo>
                  <a:pt x="342" y="906"/>
                </a:lnTo>
                <a:lnTo>
                  <a:pt x="336" y="906"/>
                </a:lnTo>
                <a:lnTo>
                  <a:pt x="330" y="906"/>
                </a:lnTo>
                <a:lnTo>
                  <a:pt x="312" y="906"/>
                </a:lnTo>
                <a:lnTo>
                  <a:pt x="312" y="900"/>
                </a:lnTo>
                <a:lnTo>
                  <a:pt x="318" y="900"/>
                </a:lnTo>
                <a:lnTo>
                  <a:pt x="318" y="894"/>
                </a:lnTo>
                <a:lnTo>
                  <a:pt x="318" y="900"/>
                </a:lnTo>
                <a:lnTo>
                  <a:pt x="318" y="894"/>
                </a:lnTo>
                <a:lnTo>
                  <a:pt x="318" y="888"/>
                </a:lnTo>
                <a:lnTo>
                  <a:pt x="312" y="882"/>
                </a:lnTo>
                <a:lnTo>
                  <a:pt x="306" y="876"/>
                </a:lnTo>
                <a:lnTo>
                  <a:pt x="312" y="876"/>
                </a:lnTo>
                <a:lnTo>
                  <a:pt x="312" y="870"/>
                </a:lnTo>
                <a:lnTo>
                  <a:pt x="318" y="876"/>
                </a:lnTo>
                <a:lnTo>
                  <a:pt x="318" y="870"/>
                </a:lnTo>
                <a:lnTo>
                  <a:pt x="324" y="876"/>
                </a:lnTo>
                <a:lnTo>
                  <a:pt x="330" y="876"/>
                </a:lnTo>
                <a:lnTo>
                  <a:pt x="336" y="876"/>
                </a:lnTo>
                <a:lnTo>
                  <a:pt x="342" y="876"/>
                </a:lnTo>
                <a:lnTo>
                  <a:pt x="336" y="876"/>
                </a:lnTo>
                <a:lnTo>
                  <a:pt x="330" y="870"/>
                </a:lnTo>
                <a:lnTo>
                  <a:pt x="324" y="870"/>
                </a:lnTo>
                <a:lnTo>
                  <a:pt x="318" y="870"/>
                </a:lnTo>
                <a:lnTo>
                  <a:pt x="312" y="870"/>
                </a:lnTo>
                <a:lnTo>
                  <a:pt x="318" y="864"/>
                </a:lnTo>
                <a:lnTo>
                  <a:pt x="318" y="858"/>
                </a:lnTo>
                <a:lnTo>
                  <a:pt x="318" y="852"/>
                </a:lnTo>
                <a:lnTo>
                  <a:pt x="312" y="852"/>
                </a:lnTo>
                <a:lnTo>
                  <a:pt x="306" y="852"/>
                </a:lnTo>
                <a:lnTo>
                  <a:pt x="306" y="846"/>
                </a:lnTo>
                <a:lnTo>
                  <a:pt x="312" y="828"/>
                </a:lnTo>
                <a:lnTo>
                  <a:pt x="312" y="822"/>
                </a:lnTo>
                <a:lnTo>
                  <a:pt x="318" y="822"/>
                </a:lnTo>
                <a:lnTo>
                  <a:pt x="312" y="816"/>
                </a:lnTo>
                <a:lnTo>
                  <a:pt x="306" y="816"/>
                </a:lnTo>
                <a:lnTo>
                  <a:pt x="306" y="810"/>
                </a:lnTo>
                <a:lnTo>
                  <a:pt x="306" y="816"/>
                </a:lnTo>
                <a:lnTo>
                  <a:pt x="312" y="822"/>
                </a:lnTo>
                <a:lnTo>
                  <a:pt x="306" y="822"/>
                </a:lnTo>
                <a:lnTo>
                  <a:pt x="306" y="828"/>
                </a:lnTo>
                <a:lnTo>
                  <a:pt x="306" y="834"/>
                </a:lnTo>
                <a:lnTo>
                  <a:pt x="300" y="840"/>
                </a:lnTo>
                <a:lnTo>
                  <a:pt x="300" y="846"/>
                </a:lnTo>
                <a:lnTo>
                  <a:pt x="306" y="852"/>
                </a:lnTo>
                <a:lnTo>
                  <a:pt x="306" y="858"/>
                </a:lnTo>
                <a:lnTo>
                  <a:pt x="312" y="858"/>
                </a:lnTo>
                <a:lnTo>
                  <a:pt x="312" y="864"/>
                </a:lnTo>
                <a:lnTo>
                  <a:pt x="306" y="864"/>
                </a:lnTo>
                <a:lnTo>
                  <a:pt x="300" y="864"/>
                </a:lnTo>
                <a:lnTo>
                  <a:pt x="294" y="864"/>
                </a:lnTo>
                <a:lnTo>
                  <a:pt x="288" y="864"/>
                </a:lnTo>
                <a:lnTo>
                  <a:pt x="282" y="870"/>
                </a:lnTo>
                <a:lnTo>
                  <a:pt x="276" y="870"/>
                </a:lnTo>
                <a:lnTo>
                  <a:pt x="270" y="876"/>
                </a:lnTo>
                <a:lnTo>
                  <a:pt x="264" y="876"/>
                </a:lnTo>
                <a:lnTo>
                  <a:pt x="258" y="876"/>
                </a:lnTo>
                <a:lnTo>
                  <a:pt x="258" y="870"/>
                </a:lnTo>
                <a:lnTo>
                  <a:pt x="252" y="870"/>
                </a:lnTo>
                <a:lnTo>
                  <a:pt x="252" y="864"/>
                </a:lnTo>
                <a:lnTo>
                  <a:pt x="246" y="858"/>
                </a:lnTo>
                <a:lnTo>
                  <a:pt x="246" y="852"/>
                </a:lnTo>
                <a:lnTo>
                  <a:pt x="246" y="846"/>
                </a:lnTo>
                <a:lnTo>
                  <a:pt x="246" y="840"/>
                </a:lnTo>
                <a:lnTo>
                  <a:pt x="246" y="834"/>
                </a:lnTo>
                <a:lnTo>
                  <a:pt x="246" y="828"/>
                </a:lnTo>
                <a:lnTo>
                  <a:pt x="246" y="822"/>
                </a:lnTo>
                <a:lnTo>
                  <a:pt x="240" y="816"/>
                </a:lnTo>
                <a:lnTo>
                  <a:pt x="240" y="810"/>
                </a:lnTo>
                <a:lnTo>
                  <a:pt x="240" y="804"/>
                </a:lnTo>
                <a:lnTo>
                  <a:pt x="240" y="798"/>
                </a:lnTo>
                <a:lnTo>
                  <a:pt x="234" y="798"/>
                </a:lnTo>
                <a:lnTo>
                  <a:pt x="234" y="792"/>
                </a:lnTo>
                <a:lnTo>
                  <a:pt x="234" y="786"/>
                </a:lnTo>
                <a:lnTo>
                  <a:pt x="234" y="780"/>
                </a:lnTo>
                <a:lnTo>
                  <a:pt x="228" y="780"/>
                </a:lnTo>
                <a:lnTo>
                  <a:pt x="228" y="774"/>
                </a:lnTo>
                <a:lnTo>
                  <a:pt x="228" y="768"/>
                </a:lnTo>
                <a:lnTo>
                  <a:pt x="222" y="762"/>
                </a:lnTo>
                <a:lnTo>
                  <a:pt x="222" y="756"/>
                </a:lnTo>
                <a:lnTo>
                  <a:pt x="222" y="750"/>
                </a:lnTo>
                <a:lnTo>
                  <a:pt x="222" y="744"/>
                </a:lnTo>
                <a:lnTo>
                  <a:pt x="222" y="738"/>
                </a:lnTo>
                <a:lnTo>
                  <a:pt x="216" y="732"/>
                </a:lnTo>
                <a:lnTo>
                  <a:pt x="222" y="732"/>
                </a:lnTo>
                <a:lnTo>
                  <a:pt x="228" y="732"/>
                </a:lnTo>
                <a:lnTo>
                  <a:pt x="234" y="732"/>
                </a:lnTo>
                <a:lnTo>
                  <a:pt x="240" y="732"/>
                </a:lnTo>
                <a:lnTo>
                  <a:pt x="246" y="732"/>
                </a:lnTo>
                <a:lnTo>
                  <a:pt x="246" y="738"/>
                </a:lnTo>
                <a:lnTo>
                  <a:pt x="252" y="738"/>
                </a:lnTo>
                <a:lnTo>
                  <a:pt x="258" y="738"/>
                </a:lnTo>
                <a:lnTo>
                  <a:pt x="258" y="732"/>
                </a:lnTo>
                <a:lnTo>
                  <a:pt x="264" y="732"/>
                </a:lnTo>
                <a:lnTo>
                  <a:pt x="270" y="732"/>
                </a:lnTo>
                <a:lnTo>
                  <a:pt x="276" y="732"/>
                </a:lnTo>
                <a:lnTo>
                  <a:pt x="282" y="732"/>
                </a:lnTo>
                <a:lnTo>
                  <a:pt x="288" y="732"/>
                </a:lnTo>
                <a:lnTo>
                  <a:pt x="294" y="732"/>
                </a:lnTo>
                <a:lnTo>
                  <a:pt x="300" y="732"/>
                </a:lnTo>
                <a:lnTo>
                  <a:pt x="300" y="738"/>
                </a:lnTo>
                <a:lnTo>
                  <a:pt x="306" y="738"/>
                </a:lnTo>
                <a:lnTo>
                  <a:pt x="306" y="744"/>
                </a:lnTo>
                <a:lnTo>
                  <a:pt x="306" y="750"/>
                </a:lnTo>
                <a:lnTo>
                  <a:pt x="312" y="750"/>
                </a:lnTo>
                <a:lnTo>
                  <a:pt x="312" y="756"/>
                </a:lnTo>
                <a:lnTo>
                  <a:pt x="318" y="756"/>
                </a:lnTo>
                <a:lnTo>
                  <a:pt x="318" y="750"/>
                </a:lnTo>
                <a:lnTo>
                  <a:pt x="312" y="750"/>
                </a:lnTo>
                <a:lnTo>
                  <a:pt x="312" y="744"/>
                </a:lnTo>
                <a:lnTo>
                  <a:pt x="318" y="738"/>
                </a:lnTo>
                <a:lnTo>
                  <a:pt x="324" y="738"/>
                </a:lnTo>
                <a:lnTo>
                  <a:pt x="330" y="738"/>
                </a:lnTo>
                <a:lnTo>
                  <a:pt x="336" y="738"/>
                </a:lnTo>
                <a:lnTo>
                  <a:pt x="342" y="738"/>
                </a:lnTo>
                <a:lnTo>
                  <a:pt x="348" y="732"/>
                </a:lnTo>
                <a:lnTo>
                  <a:pt x="354" y="732"/>
                </a:lnTo>
                <a:lnTo>
                  <a:pt x="360" y="732"/>
                </a:lnTo>
                <a:lnTo>
                  <a:pt x="360" y="726"/>
                </a:lnTo>
                <a:lnTo>
                  <a:pt x="366" y="726"/>
                </a:lnTo>
                <a:lnTo>
                  <a:pt x="366" y="720"/>
                </a:lnTo>
                <a:lnTo>
                  <a:pt x="366" y="714"/>
                </a:lnTo>
                <a:lnTo>
                  <a:pt x="360" y="708"/>
                </a:lnTo>
                <a:lnTo>
                  <a:pt x="354" y="708"/>
                </a:lnTo>
                <a:lnTo>
                  <a:pt x="348" y="702"/>
                </a:lnTo>
                <a:lnTo>
                  <a:pt x="354" y="702"/>
                </a:lnTo>
                <a:lnTo>
                  <a:pt x="354" y="696"/>
                </a:lnTo>
                <a:lnTo>
                  <a:pt x="348" y="696"/>
                </a:lnTo>
                <a:lnTo>
                  <a:pt x="348" y="690"/>
                </a:lnTo>
                <a:lnTo>
                  <a:pt x="342" y="690"/>
                </a:lnTo>
                <a:lnTo>
                  <a:pt x="342" y="684"/>
                </a:lnTo>
                <a:lnTo>
                  <a:pt x="342" y="678"/>
                </a:lnTo>
                <a:lnTo>
                  <a:pt x="342" y="666"/>
                </a:lnTo>
                <a:lnTo>
                  <a:pt x="342" y="660"/>
                </a:lnTo>
                <a:lnTo>
                  <a:pt x="348" y="654"/>
                </a:lnTo>
                <a:lnTo>
                  <a:pt x="348" y="642"/>
                </a:lnTo>
                <a:lnTo>
                  <a:pt x="354" y="642"/>
                </a:lnTo>
                <a:lnTo>
                  <a:pt x="360" y="642"/>
                </a:lnTo>
                <a:lnTo>
                  <a:pt x="366" y="642"/>
                </a:lnTo>
                <a:lnTo>
                  <a:pt x="372" y="648"/>
                </a:lnTo>
                <a:lnTo>
                  <a:pt x="366" y="642"/>
                </a:lnTo>
                <a:lnTo>
                  <a:pt x="372" y="642"/>
                </a:lnTo>
                <a:lnTo>
                  <a:pt x="378" y="642"/>
                </a:lnTo>
                <a:lnTo>
                  <a:pt x="384" y="642"/>
                </a:lnTo>
                <a:lnTo>
                  <a:pt x="390" y="642"/>
                </a:lnTo>
                <a:lnTo>
                  <a:pt x="396" y="642"/>
                </a:lnTo>
                <a:lnTo>
                  <a:pt x="396" y="636"/>
                </a:lnTo>
                <a:lnTo>
                  <a:pt x="402" y="636"/>
                </a:lnTo>
                <a:lnTo>
                  <a:pt x="408" y="636"/>
                </a:lnTo>
                <a:lnTo>
                  <a:pt x="402" y="636"/>
                </a:lnTo>
                <a:lnTo>
                  <a:pt x="402" y="630"/>
                </a:lnTo>
                <a:lnTo>
                  <a:pt x="408" y="630"/>
                </a:lnTo>
                <a:lnTo>
                  <a:pt x="408" y="624"/>
                </a:lnTo>
                <a:lnTo>
                  <a:pt x="408" y="618"/>
                </a:lnTo>
                <a:lnTo>
                  <a:pt x="414" y="618"/>
                </a:lnTo>
                <a:lnTo>
                  <a:pt x="420" y="618"/>
                </a:lnTo>
                <a:lnTo>
                  <a:pt x="426" y="624"/>
                </a:lnTo>
                <a:lnTo>
                  <a:pt x="432" y="624"/>
                </a:lnTo>
                <a:lnTo>
                  <a:pt x="438" y="624"/>
                </a:lnTo>
                <a:lnTo>
                  <a:pt x="438" y="618"/>
                </a:lnTo>
                <a:lnTo>
                  <a:pt x="444" y="618"/>
                </a:lnTo>
                <a:lnTo>
                  <a:pt x="450" y="618"/>
                </a:lnTo>
                <a:lnTo>
                  <a:pt x="444" y="618"/>
                </a:lnTo>
                <a:lnTo>
                  <a:pt x="438" y="618"/>
                </a:lnTo>
                <a:lnTo>
                  <a:pt x="438" y="612"/>
                </a:lnTo>
                <a:lnTo>
                  <a:pt x="438" y="618"/>
                </a:lnTo>
                <a:lnTo>
                  <a:pt x="432" y="624"/>
                </a:lnTo>
                <a:lnTo>
                  <a:pt x="426" y="618"/>
                </a:lnTo>
                <a:lnTo>
                  <a:pt x="420" y="612"/>
                </a:lnTo>
                <a:lnTo>
                  <a:pt x="414" y="612"/>
                </a:lnTo>
                <a:lnTo>
                  <a:pt x="408" y="612"/>
                </a:lnTo>
                <a:lnTo>
                  <a:pt x="402" y="612"/>
                </a:lnTo>
                <a:lnTo>
                  <a:pt x="402" y="618"/>
                </a:lnTo>
                <a:lnTo>
                  <a:pt x="402" y="624"/>
                </a:lnTo>
                <a:lnTo>
                  <a:pt x="396" y="630"/>
                </a:lnTo>
                <a:lnTo>
                  <a:pt x="390" y="630"/>
                </a:lnTo>
                <a:lnTo>
                  <a:pt x="384" y="630"/>
                </a:lnTo>
                <a:lnTo>
                  <a:pt x="390" y="630"/>
                </a:lnTo>
                <a:lnTo>
                  <a:pt x="384" y="630"/>
                </a:lnTo>
                <a:lnTo>
                  <a:pt x="378" y="630"/>
                </a:lnTo>
                <a:lnTo>
                  <a:pt x="378" y="636"/>
                </a:lnTo>
                <a:lnTo>
                  <a:pt x="372" y="630"/>
                </a:lnTo>
                <a:lnTo>
                  <a:pt x="366" y="630"/>
                </a:lnTo>
                <a:lnTo>
                  <a:pt x="360" y="630"/>
                </a:lnTo>
                <a:lnTo>
                  <a:pt x="354" y="630"/>
                </a:lnTo>
                <a:lnTo>
                  <a:pt x="354" y="636"/>
                </a:lnTo>
                <a:lnTo>
                  <a:pt x="348" y="636"/>
                </a:lnTo>
                <a:lnTo>
                  <a:pt x="348" y="642"/>
                </a:lnTo>
                <a:lnTo>
                  <a:pt x="342" y="642"/>
                </a:lnTo>
                <a:lnTo>
                  <a:pt x="342" y="648"/>
                </a:lnTo>
                <a:lnTo>
                  <a:pt x="342" y="654"/>
                </a:lnTo>
                <a:lnTo>
                  <a:pt x="336" y="654"/>
                </a:lnTo>
                <a:lnTo>
                  <a:pt x="336" y="660"/>
                </a:lnTo>
                <a:lnTo>
                  <a:pt x="336" y="666"/>
                </a:lnTo>
                <a:lnTo>
                  <a:pt x="330" y="672"/>
                </a:lnTo>
                <a:lnTo>
                  <a:pt x="330" y="678"/>
                </a:lnTo>
                <a:lnTo>
                  <a:pt x="330" y="684"/>
                </a:lnTo>
                <a:lnTo>
                  <a:pt x="330" y="690"/>
                </a:lnTo>
                <a:lnTo>
                  <a:pt x="324" y="696"/>
                </a:lnTo>
                <a:lnTo>
                  <a:pt x="324" y="702"/>
                </a:lnTo>
                <a:lnTo>
                  <a:pt x="318" y="702"/>
                </a:lnTo>
                <a:lnTo>
                  <a:pt x="318" y="708"/>
                </a:lnTo>
                <a:lnTo>
                  <a:pt x="312" y="708"/>
                </a:lnTo>
                <a:lnTo>
                  <a:pt x="312" y="702"/>
                </a:lnTo>
                <a:lnTo>
                  <a:pt x="306" y="702"/>
                </a:lnTo>
                <a:lnTo>
                  <a:pt x="300" y="702"/>
                </a:lnTo>
                <a:lnTo>
                  <a:pt x="294" y="696"/>
                </a:lnTo>
                <a:lnTo>
                  <a:pt x="288" y="696"/>
                </a:lnTo>
                <a:lnTo>
                  <a:pt x="282" y="690"/>
                </a:lnTo>
                <a:lnTo>
                  <a:pt x="288" y="684"/>
                </a:lnTo>
                <a:lnTo>
                  <a:pt x="294" y="684"/>
                </a:lnTo>
                <a:lnTo>
                  <a:pt x="294" y="678"/>
                </a:lnTo>
                <a:lnTo>
                  <a:pt x="300" y="678"/>
                </a:lnTo>
                <a:lnTo>
                  <a:pt x="294" y="678"/>
                </a:lnTo>
                <a:lnTo>
                  <a:pt x="294" y="672"/>
                </a:lnTo>
                <a:lnTo>
                  <a:pt x="294" y="666"/>
                </a:lnTo>
                <a:lnTo>
                  <a:pt x="288" y="666"/>
                </a:lnTo>
                <a:lnTo>
                  <a:pt x="288" y="672"/>
                </a:lnTo>
                <a:lnTo>
                  <a:pt x="294" y="672"/>
                </a:lnTo>
                <a:lnTo>
                  <a:pt x="288" y="678"/>
                </a:lnTo>
                <a:lnTo>
                  <a:pt x="282" y="684"/>
                </a:lnTo>
                <a:lnTo>
                  <a:pt x="282" y="678"/>
                </a:lnTo>
                <a:lnTo>
                  <a:pt x="276" y="678"/>
                </a:lnTo>
                <a:lnTo>
                  <a:pt x="282" y="684"/>
                </a:lnTo>
                <a:lnTo>
                  <a:pt x="282" y="690"/>
                </a:lnTo>
                <a:lnTo>
                  <a:pt x="282" y="696"/>
                </a:lnTo>
                <a:lnTo>
                  <a:pt x="288" y="702"/>
                </a:lnTo>
                <a:lnTo>
                  <a:pt x="294" y="708"/>
                </a:lnTo>
                <a:lnTo>
                  <a:pt x="294" y="714"/>
                </a:lnTo>
                <a:lnTo>
                  <a:pt x="288" y="714"/>
                </a:lnTo>
                <a:lnTo>
                  <a:pt x="282" y="714"/>
                </a:lnTo>
                <a:lnTo>
                  <a:pt x="276" y="714"/>
                </a:lnTo>
                <a:lnTo>
                  <a:pt x="270" y="714"/>
                </a:lnTo>
                <a:lnTo>
                  <a:pt x="276" y="714"/>
                </a:lnTo>
                <a:lnTo>
                  <a:pt x="270" y="714"/>
                </a:lnTo>
                <a:lnTo>
                  <a:pt x="264" y="714"/>
                </a:lnTo>
                <a:lnTo>
                  <a:pt x="258" y="714"/>
                </a:lnTo>
                <a:lnTo>
                  <a:pt x="252" y="714"/>
                </a:lnTo>
                <a:lnTo>
                  <a:pt x="246" y="714"/>
                </a:lnTo>
                <a:lnTo>
                  <a:pt x="240" y="714"/>
                </a:lnTo>
                <a:lnTo>
                  <a:pt x="240" y="708"/>
                </a:lnTo>
                <a:lnTo>
                  <a:pt x="234" y="708"/>
                </a:lnTo>
                <a:lnTo>
                  <a:pt x="228" y="708"/>
                </a:lnTo>
                <a:lnTo>
                  <a:pt x="222" y="702"/>
                </a:lnTo>
                <a:lnTo>
                  <a:pt x="216" y="702"/>
                </a:lnTo>
                <a:lnTo>
                  <a:pt x="210" y="702"/>
                </a:lnTo>
                <a:lnTo>
                  <a:pt x="198" y="696"/>
                </a:lnTo>
                <a:lnTo>
                  <a:pt x="192" y="690"/>
                </a:lnTo>
                <a:lnTo>
                  <a:pt x="186" y="690"/>
                </a:lnTo>
                <a:lnTo>
                  <a:pt x="180" y="684"/>
                </a:lnTo>
                <a:lnTo>
                  <a:pt x="174" y="684"/>
                </a:lnTo>
                <a:lnTo>
                  <a:pt x="168" y="684"/>
                </a:lnTo>
                <a:lnTo>
                  <a:pt x="168" y="678"/>
                </a:lnTo>
                <a:lnTo>
                  <a:pt x="156" y="672"/>
                </a:lnTo>
                <a:lnTo>
                  <a:pt x="150" y="660"/>
                </a:lnTo>
                <a:lnTo>
                  <a:pt x="126" y="630"/>
                </a:lnTo>
                <a:lnTo>
                  <a:pt x="126" y="624"/>
                </a:lnTo>
                <a:lnTo>
                  <a:pt x="126" y="618"/>
                </a:lnTo>
                <a:lnTo>
                  <a:pt x="126" y="624"/>
                </a:lnTo>
                <a:lnTo>
                  <a:pt x="126" y="618"/>
                </a:lnTo>
                <a:lnTo>
                  <a:pt x="126" y="612"/>
                </a:lnTo>
                <a:lnTo>
                  <a:pt x="126" y="606"/>
                </a:lnTo>
                <a:lnTo>
                  <a:pt x="126" y="600"/>
                </a:lnTo>
                <a:lnTo>
                  <a:pt x="132" y="594"/>
                </a:lnTo>
                <a:lnTo>
                  <a:pt x="138" y="594"/>
                </a:lnTo>
                <a:lnTo>
                  <a:pt x="144" y="588"/>
                </a:lnTo>
                <a:lnTo>
                  <a:pt x="144" y="582"/>
                </a:lnTo>
                <a:lnTo>
                  <a:pt x="150" y="582"/>
                </a:lnTo>
                <a:lnTo>
                  <a:pt x="150" y="576"/>
                </a:lnTo>
                <a:lnTo>
                  <a:pt x="156" y="576"/>
                </a:lnTo>
                <a:lnTo>
                  <a:pt x="156" y="582"/>
                </a:lnTo>
                <a:lnTo>
                  <a:pt x="156" y="576"/>
                </a:lnTo>
                <a:lnTo>
                  <a:pt x="162" y="576"/>
                </a:lnTo>
                <a:lnTo>
                  <a:pt x="168" y="576"/>
                </a:lnTo>
                <a:lnTo>
                  <a:pt x="174" y="576"/>
                </a:lnTo>
                <a:lnTo>
                  <a:pt x="180" y="582"/>
                </a:lnTo>
                <a:lnTo>
                  <a:pt x="192" y="582"/>
                </a:lnTo>
                <a:lnTo>
                  <a:pt x="198" y="582"/>
                </a:lnTo>
                <a:lnTo>
                  <a:pt x="204" y="582"/>
                </a:lnTo>
                <a:lnTo>
                  <a:pt x="210" y="582"/>
                </a:lnTo>
                <a:lnTo>
                  <a:pt x="216" y="588"/>
                </a:lnTo>
                <a:lnTo>
                  <a:pt x="222" y="588"/>
                </a:lnTo>
                <a:lnTo>
                  <a:pt x="234" y="588"/>
                </a:lnTo>
                <a:lnTo>
                  <a:pt x="240" y="588"/>
                </a:lnTo>
                <a:lnTo>
                  <a:pt x="240" y="594"/>
                </a:lnTo>
                <a:lnTo>
                  <a:pt x="240" y="588"/>
                </a:lnTo>
                <a:lnTo>
                  <a:pt x="246" y="588"/>
                </a:lnTo>
                <a:lnTo>
                  <a:pt x="246" y="594"/>
                </a:lnTo>
                <a:lnTo>
                  <a:pt x="252" y="588"/>
                </a:lnTo>
                <a:lnTo>
                  <a:pt x="258" y="588"/>
                </a:lnTo>
                <a:lnTo>
                  <a:pt x="258" y="594"/>
                </a:lnTo>
                <a:lnTo>
                  <a:pt x="252" y="594"/>
                </a:lnTo>
                <a:lnTo>
                  <a:pt x="252" y="600"/>
                </a:lnTo>
                <a:lnTo>
                  <a:pt x="246" y="600"/>
                </a:lnTo>
                <a:lnTo>
                  <a:pt x="246" y="606"/>
                </a:lnTo>
                <a:lnTo>
                  <a:pt x="246" y="600"/>
                </a:lnTo>
                <a:lnTo>
                  <a:pt x="252" y="600"/>
                </a:lnTo>
                <a:lnTo>
                  <a:pt x="258" y="594"/>
                </a:lnTo>
                <a:lnTo>
                  <a:pt x="264" y="594"/>
                </a:lnTo>
                <a:lnTo>
                  <a:pt x="264" y="588"/>
                </a:lnTo>
                <a:lnTo>
                  <a:pt x="270" y="588"/>
                </a:lnTo>
                <a:lnTo>
                  <a:pt x="270" y="582"/>
                </a:lnTo>
                <a:lnTo>
                  <a:pt x="270" y="576"/>
                </a:lnTo>
                <a:lnTo>
                  <a:pt x="276" y="576"/>
                </a:lnTo>
                <a:lnTo>
                  <a:pt x="276" y="570"/>
                </a:lnTo>
                <a:lnTo>
                  <a:pt x="276" y="564"/>
                </a:lnTo>
                <a:lnTo>
                  <a:pt x="270" y="558"/>
                </a:lnTo>
                <a:lnTo>
                  <a:pt x="276" y="558"/>
                </a:lnTo>
                <a:lnTo>
                  <a:pt x="276" y="552"/>
                </a:lnTo>
                <a:lnTo>
                  <a:pt x="276" y="558"/>
                </a:lnTo>
                <a:lnTo>
                  <a:pt x="282" y="558"/>
                </a:lnTo>
                <a:lnTo>
                  <a:pt x="288" y="558"/>
                </a:lnTo>
                <a:lnTo>
                  <a:pt x="294" y="558"/>
                </a:lnTo>
                <a:lnTo>
                  <a:pt x="300" y="558"/>
                </a:lnTo>
                <a:lnTo>
                  <a:pt x="306" y="558"/>
                </a:lnTo>
                <a:lnTo>
                  <a:pt x="312" y="558"/>
                </a:lnTo>
                <a:lnTo>
                  <a:pt x="318" y="558"/>
                </a:lnTo>
                <a:lnTo>
                  <a:pt x="318" y="564"/>
                </a:lnTo>
                <a:lnTo>
                  <a:pt x="324" y="564"/>
                </a:lnTo>
                <a:lnTo>
                  <a:pt x="324" y="570"/>
                </a:lnTo>
                <a:lnTo>
                  <a:pt x="330" y="570"/>
                </a:lnTo>
                <a:lnTo>
                  <a:pt x="336" y="570"/>
                </a:lnTo>
                <a:lnTo>
                  <a:pt x="342" y="570"/>
                </a:lnTo>
                <a:lnTo>
                  <a:pt x="348" y="570"/>
                </a:lnTo>
                <a:lnTo>
                  <a:pt x="354" y="570"/>
                </a:lnTo>
                <a:lnTo>
                  <a:pt x="360" y="570"/>
                </a:lnTo>
                <a:lnTo>
                  <a:pt x="366" y="570"/>
                </a:lnTo>
                <a:lnTo>
                  <a:pt x="360" y="570"/>
                </a:lnTo>
                <a:lnTo>
                  <a:pt x="360" y="564"/>
                </a:lnTo>
                <a:lnTo>
                  <a:pt x="354" y="564"/>
                </a:lnTo>
                <a:lnTo>
                  <a:pt x="348" y="564"/>
                </a:lnTo>
                <a:lnTo>
                  <a:pt x="342" y="564"/>
                </a:lnTo>
                <a:lnTo>
                  <a:pt x="342" y="570"/>
                </a:lnTo>
                <a:lnTo>
                  <a:pt x="336" y="564"/>
                </a:lnTo>
                <a:lnTo>
                  <a:pt x="336" y="570"/>
                </a:lnTo>
                <a:lnTo>
                  <a:pt x="336" y="564"/>
                </a:lnTo>
                <a:lnTo>
                  <a:pt x="330" y="564"/>
                </a:lnTo>
                <a:lnTo>
                  <a:pt x="324" y="558"/>
                </a:lnTo>
                <a:lnTo>
                  <a:pt x="324" y="564"/>
                </a:lnTo>
                <a:lnTo>
                  <a:pt x="324" y="558"/>
                </a:lnTo>
                <a:lnTo>
                  <a:pt x="318" y="558"/>
                </a:lnTo>
                <a:lnTo>
                  <a:pt x="312" y="552"/>
                </a:lnTo>
                <a:lnTo>
                  <a:pt x="312" y="558"/>
                </a:lnTo>
                <a:lnTo>
                  <a:pt x="312" y="552"/>
                </a:lnTo>
                <a:lnTo>
                  <a:pt x="306" y="552"/>
                </a:lnTo>
                <a:lnTo>
                  <a:pt x="300" y="546"/>
                </a:lnTo>
                <a:lnTo>
                  <a:pt x="294" y="546"/>
                </a:lnTo>
                <a:lnTo>
                  <a:pt x="288" y="546"/>
                </a:lnTo>
                <a:lnTo>
                  <a:pt x="282" y="546"/>
                </a:lnTo>
                <a:lnTo>
                  <a:pt x="276" y="546"/>
                </a:lnTo>
                <a:lnTo>
                  <a:pt x="276" y="552"/>
                </a:lnTo>
                <a:lnTo>
                  <a:pt x="270" y="552"/>
                </a:lnTo>
                <a:lnTo>
                  <a:pt x="270" y="558"/>
                </a:lnTo>
                <a:lnTo>
                  <a:pt x="270" y="564"/>
                </a:lnTo>
                <a:lnTo>
                  <a:pt x="264" y="570"/>
                </a:lnTo>
                <a:lnTo>
                  <a:pt x="258" y="576"/>
                </a:lnTo>
                <a:lnTo>
                  <a:pt x="258" y="582"/>
                </a:lnTo>
                <a:lnTo>
                  <a:pt x="252" y="582"/>
                </a:lnTo>
                <a:lnTo>
                  <a:pt x="246" y="582"/>
                </a:lnTo>
                <a:lnTo>
                  <a:pt x="240" y="582"/>
                </a:lnTo>
                <a:lnTo>
                  <a:pt x="234" y="576"/>
                </a:lnTo>
                <a:lnTo>
                  <a:pt x="228" y="576"/>
                </a:lnTo>
                <a:lnTo>
                  <a:pt x="222" y="576"/>
                </a:lnTo>
                <a:lnTo>
                  <a:pt x="222" y="570"/>
                </a:lnTo>
                <a:lnTo>
                  <a:pt x="216" y="564"/>
                </a:lnTo>
                <a:lnTo>
                  <a:pt x="216" y="558"/>
                </a:lnTo>
                <a:lnTo>
                  <a:pt x="210" y="558"/>
                </a:lnTo>
                <a:lnTo>
                  <a:pt x="210" y="552"/>
                </a:lnTo>
                <a:lnTo>
                  <a:pt x="216" y="552"/>
                </a:lnTo>
                <a:lnTo>
                  <a:pt x="216" y="546"/>
                </a:lnTo>
                <a:lnTo>
                  <a:pt x="216" y="540"/>
                </a:lnTo>
                <a:lnTo>
                  <a:pt x="222" y="534"/>
                </a:lnTo>
                <a:lnTo>
                  <a:pt x="222" y="528"/>
                </a:lnTo>
                <a:lnTo>
                  <a:pt x="228" y="522"/>
                </a:lnTo>
                <a:lnTo>
                  <a:pt x="228" y="516"/>
                </a:lnTo>
                <a:lnTo>
                  <a:pt x="228" y="510"/>
                </a:lnTo>
                <a:lnTo>
                  <a:pt x="234" y="510"/>
                </a:lnTo>
                <a:lnTo>
                  <a:pt x="240" y="516"/>
                </a:lnTo>
                <a:lnTo>
                  <a:pt x="246" y="522"/>
                </a:lnTo>
                <a:lnTo>
                  <a:pt x="246" y="516"/>
                </a:lnTo>
                <a:lnTo>
                  <a:pt x="240" y="516"/>
                </a:lnTo>
                <a:lnTo>
                  <a:pt x="240" y="510"/>
                </a:lnTo>
                <a:lnTo>
                  <a:pt x="234" y="510"/>
                </a:lnTo>
                <a:lnTo>
                  <a:pt x="234" y="504"/>
                </a:lnTo>
                <a:lnTo>
                  <a:pt x="228" y="504"/>
                </a:lnTo>
                <a:lnTo>
                  <a:pt x="222" y="504"/>
                </a:lnTo>
                <a:lnTo>
                  <a:pt x="222" y="498"/>
                </a:lnTo>
                <a:lnTo>
                  <a:pt x="222" y="504"/>
                </a:lnTo>
                <a:lnTo>
                  <a:pt x="222" y="510"/>
                </a:lnTo>
                <a:lnTo>
                  <a:pt x="222" y="516"/>
                </a:lnTo>
                <a:lnTo>
                  <a:pt x="216" y="522"/>
                </a:lnTo>
                <a:lnTo>
                  <a:pt x="216" y="528"/>
                </a:lnTo>
                <a:lnTo>
                  <a:pt x="210" y="528"/>
                </a:lnTo>
                <a:lnTo>
                  <a:pt x="216" y="528"/>
                </a:lnTo>
                <a:lnTo>
                  <a:pt x="210" y="534"/>
                </a:lnTo>
                <a:lnTo>
                  <a:pt x="210" y="540"/>
                </a:lnTo>
                <a:lnTo>
                  <a:pt x="210" y="546"/>
                </a:lnTo>
                <a:lnTo>
                  <a:pt x="204" y="546"/>
                </a:lnTo>
                <a:lnTo>
                  <a:pt x="204" y="552"/>
                </a:lnTo>
                <a:lnTo>
                  <a:pt x="204" y="558"/>
                </a:lnTo>
                <a:lnTo>
                  <a:pt x="204" y="564"/>
                </a:lnTo>
                <a:lnTo>
                  <a:pt x="198" y="570"/>
                </a:lnTo>
                <a:lnTo>
                  <a:pt x="192" y="564"/>
                </a:lnTo>
                <a:lnTo>
                  <a:pt x="186" y="564"/>
                </a:lnTo>
                <a:lnTo>
                  <a:pt x="180" y="564"/>
                </a:lnTo>
                <a:lnTo>
                  <a:pt x="174" y="564"/>
                </a:lnTo>
                <a:lnTo>
                  <a:pt x="168" y="564"/>
                </a:lnTo>
                <a:lnTo>
                  <a:pt x="162" y="564"/>
                </a:lnTo>
                <a:lnTo>
                  <a:pt x="156" y="570"/>
                </a:lnTo>
                <a:lnTo>
                  <a:pt x="150" y="570"/>
                </a:lnTo>
                <a:lnTo>
                  <a:pt x="150" y="564"/>
                </a:lnTo>
                <a:lnTo>
                  <a:pt x="150" y="570"/>
                </a:lnTo>
                <a:lnTo>
                  <a:pt x="150" y="576"/>
                </a:lnTo>
                <a:lnTo>
                  <a:pt x="144" y="576"/>
                </a:lnTo>
                <a:lnTo>
                  <a:pt x="138" y="576"/>
                </a:lnTo>
                <a:lnTo>
                  <a:pt x="132" y="582"/>
                </a:lnTo>
                <a:lnTo>
                  <a:pt x="126" y="582"/>
                </a:lnTo>
                <a:lnTo>
                  <a:pt x="120" y="582"/>
                </a:lnTo>
                <a:lnTo>
                  <a:pt x="114" y="576"/>
                </a:lnTo>
                <a:lnTo>
                  <a:pt x="108" y="564"/>
                </a:lnTo>
                <a:lnTo>
                  <a:pt x="102" y="558"/>
                </a:lnTo>
                <a:lnTo>
                  <a:pt x="96" y="552"/>
                </a:lnTo>
                <a:lnTo>
                  <a:pt x="90" y="546"/>
                </a:lnTo>
                <a:lnTo>
                  <a:pt x="90" y="540"/>
                </a:lnTo>
                <a:lnTo>
                  <a:pt x="84" y="534"/>
                </a:lnTo>
                <a:lnTo>
                  <a:pt x="84" y="528"/>
                </a:lnTo>
                <a:lnTo>
                  <a:pt x="78" y="522"/>
                </a:lnTo>
                <a:lnTo>
                  <a:pt x="78" y="516"/>
                </a:lnTo>
                <a:lnTo>
                  <a:pt x="72" y="510"/>
                </a:lnTo>
                <a:lnTo>
                  <a:pt x="66" y="504"/>
                </a:lnTo>
                <a:lnTo>
                  <a:pt x="66" y="498"/>
                </a:lnTo>
                <a:lnTo>
                  <a:pt x="66" y="492"/>
                </a:lnTo>
                <a:lnTo>
                  <a:pt x="66" y="486"/>
                </a:lnTo>
                <a:lnTo>
                  <a:pt x="66" y="480"/>
                </a:lnTo>
                <a:lnTo>
                  <a:pt x="66" y="474"/>
                </a:lnTo>
                <a:lnTo>
                  <a:pt x="72" y="474"/>
                </a:lnTo>
                <a:lnTo>
                  <a:pt x="72" y="468"/>
                </a:lnTo>
                <a:lnTo>
                  <a:pt x="78" y="462"/>
                </a:lnTo>
                <a:lnTo>
                  <a:pt x="78" y="456"/>
                </a:lnTo>
                <a:lnTo>
                  <a:pt x="84" y="456"/>
                </a:lnTo>
                <a:lnTo>
                  <a:pt x="84" y="450"/>
                </a:lnTo>
                <a:lnTo>
                  <a:pt x="84" y="444"/>
                </a:lnTo>
                <a:lnTo>
                  <a:pt x="90" y="444"/>
                </a:lnTo>
                <a:lnTo>
                  <a:pt x="96" y="444"/>
                </a:lnTo>
                <a:lnTo>
                  <a:pt x="96" y="450"/>
                </a:lnTo>
                <a:lnTo>
                  <a:pt x="102" y="450"/>
                </a:lnTo>
                <a:lnTo>
                  <a:pt x="108" y="450"/>
                </a:lnTo>
                <a:lnTo>
                  <a:pt x="108" y="456"/>
                </a:lnTo>
                <a:lnTo>
                  <a:pt x="108" y="462"/>
                </a:lnTo>
                <a:lnTo>
                  <a:pt x="114" y="462"/>
                </a:lnTo>
                <a:lnTo>
                  <a:pt x="114" y="468"/>
                </a:lnTo>
                <a:lnTo>
                  <a:pt x="114" y="474"/>
                </a:lnTo>
                <a:lnTo>
                  <a:pt x="114" y="480"/>
                </a:lnTo>
                <a:lnTo>
                  <a:pt x="114" y="486"/>
                </a:lnTo>
                <a:lnTo>
                  <a:pt x="120" y="486"/>
                </a:lnTo>
                <a:lnTo>
                  <a:pt x="126" y="486"/>
                </a:lnTo>
                <a:lnTo>
                  <a:pt x="132" y="486"/>
                </a:lnTo>
                <a:lnTo>
                  <a:pt x="126" y="480"/>
                </a:lnTo>
                <a:lnTo>
                  <a:pt x="120" y="480"/>
                </a:lnTo>
                <a:lnTo>
                  <a:pt x="114" y="480"/>
                </a:lnTo>
                <a:lnTo>
                  <a:pt x="120" y="480"/>
                </a:lnTo>
                <a:lnTo>
                  <a:pt x="120" y="474"/>
                </a:lnTo>
                <a:lnTo>
                  <a:pt x="120" y="468"/>
                </a:lnTo>
                <a:lnTo>
                  <a:pt x="114" y="468"/>
                </a:lnTo>
                <a:lnTo>
                  <a:pt x="114" y="462"/>
                </a:lnTo>
                <a:lnTo>
                  <a:pt x="114" y="456"/>
                </a:lnTo>
                <a:lnTo>
                  <a:pt x="108" y="456"/>
                </a:lnTo>
                <a:lnTo>
                  <a:pt x="108" y="450"/>
                </a:lnTo>
                <a:lnTo>
                  <a:pt x="108" y="444"/>
                </a:lnTo>
                <a:lnTo>
                  <a:pt x="114" y="438"/>
                </a:lnTo>
                <a:lnTo>
                  <a:pt x="120" y="438"/>
                </a:lnTo>
                <a:lnTo>
                  <a:pt x="120" y="432"/>
                </a:lnTo>
                <a:lnTo>
                  <a:pt x="132" y="426"/>
                </a:lnTo>
                <a:lnTo>
                  <a:pt x="138" y="420"/>
                </a:lnTo>
                <a:lnTo>
                  <a:pt x="144" y="420"/>
                </a:lnTo>
                <a:lnTo>
                  <a:pt x="144" y="414"/>
                </a:lnTo>
                <a:lnTo>
                  <a:pt x="144" y="420"/>
                </a:lnTo>
                <a:lnTo>
                  <a:pt x="150" y="420"/>
                </a:lnTo>
                <a:lnTo>
                  <a:pt x="150" y="414"/>
                </a:lnTo>
                <a:lnTo>
                  <a:pt x="156" y="414"/>
                </a:lnTo>
                <a:lnTo>
                  <a:pt x="162" y="414"/>
                </a:lnTo>
                <a:lnTo>
                  <a:pt x="162" y="408"/>
                </a:lnTo>
                <a:lnTo>
                  <a:pt x="168" y="408"/>
                </a:lnTo>
                <a:lnTo>
                  <a:pt x="174" y="414"/>
                </a:lnTo>
                <a:lnTo>
                  <a:pt x="174" y="408"/>
                </a:lnTo>
                <a:lnTo>
                  <a:pt x="180" y="402"/>
                </a:lnTo>
                <a:lnTo>
                  <a:pt x="180" y="396"/>
                </a:lnTo>
                <a:lnTo>
                  <a:pt x="186" y="396"/>
                </a:lnTo>
                <a:lnTo>
                  <a:pt x="186" y="390"/>
                </a:lnTo>
                <a:lnTo>
                  <a:pt x="192" y="390"/>
                </a:lnTo>
                <a:lnTo>
                  <a:pt x="198" y="384"/>
                </a:lnTo>
                <a:lnTo>
                  <a:pt x="204" y="384"/>
                </a:lnTo>
                <a:lnTo>
                  <a:pt x="204" y="390"/>
                </a:lnTo>
                <a:lnTo>
                  <a:pt x="204" y="384"/>
                </a:lnTo>
                <a:lnTo>
                  <a:pt x="210" y="378"/>
                </a:lnTo>
                <a:lnTo>
                  <a:pt x="210" y="372"/>
                </a:lnTo>
                <a:lnTo>
                  <a:pt x="216" y="372"/>
                </a:lnTo>
                <a:lnTo>
                  <a:pt x="222" y="366"/>
                </a:lnTo>
                <a:lnTo>
                  <a:pt x="228" y="360"/>
                </a:lnTo>
                <a:lnTo>
                  <a:pt x="234" y="360"/>
                </a:lnTo>
                <a:lnTo>
                  <a:pt x="234" y="354"/>
                </a:lnTo>
                <a:lnTo>
                  <a:pt x="240" y="354"/>
                </a:lnTo>
                <a:lnTo>
                  <a:pt x="246" y="348"/>
                </a:lnTo>
                <a:lnTo>
                  <a:pt x="252" y="348"/>
                </a:lnTo>
                <a:lnTo>
                  <a:pt x="252" y="342"/>
                </a:lnTo>
                <a:lnTo>
                  <a:pt x="246" y="342"/>
                </a:lnTo>
                <a:lnTo>
                  <a:pt x="240" y="342"/>
                </a:lnTo>
                <a:lnTo>
                  <a:pt x="240" y="348"/>
                </a:lnTo>
                <a:lnTo>
                  <a:pt x="240" y="342"/>
                </a:lnTo>
                <a:lnTo>
                  <a:pt x="234" y="342"/>
                </a:lnTo>
                <a:lnTo>
                  <a:pt x="228" y="336"/>
                </a:lnTo>
                <a:lnTo>
                  <a:pt x="222" y="336"/>
                </a:lnTo>
                <a:lnTo>
                  <a:pt x="216" y="336"/>
                </a:lnTo>
                <a:lnTo>
                  <a:pt x="222" y="324"/>
                </a:lnTo>
                <a:lnTo>
                  <a:pt x="222" y="318"/>
                </a:lnTo>
                <a:lnTo>
                  <a:pt x="222" y="312"/>
                </a:lnTo>
                <a:lnTo>
                  <a:pt x="234" y="318"/>
                </a:lnTo>
                <a:lnTo>
                  <a:pt x="246" y="318"/>
                </a:lnTo>
                <a:lnTo>
                  <a:pt x="258" y="318"/>
                </a:lnTo>
                <a:lnTo>
                  <a:pt x="270" y="312"/>
                </a:lnTo>
                <a:lnTo>
                  <a:pt x="276" y="312"/>
                </a:lnTo>
                <a:lnTo>
                  <a:pt x="288" y="324"/>
                </a:lnTo>
                <a:lnTo>
                  <a:pt x="294" y="318"/>
                </a:lnTo>
                <a:lnTo>
                  <a:pt x="294" y="312"/>
                </a:lnTo>
                <a:lnTo>
                  <a:pt x="294" y="306"/>
                </a:lnTo>
                <a:lnTo>
                  <a:pt x="300" y="300"/>
                </a:lnTo>
                <a:lnTo>
                  <a:pt x="306" y="306"/>
                </a:lnTo>
                <a:lnTo>
                  <a:pt x="312" y="318"/>
                </a:lnTo>
                <a:lnTo>
                  <a:pt x="318" y="312"/>
                </a:lnTo>
                <a:lnTo>
                  <a:pt x="324" y="312"/>
                </a:lnTo>
                <a:lnTo>
                  <a:pt x="330" y="312"/>
                </a:lnTo>
                <a:lnTo>
                  <a:pt x="342" y="306"/>
                </a:lnTo>
                <a:lnTo>
                  <a:pt x="348" y="306"/>
                </a:lnTo>
                <a:lnTo>
                  <a:pt x="348" y="312"/>
                </a:lnTo>
                <a:lnTo>
                  <a:pt x="348" y="318"/>
                </a:lnTo>
                <a:lnTo>
                  <a:pt x="354" y="318"/>
                </a:lnTo>
                <a:lnTo>
                  <a:pt x="354" y="324"/>
                </a:lnTo>
                <a:lnTo>
                  <a:pt x="354" y="330"/>
                </a:lnTo>
                <a:lnTo>
                  <a:pt x="360" y="330"/>
                </a:lnTo>
                <a:lnTo>
                  <a:pt x="360" y="336"/>
                </a:lnTo>
                <a:lnTo>
                  <a:pt x="366" y="330"/>
                </a:lnTo>
                <a:lnTo>
                  <a:pt x="378" y="324"/>
                </a:lnTo>
                <a:lnTo>
                  <a:pt x="384" y="324"/>
                </a:lnTo>
                <a:lnTo>
                  <a:pt x="384" y="318"/>
                </a:lnTo>
                <a:lnTo>
                  <a:pt x="390" y="312"/>
                </a:lnTo>
                <a:lnTo>
                  <a:pt x="396" y="312"/>
                </a:lnTo>
                <a:lnTo>
                  <a:pt x="396" y="306"/>
                </a:lnTo>
                <a:lnTo>
                  <a:pt x="402" y="306"/>
                </a:lnTo>
                <a:lnTo>
                  <a:pt x="408" y="306"/>
                </a:lnTo>
                <a:lnTo>
                  <a:pt x="414" y="300"/>
                </a:lnTo>
                <a:lnTo>
                  <a:pt x="420" y="300"/>
                </a:lnTo>
                <a:lnTo>
                  <a:pt x="426" y="300"/>
                </a:lnTo>
                <a:lnTo>
                  <a:pt x="432" y="300"/>
                </a:lnTo>
                <a:lnTo>
                  <a:pt x="444" y="288"/>
                </a:lnTo>
                <a:lnTo>
                  <a:pt x="450" y="294"/>
                </a:lnTo>
                <a:lnTo>
                  <a:pt x="468" y="300"/>
                </a:lnTo>
                <a:lnTo>
                  <a:pt x="498" y="312"/>
                </a:lnTo>
                <a:lnTo>
                  <a:pt x="504" y="324"/>
                </a:lnTo>
                <a:lnTo>
                  <a:pt x="516" y="330"/>
                </a:lnTo>
                <a:lnTo>
                  <a:pt x="516" y="336"/>
                </a:lnTo>
                <a:lnTo>
                  <a:pt x="540" y="342"/>
                </a:lnTo>
                <a:lnTo>
                  <a:pt x="558" y="372"/>
                </a:lnTo>
                <a:lnTo>
                  <a:pt x="594" y="384"/>
                </a:lnTo>
                <a:lnTo>
                  <a:pt x="606" y="402"/>
                </a:lnTo>
                <a:lnTo>
                  <a:pt x="600" y="420"/>
                </a:lnTo>
                <a:lnTo>
                  <a:pt x="588" y="444"/>
                </a:lnTo>
                <a:lnTo>
                  <a:pt x="588" y="450"/>
                </a:lnTo>
                <a:lnTo>
                  <a:pt x="588" y="456"/>
                </a:lnTo>
                <a:lnTo>
                  <a:pt x="594" y="456"/>
                </a:lnTo>
                <a:lnTo>
                  <a:pt x="594" y="462"/>
                </a:lnTo>
                <a:lnTo>
                  <a:pt x="594" y="468"/>
                </a:lnTo>
                <a:lnTo>
                  <a:pt x="594" y="474"/>
                </a:lnTo>
                <a:lnTo>
                  <a:pt x="600" y="474"/>
                </a:lnTo>
                <a:lnTo>
                  <a:pt x="606" y="480"/>
                </a:lnTo>
                <a:lnTo>
                  <a:pt x="606" y="486"/>
                </a:lnTo>
                <a:lnTo>
                  <a:pt x="612" y="486"/>
                </a:lnTo>
                <a:lnTo>
                  <a:pt x="618" y="486"/>
                </a:lnTo>
                <a:lnTo>
                  <a:pt x="624" y="486"/>
                </a:lnTo>
                <a:lnTo>
                  <a:pt x="636" y="486"/>
                </a:lnTo>
                <a:lnTo>
                  <a:pt x="642" y="486"/>
                </a:lnTo>
                <a:lnTo>
                  <a:pt x="648" y="480"/>
                </a:lnTo>
                <a:lnTo>
                  <a:pt x="654" y="474"/>
                </a:lnTo>
                <a:lnTo>
                  <a:pt x="660" y="468"/>
                </a:lnTo>
                <a:lnTo>
                  <a:pt x="666" y="468"/>
                </a:lnTo>
                <a:lnTo>
                  <a:pt x="684" y="468"/>
                </a:lnTo>
                <a:lnTo>
                  <a:pt x="696" y="468"/>
                </a:lnTo>
                <a:lnTo>
                  <a:pt x="696" y="462"/>
                </a:lnTo>
                <a:lnTo>
                  <a:pt x="702" y="456"/>
                </a:lnTo>
                <a:lnTo>
                  <a:pt x="708" y="450"/>
                </a:lnTo>
                <a:lnTo>
                  <a:pt x="714" y="450"/>
                </a:lnTo>
                <a:lnTo>
                  <a:pt x="720" y="450"/>
                </a:lnTo>
                <a:lnTo>
                  <a:pt x="720" y="438"/>
                </a:lnTo>
                <a:lnTo>
                  <a:pt x="726" y="432"/>
                </a:lnTo>
                <a:lnTo>
                  <a:pt x="738" y="420"/>
                </a:lnTo>
                <a:lnTo>
                  <a:pt x="744" y="420"/>
                </a:lnTo>
                <a:lnTo>
                  <a:pt x="750" y="414"/>
                </a:lnTo>
                <a:lnTo>
                  <a:pt x="762" y="408"/>
                </a:lnTo>
                <a:lnTo>
                  <a:pt x="768" y="408"/>
                </a:lnTo>
                <a:lnTo>
                  <a:pt x="768" y="402"/>
                </a:lnTo>
                <a:lnTo>
                  <a:pt x="780" y="396"/>
                </a:lnTo>
                <a:lnTo>
                  <a:pt x="786" y="396"/>
                </a:lnTo>
                <a:lnTo>
                  <a:pt x="786" y="390"/>
                </a:lnTo>
                <a:lnTo>
                  <a:pt x="792" y="384"/>
                </a:lnTo>
                <a:lnTo>
                  <a:pt x="792" y="378"/>
                </a:lnTo>
                <a:lnTo>
                  <a:pt x="798" y="366"/>
                </a:lnTo>
                <a:lnTo>
                  <a:pt x="804" y="360"/>
                </a:lnTo>
                <a:lnTo>
                  <a:pt x="816" y="342"/>
                </a:lnTo>
                <a:lnTo>
                  <a:pt x="816" y="312"/>
                </a:lnTo>
                <a:lnTo>
                  <a:pt x="804" y="300"/>
                </a:lnTo>
                <a:lnTo>
                  <a:pt x="798" y="288"/>
                </a:lnTo>
                <a:lnTo>
                  <a:pt x="762" y="264"/>
                </a:lnTo>
                <a:lnTo>
                  <a:pt x="738" y="234"/>
                </a:lnTo>
                <a:lnTo>
                  <a:pt x="738" y="222"/>
                </a:lnTo>
                <a:lnTo>
                  <a:pt x="744" y="210"/>
                </a:lnTo>
                <a:lnTo>
                  <a:pt x="732" y="174"/>
                </a:lnTo>
                <a:lnTo>
                  <a:pt x="714" y="156"/>
                </a:lnTo>
                <a:lnTo>
                  <a:pt x="708" y="144"/>
                </a:lnTo>
                <a:lnTo>
                  <a:pt x="714" y="126"/>
                </a:lnTo>
                <a:lnTo>
                  <a:pt x="720" y="114"/>
                </a:lnTo>
                <a:lnTo>
                  <a:pt x="732" y="102"/>
                </a:lnTo>
                <a:lnTo>
                  <a:pt x="744" y="102"/>
                </a:lnTo>
                <a:lnTo>
                  <a:pt x="762" y="108"/>
                </a:lnTo>
                <a:lnTo>
                  <a:pt x="774" y="114"/>
                </a:lnTo>
                <a:lnTo>
                  <a:pt x="780" y="138"/>
                </a:lnTo>
                <a:lnTo>
                  <a:pt x="786" y="144"/>
                </a:lnTo>
                <a:lnTo>
                  <a:pt x="798" y="138"/>
                </a:lnTo>
                <a:lnTo>
                  <a:pt x="804" y="132"/>
                </a:lnTo>
                <a:lnTo>
                  <a:pt x="816" y="120"/>
                </a:lnTo>
                <a:lnTo>
                  <a:pt x="816" y="108"/>
                </a:lnTo>
                <a:lnTo>
                  <a:pt x="828" y="102"/>
                </a:lnTo>
                <a:lnTo>
                  <a:pt x="828" y="96"/>
                </a:lnTo>
                <a:lnTo>
                  <a:pt x="840" y="96"/>
                </a:lnTo>
                <a:lnTo>
                  <a:pt x="840" y="84"/>
                </a:lnTo>
                <a:lnTo>
                  <a:pt x="852" y="90"/>
                </a:lnTo>
                <a:lnTo>
                  <a:pt x="852" y="96"/>
                </a:lnTo>
                <a:lnTo>
                  <a:pt x="870" y="90"/>
                </a:lnTo>
                <a:lnTo>
                  <a:pt x="894" y="78"/>
                </a:lnTo>
                <a:lnTo>
                  <a:pt x="912" y="78"/>
                </a:lnTo>
                <a:lnTo>
                  <a:pt x="942" y="66"/>
                </a:lnTo>
                <a:lnTo>
                  <a:pt x="942" y="60"/>
                </a:lnTo>
                <a:lnTo>
                  <a:pt x="954" y="48"/>
                </a:lnTo>
                <a:lnTo>
                  <a:pt x="966" y="30"/>
                </a:lnTo>
                <a:lnTo>
                  <a:pt x="978" y="30"/>
                </a:lnTo>
                <a:lnTo>
                  <a:pt x="978" y="24"/>
                </a:lnTo>
                <a:lnTo>
                  <a:pt x="984" y="12"/>
                </a:lnTo>
                <a:lnTo>
                  <a:pt x="990" y="12"/>
                </a:lnTo>
                <a:lnTo>
                  <a:pt x="996" y="12"/>
                </a:lnTo>
                <a:lnTo>
                  <a:pt x="1014" y="6"/>
                </a:lnTo>
                <a:lnTo>
                  <a:pt x="1026" y="6"/>
                </a:lnTo>
                <a:lnTo>
                  <a:pt x="1044" y="6"/>
                </a:lnTo>
                <a:lnTo>
                  <a:pt x="1050" y="6"/>
                </a:lnTo>
                <a:lnTo>
                  <a:pt x="1056" y="6"/>
                </a:lnTo>
                <a:lnTo>
                  <a:pt x="1062" y="6"/>
                </a:lnTo>
                <a:lnTo>
                  <a:pt x="1068" y="6"/>
                </a:lnTo>
                <a:lnTo>
                  <a:pt x="1074" y="6"/>
                </a:lnTo>
                <a:lnTo>
                  <a:pt x="1080" y="6"/>
                </a:lnTo>
                <a:lnTo>
                  <a:pt x="1086" y="0"/>
                </a:lnTo>
                <a:lnTo>
                  <a:pt x="1092" y="30"/>
                </a:lnTo>
                <a:lnTo>
                  <a:pt x="1098" y="60"/>
                </a:lnTo>
                <a:lnTo>
                  <a:pt x="1110" y="84"/>
                </a:lnTo>
                <a:lnTo>
                  <a:pt x="1122" y="114"/>
                </a:lnTo>
                <a:lnTo>
                  <a:pt x="1128" y="144"/>
                </a:lnTo>
                <a:lnTo>
                  <a:pt x="1122" y="156"/>
                </a:lnTo>
                <a:lnTo>
                  <a:pt x="1128" y="168"/>
                </a:lnTo>
                <a:lnTo>
                  <a:pt x="1134" y="186"/>
                </a:lnTo>
                <a:lnTo>
                  <a:pt x="1140" y="204"/>
                </a:lnTo>
                <a:lnTo>
                  <a:pt x="1146" y="210"/>
                </a:lnTo>
                <a:lnTo>
                  <a:pt x="1146" y="216"/>
                </a:lnTo>
                <a:lnTo>
                  <a:pt x="1146" y="228"/>
                </a:lnTo>
                <a:lnTo>
                  <a:pt x="1146" y="234"/>
                </a:lnTo>
                <a:lnTo>
                  <a:pt x="1140" y="246"/>
                </a:lnTo>
                <a:lnTo>
                  <a:pt x="1128" y="258"/>
                </a:lnTo>
                <a:lnTo>
                  <a:pt x="1116" y="264"/>
                </a:lnTo>
                <a:lnTo>
                  <a:pt x="1110" y="276"/>
                </a:lnTo>
                <a:lnTo>
                  <a:pt x="1116" y="288"/>
                </a:lnTo>
                <a:lnTo>
                  <a:pt x="1122" y="300"/>
                </a:lnTo>
                <a:lnTo>
                  <a:pt x="1122" y="312"/>
                </a:lnTo>
                <a:lnTo>
                  <a:pt x="1116" y="324"/>
                </a:lnTo>
                <a:lnTo>
                  <a:pt x="1104" y="336"/>
                </a:lnTo>
                <a:lnTo>
                  <a:pt x="1104" y="354"/>
                </a:lnTo>
                <a:lnTo>
                  <a:pt x="1098" y="372"/>
                </a:lnTo>
                <a:lnTo>
                  <a:pt x="1092" y="384"/>
                </a:lnTo>
                <a:lnTo>
                  <a:pt x="1086" y="390"/>
                </a:lnTo>
                <a:lnTo>
                  <a:pt x="1086" y="402"/>
                </a:lnTo>
                <a:lnTo>
                  <a:pt x="1080" y="414"/>
                </a:lnTo>
                <a:lnTo>
                  <a:pt x="1074" y="426"/>
                </a:lnTo>
                <a:lnTo>
                  <a:pt x="1074" y="450"/>
                </a:lnTo>
                <a:lnTo>
                  <a:pt x="1074" y="462"/>
                </a:lnTo>
                <a:lnTo>
                  <a:pt x="1068" y="474"/>
                </a:lnTo>
                <a:lnTo>
                  <a:pt x="1062" y="486"/>
                </a:lnTo>
                <a:lnTo>
                  <a:pt x="1056" y="498"/>
                </a:lnTo>
                <a:close/>
                <a:moveTo>
                  <a:pt x="186" y="378"/>
                </a:moveTo>
                <a:lnTo>
                  <a:pt x="186" y="384"/>
                </a:lnTo>
                <a:lnTo>
                  <a:pt x="180" y="390"/>
                </a:lnTo>
                <a:lnTo>
                  <a:pt x="174" y="396"/>
                </a:lnTo>
                <a:lnTo>
                  <a:pt x="168" y="396"/>
                </a:lnTo>
                <a:lnTo>
                  <a:pt x="162" y="396"/>
                </a:lnTo>
                <a:lnTo>
                  <a:pt x="156" y="396"/>
                </a:lnTo>
                <a:lnTo>
                  <a:pt x="156" y="402"/>
                </a:lnTo>
                <a:lnTo>
                  <a:pt x="150" y="402"/>
                </a:lnTo>
                <a:lnTo>
                  <a:pt x="144" y="402"/>
                </a:lnTo>
                <a:lnTo>
                  <a:pt x="144" y="408"/>
                </a:lnTo>
                <a:lnTo>
                  <a:pt x="138" y="408"/>
                </a:lnTo>
                <a:lnTo>
                  <a:pt x="132" y="414"/>
                </a:lnTo>
                <a:lnTo>
                  <a:pt x="126" y="414"/>
                </a:lnTo>
                <a:lnTo>
                  <a:pt x="120" y="414"/>
                </a:lnTo>
                <a:lnTo>
                  <a:pt x="120" y="420"/>
                </a:lnTo>
                <a:lnTo>
                  <a:pt x="114" y="426"/>
                </a:lnTo>
                <a:lnTo>
                  <a:pt x="108" y="426"/>
                </a:lnTo>
                <a:lnTo>
                  <a:pt x="102" y="426"/>
                </a:lnTo>
                <a:lnTo>
                  <a:pt x="102" y="432"/>
                </a:lnTo>
                <a:lnTo>
                  <a:pt x="96" y="432"/>
                </a:lnTo>
                <a:lnTo>
                  <a:pt x="90" y="432"/>
                </a:lnTo>
                <a:lnTo>
                  <a:pt x="84" y="438"/>
                </a:lnTo>
                <a:lnTo>
                  <a:pt x="78" y="438"/>
                </a:lnTo>
                <a:lnTo>
                  <a:pt x="78" y="444"/>
                </a:lnTo>
                <a:lnTo>
                  <a:pt x="72" y="444"/>
                </a:lnTo>
                <a:lnTo>
                  <a:pt x="72" y="450"/>
                </a:lnTo>
                <a:lnTo>
                  <a:pt x="66" y="456"/>
                </a:lnTo>
                <a:lnTo>
                  <a:pt x="66" y="462"/>
                </a:lnTo>
                <a:lnTo>
                  <a:pt x="60" y="462"/>
                </a:lnTo>
                <a:lnTo>
                  <a:pt x="60" y="468"/>
                </a:lnTo>
                <a:lnTo>
                  <a:pt x="60" y="474"/>
                </a:lnTo>
                <a:lnTo>
                  <a:pt x="54" y="474"/>
                </a:lnTo>
                <a:lnTo>
                  <a:pt x="48" y="468"/>
                </a:lnTo>
                <a:lnTo>
                  <a:pt x="42" y="468"/>
                </a:lnTo>
                <a:lnTo>
                  <a:pt x="42" y="462"/>
                </a:lnTo>
                <a:lnTo>
                  <a:pt x="42" y="456"/>
                </a:lnTo>
                <a:lnTo>
                  <a:pt x="36" y="456"/>
                </a:lnTo>
                <a:lnTo>
                  <a:pt x="36" y="450"/>
                </a:lnTo>
                <a:lnTo>
                  <a:pt x="36" y="444"/>
                </a:lnTo>
                <a:lnTo>
                  <a:pt x="30" y="444"/>
                </a:lnTo>
                <a:lnTo>
                  <a:pt x="30" y="438"/>
                </a:lnTo>
                <a:lnTo>
                  <a:pt x="30" y="432"/>
                </a:lnTo>
                <a:lnTo>
                  <a:pt x="24" y="432"/>
                </a:lnTo>
                <a:lnTo>
                  <a:pt x="24" y="426"/>
                </a:lnTo>
                <a:lnTo>
                  <a:pt x="18" y="420"/>
                </a:lnTo>
                <a:lnTo>
                  <a:pt x="18" y="414"/>
                </a:lnTo>
                <a:lnTo>
                  <a:pt x="12" y="414"/>
                </a:lnTo>
                <a:lnTo>
                  <a:pt x="12" y="408"/>
                </a:lnTo>
                <a:lnTo>
                  <a:pt x="6" y="402"/>
                </a:lnTo>
                <a:lnTo>
                  <a:pt x="6" y="396"/>
                </a:lnTo>
                <a:lnTo>
                  <a:pt x="0" y="396"/>
                </a:lnTo>
                <a:lnTo>
                  <a:pt x="6" y="384"/>
                </a:lnTo>
                <a:lnTo>
                  <a:pt x="18" y="372"/>
                </a:lnTo>
                <a:lnTo>
                  <a:pt x="30" y="348"/>
                </a:lnTo>
                <a:lnTo>
                  <a:pt x="30" y="342"/>
                </a:lnTo>
                <a:lnTo>
                  <a:pt x="42" y="330"/>
                </a:lnTo>
                <a:lnTo>
                  <a:pt x="42" y="324"/>
                </a:lnTo>
                <a:lnTo>
                  <a:pt x="48" y="318"/>
                </a:lnTo>
                <a:lnTo>
                  <a:pt x="54" y="306"/>
                </a:lnTo>
                <a:lnTo>
                  <a:pt x="54" y="294"/>
                </a:lnTo>
                <a:lnTo>
                  <a:pt x="60" y="282"/>
                </a:lnTo>
                <a:lnTo>
                  <a:pt x="60" y="276"/>
                </a:lnTo>
                <a:lnTo>
                  <a:pt x="60" y="270"/>
                </a:lnTo>
                <a:lnTo>
                  <a:pt x="66" y="270"/>
                </a:lnTo>
                <a:lnTo>
                  <a:pt x="72" y="258"/>
                </a:lnTo>
                <a:lnTo>
                  <a:pt x="84" y="246"/>
                </a:lnTo>
                <a:lnTo>
                  <a:pt x="90" y="234"/>
                </a:lnTo>
                <a:lnTo>
                  <a:pt x="96" y="234"/>
                </a:lnTo>
                <a:lnTo>
                  <a:pt x="96" y="228"/>
                </a:lnTo>
                <a:lnTo>
                  <a:pt x="102" y="222"/>
                </a:lnTo>
                <a:lnTo>
                  <a:pt x="102" y="228"/>
                </a:lnTo>
                <a:lnTo>
                  <a:pt x="102" y="234"/>
                </a:lnTo>
                <a:lnTo>
                  <a:pt x="108" y="234"/>
                </a:lnTo>
                <a:lnTo>
                  <a:pt x="108" y="228"/>
                </a:lnTo>
                <a:lnTo>
                  <a:pt x="114" y="228"/>
                </a:lnTo>
                <a:lnTo>
                  <a:pt x="114" y="234"/>
                </a:lnTo>
                <a:lnTo>
                  <a:pt x="120" y="228"/>
                </a:lnTo>
                <a:lnTo>
                  <a:pt x="120" y="222"/>
                </a:lnTo>
                <a:lnTo>
                  <a:pt x="126" y="222"/>
                </a:lnTo>
                <a:lnTo>
                  <a:pt x="132" y="222"/>
                </a:lnTo>
                <a:lnTo>
                  <a:pt x="126" y="228"/>
                </a:lnTo>
                <a:lnTo>
                  <a:pt x="132" y="228"/>
                </a:lnTo>
                <a:lnTo>
                  <a:pt x="138" y="228"/>
                </a:lnTo>
                <a:lnTo>
                  <a:pt x="138" y="234"/>
                </a:lnTo>
                <a:lnTo>
                  <a:pt x="144" y="234"/>
                </a:lnTo>
                <a:lnTo>
                  <a:pt x="144" y="228"/>
                </a:lnTo>
                <a:lnTo>
                  <a:pt x="150" y="228"/>
                </a:lnTo>
                <a:lnTo>
                  <a:pt x="156" y="228"/>
                </a:lnTo>
                <a:lnTo>
                  <a:pt x="156" y="234"/>
                </a:lnTo>
                <a:lnTo>
                  <a:pt x="150" y="234"/>
                </a:lnTo>
                <a:lnTo>
                  <a:pt x="156" y="240"/>
                </a:lnTo>
                <a:lnTo>
                  <a:pt x="156" y="246"/>
                </a:lnTo>
                <a:lnTo>
                  <a:pt x="162" y="240"/>
                </a:lnTo>
                <a:lnTo>
                  <a:pt x="162" y="246"/>
                </a:lnTo>
                <a:lnTo>
                  <a:pt x="162" y="258"/>
                </a:lnTo>
                <a:lnTo>
                  <a:pt x="162" y="264"/>
                </a:lnTo>
                <a:lnTo>
                  <a:pt x="156" y="270"/>
                </a:lnTo>
                <a:lnTo>
                  <a:pt x="162" y="270"/>
                </a:lnTo>
                <a:lnTo>
                  <a:pt x="162" y="282"/>
                </a:lnTo>
                <a:lnTo>
                  <a:pt x="168" y="282"/>
                </a:lnTo>
                <a:lnTo>
                  <a:pt x="174" y="282"/>
                </a:lnTo>
                <a:lnTo>
                  <a:pt x="186" y="288"/>
                </a:lnTo>
                <a:lnTo>
                  <a:pt x="186" y="294"/>
                </a:lnTo>
                <a:lnTo>
                  <a:pt x="180" y="300"/>
                </a:lnTo>
                <a:lnTo>
                  <a:pt x="174" y="318"/>
                </a:lnTo>
                <a:lnTo>
                  <a:pt x="174" y="324"/>
                </a:lnTo>
                <a:lnTo>
                  <a:pt x="168" y="330"/>
                </a:lnTo>
                <a:lnTo>
                  <a:pt x="168" y="342"/>
                </a:lnTo>
                <a:lnTo>
                  <a:pt x="168" y="348"/>
                </a:lnTo>
                <a:lnTo>
                  <a:pt x="174" y="354"/>
                </a:lnTo>
                <a:lnTo>
                  <a:pt x="174" y="360"/>
                </a:lnTo>
                <a:lnTo>
                  <a:pt x="180" y="366"/>
                </a:lnTo>
                <a:lnTo>
                  <a:pt x="186" y="378"/>
                </a:lnTo>
                <a:close/>
              </a:path>
            </a:pathLst>
          </a:custGeom>
          <a:solidFill>
            <a:srgbClr val="33CC33"/>
          </a:solidFill>
          <a:ln w="9525">
            <a:solidFill>
              <a:schemeClr val="bg1"/>
            </a:solidFill>
            <a:round/>
            <a:headEnd/>
            <a:tailEnd/>
          </a:ln>
        </p:spPr>
        <p:txBody>
          <a:bodyPr/>
          <a:lstStyle/>
          <a:p>
            <a:endParaRPr lang="en-GB"/>
          </a:p>
        </p:txBody>
      </p:sp>
      <p:sp>
        <p:nvSpPr>
          <p:cNvPr id="18462" name="Freeform 24"/>
          <p:cNvSpPr>
            <a:spLocks/>
          </p:cNvSpPr>
          <p:nvPr/>
        </p:nvSpPr>
        <p:spPr bwMode="gray">
          <a:xfrm>
            <a:off x="2597150" y="4754563"/>
            <a:ext cx="854075" cy="942975"/>
          </a:xfrm>
          <a:custGeom>
            <a:avLst/>
            <a:gdLst>
              <a:gd name="T0" fmla="*/ 70473 w 1092"/>
              <a:gd name="T1" fmla="*/ 48328 h 1170"/>
              <a:gd name="T2" fmla="*/ 64992 w 1092"/>
              <a:gd name="T3" fmla="*/ 49939 h 1170"/>
              <a:gd name="T4" fmla="*/ 56378 w 1092"/>
              <a:gd name="T5" fmla="*/ 54771 h 1170"/>
              <a:gd name="T6" fmla="*/ 53246 w 1092"/>
              <a:gd name="T7" fmla="*/ 57188 h 1170"/>
              <a:gd name="T8" fmla="*/ 47765 w 1092"/>
              <a:gd name="T9" fmla="*/ 55577 h 1170"/>
              <a:gd name="T10" fmla="*/ 50114 w 1092"/>
              <a:gd name="T11" fmla="*/ 66048 h 1170"/>
              <a:gd name="T12" fmla="*/ 52463 w 1092"/>
              <a:gd name="T13" fmla="*/ 74908 h 1170"/>
              <a:gd name="T14" fmla="*/ 48548 w 1092"/>
              <a:gd name="T15" fmla="*/ 77324 h 1170"/>
              <a:gd name="T16" fmla="*/ 46199 w 1092"/>
              <a:gd name="T17" fmla="*/ 79741 h 1170"/>
              <a:gd name="T18" fmla="*/ 41501 w 1092"/>
              <a:gd name="T19" fmla="*/ 81352 h 1170"/>
              <a:gd name="T20" fmla="*/ 39152 w 1092"/>
              <a:gd name="T21" fmla="*/ 80546 h 1170"/>
              <a:gd name="T22" fmla="*/ 39152 w 1092"/>
              <a:gd name="T23" fmla="*/ 74908 h 1170"/>
              <a:gd name="T24" fmla="*/ 28972 w 1092"/>
              <a:gd name="T25" fmla="*/ 68464 h 1170"/>
              <a:gd name="T26" fmla="*/ 25057 w 1092"/>
              <a:gd name="T27" fmla="*/ 69270 h 1170"/>
              <a:gd name="T28" fmla="*/ 22708 w 1092"/>
              <a:gd name="T29" fmla="*/ 70881 h 1170"/>
              <a:gd name="T30" fmla="*/ 21142 w 1092"/>
              <a:gd name="T31" fmla="*/ 69270 h 1170"/>
              <a:gd name="T32" fmla="*/ 18010 w 1092"/>
              <a:gd name="T33" fmla="*/ 70075 h 1170"/>
              <a:gd name="T34" fmla="*/ 13312 w 1092"/>
              <a:gd name="T35" fmla="*/ 70075 h 1170"/>
              <a:gd name="T36" fmla="*/ 14095 w 1092"/>
              <a:gd name="T37" fmla="*/ 71686 h 1170"/>
              <a:gd name="T38" fmla="*/ 12528 w 1092"/>
              <a:gd name="T39" fmla="*/ 74102 h 1170"/>
              <a:gd name="T40" fmla="*/ 9396 w 1092"/>
              <a:gd name="T41" fmla="*/ 71686 h 1170"/>
              <a:gd name="T42" fmla="*/ 10179 w 1092"/>
              <a:gd name="T43" fmla="*/ 67659 h 1170"/>
              <a:gd name="T44" fmla="*/ 9396 w 1092"/>
              <a:gd name="T45" fmla="*/ 64437 h 1170"/>
              <a:gd name="T46" fmla="*/ 7830 w 1092"/>
              <a:gd name="T47" fmla="*/ 64437 h 1170"/>
              <a:gd name="T48" fmla="*/ 6264 w 1092"/>
              <a:gd name="T49" fmla="*/ 63631 h 1170"/>
              <a:gd name="T50" fmla="*/ 4698 w 1092"/>
              <a:gd name="T51" fmla="*/ 62826 h 1170"/>
              <a:gd name="T52" fmla="*/ 4698 w 1092"/>
              <a:gd name="T53" fmla="*/ 62020 h 1170"/>
              <a:gd name="T54" fmla="*/ 3132 w 1092"/>
              <a:gd name="T55" fmla="*/ 60410 h 1170"/>
              <a:gd name="T56" fmla="*/ 0 w 1092"/>
              <a:gd name="T57" fmla="*/ 57993 h 1170"/>
              <a:gd name="T58" fmla="*/ 0 w 1092"/>
              <a:gd name="T59" fmla="*/ 55577 h 1170"/>
              <a:gd name="T60" fmla="*/ 2349 w 1092"/>
              <a:gd name="T61" fmla="*/ 53966 h 1170"/>
              <a:gd name="T62" fmla="*/ 4698 w 1092"/>
              <a:gd name="T63" fmla="*/ 49939 h 1170"/>
              <a:gd name="T64" fmla="*/ 6264 w 1092"/>
              <a:gd name="T65" fmla="*/ 46717 h 1170"/>
              <a:gd name="T66" fmla="*/ 3915 w 1092"/>
              <a:gd name="T67" fmla="*/ 43495 h 1170"/>
              <a:gd name="T68" fmla="*/ 4698 w 1092"/>
              <a:gd name="T69" fmla="*/ 40273 h 1170"/>
              <a:gd name="T70" fmla="*/ 6264 w 1092"/>
              <a:gd name="T71" fmla="*/ 37051 h 1170"/>
              <a:gd name="T72" fmla="*/ 7830 w 1092"/>
              <a:gd name="T73" fmla="*/ 34635 h 1170"/>
              <a:gd name="T74" fmla="*/ 10962 w 1092"/>
              <a:gd name="T75" fmla="*/ 30608 h 1170"/>
              <a:gd name="T76" fmla="*/ 24274 w 1092"/>
              <a:gd name="T77" fmla="*/ 32218 h 1170"/>
              <a:gd name="T78" fmla="*/ 23491 w 1092"/>
              <a:gd name="T79" fmla="*/ 37051 h 1170"/>
              <a:gd name="T80" fmla="*/ 28189 w 1092"/>
              <a:gd name="T81" fmla="*/ 37857 h 1170"/>
              <a:gd name="T82" fmla="*/ 32104 w 1092"/>
              <a:gd name="T83" fmla="*/ 35440 h 1170"/>
              <a:gd name="T84" fmla="*/ 33670 w 1092"/>
              <a:gd name="T85" fmla="*/ 31413 h 1170"/>
              <a:gd name="T86" fmla="*/ 34453 w 1092"/>
              <a:gd name="T87" fmla="*/ 28191 h 1170"/>
              <a:gd name="T88" fmla="*/ 34453 w 1092"/>
              <a:gd name="T89" fmla="*/ 23358 h 1170"/>
              <a:gd name="T90" fmla="*/ 37585 w 1092"/>
              <a:gd name="T91" fmla="*/ 19331 h 1170"/>
              <a:gd name="T92" fmla="*/ 38369 w 1092"/>
              <a:gd name="T93" fmla="*/ 15304 h 1170"/>
              <a:gd name="T94" fmla="*/ 39935 w 1092"/>
              <a:gd name="T95" fmla="*/ 11276 h 1170"/>
              <a:gd name="T96" fmla="*/ 42284 w 1092"/>
              <a:gd name="T97" fmla="*/ 8055 h 1170"/>
              <a:gd name="T98" fmla="*/ 41501 w 1092"/>
              <a:gd name="T99" fmla="*/ 5638 h 1170"/>
              <a:gd name="T100" fmla="*/ 43067 w 1092"/>
              <a:gd name="T101" fmla="*/ 2416 h 1170"/>
              <a:gd name="T102" fmla="*/ 45416 w 1092"/>
              <a:gd name="T103" fmla="*/ 0 h 1170"/>
              <a:gd name="T104" fmla="*/ 50897 w 1092"/>
              <a:gd name="T105" fmla="*/ 1611 h 1170"/>
              <a:gd name="T106" fmla="*/ 47765 w 1092"/>
              <a:gd name="T107" fmla="*/ 4833 h 1170"/>
              <a:gd name="T108" fmla="*/ 52463 w 1092"/>
              <a:gd name="T109" fmla="*/ 5638 h 1170"/>
              <a:gd name="T110" fmla="*/ 55595 w 1092"/>
              <a:gd name="T111" fmla="*/ 4833 h 1170"/>
              <a:gd name="T112" fmla="*/ 58727 w 1092"/>
              <a:gd name="T113" fmla="*/ 7249 h 1170"/>
              <a:gd name="T114" fmla="*/ 64209 w 1092"/>
              <a:gd name="T115" fmla="*/ 9666 h 1170"/>
              <a:gd name="T116" fmla="*/ 65775 w 1092"/>
              <a:gd name="T117" fmla="*/ 13693 h 1170"/>
              <a:gd name="T118" fmla="*/ 73605 w 1092"/>
              <a:gd name="T119" fmla="*/ 18526 h 1170"/>
              <a:gd name="T120" fmla="*/ 73605 w 1092"/>
              <a:gd name="T121" fmla="*/ 27386 h 1170"/>
              <a:gd name="T122" fmla="*/ 70473 w 1092"/>
              <a:gd name="T123" fmla="*/ 33024 h 1170"/>
              <a:gd name="T124" fmla="*/ 71256 w 1092"/>
              <a:gd name="T125" fmla="*/ 41078 h 11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2"/>
              <a:gd name="T190" fmla="*/ 0 h 1170"/>
              <a:gd name="T191" fmla="*/ 1092 w 1092"/>
              <a:gd name="T192" fmla="*/ 1170 h 11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2" h="1170">
                <a:moveTo>
                  <a:pt x="1056" y="654"/>
                </a:moveTo>
                <a:lnTo>
                  <a:pt x="1062" y="684"/>
                </a:lnTo>
                <a:lnTo>
                  <a:pt x="1056" y="690"/>
                </a:lnTo>
                <a:lnTo>
                  <a:pt x="1050" y="690"/>
                </a:lnTo>
                <a:lnTo>
                  <a:pt x="1044" y="690"/>
                </a:lnTo>
                <a:lnTo>
                  <a:pt x="1038" y="690"/>
                </a:lnTo>
                <a:lnTo>
                  <a:pt x="1032" y="690"/>
                </a:lnTo>
                <a:lnTo>
                  <a:pt x="1026" y="690"/>
                </a:lnTo>
                <a:lnTo>
                  <a:pt x="1020" y="690"/>
                </a:lnTo>
                <a:lnTo>
                  <a:pt x="1002" y="690"/>
                </a:lnTo>
                <a:lnTo>
                  <a:pt x="990" y="690"/>
                </a:lnTo>
                <a:lnTo>
                  <a:pt x="972" y="696"/>
                </a:lnTo>
                <a:lnTo>
                  <a:pt x="966" y="696"/>
                </a:lnTo>
                <a:lnTo>
                  <a:pt x="960" y="696"/>
                </a:lnTo>
                <a:lnTo>
                  <a:pt x="954" y="708"/>
                </a:lnTo>
                <a:lnTo>
                  <a:pt x="954" y="714"/>
                </a:lnTo>
                <a:lnTo>
                  <a:pt x="942" y="714"/>
                </a:lnTo>
                <a:lnTo>
                  <a:pt x="930" y="732"/>
                </a:lnTo>
                <a:lnTo>
                  <a:pt x="918" y="744"/>
                </a:lnTo>
                <a:lnTo>
                  <a:pt x="918" y="750"/>
                </a:lnTo>
                <a:lnTo>
                  <a:pt x="888" y="762"/>
                </a:lnTo>
                <a:lnTo>
                  <a:pt x="870" y="762"/>
                </a:lnTo>
                <a:lnTo>
                  <a:pt x="846" y="774"/>
                </a:lnTo>
                <a:lnTo>
                  <a:pt x="828" y="780"/>
                </a:lnTo>
                <a:lnTo>
                  <a:pt x="828" y="774"/>
                </a:lnTo>
                <a:lnTo>
                  <a:pt x="816" y="768"/>
                </a:lnTo>
                <a:lnTo>
                  <a:pt x="816" y="780"/>
                </a:lnTo>
                <a:lnTo>
                  <a:pt x="804" y="780"/>
                </a:lnTo>
                <a:lnTo>
                  <a:pt x="804" y="786"/>
                </a:lnTo>
                <a:lnTo>
                  <a:pt x="792" y="792"/>
                </a:lnTo>
                <a:lnTo>
                  <a:pt x="792" y="804"/>
                </a:lnTo>
                <a:lnTo>
                  <a:pt x="780" y="816"/>
                </a:lnTo>
                <a:lnTo>
                  <a:pt x="774" y="822"/>
                </a:lnTo>
                <a:lnTo>
                  <a:pt x="762" y="828"/>
                </a:lnTo>
                <a:lnTo>
                  <a:pt x="756" y="822"/>
                </a:lnTo>
                <a:lnTo>
                  <a:pt x="750" y="798"/>
                </a:lnTo>
                <a:lnTo>
                  <a:pt x="738" y="792"/>
                </a:lnTo>
                <a:lnTo>
                  <a:pt x="720" y="786"/>
                </a:lnTo>
                <a:lnTo>
                  <a:pt x="708" y="786"/>
                </a:lnTo>
                <a:lnTo>
                  <a:pt x="696" y="798"/>
                </a:lnTo>
                <a:lnTo>
                  <a:pt x="690" y="810"/>
                </a:lnTo>
                <a:lnTo>
                  <a:pt x="684" y="828"/>
                </a:lnTo>
                <a:lnTo>
                  <a:pt x="690" y="840"/>
                </a:lnTo>
                <a:lnTo>
                  <a:pt x="708" y="858"/>
                </a:lnTo>
                <a:lnTo>
                  <a:pt x="720" y="894"/>
                </a:lnTo>
                <a:lnTo>
                  <a:pt x="714" y="906"/>
                </a:lnTo>
                <a:lnTo>
                  <a:pt x="714" y="918"/>
                </a:lnTo>
                <a:lnTo>
                  <a:pt x="738" y="948"/>
                </a:lnTo>
                <a:lnTo>
                  <a:pt x="774" y="972"/>
                </a:lnTo>
                <a:lnTo>
                  <a:pt x="780" y="984"/>
                </a:lnTo>
                <a:lnTo>
                  <a:pt x="792" y="996"/>
                </a:lnTo>
                <a:lnTo>
                  <a:pt x="792" y="1026"/>
                </a:lnTo>
                <a:lnTo>
                  <a:pt x="780" y="1044"/>
                </a:lnTo>
                <a:lnTo>
                  <a:pt x="774" y="1050"/>
                </a:lnTo>
                <a:lnTo>
                  <a:pt x="768" y="1062"/>
                </a:lnTo>
                <a:lnTo>
                  <a:pt x="768" y="1068"/>
                </a:lnTo>
                <a:lnTo>
                  <a:pt x="762" y="1074"/>
                </a:lnTo>
                <a:lnTo>
                  <a:pt x="762" y="1080"/>
                </a:lnTo>
                <a:lnTo>
                  <a:pt x="756" y="1080"/>
                </a:lnTo>
                <a:lnTo>
                  <a:pt x="744" y="1086"/>
                </a:lnTo>
                <a:lnTo>
                  <a:pt x="744" y="1092"/>
                </a:lnTo>
                <a:lnTo>
                  <a:pt x="738" y="1092"/>
                </a:lnTo>
                <a:lnTo>
                  <a:pt x="726" y="1098"/>
                </a:lnTo>
                <a:lnTo>
                  <a:pt x="720" y="1104"/>
                </a:lnTo>
                <a:lnTo>
                  <a:pt x="714" y="1104"/>
                </a:lnTo>
                <a:lnTo>
                  <a:pt x="702" y="1116"/>
                </a:lnTo>
                <a:lnTo>
                  <a:pt x="696" y="1122"/>
                </a:lnTo>
                <a:lnTo>
                  <a:pt x="696" y="1134"/>
                </a:lnTo>
                <a:lnTo>
                  <a:pt x="690" y="1134"/>
                </a:lnTo>
                <a:lnTo>
                  <a:pt x="684" y="1134"/>
                </a:lnTo>
                <a:lnTo>
                  <a:pt x="678" y="1140"/>
                </a:lnTo>
                <a:lnTo>
                  <a:pt x="672" y="1146"/>
                </a:lnTo>
                <a:lnTo>
                  <a:pt x="672" y="1152"/>
                </a:lnTo>
                <a:lnTo>
                  <a:pt x="660" y="1152"/>
                </a:lnTo>
                <a:lnTo>
                  <a:pt x="642" y="1152"/>
                </a:lnTo>
                <a:lnTo>
                  <a:pt x="636" y="1152"/>
                </a:lnTo>
                <a:lnTo>
                  <a:pt x="630" y="1158"/>
                </a:lnTo>
                <a:lnTo>
                  <a:pt x="624" y="1164"/>
                </a:lnTo>
                <a:lnTo>
                  <a:pt x="618" y="1170"/>
                </a:lnTo>
                <a:lnTo>
                  <a:pt x="612" y="1170"/>
                </a:lnTo>
                <a:lnTo>
                  <a:pt x="600" y="1170"/>
                </a:lnTo>
                <a:lnTo>
                  <a:pt x="594" y="1170"/>
                </a:lnTo>
                <a:lnTo>
                  <a:pt x="588" y="1170"/>
                </a:lnTo>
                <a:lnTo>
                  <a:pt x="582" y="1170"/>
                </a:lnTo>
                <a:lnTo>
                  <a:pt x="582" y="1164"/>
                </a:lnTo>
                <a:lnTo>
                  <a:pt x="576" y="1158"/>
                </a:lnTo>
                <a:lnTo>
                  <a:pt x="570" y="1158"/>
                </a:lnTo>
                <a:lnTo>
                  <a:pt x="570" y="1152"/>
                </a:lnTo>
                <a:lnTo>
                  <a:pt x="570" y="1146"/>
                </a:lnTo>
                <a:lnTo>
                  <a:pt x="570" y="1140"/>
                </a:lnTo>
                <a:lnTo>
                  <a:pt x="564" y="1140"/>
                </a:lnTo>
                <a:lnTo>
                  <a:pt x="564" y="1134"/>
                </a:lnTo>
                <a:lnTo>
                  <a:pt x="564" y="1128"/>
                </a:lnTo>
                <a:lnTo>
                  <a:pt x="576" y="1104"/>
                </a:lnTo>
                <a:lnTo>
                  <a:pt x="582" y="1086"/>
                </a:lnTo>
                <a:lnTo>
                  <a:pt x="570" y="1068"/>
                </a:lnTo>
                <a:lnTo>
                  <a:pt x="534" y="1056"/>
                </a:lnTo>
                <a:lnTo>
                  <a:pt x="516" y="1026"/>
                </a:lnTo>
                <a:lnTo>
                  <a:pt x="492" y="1020"/>
                </a:lnTo>
                <a:lnTo>
                  <a:pt x="492" y="1014"/>
                </a:lnTo>
                <a:lnTo>
                  <a:pt x="480" y="1008"/>
                </a:lnTo>
                <a:lnTo>
                  <a:pt x="474" y="996"/>
                </a:lnTo>
                <a:lnTo>
                  <a:pt x="444" y="984"/>
                </a:lnTo>
                <a:lnTo>
                  <a:pt x="426" y="978"/>
                </a:lnTo>
                <a:lnTo>
                  <a:pt x="420" y="972"/>
                </a:lnTo>
                <a:lnTo>
                  <a:pt x="408" y="984"/>
                </a:lnTo>
                <a:lnTo>
                  <a:pt x="402" y="984"/>
                </a:lnTo>
                <a:lnTo>
                  <a:pt x="396" y="984"/>
                </a:lnTo>
                <a:lnTo>
                  <a:pt x="390" y="984"/>
                </a:lnTo>
                <a:lnTo>
                  <a:pt x="384" y="990"/>
                </a:lnTo>
                <a:lnTo>
                  <a:pt x="378" y="990"/>
                </a:lnTo>
                <a:lnTo>
                  <a:pt x="372" y="990"/>
                </a:lnTo>
                <a:lnTo>
                  <a:pt x="372" y="996"/>
                </a:lnTo>
                <a:lnTo>
                  <a:pt x="366" y="996"/>
                </a:lnTo>
                <a:lnTo>
                  <a:pt x="360" y="1002"/>
                </a:lnTo>
                <a:lnTo>
                  <a:pt x="360" y="1008"/>
                </a:lnTo>
                <a:lnTo>
                  <a:pt x="354" y="1008"/>
                </a:lnTo>
                <a:lnTo>
                  <a:pt x="342" y="1014"/>
                </a:lnTo>
                <a:lnTo>
                  <a:pt x="336" y="1020"/>
                </a:lnTo>
                <a:lnTo>
                  <a:pt x="336" y="1014"/>
                </a:lnTo>
                <a:lnTo>
                  <a:pt x="330" y="1014"/>
                </a:lnTo>
                <a:lnTo>
                  <a:pt x="330" y="1008"/>
                </a:lnTo>
                <a:lnTo>
                  <a:pt x="330" y="1002"/>
                </a:lnTo>
                <a:lnTo>
                  <a:pt x="324" y="1002"/>
                </a:lnTo>
                <a:lnTo>
                  <a:pt x="324" y="996"/>
                </a:lnTo>
                <a:lnTo>
                  <a:pt x="324" y="990"/>
                </a:lnTo>
                <a:lnTo>
                  <a:pt x="318" y="990"/>
                </a:lnTo>
                <a:lnTo>
                  <a:pt x="306" y="996"/>
                </a:lnTo>
                <a:lnTo>
                  <a:pt x="300" y="996"/>
                </a:lnTo>
                <a:lnTo>
                  <a:pt x="294" y="996"/>
                </a:lnTo>
                <a:lnTo>
                  <a:pt x="288" y="1002"/>
                </a:lnTo>
                <a:lnTo>
                  <a:pt x="282" y="990"/>
                </a:lnTo>
                <a:lnTo>
                  <a:pt x="276" y="984"/>
                </a:lnTo>
                <a:lnTo>
                  <a:pt x="270" y="990"/>
                </a:lnTo>
                <a:lnTo>
                  <a:pt x="270" y="996"/>
                </a:lnTo>
                <a:lnTo>
                  <a:pt x="270" y="1002"/>
                </a:lnTo>
                <a:lnTo>
                  <a:pt x="264" y="1008"/>
                </a:lnTo>
                <a:lnTo>
                  <a:pt x="252" y="996"/>
                </a:lnTo>
                <a:lnTo>
                  <a:pt x="246" y="996"/>
                </a:lnTo>
                <a:lnTo>
                  <a:pt x="234" y="1002"/>
                </a:lnTo>
                <a:lnTo>
                  <a:pt x="222" y="1002"/>
                </a:lnTo>
                <a:lnTo>
                  <a:pt x="210" y="1002"/>
                </a:lnTo>
                <a:lnTo>
                  <a:pt x="198" y="996"/>
                </a:lnTo>
                <a:lnTo>
                  <a:pt x="198" y="1002"/>
                </a:lnTo>
                <a:lnTo>
                  <a:pt x="198" y="1008"/>
                </a:lnTo>
                <a:lnTo>
                  <a:pt x="192" y="1020"/>
                </a:lnTo>
                <a:lnTo>
                  <a:pt x="198" y="1020"/>
                </a:lnTo>
                <a:lnTo>
                  <a:pt x="204" y="1020"/>
                </a:lnTo>
                <a:lnTo>
                  <a:pt x="210" y="1026"/>
                </a:lnTo>
                <a:lnTo>
                  <a:pt x="216" y="1026"/>
                </a:lnTo>
                <a:lnTo>
                  <a:pt x="216" y="1032"/>
                </a:lnTo>
                <a:lnTo>
                  <a:pt x="210" y="1032"/>
                </a:lnTo>
                <a:lnTo>
                  <a:pt x="210" y="1038"/>
                </a:lnTo>
                <a:lnTo>
                  <a:pt x="204" y="1038"/>
                </a:lnTo>
                <a:lnTo>
                  <a:pt x="204" y="1044"/>
                </a:lnTo>
                <a:lnTo>
                  <a:pt x="198" y="1044"/>
                </a:lnTo>
                <a:lnTo>
                  <a:pt x="192" y="1044"/>
                </a:lnTo>
                <a:lnTo>
                  <a:pt x="186" y="1050"/>
                </a:lnTo>
                <a:lnTo>
                  <a:pt x="186" y="1056"/>
                </a:lnTo>
                <a:lnTo>
                  <a:pt x="180" y="1056"/>
                </a:lnTo>
                <a:lnTo>
                  <a:pt x="180" y="1062"/>
                </a:lnTo>
                <a:lnTo>
                  <a:pt x="174" y="1062"/>
                </a:lnTo>
                <a:lnTo>
                  <a:pt x="168" y="1062"/>
                </a:lnTo>
                <a:lnTo>
                  <a:pt x="162" y="1062"/>
                </a:lnTo>
                <a:lnTo>
                  <a:pt x="156" y="1050"/>
                </a:lnTo>
                <a:lnTo>
                  <a:pt x="150" y="1044"/>
                </a:lnTo>
                <a:lnTo>
                  <a:pt x="150" y="1038"/>
                </a:lnTo>
                <a:lnTo>
                  <a:pt x="144" y="1032"/>
                </a:lnTo>
                <a:lnTo>
                  <a:pt x="144" y="1026"/>
                </a:lnTo>
                <a:lnTo>
                  <a:pt x="144" y="1014"/>
                </a:lnTo>
                <a:lnTo>
                  <a:pt x="150" y="1008"/>
                </a:lnTo>
                <a:lnTo>
                  <a:pt x="150" y="1002"/>
                </a:lnTo>
                <a:lnTo>
                  <a:pt x="156" y="984"/>
                </a:lnTo>
                <a:lnTo>
                  <a:pt x="162" y="978"/>
                </a:lnTo>
                <a:lnTo>
                  <a:pt x="162" y="972"/>
                </a:lnTo>
                <a:lnTo>
                  <a:pt x="150" y="966"/>
                </a:lnTo>
                <a:lnTo>
                  <a:pt x="144" y="966"/>
                </a:lnTo>
                <a:lnTo>
                  <a:pt x="138" y="966"/>
                </a:lnTo>
                <a:lnTo>
                  <a:pt x="138" y="954"/>
                </a:lnTo>
                <a:lnTo>
                  <a:pt x="132" y="954"/>
                </a:lnTo>
                <a:lnTo>
                  <a:pt x="138" y="948"/>
                </a:lnTo>
                <a:lnTo>
                  <a:pt x="138" y="942"/>
                </a:lnTo>
                <a:lnTo>
                  <a:pt x="138" y="930"/>
                </a:lnTo>
                <a:lnTo>
                  <a:pt x="138" y="924"/>
                </a:lnTo>
                <a:lnTo>
                  <a:pt x="132" y="930"/>
                </a:lnTo>
                <a:lnTo>
                  <a:pt x="132" y="924"/>
                </a:lnTo>
                <a:lnTo>
                  <a:pt x="126" y="918"/>
                </a:lnTo>
                <a:lnTo>
                  <a:pt x="132" y="918"/>
                </a:lnTo>
                <a:lnTo>
                  <a:pt x="132" y="912"/>
                </a:lnTo>
                <a:lnTo>
                  <a:pt x="126" y="912"/>
                </a:lnTo>
                <a:lnTo>
                  <a:pt x="120" y="912"/>
                </a:lnTo>
                <a:lnTo>
                  <a:pt x="120" y="918"/>
                </a:lnTo>
                <a:lnTo>
                  <a:pt x="114" y="918"/>
                </a:lnTo>
                <a:lnTo>
                  <a:pt x="114" y="912"/>
                </a:lnTo>
                <a:lnTo>
                  <a:pt x="108" y="912"/>
                </a:lnTo>
                <a:lnTo>
                  <a:pt x="102" y="912"/>
                </a:lnTo>
                <a:lnTo>
                  <a:pt x="108" y="906"/>
                </a:lnTo>
                <a:lnTo>
                  <a:pt x="102" y="906"/>
                </a:lnTo>
                <a:lnTo>
                  <a:pt x="96" y="906"/>
                </a:lnTo>
                <a:lnTo>
                  <a:pt x="96" y="912"/>
                </a:lnTo>
                <a:lnTo>
                  <a:pt x="90" y="918"/>
                </a:lnTo>
                <a:lnTo>
                  <a:pt x="90" y="912"/>
                </a:lnTo>
                <a:lnTo>
                  <a:pt x="84" y="912"/>
                </a:lnTo>
                <a:lnTo>
                  <a:pt x="84" y="918"/>
                </a:lnTo>
                <a:lnTo>
                  <a:pt x="78" y="918"/>
                </a:lnTo>
                <a:lnTo>
                  <a:pt x="78" y="912"/>
                </a:lnTo>
                <a:lnTo>
                  <a:pt x="78" y="906"/>
                </a:lnTo>
                <a:lnTo>
                  <a:pt x="72" y="900"/>
                </a:lnTo>
                <a:lnTo>
                  <a:pt x="78" y="900"/>
                </a:lnTo>
                <a:lnTo>
                  <a:pt x="72" y="900"/>
                </a:lnTo>
                <a:lnTo>
                  <a:pt x="72" y="894"/>
                </a:lnTo>
                <a:lnTo>
                  <a:pt x="78" y="894"/>
                </a:lnTo>
                <a:lnTo>
                  <a:pt x="72" y="894"/>
                </a:lnTo>
                <a:lnTo>
                  <a:pt x="78" y="894"/>
                </a:lnTo>
                <a:lnTo>
                  <a:pt x="78" y="888"/>
                </a:lnTo>
                <a:lnTo>
                  <a:pt x="72" y="888"/>
                </a:lnTo>
                <a:lnTo>
                  <a:pt x="72" y="882"/>
                </a:lnTo>
                <a:lnTo>
                  <a:pt x="66" y="876"/>
                </a:lnTo>
                <a:lnTo>
                  <a:pt x="60" y="882"/>
                </a:lnTo>
                <a:lnTo>
                  <a:pt x="54" y="876"/>
                </a:lnTo>
                <a:lnTo>
                  <a:pt x="54" y="882"/>
                </a:lnTo>
                <a:lnTo>
                  <a:pt x="48" y="882"/>
                </a:lnTo>
                <a:lnTo>
                  <a:pt x="42" y="870"/>
                </a:lnTo>
                <a:lnTo>
                  <a:pt x="42" y="864"/>
                </a:lnTo>
                <a:lnTo>
                  <a:pt x="36" y="858"/>
                </a:lnTo>
                <a:lnTo>
                  <a:pt x="36" y="852"/>
                </a:lnTo>
                <a:lnTo>
                  <a:pt x="30" y="852"/>
                </a:lnTo>
                <a:lnTo>
                  <a:pt x="30" y="846"/>
                </a:lnTo>
                <a:lnTo>
                  <a:pt x="24" y="846"/>
                </a:lnTo>
                <a:lnTo>
                  <a:pt x="18" y="840"/>
                </a:lnTo>
                <a:lnTo>
                  <a:pt x="12" y="834"/>
                </a:lnTo>
                <a:lnTo>
                  <a:pt x="0" y="828"/>
                </a:lnTo>
                <a:lnTo>
                  <a:pt x="0" y="822"/>
                </a:lnTo>
                <a:lnTo>
                  <a:pt x="0" y="816"/>
                </a:lnTo>
                <a:lnTo>
                  <a:pt x="0" y="810"/>
                </a:lnTo>
                <a:lnTo>
                  <a:pt x="6" y="804"/>
                </a:lnTo>
                <a:lnTo>
                  <a:pt x="12" y="804"/>
                </a:lnTo>
                <a:lnTo>
                  <a:pt x="12" y="798"/>
                </a:lnTo>
                <a:lnTo>
                  <a:pt x="12" y="792"/>
                </a:lnTo>
                <a:lnTo>
                  <a:pt x="6" y="792"/>
                </a:lnTo>
                <a:lnTo>
                  <a:pt x="6" y="786"/>
                </a:lnTo>
                <a:lnTo>
                  <a:pt x="6" y="780"/>
                </a:lnTo>
                <a:lnTo>
                  <a:pt x="18" y="780"/>
                </a:lnTo>
                <a:lnTo>
                  <a:pt x="18" y="774"/>
                </a:lnTo>
                <a:lnTo>
                  <a:pt x="24" y="768"/>
                </a:lnTo>
                <a:lnTo>
                  <a:pt x="30" y="768"/>
                </a:lnTo>
                <a:lnTo>
                  <a:pt x="30" y="774"/>
                </a:lnTo>
                <a:lnTo>
                  <a:pt x="36" y="768"/>
                </a:lnTo>
                <a:lnTo>
                  <a:pt x="42" y="768"/>
                </a:lnTo>
                <a:lnTo>
                  <a:pt x="60" y="750"/>
                </a:lnTo>
                <a:lnTo>
                  <a:pt x="60" y="744"/>
                </a:lnTo>
                <a:lnTo>
                  <a:pt x="54" y="738"/>
                </a:lnTo>
                <a:lnTo>
                  <a:pt x="60" y="732"/>
                </a:lnTo>
                <a:lnTo>
                  <a:pt x="54" y="732"/>
                </a:lnTo>
                <a:lnTo>
                  <a:pt x="60" y="726"/>
                </a:lnTo>
                <a:lnTo>
                  <a:pt x="66" y="720"/>
                </a:lnTo>
                <a:lnTo>
                  <a:pt x="72" y="714"/>
                </a:lnTo>
                <a:lnTo>
                  <a:pt x="78" y="708"/>
                </a:lnTo>
                <a:lnTo>
                  <a:pt x="78" y="702"/>
                </a:lnTo>
                <a:lnTo>
                  <a:pt x="84" y="696"/>
                </a:lnTo>
                <a:lnTo>
                  <a:pt x="90" y="684"/>
                </a:lnTo>
                <a:lnTo>
                  <a:pt x="90" y="678"/>
                </a:lnTo>
                <a:lnTo>
                  <a:pt x="90" y="672"/>
                </a:lnTo>
                <a:lnTo>
                  <a:pt x="96" y="666"/>
                </a:lnTo>
                <a:lnTo>
                  <a:pt x="90" y="660"/>
                </a:lnTo>
                <a:lnTo>
                  <a:pt x="84" y="654"/>
                </a:lnTo>
                <a:lnTo>
                  <a:pt x="84" y="648"/>
                </a:lnTo>
                <a:lnTo>
                  <a:pt x="78" y="636"/>
                </a:lnTo>
                <a:lnTo>
                  <a:pt x="66" y="630"/>
                </a:lnTo>
                <a:lnTo>
                  <a:pt x="66" y="624"/>
                </a:lnTo>
                <a:lnTo>
                  <a:pt x="60" y="624"/>
                </a:lnTo>
                <a:lnTo>
                  <a:pt x="60" y="618"/>
                </a:lnTo>
                <a:lnTo>
                  <a:pt x="60" y="612"/>
                </a:lnTo>
                <a:lnTo>
                  <a:pt x="60" y="600"/>
                </a:lnTo>
                <a:lnTo>
                  <a:pt x="66" y="600"/>
                </a:lnTo>
                <a:lnTo>
                  <a:pt x="60" y="594"/>
                </a:lnTo>
                <a:lnTo>
                  <a:pt x="60" y="588"/>
                </a:lnTo>
                <a:lnTo>
                  <a:pt x="66" y="588"/>
                </a:lnTo>
                <a:lnTo>
                  <a:pt x="66" y="582"/>
                </a:lnTo>
                <a:lnTo>
                  <a:pt x="72" y="582"/>
                </a:lnTo>
                <a:lnTo>
                  <a:pt x="78" y="576"/>
                </a:lnTo>
                <a:lnTo>
                  <a:pt x="72" y="576"/>
                </a:lnTo>
                <a:lnTo>
                  <a:pt x="66" y="570"/>
                </a:lnTo>
                <a:lnTo>
                  <a:pt x="72" y="564"/>
                </a:lnTo>
                <a:lnTo>
                  <a:pt x="78" y="558"/>
                </a:lnTo>
                <a:lnTo>
                  <a:pt x="78" y="546"/>
                </a:lnTo>
                <a:lnTo>
                  <a:pt x="78" y="540"/>
                </a:lnTo>
                <a:lnTo>
                  <a:pt x="90" y="528"/>
                </a:lnTo>
                <a:lnTo>
                  <a:pt x="96" y="522"/>
                </a:lnTo>
                <a:lnTo>
                  <a:pt x="102" y="522"/>
                </a:lnTo>
                <a:lnTo>
                  <a:pt x="102" y="516"/>
                </a:lnTo>
                <a:lnTo>
                  <a:pt x="114" y="510"/>
                </a:lnTo>
                <a:lnTo>
                  <a:pt x="120" y="510"/>
                </a:lnTo>
                <a:lnTo>
                  <a:pt x="120" y="504"/>
                </a:lnTo>
                <a:lnTo>
                  <a:pt x="120" y="498"/>
                </a:lnTo>
                <a:lnTo>
                  <a:pt x="120" y="492"/>
                </a:lnTo>
                <a:lnTo>
                  <a:pt x="126" y="480"/>
                </a:lnTo>
                <a:lnTo>
                  <a:pt x="132" y="474"/>
                </a:lnTo>
                <a:lnTo>
                  <a:pt x="132" y="468"/>
                </a:lnTo>
                <a:lnTo>
                  <a:pt x="138" y="462"/>
                </a:lnTo>
                <a:lnTo>
                  <a:pt x="138" y="456"/>
                </a:lnTo>
                <a:lnTo>
                  <a:pt x="138" y="450"/>
                </a:lnTo>
                <a:lnTo>
                  <a:pt x="144" y="444"/>
                </a:lnTo>
                <a:lnTo>
                  <a:pt x="162" y="438"/>
                </a:lnTo>
                <a:lnTo>
                  <a:pt x="186" y="438"/>
                </a:lnTo>
                <a:lnTo>
                  <a:pt x="210" y="444"/>
                </a:lnTo>
                <a:lnTo>
                  <a:pt x="276" y="450"/>
                </a:lnTo>
                <a:lnTo>
                  <a:pt x="342" y="450"/>
                </a:lnTo>
                <a:lnTo>
                  <a:pt x="348" y="450"/>
                </a:lnTo>
                <a:lnTo>
                  <a:pt x="354" y="450"/>
                </a:lnTo>
                <a:lnTo>
                  <a:pt x="360" y="456"/>
                </a:lnTo>
                <a:lnTo>
                  <a:pt x="354" y="462"/>
                </a:lnTo>
                <a:lnTo>
                  <a:pt x="354" y="468"/>
                </a:lnTo>
                <a:lnTo>
                  <a:pt x="354" y="474"/>
                </a:lnTo>
                <a:lnTo>
                  <a:pt x="348" y="468"/>
                </a:lnTo>
                <a:lnTo>
                  <a:pt x="342" y="474"/>
                </a:lnTo>
                <a:lnTo>
                  <a:pt x="342" y="480"/>
                </a:lnTo>
                <a:lnTo>
                  <a:pt x="348" y="498"/>
                </a:lnTo>
                <a:lnTo>
                  <a:pt x="342" y="510"/>
                </a:lnTo>
                <a:lnTo>
                  <a:pt x="348" y="528"/>
                </a:lnTo>
                <a:lnTo>
                  <a:pt x="348" y="534"/>
                </a:lnTo>
                <a:lnTo>
                  <a:pt x="354" y="552"/>
                </a:lnTo>
                <a:lnTo>
                  <a:pt x="366" y="546"/>
                </a:lnTo>
                <a:lnTo>
                  <a:pt x="372" y="540"/>
                </a:lnTo>
                <a:lnTo>
                  <a:pt x="384" y="540"/>
                </a:lnTo>
                <a:lnTo>
                  <a:pt x="396" y="534"/>
                </a:lnTo>
                <a:lnTo>
                  <a:pt x="402" y="534"/>
                </a:lnTo>
                <a:lnTo>
                  <a:pt x="414" y="546"/>
                </a:lnTo>
                <a:lnTo>
                  <a:pt x="432" y="540"/>
                </a:lnTo>
                <a:lnTo>
                  <a:pt x="450" y="534"/>
                </a:lnTo>
                <a:lnTo>
                  <a:pt x="450" y="528"/>
                </a:lnTo>
                <a:lnTo>
                  <a:pt x="456" y="528"/>
                </a:lnTo>
                <a:lnTo>
                  <a:pt x="456" y="522"/>
                </a:lnTo>
                <a:lnTo>
                  <a:pt x="456" y="516"/>
                </a:lnTo>
                <a:lnTo>
                  <a:pt x="462" y="516"/>
                </a:lnTo>
                <a:lnTo>
                  <a:pt x="468" y="510"/>
                </a:lnTo>
                <a:lnTo>
                  <a:pt x="468" y="504"/>
                </a:lnTo>
                <a:lnTo>
                  <a:pt x="474" y="504"/>
                </a:lnTo>
                <a:lnTo>
                  <a:pt x="480" y="504"/>
                </a:lnTo>
                <a:lnTo>
                  <a:pt x="486" y="498"/>
                </a:lnTo>
                <a:lnTo>
                  <a:pt x="492" y="498"/>
                </a:lnTo>
                <a:lnTo>
                  <a:pt x="486" y="480"/>
                </a:lnTo>
                <a:lnTo>
                  <a:pt x="492" y="462"/>
                </a:lnTo>
                <a:lnTo>
                  <a:pt x="498" y="444"/>
                </a:lnTo>
                <a:lnTo>
                  <a:pt x="498" y="426"/>
                </a:lnTo>
                <a:lnTo>
                  <a:pt x="498" y="420"/>
                </a:lnTo>
                <a:lnTo>
                  <a:pt x="504" y="426"/>
                </a:lnTo>
                <a:lnTo>
                  <a:pt x="504" y="420"/>
                </a:lnTo>
                <a:lnTo>
                  <a:pt x="510" y="420"/>
                </a:lnTo>
                <a:lnTo>
                  <a:pt x="510" y="414"/>
                </a:lnTo>
                <a:lnTo>
                  <a:pt x="510" y="408"/>
                </a:lnTo>
                <a:lnTo>
                  <a:pt x="504" y="402"/>
                </a:lnTo>
                <a:lnTo>
                  <a:pt x="504" y="396"/>
                </a:lnTo>
                <a:lnTo>
                  <a:pt x="504" y="384"/>
                </a:lnTo>
                <a:lnTo>
                  <a:pt x="504" y="378"/>
                </a:lnTo>
                <a:lnTo>
                  <a:pt x="504" y="360"/>
                </a:lnTo>
                <a:lnTo>
                  <a:pt x="504" y="354"/>
                </a:lnTo>
                <a:lnTo>
                  <a:pt x="504" y="348"/>
                </a:lnTo>
                <a:lnTo>
                  <a:pt x="510" y="348"/>
                </a:lnTo>
                <a:lnTo>
                  <a:pt x="510" y="336"/>
                </a:lnTo>
                <a:lnTo>
                  <a:pt x="516" y="330"/>
                </a:lnTo>
                <a:lnTo>
                  <a:pt x="522" y="324"/>
                </a:lnTo>
                <a:lnTo>
                  <a:pt x="528" y="318"/>
                </a:lnTo>
                <a:lnTo>
                  <a:pt x="534" y="312"/>
                </a:lnTo>
                <a:lnTo>
                  <a:pt x="534" y="300"/>
                </a:lnTo>
                <a:lnTo>
                  <a:pt x="540" y="294"/>
                </a:lnTo>
                <a:lnTo>
                  <a:pt x="546" y="288"/>
                </a:lnTo>
                <a:lnTo>
                  <a:pt x="552" y="276"/>
                </a:lnTo>
                <a:lnTo>
                  <a:pt x="558" y="264"/>
                </a:lnTo>
                <a:lnTo>
                  <a:pt x="558" y="258"/>
                </a:lnTo>
                <a:lnTo>
                  <a:pt x="558" y="252"/>
                </a:lnTo>
                <a:lnTo>
                  <a:pt x="558" y="246"/>
                </a:lnTo>
                <a:lnTo>
                  <a:pt x="564" y="246"/>
                </a:lnTo>
                <a:lnTo>
                  <a:pt x="564" y="240"/>
                </a:lnTo>
                <a:lnTo>
                  <a:pt x="570" y="234"/>
                </a:lnTo>
                <a:lnTo>
                  <a:pt x="564" y="216"/>
                </a:lnTo>
                <a:lnTo>
                  <a:pt x="564" y="210"/>
                </a:lnTo>
                <a:lnTo>
                  <a:pt x="570" y="210"/>
                </a:lnTo>
                <a:lnTo>
                  <a:pt x="570" y="204"/>
                </a:lnTo>
                <a:lnTo>
                  <a:pt x="570" y="198"/>
                </a:lnTo>
                <a:lnTo>
                  <a:pt x="582" y="180"/>
                </a:lnTo>
                <a:lnTo>
                  <a:pt x="582" y="174"/>
                </a:lnTo>
                <a:lnTo>
                  <a:pt x="582" y="168"/>
                </a:lnTo>
                <a:lnTo>
                  <a:pt x="582" y="162"/>
                </a:lnTo>
                <a:lnTo>
                  <a:pt x="582" y="156"/>
                </a:lnTo>
                <a:lnTo>
                  <a:pt x="606" y="150"/>
                </a:lnTo>
                <a:lnTo>
                  <a:pt x="612" y="150"/>
                </a:lnTo>
                <a:lnTo>
                  <a:pt x="618" y="150"/>
                </a:lnTo>
                <a:lnTo>
                  <a:pt x="624" y="138"/>
                </a:lnTo>
                <a:lnTo>
                  <a:pt x="618" y="132"/>
                </a:lnTo>
                <a:lnTo>
                  <a:pt x="618" y="126"/>
                </a:lnTo>
                <a:lnTo>
                  <a:pt x="618" y="120"/>
                </a:lnTo>
                <a:lnTo>
                  <a:pt x="618" y="114"/>
                </a:lnTo>
                <a:lnTo>
                  <a:pt x="612" y="108"/>
                </a:lnTo>
                <a:lnTo>
                  <a:pt x="612" y="102"/>
                </a:lnTo>
                <a:lnTo>
                  <a:pt x="618" y="90"/>
                </a:lnTo>
                <a:lnTo>
                  <a:pt x="624" y="84"/>
                </a:lnTo>
                <a:lnTo>
                  <a:pt x="618" y="84"/>
                </a:lnTo>
                <a:lnTo>
                  <a:pt x="618" y="78"/>
                </a:lnTo>
                <a:lnTo>
                  <a:pt x="612" y="78"/>
                </a:lnTo>
                <a:lnTo>
                  <a:pt x="606" y="78"/>
                </a:lnTo>
                <a:lnTo>
                  <a:pt x="600" y="72"/>
                </a:lnTo>
                <a:lnTo>
                  <a:pt x="600" y="66"/>
                </a:lnTo>
                <a:lnTo>
                  <a:pt x="600" y="60"/>
                </a:lnTo>
                <a:lnTo>
                  <a:pt x="600" y="48"/>
                </a:lnTo>
                <a:lnTo>
                  <a:pt x="612" y="42"/>
                </a:lnTo>
                <a:lnTo>
                  <a:pt x="618" y="36"/>
                </a:lnTo>
                <a:lnTo>
                  <a:pt x="624" y="36"/>
                </a:lnTo>
                <a:lnTo>
                  <a:pt x="630" y="36"/>
                </a:lnTo>
                <a:lnTo>
                  <a:pt x="630" y="30"/>
                </a:lnTo>
                <a:lnTo>
                  <a:pt x="636" y="24"/>
                </a:lnTo>
                <a:lnTo>
                  <a:pt x="642" y="24"/>
                </a:lnTo>
                <a:lnTo>
                  <a:pt x="648" y="24"/>
                </a:lnTo>
                <a:lnTo>
                  <a:pt x="648" y="18"/>
                </a:lnTo>
                <a:lnTo>
                  <a:pt x="654" y="12"/>
                </a:lnTo>
                <a:lnTo>
                  <a:pt x="660" y="0"/>
                </a:lnTo>
                <a:lnTo>
                  <a:pt x="678" y="0"/>
                </a:lnTo>
                <a:lnTo>
                  <a:pt x="696" y="0"/>
                </a:lnTo>
                <a:lnTo>
                  <a:pt x="702" y="0"/>
                </a:lnTo>
                <a:lnTo>
                  <a:pt x="714" y="0"/>
                </a:lnTo>
                <a:lnTo>
                  <a:pt x="720" y="6"/>
                </a:lnTo>
                <a:lnTo>
                  <a:pt x="720" y="18"/>
                </a:lnTo>
                <a:lnTo>
                  <a:pt x="726" y="18"/>
                </a:lnTo>
                <a:lnTo>
                  <a:pt x="744" y="24"/>
                </a:lnTo>
                <a:lnTo>
                  <a:pt x="744" y="30"/>
                </a:lnTo>
                <a:lnTo>
                  <a:pt x="732" y="42"/>
                </a:lnTo>
                <a:lnTo>
                  <a:pt x="726" y="42"/>
                </a:lnTo>
                <a:lnTo>
                  <a:pt x="720" y="42"/>
                </a:lnTo>
                <a:lnTo>
                  <a:pt x="720" y="48"/>
                </a:lnTo>
                <a:lnTo>
                  <a:pt x="714" y="48"/>
                </a:lnTo>
                <a:lnTo>
                  <a:pt x="708" y="54"/>
                </a:lnTo>
                <a:lnTo>
                  <a:pt x="702" y="66"/>
                </a:lnTo>
                <a:lnTo>
                  <a:pt x="708" y="66"/>
                </a:lnTo>
                <a:lnTo>
                  <a:pt x="714" y="90"/>
                </a:lnTo>
                <a:lnTo>
                  <a:pt x="726" y="84"/>
                </a:lnTo>
                <a:lnTo>
                  <a:pt x="738" y="84"/>
                </a:lnTo>
                <a:lnTo>
                  <a:pt x="750" y="96"/>
                </a:lnTo>
                <a:lnTo>
                  <a:pt x="768" y="96"/>
                </a:lnTo>
                <a:lnTo>
                  <a:pt x="768" y="90"/>
                </a:lnTo>
                <a:lnTo>
                  <a:pt x="774" y="84"/>
                </a:lnTo>
                <a:lnTo>
                  <a:pt x="780" y="78"/>
                </a:lnTo>
                <a:lnTo>
                  <a:pt x="786" y="78"/>
                </a:lnTo>
                <a:lnTo>
                  <a:pt x="792" y="72"/>
                </a:lnTo>
                <a:lnTo>
                  <a:pt x="804" y="72"/>
                </a:lnTo>
                <a:lnTo>
                  <a:pt x="804" y="66"/>
                </a:lnTo>
                <a:lnTo>
                  <a:pt x="810" y="66"/>
                </a:lnTo>
                <a:lnTo>
                  <a:pt x="810" y="72"/>
                </a:lnTo>
                <a:lnTo>
                  <a:pt x="816" y="66"/>
                </a:lnTo>
                <a:lnTo>
                  <a:pt x="828" y="66"/>
                </a:lnTo>
                <a:lnTo>
                  <a:pt x="834" y="72"/>
                </a:lnTo>
                <a:lnTo>
                  <a:pt x="840" y="72"/>
                </a:lnTo>
                <a:lnTo>
                  <a:pt x="840" y="78"/>
                </a:lnTo>
                <a:lnTo>
                  <a:pt x="840" y="84"/>
                </a:lnTo>
                <a:lnTo>
                  <a:pt x="852" y="84"/>
                </a:lnTo>
                <a:lnTo>
                  <a:pt x="858" y="96"/>
                </a:lnTo>
                <a:lnTo>
                  <a:pt x="864" y="108"/>
                </a:lnTo>
                <a:lnTo>
                  <a:pt x="876" y="114"/>
                </a:lnTo>
                <a:lnTo>
                  <a:pt x="894" y="114"/>
                </a:lnTo>
                <a:lnTo>
                  <a:pt x="906" y="114"/>
                </a:lnTo>
                <a:lnTo>
                  <a:pt x="906" y="126"/>
                </a:lnTo>
                <a:lnTo>
                  <a:pt x="912" y="144"/>
                </a:lnTo>
                <a:lnTo>
                  <a:pt x="930" y="138"/>
                </a:lnTo>
                <a:lnTo>
                  <a:pt x="936" y="138"/>
                </a:lnTo>
                <a:lnTo>
                  <a:pt x="942" y="144"/>
                </a:lnTo>
                <a:lnTo>
                  <a:pt x="948" y="150"/>
                </a:lnTo>
                <a:lnTo>
                  <a:pt x="954" y="156"/>
                </a:lnTo>
                <a:lnTo>
                  <a:pt x="954" y="168"/>
                </a:lnTo>
                <a:lnTo>
                  <a:pt x="954" y="174"/>
                </a:lnTo>
                <a:lnTo>
                  <a:pt x="960" y="180"/>
                </a:lnTo>
                <a:lnTo>
                  <a:pt x="966" y="186"/>
                </a:lnTo>
                <a:lnTo>
                  <a:pt x="960" y="186"/>
                </a:lnTo>
                <a:lnTo>
                  <a:pt x="966" y="192"/>
                </a:lnTo>
                <a:lnTo>
                  <a:pt x="966" y="198"/>
                </a:lnTo>
                <a:lnTo>
                  <a:pt x="978" y="204"/>
                </a:lnTo>
                <a:lnTo>
                  <a:pt x="1050" y="186"/>
                </a:lnTo>
                <a:lnTo>
                  <a:pt x="1056" y="198"/>
                </a:lnTo>
                <a:lnTo>
                  <a:pt x="1068" y="210"/>
                </a:lnTo>
                <a:lnTo>
                  <a:pt x="1074" y="216"/>
                </a:lnTo>
                <a:lnTo>
                  <a:pt x="1080" y="252"/>
                </a:lnTo>
                <a:lnTo>
                  <a:pt x="1086" y="270"/>
                </a:lnTo>
                <a:lnTo>
                  <a:pt x="1092" y="282"/>
                </a:lnTo>
                <a:lnTo>
                  <a:pt x="1086" y="300"/>
                </a:lnTo>
                <a:lnTo>
                  <a:pt x="1074" y="330"/>
                </a:lnTo>
                <a:lnTo>
                  <a:pt x="1068" y="336"/>
                </a:lnTo>
                <a:lnTo>
                  <a:pt x="1062" y="348"/>
                </a:lnTo>
                <a:lnTo>
                  <a:pt x="1062" y="360"/>
                </a:lnTo>
                <a:lnTo>
                  <a:pt x="1068" y="378"/>
                </a:lnTo>
                <a:lnTo>
                  <a:pt x="1074" y="390"/>
                </a:lnTo>
                <a:lnTo>
                  <a:pt x="1068" y="396"/>
                </a:lnTo>
                <a:lnTo>
                  <a:pt x="1068" y="408"/>
                </a:lnTo>
                <a:lnTo>
                  <a:pt x="1062" y="414"/>
                </a:lnTo>
                <a:lnTo>
                  <a:pt x="1050" y="432"/>
                </a:lnTo>
                <a:lnTo>
                  <a:pt x="1044" y="450"/>
                </a:lnTo>
                <a:lnTo>
                  <a:pt x="1038" y="456"/>
                </a:lnTo>
                <a:lnTo>
                  <a:pt x="1026" y="468"/>
                </a:lnTo>
                <a:lnTo>
                  <a:pt x="1026" y="474"/>
                </a:lnTo>
                <a:lnTo>
                  <a:pt x="1026" y="480"/>
                </a:lnTo>
                <a:lnTo>
                  <a:pt x="1032" y="492"/>
                </a:lnTo>
                <a:lnTo>
                  <a:pt x="1044" y="504"/>
                </a:lnTo>
                <a:lnTo>
                  <a:pt x="1044" y="516"/>
                </a:lnTo>
                <a:lnTo>
                  <a:pt x="1038" y="528"/>
                </a:lnTo>
                <a:lnTo>
                  <a:pt x="1032" y="546"/>
                </a:lnTo>
                <a:lnTo>
                  <a:pt x="1032" y="570"/>
                </a:lnTo>
                <a:lnTo>
                  <a:pt x="1050" y="594"/>
                </a:lnTo>
                <a:lnTo>
                  <a:pt x="1056" y="624"/>
                </a:lnTo>
                <a:lnTo>
                  <a:pt x="1056" y="654"/>
                </a:lnTo>
                <a:close/>
              </a:path>
            </a:pathLst>
          </a:custGeom>
          <a:solidFill>
            <a:srgbClr val="33CC33"/>
          </a:solidFill>
          <a:ln w="9525">
            <a:solidFill>
              <a:schemeClr val="bg1"/>
            </a:solidFill>
            <a:round/>
            <a:headEnd/>
            <a:tailEnd/>
          </a:ln>
        </p:spPr>
        <p:txBody>
          <a:bodyPr/>
          <a:lstStyle/>
          <a:p>
            <a:endParaRPr lang="en-GB"/>
          </a:p>
        </p:txBody>
      </p:sp>
      <p:sp>
        <p:nvSpPr>
          <p:cNvPr id="18463" name="Freeform 25"/>
          <p:cNvSpPr>
            <a:spLocks/>
          </p:cNvSpPr>
          <p:nvPr/>
        </p:nvSpPr>
        <p:spPr bwMode="gray">
          <a:xfrm>
            <a:off x="2770188" y="4160838"/>
            <a:ext cx="1254125" cy="1130300"/>
          </a:xfrm>
          <a:custGeom>
            <a:avLst/>
            <a:gdLst>
              <a:gd name="T0" fmla="*/ 90826 w 1602"/>
              <a:gd name="T1" fmla="*/ 73344 h 1404"/>
              <a:gd name="T2" fmla="*/ 86911 w 1602"/>
              <a:gd name="T3" fmla="*/ 76568 h 1404"/>
              <a:gd name="T4" fmla="*/ 79864 w 1602"/>
              <a:gd name="T5" fmla="*/ 81404 h 1404"/>
              <a:gd name="T6" fmla="*/ 77515 w 1602"/>
              <a:gd name="T7" fmla="*/ 83016 h 1404"/>
              <a:gd name="T8" fmla="*/ 75166 w 1602"/>
              <a:gd name="T9" fmla="*/ 85434 h 1404"/>
              <a:gd name="T10" fmla="*/ 72817 w 1602"/>
              <a:gd name="T11" fmla="*/ 87046 h 1404"/>
              <a:gd name="T12" fmla="*/ 68903 w 1602"/>
              <a:gd name="T13" fmla="*/ 85434 h 1404"/>
              <a:gd name="T14" fmla="*/ 67337 w 1602"/>
              <a:gd name="T15" fmla="*/ 87046 h 1404"/>
              <a:gd name="T16" fmla="*/ 63422 w 1602"/>
              <a:gd name="T17" fmla="*/ 95911 h 1404"/>
              <a:gd name="T18" fmla="*/ 55592 w 1602"/>
              <a:gd name="T19" fmla="*/ 87852 h 1404"/>
              <a:gd name="T20" fmla="*/ 56375 w 1602"/>
              <a:gd name="T21" fmla="*/ 81404 h 1404"/>
              <a:gd name="T22" fmla="*/ 57941 w 1602"/>
              <a:gd name="T23" fmla="*/ 74956 h 1404"/>
              <a:gd name="T24" fmla="*/ 57158 w 1602"/>
              <a:gd name="T25" fmla="*/ 66090 h 1404"/>
              <a:gd name="T26" fmla="*/ 50111 w 1602"/>
              <a:gd name="T27" fmla="*/ 63672 h 1404"/>
              <a:gd name="T28" fmla="*/ 46196 w 1602"/>
              <a:gd name="T29" fmla="*/ 60448 h 1404"/>
              <a:gd name="T30" fmla="*/ 42281 w 1602"/>
              <a:gd name="T31" fmla="*/ 57224 h 1404"/>
              <a:gd name="T32" fmla="*/ 39932 w 1602"/>
              <a:gd name="T33" fmla="*/ 56419 h 1404"/>
              <a:gd name="T34" fmla="*/ 35234 w 1602"/>
              <a:gd name="T35" fmla="*/ 57224 h 1404"/>
              <a:gd name="T36" fmla="*/ 33668 w 1602"/>
              <a:gd name="T37" fmla="*/ 54807 h 1404"/>
              <a:gd name="T38" fmla="*/ 33668 w 1602"/>
              <a:gd name="T39" fmla="*/ 51583 h 1404"/>
              <a:gd name="T40" fmla="*/ 28187 w 1602"/>
              <a:gd name="T41" fmla="*/ 53195 h 1404"/>
              <a:gd name="T42" fmla="*/ 24272 w 1602"/>
              <a:gd name="T43" fmla="*/ 44329 h 1404"/>
              <a:gd name="T44" fmla="*/ 19575 w 1602"/>
              <a:gd name="T45" fmla="*/ 42717 h 1404"/>
              <a:gd name="T46" fmla="*/ 14877 w 1602"/>
              <a:gd name="T47" fmla="*/ 41105 h 1404"/>
              <a:gd name="T48" fmla="*/ 13311 w 1602"/>
              <a:gd name="T49" fmla="*/ 34657 h 1404"/>
              <a:gd name="T50" fmla="*/ 13311 w 1602"/>
              <a:gd name="T51" fmla="*/ 31433 h 1404"/>
              <a:gd name="T52" fmla="*/ 9396 w 1602"/>
              <a:gd name="T53" fmla="*/ 31433 h 1404"/>
              <a:gd name="T54" fmla="*/ 7830 w 1602"/>
              <a:gd name="T55" fmla="*/ 28209 h 1404"/>
              <a:gd name="T56" fmla="*/ 3915 w 1602"/>
              <a:gd name="T57" fmla="*/ 24179 h 1404"/>
              <a:gd name="T58" fmla="*/ 2349 w 1602"/>
              <a:gd name="T59" fmla="*/ 21761 h 1404"/>
              <a:gd name="T60" fmla="*/ 1566 w 1602"/>
              <a:gd name="T61" fmla="*/ 20149 h 1404"/>
              <a:gd name="T62" fmla="*/ 0 w 1602"/>
              <a:gd name="T63" fmla="*/ 17732 h 1404"/>
              <a:gd name="T64" fmla="*/ 6264 w 1602"/>
              <a:gd name="T65" fmla="*/ 11284 h 1404"/>
              <a:gd name="T66" fmla="*/ 12528 w 1602"/>
              <a:gd name="T67" fmla="*/ 12896 h 1404"/>
              <a:gd name="T68" fmla="*/ 24272 w 1602"/>
              <a:gd name="T69" fmla="*/ 14508 h 1404"/>
              <a:gd name="T70" fmla="*/ 33668 w 1602"/>
              <a:gd name="T71" fmla="*/ 13702 h 1404"/>
              <a:gd name="T72" fmla="*/ 36800 w 1602"/>
              <a:gd name="T73" fmla="*/ 4836 h 1404"/>
              <a:gd name="T74" fmla="*/ 40715 w 1602"/>
              <a:gd name="T75" fmla="*/ 0 h 1404"/>
              <a:gd name="T76" fmla="*/ 43064 w 1602"/>
              <a:gd name="T77" fmla="*/ 2418 h 1404"/>
              <a:gd name="T78" fmla="*/ 46196 w 1602"/>
              <a:gd name="T79" fmla="*/ 7254 h 1404"/>
              <a:gd name="T80" fmla="*/ 48545 w 1602"/>
              <a:gd name="T81" fmla="*/ 12896 h 1404"/>
              <a:gd name="T82" fmla="*/ 51677 w 1602"/>
              <a:gd name="T83" fmla="*/ 16120 h 1404"/>
              <a:gd name="T84" fmla="*/ 54809 w 1602"/>
              <a:gd name="T85" fmla="*/ 20149 h 1404"/>
              <a:gd name="T86" fmla="*/ 57941 w 1602"/>
              <a:gd name="T87" fmla="*/ 24179 h 1404"/>
              <a:gd name="T88" fmla="*/ 59507 w 1602"/>
              <a:gd name="T89" fmla="*/ 21761 h 1404"/>
              <a:gd name="T90" fmla="*/ 61073 w 1602"/>
              <a:gd name="T91" fmla="*/ 21761 h 1404"/>
              <a:gd name="T92" fmla="*/ 61073 w 1602"/>
              <a:gd name="T93" fmla="*/ 18538 h 1404"/>
              <a:gd name="T94" fmla="*/ 64205 w 1602"/>
              <a:gd name="T95" fmla="*/ 16120 h 1404"/>
              <a:gd name="T96" fmla="*/ 64205 w 1602"/>
              <a:gd name="T97" fmla="*/ 14508 h 1404"/>
              <a:gd name="T98" fmla="*/ 70468 w 1602"/>
              <a:gd name="T99" fmla="*/ 19343 h 1404"/>
              <a:gd name="T100" fmla="*/ 70468 w 1602"/>
              <a:gd name="T101" fmla="*/ 36269 h 1404"/>
              <a:gd name="T102" fmla="*/ 81430 w 1602"/>
              <a:gd name="T103" fmla="*/ 33045 h 1404"/>
              <a:gd name="T104" fmla="*/ 91609 w 1602"/>
              <a:gd name="T105" fmla="*/ 31433 h 1404"/>
              <a:gd name="T106" fmla="*/ 97873 w 1602"/>
              <a:gd name="T107" fmla="*/ 31433 h 1404"/>
              <a:gd name="T108" fmla="*/ 99439 w 1602"/>
              <a:gd name="T109" fmla="*/ 34657 h 1404"/>
              <a:gd name="T110" fmla="*/ 102571 w 1602"/>
              <a:gd name="T111" fmla="*/ 42717 h 1404"/>
              <a:gd name="T112" fmla="*/ 104137 w 1602"/>
              <a:gd name="T113" fmla="*/ 48359 h 1404"/>
              <a:gd name="T114" fmla="*/ 108052 w 1602"/>
              <a:gd name="T115" fmla="*/ 58836 h 1404"/>
              <a:gd name="T116" fmla="*/ 106486 w 1602"/>
              <a:gd name="T117" fmla="*/ 64478 h 1404"/>
              <a:gd name="T118" fmla="*/ 101005 w 1602"/>
              <a:gd name="T119" fmla="*/ 70120 h 1404"/>
              <a:gd name="T120" fmla="*/ 96307 w 1602"/>
              <a:gd name="T121" fmla="*/ 76568 h 14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02"/>
              <a:gd name="T184" fmla="*/ 0 h 1404"/>
              <a:gd name="T185" fmla="*/ 1602 w 1602"/>
              <a:gd name="T186" fmla="*/ 1404 h 140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02" h="1404">
                <a:moveTo>
                  <a:pt x="1392" y="1080"/>
                </a:moveTo>
                <a:lnTo>
                  <a:pt x="1380" y="1074"/>
                </a:lnTo>
                <a:lnTo>
                  <a:pt x="1368" y="1056"/>
                </a:lnTo>
                <a:lnTo>
                  <a:pt x="1356" y="1044"/>
                </a:lnTo>
                <a:lnTo>
                  <a:pt x="1344" y="1038"/>
                </a:lnTo>
                <a:lnTo>
                  <a:pt x="1338" y="1038"/>
                </a:lnTo>
                <a:lnTo>
                  <a:pt x="1332" y="1038"/>
                </a:lnTo>
                <a:lnTo>
                  <a:pt x="1326" y="1044"/>
                </a:lnTo>
                <a:lnTo>
                  <a:pt x="1320" y="1044"/>
                </a:lnTo>
                <a:lnTo>
                  <a:pt x="1314" y="1044"/>
                </a:lnTo>
                <a:lnTo>
                  <a:pt x="1296" y="1056"/>
                </a:lnTo>
                <a:lnTo>
                  <a:pt x="1296" y="1080"/>
                </a:lnTo>
                <a:lnTo>
                  <a:pt x="1290" y="1080"/>
                </a:lnTo>
                <a:lnTo>
                  <a:pt x="1284" y="1086"/>
                </a:lnTo>
                <a:lnTo>
                  <a:pt x="1278" y="1086"/>
                </a:lnTo>
                <a:lnTo>
                  <a:pt x="1278" y="1092"/>
                </a:lnTo>
                <a:lnTo>
                  <a:pt x="1272" y="1092"/>
                </a:lnTo>
                <a:lnTo>
                  <a:pt x="1266" y="1086"/>
                </a:lnTo>
                <a:lnTo>
                  <a:pt x="1260" y="1086"/>
                </a:lnTo>
                <a:lnTo>
                  <a:pt x="1260" y="1098"/>
                </a:lnTo>
                <a:lnTo>
                  <a:pt x="1248" y="1098"/>
                </a:lnTo>
                <a:lnTo>
                  <a:pt x="1212" y="1116"/>
                </a:lnTo>
                <a:lnTo>
                  <a:pt x="1206" y="1158"/>
                </a:lnTo>
                <a:lnTo>
                  <a:pt x="1176" y="1164"/>
                </a:lnTo>
                <a:lnTo>
                  <a:pt x="1158" y="1164"/>
                </a:lnTo>
                <a:lnTo>
                  <a:pt x="1152" y="1164"/>
                </a:lnTo>
                <a:lnTo>
                  <a:pt x="1152" y="1170"/>
                </a:lnTo>
                <a:lnTo>
                  <a:pt x="1152" y="1176"/>
                </a:lnTo>
                <a:lnTo>
                  <a:pt x="1146" y="1176"/>
                </a:lnTo>
                <a:lnTo>
                  <a:pt x="1140" y="1176"/>
                </a:lnTo>
                <a:lnTo>
                  <a:pt x="1134" y="1182"/>
                </a:lnTo>
                <a:lnTo>
                  <a:pt x="1134" y="1188"/>
                </a:lnTo>
                <a:lnTo>
                  <a:pt x="1128" y="1194"/>
                </a:lnTo>
                <a:lnTo>
                  <a:pt x="1122" y="1194"/>
                </a:lnTo>
                <a:lnTo>
                  <a:pt x="1116" y="1194"/>
                </a:lnTo>
                <a:lnTo>
                  <a:pt x="1110" y="1200"/>
                </a:lnTo>
                <a:lnTo>
                  <a:pt x="1110" y="1206"/>
                </a:lnTo>
                <a:lnTo>
                  <a:pt x="1104" y="1212"/>
                </a:lnTo>
                <a:lnTo>
                  <a:pt x="1104" y="1218"/>
                </a:lnTo>
                <a:lnTo>
                  <a:pt x="1098" y="1224"/>
                </a:lnTo>
                <a:lnTo>
                  <a:pt x="1092" y="1230"/>
                </a:lnTo>
                <a:lnTo>
                  <a:pt x="1086" y="1230"/>
                </a:lnTo>
                <a:lnTo>
                  <a:pt x="1080" y="1230"/>
                </a:lnTo>
                <a:lnTo>
                  <a:pt x="1080" y="1242"/>
                </a:lnTo>
                <a:lnTo>
                  <a:pt x="1074" y="1242"/>
                </a:lnTo>
                <a:lnTo>
                  <a:pt x="1068" y="1242"/>
                </a:lnTo>
                <a:lnTo>
                  <a:pt x="1068" y="1236"/>
                </a:lnTo>
                <a:lnTo>
                  <a:pt x="1062" y="1242"/>
                </a:lnTo>
                <a:lnTo>
                  <a:pt x="1056" y="1236"/>
                </a:lnTo>
                <a:lnTo>
                  <a:pt x="1050" y="1242"/>
                </a:lnTo>
                <a:lnTo>
                  <a:pt x="1050" y="1236"/>
                </a:lnTo>
                <a:lnTo>
                  <a:pt x="1044" y="1194"/>
                </a:lnTo>
                <a:lnTo>
                  <a:pt x="1032" y="1194"/>
                </a:lnTo>
                <a:lnTo>
                  <a:pt x="1032" y="1200"/>
                </a:lnTo>
                <a:lnTo>
                  <a:pt x="1026" y="1200"/>
                </a:lnTo>
                <a:lnTo>
                  <a:pt x="1014" y="1218"/>
                </a:lnTo>
                <a:lnTo>
                  <a:pt x="1014" y="1224"/>
                </a:lnTo>
                <a:lnTo>
                  <a:pt x="1014" y="1236"/>
                </a:lnTo>
                <a:lnTo>
                  <a:pt x="1014" y="1242"/>
                </a:lnTo>
                <a:lnTo>
                  <a:pt x="1008" y="1242"/>
                </a:lnTo>
                <a:lnTo>
                  <a:pt x="1002" y="1236"/>
                </a:lnTo>
                <a:lnTo>
                  <a:pt x="1002" y="1230"/>
                </a:lnTo>
                <a:lnTo>
                  <a:pt x="996" y="1236"/>
                </a:lnTo>
                <a:lnTo>
                  <a:pt x="990" y="1236"/>
                </a:lnTo>
                <a:lnTo>
                  <a:pt x="990" y="1230"/>
                </a:lnTo>
                <a:lnTo>
                  <a:pt x="984" y="1236"/>
                </a:lnTo>
                <a:lnTo>
                  <a:pt x="978" y="1248"/>
                </a:lnTo>
                <a:lnTo>
                  <a:pt x="972" y="1254"/>
                </a:lnTo>
                <a:lnTo>
                  <a:pt x="966" y="1260"/>
                </a:lnTo>
                <a:lnTo>
                  <a:pt x="930" y="1284"/>
                </a:lnTo>
                <a:lnTo>
                  <a:pt x="942" y="1356"/>
                </a:lnTo>
                <a:lnTo>
                  <a:pt x="930" y="1368"/>
                </a:lnTo>
                <a:lnTo>
                  <a:pt x="852" y="1404"/>
                </a:lnTo>
                <a:lnTo>
                  <a:pt x="834" y="1392"/>
                </a:lnTo>
                <a:lnTo>
                  <a:pt x="834" y="1362"/>
                </a:lnTo>
                <a:lnTo>
                  <a:pt x="828" y="1332"/>
                </a:lnTo>
                <a:lnTo>
                  <a:pt x="810" y="1308"/>
                </a:lnTo>
                <a:lnTo>
                  <a:pt x="810" y="1284"/>
                </a:lnTo>
                <a:lnTo>
                  <a:pt x="816" y="1266"/>
                </a:lnTo>
                <a:lnTo>
                  <a:pt x="822" y="1254"/>
                </a:lnTo>
                <a:lnTo>
                  <a:pt x="822" y="1242"/>
                </a:lnTo>
                <a:lnTo>
                  <a:pt x="810" y="1230"/>
                </a:lnTo>
                <a:lnTo>
                  <a:pt x="804" y="1218"/>
                </a:lnTo>
                <a:lnTo>
                  <a:pt x="804" y="1212"/>
                </a:lnTo>
                <a:lnTo>
                  <a:pt x="804" y="1206"/>
                </a:lnTo>
                <a:lnTo>
                  <a:pt x="816" y="1194"/>
                </a:lnTo>
                <a:lnTo>
                  <a:pt x="822" y="1188"/>
                </a:lnTo>
                <a:lnTo>
                  <a:pt x="828" y="1170"/>
                </a:lnTo>
                <a:lnTo>
                  <a:pt x="840" y="1152"/>
                </a:lnTo>
                <a:lnTo>
                  <a:pt x="846" y="1146"/>
                </a:lnTo>
                <a:lnTo>
                  <a:pt x="846" y="1134"/>
                </a:lnTo>
                <a:lnTo>
                  <a:pt x="852" y="1128"/>
                </a:lnTo>
                <a:lnTo>
                  <a:pt x="846" y="1116"/>
                </a:lnTo>
                <a:lnTo>
                  <a:pt x="840" y="1098"/>
                </a:lnTo>
                <a:lnTo>
                  <a:pt x="840" y="1086"/>
                </a:lnTo>
                <a:lnTo>
                  <a:pt x="846" y="1074"/>
                </a:lnTo>
                <a:lnTo>
                  <a:pt x="852" y="1068"/>
                </a:lnTo>
                <a:lnTo>
                  <a:pt x="864" y="1038"/>
                </a:lnTo>
                <a:lnTo>
                  <a:pt x="870" y="1020"/>
                </a:lnTo>
                <a:lnTo>
                  <a:pt x="864" y="1008"/>
                </a:lnTo>
                <a:lnTo>
                  <a:pt x="858" y="990"/>
                </a:lnTo>
                <a:lnTo>
                  <a:pt x="852" y="954"/>
                </a:lnTo>
                <a:lnTo>
                  <a:pt x="846" y="948"/>
                </a:lnTo>
                <a:lnTo>
                  <a:pt x="834" y="936"/>
                </a:lnTo>
                <a:lnTo>
                  <a:pt x="828" y="924"/>
                </a:lnTo>
                <a:lnTo>
                  <a:pt x="756" y="942"/>
                </a:lnTo>
                <a:lnTo>
                  <a:pt x="744" y="936"/>
                </a:lnTo>
                <a:lnTo>
                  <a:pt x="744" y="930"/>
                </a:lnTo>
                <a:lnTo>
                  <a:pt x="738" y="924"/>
                </a:lnTo>
                <a:lnTo>
                  <a:pt x="744" y="924"/>
                </a:lnTo>
                <a:lnTo>
                  <a:pt x="738" y="918"/>
                </a:lnTo>
                <a:lnTo>
                  <a:pt x="732" y="912"/>
                </a:lnTo>
                <a:lnTo>
                  <a:pt x="732" y="906"/>
                </a:lnTo>
                <a:lnTo>
                  <a:pt x="732" y="894"/>
                </a:lnTo>
                <a:lnTo>
                  <a:pt x="726" y="888"/>
                </a:lnTo>
                <a:lnTo>
                  <a:pt x="720" y="882"/>
                </a:lnTo>
                <a:lnTo>
                  <a:pt x="714" y="876"/>
                </a:lnTo>
                <a:lnTo>
                  <a:pt x="708" y="876"/>
                </a:lnTo>
                <a:lnTo>
                  <a:pt x="690" y="882"/>
                </a:lnTo>
                <a:lnTo>
                  <a:pt x="684" y="864"/>
                </a:lnTo>
                <a:lnTo>
                  <a:pt x="684" y="852"/>
                </a:lnTo>
                <a:lnTo>
                  <a:pt x="672" y="852"/>
                </a:lnTo>
                <a:lnTo>
                  <a:pt x="654" y="852"/>
                </a:lnTo>
                <a:lnTo>
                  <a:pt x="642" y="846"/>
                </a:lnTo>
                <a:lnTo>
                  <a:pt x="636" y="834"/>
                </a:lnTo>
                <a:lnTo>
                  <a:pt x="630" y="822"/>
                </a:lnTo>
                <a:lnTo>
                  <a:pt x="618" y="822"/>
                </a:lnTo>
                <a:lnTo>
                  <a:pt x="618" y="816"/>
                </a:lnTo>
                <a:lnTo>
                  <a:pt x="618" y="810"/>
                </a:lnTo>
                <a:lnTo>
                  <a:pt x="612" y="810"/>
                </a:lnTo>
                <a:lnTo>
                  <a:pt x="606" y="804"/>
                </a:lnTo>
                <a:lnTo>
                  <a:pt x="594" y="804"/>
                </a:lnTo>
                <a:lnTo>
                  <a:pt x="588" y="810"/>
                </a:lnTo>
                <a:lnTo>
                  <a:pt x="588" y="804"/>
                </a:lnTo>
                <a:lnTo>
                  <a:pt x="582" y="804"/>
                </a:lnTo>
                <a:lnTo>
                  <a:pt x="582" y="810"/>
                </a:lnTo>
                <a:lnTo>
                  <a:pt x="570" y="810"/>
                </a:lnTo>
                <a:lnTo>
                  <a:pt x="564" y="816"/>
                </a:lnTo>
                <a:lnTo>
                  <a:pt x="558" y="816"/>
                </a:lnTo>
                <a:lnTo>
                  <a:pt x="552" y="822"/>
                </a:lnTo>
                <a:lnTo>
                  <a:pt x="546" y="828"/>
                </a:lnTo>
                <a:lnTo>
                  <a:pt x="546" y="834"/>
                </a:lnTo>
                <a:lnTo>
                  <a:pt x="528" y="834"/>
                </a:lnTo>
                <a:lnTo>
                  <a:pt x="516" y="822"/>
                </a:lnTo>
                <a:lnTo>
                  <a:pt x="504" y="822"/>
                </a:lnTo>
                <a:lnTo>
                  <a:pt x="492" y="828"/>
                </a:lnTo>
                <a:lnTo>
                  <a:pt x="486" y="804"/>
                </a:lnTo>
                <a:lnTo>
                  <a:pt x="480" y="804"/>
                </a:lnTo>
                <a:lnTo>
                  <a:pt x="486" y="792"/>
                </a:lnTo>
                <a:lnTo>
                  <a:pt x="492" y="786"/>
                </a:lnTo>
                <a:lnTo>
                  <a:pt x="498" y="786"/>
                </a:lnTo>
                <a:lnTo>
                  <a:pt x="498" y="780"/>
                </a:lnTo>
                <a:lnTo>
                  <a:pt x="504" y="780"/>
                </a:lnTo>
                <a:lnTo>
                  <a:pt x="510" y="780"/>
                </a:lnTo>
                <a:lnTo>
                  <a:pt x="522" y="768"/>
                </a:lnTo>
                <a:lnTo>
                  <a:pt x="522" y="762"/>
                </a:lnTo>
                <a:lnTo>
                  <a:pt x="504" y="756"/>
                </a:lnTo>
                <a:lnTo>
                  <a:pt x="498" y="756"/>
                </a:lnTo>
                <a:lnTo>
                  <a:pt x="498" y="744"/>
                </a:lnTo>
                <a:lnTo>
                  <a:pt x="492" y="738"/>
                </a:lnTo>
                <a:lnTo>
                  <a:pt x="480" y="738"/>
                </a:lnTo>
                <a:lnTo>
                  <a:pt x="474" y="738"/>
                </a:lnTo>
                <a:lnTo>
                  <a:pt x="456" y="738"/>
                </a:lnTo>
                <a:lnTo>
                  <a:pt x="438" y="738"/>
                </a:lnTo>
                <a:lnTo>
                  <a:pt x="432" y="750"/>
                </a:lnTo>
                <a:lnTo>
                  <a:pt x="426" y="756"/>
                </a:lnTo>
                <a:lnTo>
                  <a:pt x="426" y="762"/>
                </a:lnTo>
                <a:lnTo>
                  <a:pt x="420" y="762"/>
                </a:lnTo>
                <a:lnTo>
                  <a:pt x="408" y="744"/>
                </a:lnTo>
                <a:lnTo>
                  <a:pt x="408" y="732"/>
                </a:lnTo>
                <a:lnTo>
                  <a:pt x="390" y="714"/>
                </a:lnTo>
                <a:lnTo>
                  <a:pt x="384" y="702"/>
                </a:lnTo>
                <a:lnTo>
                  <a:pt x="384" y="690"/>
                </a:lnTo>
                <a:lnTo>
                  <a:pt x="372" y="690"/>
                </a:lnTo>
                <a:lnTo>
                  <a:pt x="366" y="660"/>
                </a:lnTo>
                <a:lnTo>
                  <a:pt x="354" y="630"/>
                </a:lnTo>
                <a:lnTo>
                  <a:pt x="348" y="630"/>
                </a:lnTo>
                <a:lnTo>
                  <a:pt x="336" y="630"/>
                </a:lnTo>
                <a:lnTo>
                  <a:pt x="330" y="630"/>
                </a:lnTo>
                <a:lnTo>
                  <a:pt x="318" y="630"/>
                </a:lnTo>
                <a:lnTo>
                  <a:pt x="312" y="624"/>
                </a:lnTo>
                <a:lnTo>
                  <a:pt x="306" y="624"/>
                </a:lnTo>
                <a:lnTo>
                  <a:pt x="294" y="618"/>
                </a:lnTo>
                <a:lnTo>
                  <a:pt x="288" y="612"/>
                </a:lnTo>
                <a:lnTo>
                  <a:pt x="276" y="600"/>
                </a:lnTo>
                <a:lnTo>
                  <a:pt x="276" y="582"/>
                </a:lnTo>
                <a:lnTo>
                  <a:pt x="270" y="582"/>
                </a:lnTo>
                <a:lnTo>
                  <a:pt x="258" y="588"/>
                </a:lnTo>
                <a:lnTo>
                  <a:pt x="252" y="582"/>
                </a:lnTo>
                <a:lnTo>
                  <a:pt x="246" y="582"/>
                </a:lnTo>
                <a:lnTo>
                  <a:pt x="240" y="588"/>
                </a:lnTo>
                <a:lnTo>
                  <a:pt x="216" y="582"/>
                </a:lnTo>
                <a:lnTo>
                  <a:pt x="210" y="588"/>
                </a:lnTo>
                <a:lnTo>
                  <a:pt x="198" y="582"/>
                </a:lnTo>
                <a:lnTo>
                  <a:pt x="180" y="582"/>
                </a:lnTo>
                <a:lnTo>
                  <a:pt x="174" y="552"/>
                </a:lnTo>
                <a:lnTo>
                  <a:pt x="168" y="504"/>
                </a:lnTo>
                <a:lnTo>
                  <a:pt x="186" y="504"/>
                </a:lnTo>
                <a:lnTo>
                  <a:pt x="192" y="504"/>
                </a:lnTo>
                <a:lnTo>
                  <a:pt x="192" y="498"/>
                </a:lnTo>
                <a:lnTo>
                  <a:pt x="192" y="492"/>
                </a:lnTo>
                <a:lnTo>
                  <a:pt x="192" y="486"/>
                </a:lnTo>
                <a:lnTo>
                  <a:pt x="198" y="486"/>
                </a:lnTo>
                <a:lnTo>
                  <a:pt x="198" y="480"/>
                </a:lnTo>
                <a:lnTo>
                  <a:pt x="204" y="474"/>
                </a:lnTo>
                <a:lnTo>
                  <a:pt x="210" y="468"/>
                </a:lnTo>
                <a:lnTo>
                  <a:pt x="198" y="462"/>
                </a:lnTo>
                <a:lnTo>
                  <a:pt x="192" y="444"/>
                </a:lnTo>
                <a:lnTo>
                  <a:pt x="204" y="438"/>
                </a:lnTo>
                <a:lnTo>
                  <a:pt x="198" y="432"/>
                </a:lnTo>
                <a:lnTo>
                  <a:pt x="192" y="426"/>
                </a:lnTo>
                <a:lnTo>
                  <a:pt x="186" y="432"/>
                </a:lnTo>
                <a:lnTo>
                  <a:pt x="168" y="438"/>
                </a:lnTo>
                <a:lnTo>
                  <a:pt x="150" y="450"/>
                </a:lnTo>
                <a:lnTo>
                  <a:pt x="144" y="456"/>
                </a:lnTo>
                <a:lnTo>
                  <a:pt x="132" y="456"/>
                </a:lnTo>
                <a:lnTo>
                  <a:pt x="126" y="468"/>
                </a:lnTo>
                <a:lnTo>
                  <a:pt x="114" y="468"/>
                </a:lnTo>
                <a:lnTo>
                  <a:pt x="108" y="468"/>
                </a:lnTo>
                <a:lnTo>
                  <a:pt x="108" y="426"/>
                </a:lnTo>
                <a:lnTo>
                  <a:pt x="108" y="420"/>
                </a:lnTo>
                <a:lnTo>
                  <a:pt x="102" y="414"/>
                </a:lnTo>
                <a:lnTo>
                  <a:pt x="108" y="396"/>
                </a:lnTo>
                <a:lnTo>
                  <a:pt x="120" y="396"/>
                </a:lnTo>
                <a:lnTo>
                  <a:pt x="126" y="384"/>
                </a:lnTo>
                <a:lnTo>
                  <a:pt x="126" y="360"/>
                </a:lnTo>
                <a:lnTo>
                  <a:pt x="120" y="348"/>
                </a:lnTo>
                <a:lnTo>
                  <a:pt x="108" y="348"/>
                </a:lnTo>
                <a:lnTo>
                  <a:pt x="84" y="354"/>
                </a:lnTo>
                <a:lnTo>
                  <a:pt x="72" y="354"/>
                </a:lnTo>
                <a:lnTo>
                  <a:pt x="66" y="354"/>
                </a:lnTo>
                <a:lnTo>
                  <a:pt x="60" y="348"/>
                </a:lnTo>
                <a:lnTo>
                  <a:pt x="54" y="342"/>
                </a:lnTo>
                <a:lnTo>
                  <a:pt x="54" y="336"/>
                </a:lnTo>
                <a:lnTo>
                  <a:pt x="54" y="330"/>
                </a:lnTo>
                <a:lnTo>
                  <a:pt x="54" y="324"/>
                </a:lnTo>
                <a:lnTo>
                  <a:pt x="60" y="318"/>
                </a:lnTo>
                <a:lnTo>
                  <a:pt x="42" y="324"/>
                </a:lnTo>
                <a:lnTo>
                  <a:pt x="36" y="318"/>
                </a:lnTo>
                <a:lnTo>
                  <a:pt x="36" y="312"/>
                </a:lnTo>
                <a:lnTo>
                  <a:pt x="36" y="306"/>
                </a:lnTo>
                <a:lnTo>
                  <a:pt x="36" y="300"/>
                </a:lnTo>
                <a:lnTo>
                  <a:pt x="30" y="300"/>
                </a:lnTo>
                <a:lnTo>
                  <a:pt x="30" y="306"/>
                </a:lnTo>
                <a:lnTo>
                  <a:pt x="24" y="306"/>
                </a:lnTo>
                <a:lnTo>
                  <a:pt x="24" y="300"/>
                </a:lnTo>
                <a:lnTo>
                  <a:pt x="24" y="294"/>
                </a:lnTo>
                <a:lnTo>
                  <a:pt x="24" y="288"/>
                </a:lnTo>
                <a:lnTo>
                  <a:pt x="24" y="282"/>
                </a:lnTo>
                <a:lnTo>
                  <a:pt x="18" y="282"/>
                </a:lnTo>
                <a:lnTo>
                  <a:pt x="24" y="276"/>
                </a:lnTo>
                <a:lnTo>
                  <a:pt x="18" y="276"/>
                </a:lnTo>
                <a:lnTo>
                  <a:pt x="6" y="264"/>
                </a:lnTo>
                <a:lnTo>
                  <a:pt x="6" y="258"/>
                </a:lnTo>
                <a:lnTo>
                  <a:pt x="0" y="258"/>
                </a:lnTo>
                <a:lnTo>
                  <a:pt x="0" y="252"/>
                </a:lnTo>
                <a:lnTo>
                  <a:pt x="6" y="240"/>
                </a:lnTo>
                <a:lnTo>
                  <a:pt x="18" y="234"/>
                </a:lnTo>
                <a:lnTo>
                  <a:pt x="30" y="228"/>
                </a:lnTo>
                <a:lnTo>
                  <a:pt x="30" y="216"/>
                </a:lnTo>
                <a:lnTo>
                  <a:pt x="30" y="210"/>
                </a:lnTo>
                <a:lnTo>
                  <a:pt x="42" y="192"/>
                </a:lnTo>
                <a:lnTo>
                  <a:pt x="66" y="186"/>
                </a:lnTo>
                <a:lnTo>
                  <a:pt x="90" y="156"/>
                </a:lnTo>
                <a:lnTo>
                  <a:pt x="102" y="144"/>
                </a:lnTo>
                <a:lnTo>
                  <a:pt x="138" y="150"/>
                </a:lnTo>
                <a:lnTo>
                  <a:pt x="162" y="168"/>
                </a:lnTo>
                <a:lnTo>
                  <a:pt x="174" y="174"/>
                </a:lnTo>
                <a:lnTo>
                  <a:pt x="180" y="174"/>
                </a:lnTo>
                <a:lnTo>
                  <a:pt x="180" y="180"/>
                </a:lnTo>
                <a:lnTo>
                  <a:pt x="174" y="180"/>
                </a:lnTo>
                <a:lnTo>
                  <a:pt x="180" y="186"/>
                </a:lnTo>
                <a:lnTo>
                  <a:pt x="186" y="186"/>
                </a:lnTo>
                <a:lnTo>
                  <a:pt x="198" y="192"/>
                </a:lnTo>
                <a:lnTo>
                  <a:pt x="216" y="198"/>
                </a:lnTo>
                <a:lnTo>
                  <a:pt x="252" y="204"/>
                </a:lnTo>
                <a:lnTo>
                  <a:pt x="258" y="210"/>
                </a:lnTo>
                <a:lnTo>
                  <a:pt x="306" y="216"/>
                </a:lnTo>
                <a:lnTo>
                  <a:pt x="342" y="216"/>
                </a:lnTo>
                <a:lnTo>
                  <a:pt x="354" y="210"/>
                </a:lnTo>
                <a:lnTo>
                  <a:pt x="384" y="210"/>
                </a:lnTo>
                <a:lnTo>
                  <a:pt x="408" y="222"/>
                </a:lnTo>
                <a:lnTo>
                  <a:pt x="438" y="228"/>
                </a:lnTo>
                <a:lnTo>
                  <a:pt x="468" y="222"/>
                </a:lnTo>
                <a:lnTo>
                  <a:pt x="468" y="228"/>
                </a:lnTo>
                <a:lnTo>
                  <a:pt x="486" y="222"/>
                </a:lnTo>
                <a:lnTo>
                  <a:pt x="492" y="210"/>
                </a:lnTo>
                <a:lnTo>
                  <a:pt x="492" y="198"/>
                </a:lnTo>
                <a:lnTo>
                  <a:pt x="486" y="180"/>
                </a:lnTo>
                <a:lnTo>
                  <a:pt x="492" y="162"/>
                </a:lnTo>
                <a:lnTo>
                  <a:pt x="510" y="96"/>
                </a:lnTo>
                <a:lnTo>
                  <a:pt x="516" y="84"/>
                </a:lnTo>
                <a:lnTo>
                  <a:pt x="522" y="84"/>
                </a:lnTo>
                <a:lnTo>
                  <a:pt x="528" y="84"/>
                </a:lnTo>
                <a:lnTo>
                  <a:pt x="528" y="78"/>
                </a:lnTo>
                <a:lnTo>
                  <a:pt x="534" y="72"/>
                </a:lnTo>
                <a:lnTo>
                  <a:pt x="534" y="60"/>
                </a:lnTo>
                <a:lnTo>
                  <a:pt x="540" y="36"/>
                </a:lnTo>
                <a:lnTo>
                  <a:pt x="546" y="6"/>
                </a:lnTo>
                <a:lnTo>
                  <a:pt x="558" y="6"/>
                </a:lnTo>
                <a:lnTo>
                  <a:pt x="564" y="0"/>
                </a:lnTo>
                <a:lnTo>
                  <a:pt x="582" y="0"/>
                </a:lnTo>
                <a:lnTo>
                  <a:pt x="588" y="0"/>
                </a:lnTo>
                <a:lnTo>
                  <a:pt x="594" y="6"/>
                </a:lnTo>
                <a:lnTo>
                  <a:pt x="600" y="12"/>
                </a:lnTo>
                <a:lnTo>
                  <a:pt x="600" y="18"/>
                </a:lnTo>
                <a:lnTo>
                  <a:pt x="606" y="18"/>
                </a:lnTo>
                <a:lnTo>
                  <a:pt x="612" y="18"/>
                </a:lnTo>
                <a:lnTo>
                  <a:pt x="618" y="18"/>
                </a:lnTo>
                <a:lnTo>
                  <a:pt x="624" y="24"/>
                </a:lnTo>
                <a:lnTo>
                  <a:pt x="630" y="30"/>
                </a:lnTo>
                <a:lnTo>
                  <a:pt x="636" y="30"/>
                </a:lnTo>
                <a:lnTo>
                  <a:pt x="636" y="36"/>
                </a:lnTo>
                <a:lnTo>
                  <a:pt x="642" y="36"/>
                </a:lnTo>
                <a:lnTo>
                  <a:pt x="642" y="42"/>
                </a:lnTo>
                <a:lnTo>
                  <a:pt x="648" y="54"/>
                </a:lnTo>
                <a:lnTo>
                  <a:pt x="660" y="72"/>
                </a:lnTo>
                <a:lnTo>
                  <a:pt x="666" y="78"/>
                </a:lnTo>
                <a:lnTo>
                  <a:pt x="672" y="90"/>
                </a:lnTo>
                <a:lnTo>
                  <a:pt x="678" y="102"/>
                </a:lnTo>
                <a:lnTo>
                  <a:pt x="678" y="114"/>
                </a:lnTo>
                <a:lnTo>
                  <a:pt x="684" y="132"/>
                </a:lnTo>
                <a:lnTo>
                  <a:pt x="684" y="144"/>
                </a:lnTo>
                <a:lnTo>
                  <a:pt x="690" y="162"/>
                </a:lnTo>
                <a:lnTo>
                  <a:pt x="696" y="168"/>
                </a:lnTo>
                <a:lnTo>
                  <a:pt x="696" y="180"/>
                </a:lnTo>
                <a:lnTo>
                  <a:pt x="702" y="186"/>
                </a:lnTo>
                <a:lnTo>
                  <a:pt x="708" y="186"/>
                </a:lnTo>
                <a:lnTo>
                  <a:pt x="714" y="198"/>
                </a:lnTo>
                <a:lnTo>
                  <a:pt x="720" y="198"/>
                </a:lnTo>
                <a:lnTo>
                  <a:pt x="732" y="204"/>
                </a:lnTo>
                <a:lnTo>
                  <a:pt x="738" y="210"/>
                </a:lnTo>
                <a:lnTo>
                  <a:pt x="738" y="216"/>
                </a:lnTo>
                <a:lnTo>
                  <a:pt x="744" y="222"/>
                </a:lnTo>
                <a:lnTo>
                  <a:pt x="750" y="228"/>
                </a:lnTo>
                <a:lnTo>
                  <a:pt x="756" y="228"/>
                </a:lnTo>
                <a:lnTo>
                  <a:pt x="768" y="240"/>
                </a:lnTo>
                <a:lnTo>
                  <a:pt x="774" y="252"/>
                </a:lnTo>
                <a:lnTo>
                  <a:pt x="780" y="258"/>
                </a:lnTo>
                <a:lnTo>
                  <a:pt x="786" y="258"/>
                </a:lnTo>
                <a:lnTo>
                  <a:pt x="798" y="264"/>
                </a:lnTo>
                <a:lnTo>
                  <a:pt x="798" y="270"/>
                </a:lnTo>
                <a:lnTo>
                  <a:pt x="798" y="276"/>
                </a:lnTo>
                <a:lnTo>
                  <a:pt x="810" y="288"/>
                </a:lnTo>
                <a:lnTo>
                  <a:pt x="816" y="288"/>
                </a:lnTo>
                <a:lnTo>
                  <a:pt x="816" y="300"/>
                </a:lnTo>
                <a:lnTo>
                  <a:pt x="816" y="306"/>
                </a:lnTo>
                <a:lnTo>
                  <a:pt x="822" y="318"/>
                </a:lnTo>
                <a:lnTo>
                  <a:pt x="828" y="324"/>
                </a:lnTo>
                <a:lnTo>
                  <a:pt x="834" y="330"/>
                </a:lnTo>
                <a:lnTo>
                  <a:pt x="846" y="336"/>
                </a:lnTo>
                <a:lnTo>
                  <a:pt x="846" y="342"/>
                </a:lnTo>
                <a:lnTo>
                  <a:pt x="852" y="348"/>
                </a:lnTo>
                <a:lnTo>
                  <a:pt x="852" y="354"/>
                </a:lnTo>
                <a:lnTo>
                  <a:pt x="858" y="354"/>
                </a:lnTo>
                <a:lnTo>
                  <a:pt x="858" y="348"/>
                </a:lnTo>
                <a:lnTo>
                  <a:pt x="864" y="342"/>
                </a:lnTo>
                <a:lnTo>
                  <a:pt x="864" y="336"/>
                </a:lnTo>
                <a:lnTo>
                  <a:pt x="864" y="318"/>
                </a:lnTo>
                <a:lnTo>
                  <a:pt x="870" y="318"/>
                </a:lnTo>
                <a:lnTo>
                  <a:pt x="876" y="312"/>
                </a:lnTo>
                <a:lnTo>
                  <a:pt x="876" y="306"/>
                </a:lnTo>
                <a:lnTo>
                  <a:pt x="870" y="300"/>
                </a:lnTo>
                <a:lnTo>
                  <a:pt x="870" y="294"/>
                </a:lnTo>
                <a:lnTo>
                  <a:pt x="876" y="294"/>
                </a:lnTo>
                <a:lnTo>
                  <a:pt x="882" y="300"/>
                </a:lnTo>
                <a:lnTo>
                  <a:pt x="888" y="300"/>
                </a:lnTo>
                <a:lnTo>
                  <a:pt x="888" y="306"/>
                </a:lnTo>
                <a:lnTo>
                  <a:pt x="894" y="300"/>
                </a:lnTo>
                <a:lnTo>
                  <a:pt x="900" y="294"/>
                </a:lnTo>
                <a:lnTo>
                  <a:pt x="894" y="288"/>
                </a:lnTo>
                <a:lnTo>
                  <a:pt x="888" y="282"/>
                </a:lnTo>
                <a:lnTo>
                  <a:pt x="888" y="276"/>
                </a:lnTo>
                <a:lnTo>
                  <a:pt x="894" y="276"/>
                </a:lnTo>
                <a:lnTo>
                  <a:pt x="900" y="276"/>
                </a:lnTo>
                <a:lnTo>
                  <a:pt x="900" y="270"/>
                </a:lnTo>
                <a:lnTo>
                  <a:pt x="906" y="264"/>
                </a:lnTo>
                <a:lnTo>
                  <a:pt x="906" y="258"/>
                </a:lnTo>
                <a:lnTo>
                  <a:pt x="918" y="264"/>
                </a:lnTo>
                <a:lnTo>
                  <a:pt x="918" y="258"/>
                </a:lnTo>
                <a:lnTo>
                  <a:pt x="924" y="252"/>
                </a:lnTo>
                <a:lnTo>
                  <a:pt x="930" y="252"/>
                </a:lnTo>
                <a:lnTo>
                  <a:pt x="930" y="246"/>
                </a:lnTo>
                <a:lnTo>
                  <a:pt x="936" y="234"/>
                </a:lnTo>
                <a:lnTo>
                  <a:pt x="942" y="228"/>
                </a:lnTo>
                <a:lnTo>
                  <a:pt x="942" y="222"/>
                </a:lnTo>
                <a:lnTo>
                  <a:pt x="948" y="222"/>
                </a:lnTo>
                <a:lnTo>
                  <a:pt x="948" y="216"/>
                </a:lnTo>
                <a:lnTo>
                  <a:pt x="942" y="216"/>
                </a:lnTo>
                <a:lnTo>
                  <a:pt x="936" y="216"/>
                </a:lnTo>
                <a:lnTo>
                  <a:pt x="936" y="210"/>
                </a:lnTo>
                <a:lnTo>
                  <a:pt x="942" y="210"/>
                </a:lnTo>
                <a:lnTo>
                  <a:pt x="972" y="210"/>
                </a:lnTo>
                <a:lnTo>
                  <a:pt x="1032" y="216"/>
                </a:lnTo>
                <a:lnTo>
                  <a:pt x="1068" y="216"/>
                </a:lnTo>
                <a:lnTo>
                  <a:pt x="1056" y="234"/>
                </a:lnTo>
                <a:lnTo>
                  <a:pt x="1050" y="240"/>
                </a:lnTo>
                <a:lnTo>
                  <a:pt x="1044" y="246"/>
                </a:lnTo>
                <a:lnTo>
                  <a:pt x="1038" y="246"/>
                </a:lnTo>
                <a:lnTo>
                  <a:pt x="1026" y="282"/>
                </a:lnTo>
                <a:lnTo>
                  <a:pt x="1032" y="306"/>
                </a:lnTo>
                <a:lnTo>
                  <a:pt x="1044" y="324"/>
                </a:lnTo>
                <a:lnTo>
                  <a:pt x="1044" y="342"/>
                </a:lnTo>
                <a:lnTo>
                  <a:pt x="1062" y="366"/>
                </a:lnTo>
                <a:lnTo>
                  <a:pt x="1056" y="396"/>
                </a:lnTo>
                <a:lnTo>
                  <a:pt x="1038" y="462"/>
                </a:lnTo>
                <a:lnTo>
                  <a:pt x="1038" y="498"/>
                </a:lnTo>
                <a:lnTo>
                  <a:pt x="1038" y="522"/>
                </a:lnTo>
                <a:lnTo>
                  <a:pt x="1038" y="534"/>
                </a:lnTo>
                <a:lnTo>
                  <a:pt x="1056" y="522"/>
                </a:lnTo>
                <a:lnTo>
                  <a:pt x="1098" y="504"/>
                </a:lnTo>
                <a:lnTo>
                  <a:pt x="1104" y="498"/>
                </a:lnTo>
                <a:lnTo>
                  <a:pt x="1128" y="492"/>
                </a:lnTo>
                <a:lnTo>
                  <a:pt x="1152" y="480"/>
                </a:lnTo>
                <a:lnTo>
                  <a:pt x="1170" y="474"/>
                </a:lnTo>
                <a:lnTo>
                  <a:pt x="1188" y="468"/>
                </a:lnTo>
                <a:lnTo>
                  <a:pt x="1200" y="462"/>
                </a:lnTo>
                <a:lnTo>
                  <a:pt x="1224" y="450"/>
                </a:lnTo>
                <a:lnTo>
                  <a:pt x="1248" y="450"/>
                </a:lnTo>
                <a:lnTo>
                  <a:pt x="1266" y="450"/>
                </a:lnTo>
                <a:lnTo>
                  <a:pt x="1296" y="456"/>
                </a:lnTo>
                <a:lnTo>
                  <a:pt x="1308" y="456"/>
                </a:lnTo>
                <a:lnTo>
                  <a:pt x="1326" y="456"/>
                </a:lnTo>
                <a:lnTo>
                  <a:pt x="1338" y="456"/>
                </a:lnTo>
                <a:lnTo>
                  <a:pt x="1350" y="462"/>
                </a:lnTo>
                <a:lnTo>
                  <a:pt x="1356" y="462"/>
                </a:lnTo>
                <a:lnTo>
                  <a:pt x="1374" y="456"/>
                </a:lnTo>
                <a:lnTo>
                  <a:pt x="1386" y="456"/>
                </a:lnTo>
                <a:lnTo>
                  <a:pt x="1392" y="456"/>
                </a:lnTo>
                <a:lnTo>
                  <a:pt x="1398" y="456"/>
                </a:lnTo>
                <a:lnTo>
                  <a:pt x="1422" y="456"/>
                </a:lnTo>
                <a:lnTo>
                  <a:pt x="1440" y="456"/>
                </a:lnTo>
                <a:lnTo>
                  <a:pt x="1446" y="456"/>
                </a:lnTo>
                <a:lnTo>
                  <a:pt x="1476" y="456"/>
                </a:lnTo>
                <a:lnTo>
                  <a:pt x="1470" y="468"/>
                </a:lnTo>
                <a:lnTo>
                  <a:pt x="1470" y="474"/>
                </a:lnTo>
                <a:lnTo>
                  <a:pt x="1470" y="486"/>
                </a:lnTo>
                <a:lnTo>
                  <a:pt x="1464" y="492"/>
                </a:lnTo>
                <a:lnTo>
                  <a:pt x="1464" y="498"/>
                </a:lnTo>
                <a:lnTo>
                  <a:pt x="1458" y="498"/>
                </a:lnTo>
                <a:lnTo>
                  <a:pt x="1458" y="510"/>
                </a:lnTo>
                <a:lnTo>
                  <a:pt x="1452" y="522"/>
                </a:lnTo>
                <a:lnTo>
                  <a:pt x="1458" y="528"/>
                </a:lnTo>
                <a:lnTo>
                  <a:pt x="1464" y="546"/>
                </a:lnTo>
                <a:lnTo>
                  <a:pt x="1470" y="552"/>
                </a:lnTo>
                <a:lnTo>
                  <a:pt x="1476" y="564"/>
                </a:lnTo>
                <a:lnTo>
                  <a:pt x="1488" y="588"/>
                </a:lnTo>
                <a:lnTo>
                  <a:pt x="1506" y="606"/>
                </a:lnTo>
                <a:lnTo>
                  <a:pt x="1506" y="612"/>
                </a:lnTo>
                <a:lnTo>
                  <a:pt x="1518" y="618"/>
                </a:lnTo>
                <a:lnTo>
                  <a:pt x="1512" y="630"/>
                </a:lnTo>
                <a:lnTo>
                  <a:pt x="1518" y="642"/>
                </a:lnTo>
                <a:lnTo>
                  <a:pt x="1518" y="648"/>
                </a:lnTo>
                <a:lnTo>
                  <a:pt x="1530" y="666"/>
                </a:lnTo>
                <a:lnTo>
                  <a:pt x="1518" y="672"/>
                </a:lnTo>
                <a:lnTo>
                  <a:pt x="1524" y="696"/>
                </a:lnTo>
                <a:lnTo>
                  <a:pt x="1518" y="732"/>
                </a:lnTo>
                <a:lnTo>
                  <a:pt x="1524" y="762"/>
                </a:lnTo>
                <a:lnTo>
                  <a:pt x="1524" y="780"/>
                </a:lnTo>
                <a:lnTo>
                  <a:pt x="1524" y="810"/>
                </a:lnTo>
                <a:lnTo>
                  <a:pt x="1530" y="834"/>
                </a:lnTo>
                <a:lnTo>
                  <a:pt x="1536" y="846"/>
                </a:lnTo>
                <a:lnTo>
                  <a:pt x="1542" y="846"/>
                </a:lnTo>
                <a:lnTo>
                  <a:pt x="1584" y="840"/>
                </a:lnTo>
                <a:lnTo>
                  <a:pt x="1590" y="846"/>
                </a:lnTo>
                <a:lnTo>
                  <a:pt x="1596" y="858"/>
                </a:lnTo>
                <a:lnTo>
                  <a:pt x="1602" y="864"/>
                </a:lnTo>
                <a:lnTo>
                  <a:pt x="1596" y="870"/>
                </a:lnTo>
                <a:lnTo>
                  <a:pt x="1590" y="864"/>
                </a:lnTo>
                <a:lnTo>
                  <a:pt x="1578" y="882"/>
                </a:lnTo>
                <a:lnTo>
                  <a:pt x="1572" y="906"/>
                </a:lnTo>
                <a:lnTo>
                  <a:pt x="1560" y="924"/>
                </a:lnTo>
                <a:lnTo>
                  <a:pt x="1560" y="936"/>
                </a:lnTo>
                <a:lnTo>
                  <a:pt x="1548" y="960"/>
                </a:lnTo>
                <a:lnTo>
                  <a:pt x="1542" y="978"/>
                </a:lnTo>
                <a:lnTo>
                  <a:pt x="1536" y="990"/>
                </a:lnTo>
                <a:lnTo>
                  <a:pt x="1530" y="990"/>
                </a:lnTo>
                <a:lnTo>
                  <a:pt x="1506" y="996"/>
                </a:lnTo>
                <a:lnTo>
                  <a:pt x="1494" y="1002"/>
                </a:lnTo>
                <a:lnTo>
                  <a:pt x="1482" y="1002"/>
                </a:lnTo>
                <a:lnTo>
                  <a:pt x="1464" y="1008"/>
                </a:lnTo>
                <a:lnTo>
                  <a:pt x="1446" y="1026"/>
                </a:lnTo>
                <a:lnTo>
                  <a:pt x="1440" y="1026"/>
                </a:lnTo>
                <a:lnTo>
                  <a:pt x="1434" y="1038"/>
                </a:lnTo>
                <a:lnTo>
                  <a:pt x="1428" y="1044"/>
                </a:lnTo>
                <a:lnTo>
                  <a:pt x="1428" y="1062"/>
                </a:lnTo>
                <a:lnTo>
                  <a:pt x="1428" y="1086"/>
                </a:lnTo>
                <a:lnTo>
                  <a:pt x="1416" y="1092"/>
                </a:lnTo>
                <a:lnTo>
                  <a:pt x="1410" y="1080"/>
                </a:lnTo>
                <a:lnTo>
                  <a:pt x="1392" y="1080"/>
                </a:lnTo>
                <a:close/>
              </a:path>
            </a:pathLst>
          </a:custGeom>
          <a:solidFill>
            <a:srgbClr val="FF9900"/>
          </a:solidFill>
          <a:ln w="9525">
            <a:solidFill>
              <a:schemeClr val="bg1"/>
            </a:solidFill>
            <a:round/>
            <a:headEnd/>
            <a:tailEnd/>
          </a:ln>
        </p:spPr>
        <p:txBody>
          <a:bodyPr/>
          <a:lstStyle/>
          <a:p>
            <a:endParaRPr lang="en-GB"/>
          </a:p>
        </p:txBody>
      </p:sp>
      <p:sp>
        <p:nvSpPr>
          <p:cNvPr id="18464" name="Freeform 27"/>
          <p:cNvSpPr>
            <a:spLocks/>
          </p:cNvSpPr>
          <p:nvPr/>
        </p:nvSpPr>
        <p:spPr bwMode="gray">
          <a:xfrm>
            <a:off x="1435100" y="4562475"/>
            <a:ext cx="960438" cy="846138"/>
          </a:xfrm>
          <a:custGeom>
            <a:avLst/>
            <a:gdLst>
              <a:gd name="T0" fmla="*/ 74456 w 1224"/>
              <a:gd name="T1" fmla="*/ 71706 h 1050"/>
              <a:gd name="T2" fmla="*/ 70537 w 1224"/>
              <a:gd name="T3" fmla="*/ 67677 h 1050"/>
              <a:gd name="T4" fmla="*/ 65835 w 1224"/>
              <a:gd name="T5" fmla="*/ 66872 h 1050"/>
              <a:gd name="T6" fmla="*/ 64267 w 1224"/>
              <a:gd name="T7" fmla="*/ 64455 h 1050"/>
              <a:gd name="T8" fmla="*/ 66618 w 1224"/>
              <a:gd name="T9" fmla="*/ 62038 h 1050"/>
              <a:gd name="T10" fmla="*/ 63483 w 1224"/>
              <a:gd name="T11" fmla="*/ 61232 h 1050"/>
              <a:gd name="T12" fmla="*/ 60348 w 1224"/>
              <a:gd name="T13" fmla="*/ 62038 h 1050"/>
              <a:gd name="T14" fmla="*/ 61132 w 1224"/>
              <a:gd name="T15" fmla="*/ 58815 h 1050"/>
              <a:gd name="T16" fmla="*/ 46241 w 1224"/>
              <a:gd name="T17" fmla="*/ 57203 h 1050"/>
              <a:gd name="T18" fmla="*/ 32134 w 1224"/>
              <a:gd name="T19" fmla="*/ 58815 h 1050"/>
              <a:gd name="T20" fmla="*/ 25864 w 1224"/>
              <a:gd name="T21" fmla="*/ 57203 h 1050"/>
              <a:gd name="T22" fmla="*/ 23512 w 1224"/>
              <a:gd name="T23" fmla="*/ 60426 h 1050"/>
              <a:gd name="T24" fmla="*/ 21161 w 1224"/>
              <a:gd name="T25" fmla="*/ 64455 h 1050"/>
              <a:gd name="T26" fmla="*/ 9405 w 1224"/>
              <a:gd name="T27" fmla="*/ 65260 h 1050"/>
              <a:gd name="T28" fmla="*/ 7054 w 1224"/>
              <a:gd name="T29" fmla="*/ 67677 h 1050"/>
              <a:gd name="T30" fmla="*/ 4702 w 1224"/>
              <a:gd name="T31" fmla="*/ 66872 h 1050"/>
              <a:gd name="T32" fmla="*/ 784 w 1224"/>
              <a:gd name="T33" fmla="*/ 66872 h 1050"/>
              <a:gd name="T34" fmla="*/ 2351 w 1224"/>
              <a:gd name="T35" fmla="*/ 62038 h 1050"/>
              <a:gd name="T36" fmla="*/ 3919 w 1224"/>
              <a:gd name="T37" fmla="*/ 56398 h 1050"/>
              <a:gd name="T38" fmla="*/ 1567 w 1224"/>
              <a:gd name="T39" fmla="*/ 52369 h 1050"/>
              <a:gd name="T40" fmla="*/ 2351 w 1224"/>
              <a:gd name="T41" fmla="*/ 46730 h 1050"/>
              <a:gd name="T42" fmla="*/ 3135 w 1224"/>
              <a:gd name="T43" fmla="*/ 41090 h 1050"/>
              <a:gd name="T44" fmla="*/ 2351 w 1224"/>
              <a:gd name="T45" fmla="*/ 37867 h 1050"/>
              <a:gd name="T46" fmla="*/ 3135 w 1224"/>
              <a:gd name="T47" fmla="*/ 31422 h 1050"/>
              <a:gd name="T48" fmla="*/ 4702 w 1224"/>
              <a:gd name="T49" fmla="*/ 23365 h 1050"/>
              <a:gd name="T50" fmla="*/ 2351 w 1224"/>
              <a:gd name="T51" fmla="*/ 17725 h 1050"/>
              <a:gd name="T52" fmla="*/ 1567 w 1224"/>
              <a:gd name="T53" fmla="*/ 11280 h 1050"/>
              <a:gd name="T54" fmla="*/ 0 w 1224"/>
              <a:gd name="T55" fmla="*/ 4834 h 1050"/>
              <a:gd name="T56" fmla="*/ 7054 w 1224"/>
              <a:gd name="T57" fmla="*/ 806 h 1050"/>
              <a:gd name="T58" fmla="*/ 8621 w 1224"/>
              <a:gd name="T59" fmla="*/ 6445 h 1050"/>
              <a:gd name="T60" fmla="*/ 11756 w 1224"/>
              <a:gd name="T61" fmla="*/ 7251 h 1050"/>
              <a:gd name="T62" fmla="*/ 14107 w 1224"/>
              <a:gd name="T63" fmla="*/ 6445 h 1050"/>
              <a:gd name="T64" fmla="*/ 14107 w 1224"/>
              <a:gd name="T65" fmla="*/ 10474 h 1050"/>
              <a:gd name="T66" fmla="*/ 13324 w 1224"/>
              <a:gd name="T67" fmla="*/ 12085 h 1050"/>
              <a:gd name="T68" fmla="*/ 13324 w 1224"/>
              <a:gd name="T69" fmla="*/ 13697 h 1050"/>
              <a:gd name="T70" fmla="*/ 13324 w 1224"/>
              <a:gd name="T71" fmla="*/ 16919 h 1050"/>
              <a:gd name="T72" fmla="*/ 16459 w 1224"/>
              <a:gd name="T73" fmla="*/ 20142 h 1050"/>
              <a:gd name="T74" fmla="*/ 18810 w 1224"/>
              <a:gd name="T75" fmla="*/ 24976 h 1050"/>
              <a:gd name="T76" fmla="*/ 27431 w 1224"/>
              <a:gd name="T77" fmla="*/ 27393 h 1050"/>
              <a:gd name="T78" fmla="*/ 31350 w 1224"/>
              <a:gd name="T79" fmla="*/ 21753 h 1050"/>
              <a:gd name="T80" fmla="*/ 36052 w 1224"/>
              <a:gd name="T81" fmla="*/ 24170 h 1050"/>
              <a:gd name="T82" fmla="*/ 39971 w 1224"/>
              <a:gd name="T83" fmla="*/ 21753 h 1050"/>
              <a:gd name="T84" fmla="*/ 46241 w 1224"/>
              <a:gd name="T85" fmla="*/ 31422 h 1050"/>
              <a:gd name="T86" fmla="*/ 46241 w 1224"/>
              <a:gd name="T87" fmla="*/ 36256 h 1050"/>
              <a:gd name="T88" fmla="*/ 56430 w 1224"/>
              <a:gd name="T89" fmla="*/ 36256 h 1050"/>
              <a:gd name="T90" fmla="*/ 61916 w 1224"/>
              <a:gd name="T91" fmla="*/ 35450 h 1050"/>
              <a:gd name="T92" fmla="*/ 68186 w 1224"/>
              <a:gd name="T93" fmla="*/ 38673 h 1050"/>
              <a:gd name="T94" fmla="*/ 72888 w 1224"/>
              <a:gd name="T95" fmla="*/ 40284 h 1050"/>
              <a:gd name="T96" fmla="*/ 76807 w 1224"/>
              <a:gd name="T97" fmla="*/ 41090 h 1050"/>
              <a:gd name="T98" fmla="*/ 83077 w 1224"/>
              <a:gd name="T99" fmla="*/ 40284 h 1050"/>
              <a:gd name="T100" fmla="*/ 81509 w 1224"/>
              <a:gd name="T101" fmla="*/ 43507 h 1050"/>
              <a:gd name="T102" fmla="*/ 81509 w 1224"/>
              <a:gd name="T103" fmla="*/ 48341 h 1050"/>
              <a:gd name="T104" fmla="*/ 79158 w 1224"/>
              <a:gd name="T105" fmla="*/ 50758 h 1050"/>
              <a:gd name="T106" fmla="*/ 76807 w 1224"/>
              <a:gd name="T107" fmla="*/ 53175 h 1050"/>
              <a:gd name="T108" fmla="*/ 74456 w 1224"/>
              <a:gd name="T109" fmla="*/ 54786 h 1050"/>
              <a:gd name="T110" fmla="*/ 72888 w 1224"/>
              <a:gd name="T111" fmla="*/ 58009 h 1050"/>
              <a:gd name="T112" fmla="*/ 76807 w 1224"/>
              <a:gd name="T113" fmla="*/ 60426 h 1050"/>
              <a:gd name="T114" fmla="*/ 79942 w 1224"/>
              <a:gd name="T115" fmla="*/ 62038 h 1050"/>
              <a:gd name="T116" fmla="*/ 83861 w 1224"/>
              <a:gd name="T117" fmla="*/ 61232 h 1050"/>
              <a:gd name="T118" fmla="*/ 81509 w 1224"/>
              <a:gd name="T119" fmla="*/ 67677 h 1050"/>
              <a:gd name="T120" fmla="*/ 80726 w 1224"/>
              <a:gd name="T121" fmla="*/ 70094 h 1050"/>
              <a:gd name="T122" fmla="*/ 81509 w 1224"/>
              <a:gd name="T123" fmla="*/ 73317 h 105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24"/>
              <a:gd name="T187" fmla="*/ 0 h 1050"/>
              <a:gd name="T188" fmla="*/ 1224 w 1224"/>
              <a:gd name="T189" fmla="*/ 1050 h 105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24" h="1050">
                <a:moveTo>
                  <a:pt x="1128" y="1032"/>
                </a:moveTo>
                <a:lnTo>
                  <a:pt x="1122" y="1026"/>
                </a:lnTo>
                <a:lnTo>
                  <a:pt x="1116" y="1026"/>
                </a:lnTo>
                <a:lnTo>
                  <a:pt x="1110" y="1026"/>
                </a:lnTo>
                <a:lnTo>
                  <a:pt x="1104" y="1026"/>
                </a:lnTo>
                <a:lnTo>
                  <a:pt x="1104" y="1020"/>
                </a:lnTo>
                <a:lnTo>
                  <a:pt x="1098" y="1020"/>
                </a:lnTo>
                <a:lnTo>
                  <a:pt x="1092" y="1020"/>
                </a:lnTo>
                <a:lnTo>
                  <a:pt x="1086" y="1020"/>
                </a:lnTo>
                <a:lnTo>
                  <a:pt x="1080" y="1014"/>
                </a:lnTo>
                <a:lnTo>
                  <a:pt x="1068" y="1014"/>
                </a:lnTo>
                <a:lnTo>
                  <a:pt x="1062" y="1014"/>
                </a:lnTo>
                <a:lnTo>
                  <a:pt x="1062" y="1008"/>
                </a:lnTo>
                <a:lnTo>
                  <a:pt x="1062" y="990"/>
                </a:lnTo>
                <a:lnTo>
                  <a:pt x="1062" y="984"/>
                </a:lnTo>
                <a:lnTo>
                  <a:pt x="1062" y="972"/>
                </a:lnTo>
                <a:lnTo>
                  <a:pt x="1044" y="966"/>
                </a:lnTo>
                <a:lnTo>
                  <a:pt x="1026" y="966"/>
                </a:lnTo>
                <a:lnTo>
                  <a:pt x="1014" y="966"/>
                </a:lnTo>
                <a:lnTo>
                  <a:pt x="996" y="966"/>
                </a:lnTo>
                <a:lnTo>
                  <a:pt x="996" y="972"/>
                </a:lnTo>
                <a:lnTo>
                  <a:pt x="990" y="972"/>
                </a:lnTo>
                <a:lnTo>
                  <a:pt x="984" y="966"/>
                </a:lnTo>
                <a:lnTo>
                  <a:pt x="978" y="966"/>
                </a:lnTo>
                <a:lnTo>
                  <a:pt x="978" y="960"/>
                </a:lnTo>
                <a:lnTo>
                  <a:pt x="972" y="954"/>
                </a:lnTo>
                <a:lnTo>
                  <a:pt x="966" y="954"/>
                </a:lnTo>
                <a:lnTo>
                  <a:pt x="960" y="954"/>
                </a:lnTo>
                <a:lnTo>
                  <a:pt x="954" y="954"/>
                </a:lnTo>
                <a:lnTo>
                  <a:pt x="954" y="948"/>
                </a:lnTo>
                <a:lnTo>
                  <a:pt x="942" y="942"/>
                </a:lnTo>
                <a:lnTo>
                  <a:pt x="936" y="942"/>
                </a:lnTo>
                <a:lnTo>
                  <a:pt x="936" y="936"/>
                </a:lnTo>
                <a:lnTo>
                  <a:pt x="936" y="930"/>
                </a:lnTo>
                <a:lnTo>
                  <a:pt x="942" y="930"/>
                </a:lnTo>
                <a:lnTo>
                  <a:pt x="942" y="924"/>
                </a:lnTo>
                <a:lnTo>
                  <a:pt x="942" y="918"/>
                </a:lnTo>
                <a:lnTo>
                  <a:pt x="948" y="918"/>
                </a:lnTo>
                <a:lnTo>
                  <a:pt x="960" y="918"/>
                </a:lnTo>
                <a:lnTo>
                  <a:pt x="966" y="912"/>
                </a:lnTo>
                <a:lnTo>
                  <a:pt x="978" y="906"/>
                </a:lnTo>
                <a:lnTo>
                  <a:pt x="978" y="900"/>
                </a:lnTo>
                <a:lnTo>
                  <a:pt x="978" y="894"/>
                </a:lnTo>
                <a:lnTo>
                  <a:pt x="978" y="888"/>
                </a:lnTo>
                <a:lnTo>
                  <a:pt x="972" y="888"/>
                </a:lnTo>
                <a:lnTo>
                  <a:pt x="978" y="888"/>
                </a:lnTo>
                <a:lnTo>
                  <a:pt x="978" y="882"/>
                </a:lnTo>
                <a:lnTo>
                  <a:pt x="972" y="876"/>
                </a:lnTo>
                <a:lnTo>
                  <a:pt x="966" y="870"/>
                </a:lnTo>
                <a:lnTo>
                  <a:pt x="954" y="876"/>
                </a:lnTo>
                <a:lnTo>
                  <a:pt x="948" y="876"/>
                </a:lnTo>
                <a:lnTo>
                  <a:pt x="942" y="870"/>
                </a:lnTo>
                <a:lnTo>
                  <a:pt x="936" y="876"/>
                </a:lnTo>
                <a:lnTo>
                  <a:pt x="930" y="876"/>
                </a:lnTo>
                <a:lnTo>
                  <a:pt x="924" y="882"/>
                </a:lnTo>
                <a:lnTo>
                  <a:pt x="912" y="888"/>
                </a:lnTo>
                <a:lnTo>
                  <a:pt x="906" y="894"/>
                </a:lnTo>
                <a:lnTo>
                  <a:pt x="900" y="900"/>
                </a:lnTo>
                <a:lnTo>
                  <a:pt x="894" y="888"/>
                </a:lnTo>
                <a:lnTo>
                  <a:pt x="888" y="894"/>
                </a:lnTo>
                <a:lnTo>
                  <a:pt x="882" y="888"/>
                </a:lnTo>
                <a:lnTo>
                  <a:pt x="876" y="894"/>
                </a:lnTo>
                <a:lnTo>
                  <a:pt x="876" y="888"/>
                </a:lnTo>
                <a:lnTo>
                  <a:pt x="876" y="882"/>
                </a:lnTo>
                <a:lnTo>
                  <a:pt x="876" y="876"/>
                </a:lnTo>
                <a:lnTo>
                  <a:pt x="870" y="858"/>
                </a:lnTo>
                <a:lnTo>
                  <a:pt x="864" y="858"/>
                </a:lnTo>
                <a:lnTo>
                  <a:pt x="870" y="852"/>
                </a:lnTo>
                <a:lnTo>
                  <a:pt x="870" y="846"/>
                </a:lnTo>
                <a:lnTo>
                  <a:pt x="876" y="846"/>
                </a:lnTo>
                <a:lnTo>
                  <a:pt x="882" y="846"/>
                </a:lnTo>
                <a:lnTo>
                  <a:pt x="888" y="840"/>
                </a:lnTo>
                <a:lnTo>
                  <a:pt x="894" y="834"/>
                </a:lnTo>
                <a:lnTo>
                  <a:pt x="894" y="828"/>
                </a:lnTo>
                <a:lnTo>
                  <a:pt x="894" y="816"/>
                </a:lnTo>
                <a:lnTo>
                  <a:pt x="858" y="810"/>
                </a:lnTo>
                <a:lnTo>
                  <a:pt x="858" y="816"/>
                </a:lnTo>
                <a:lnTo>
                  <a:pt x="852" y="816"/>
                </a:lnTo>
                <a:lnTo>
                  <a:pt x="780" y="816"/>
                </a:lnTo>
                <a:lnTo>
                  <a:pt x="750" y="816"/>
                </a:lnTo>
                <a:lnTo>
                  <a:pt x="684" y="816"/>
                </a:lnTo>
                <a:lnTo>
                  <a:pt x="636" y="816"/>
                </a:lnTo>
                <a:lnTo>
                  <a:pt x="612" y="816"/>
                </a:lnTo>
                <a:lnTo>
                  <a:pt x="492" y="816"/>
                </a:lnTo>
                <a:lnTo>
                  <a:pt x="486" y="816"/>
                </a:lnTo>
                <a:lnTo>
                  <a:pt x="480" y="816"/>
                </a:lnTo>
                <a:lnTo>
                  <a:pt x="480" y="822"/>
                </a:lnTo>
                <a:lnTo>
                  <a:pt x="480" y="834"/>
                </a:lnTo>
                <a:lnTo>
                  <a:pt x="474" y="840"/>
                </a:lnTo>
                <a:lnTo>
                  <a:pt x="468" y="840"/>
                </a:lnTo>
                <a:lnTo>
                  <a:pt x="432" y="840"/>
                </a:lnTo>
                <a:lnTo>
                  <a:pt x="426" y="834"/>
                </a:lnTo>
                <a:lnTo>
                  <a:pt x="420" y="834"/>
                </a:lnTo>
                <a:lnTo>
                  <a:pt x="420" y="828"/>
                </a:lnTo>
                <a:lnTo>
                  <a:pt x="414" y="822"/>
                </a:lnTo>
                <a:lnTo>
                  <a:pt x="408" y="822"/>
                </a:lnTo>
                <a:lnTo>
                  <a:pt x="396" y="822"/>
                </a:lnTo>
                <a:lnTo>
                  <a:pt x="396" y="816"/>
                </a:lnTo>
                <a:lnTo>
                  <a:pt x="384" y="816"/>
                </a:lnTo>
                <a:lnTo>
                  <a:pt x="372" y="810"/>
                </a:lnTo>
                <a:lnTo>
                  <a:pt x="372" y="804"/>
                </a:lnTo>
                <a:lnTo>
                  <a:pt x="366" y="804"/>
                </a:lnTo>
                <a:lnTo>
                  <a:pt x="360" y="804"/>
                </a:lnTo>
                <a:lnTo>
                  <a:pt x="348" y="828"/>
                </a:lnTo>
                <a:lnTo>
                  <a:pt x="348" y="834"/>
                </a:lnTo>
                <a:lnTo>
                  <a:pt x="348" y="852"/>
                </a:lnTo>
                <a:lnTo>
                  <a:pt x="348" y="858"/>
                </a:lnTo>
                <a:lnTo>
                  <a:pt x="342" y="864"/>
                </a:lnTo>
                <a:lnTo>
                  <a:pt x="342" y="870"/>
                </a:lnTo>
                <a:lnTo>
                  <a:pt x="330" y="876"/>
                </a:lnTo>
                <a:lnTo>
                  <a:pt x="324" y="888"/>
                </a:lnTo>
                <a:lnTo>
                  <a:pt x="324" y="894"/>
                </a:lnTo>
                <a:lnTo>
                  <a:pt x="330" y="900"/>
                </a:lnTo>
                <a:lnTo>
                  <a:pt x="330" y="906"/>
                </a:lnTo>
                <a:lnTo>
                  <a:pt x="324" y="906"/>
                </a:lnTo>
                <a:lnTo>
                  <a:pt x="318" y="912"/>
                </a:lnTo>
                <a:lnTo>
                  <a:pt x="312" y="918"/>
                </a:lnTo>
                <a:lnTo>
                  <a:pt x="306" y="924"/>
                </a:lnTo>
                <a:lnTo>
                  <a:pt x="288" y="924"/>
                </a:lnTo>
                <a:lnTo>
                  <a:pt x="282" y="924"/>
                </a:lnTo>
                <a:lnTo>
                  <a:pt x="276" y="930"/>
                </a:lnTo>
                <a:lnTo>
                  <a:pt x="270" y="930"/>
                </a:lnTo>
                <a:lnTo>
                  <a:pt x="264" y="930"/>
                </a:lnTo>
                <a:lnTo>
                  <a:pt x="198" y="930"/>
                </a:lnTo>
                <a:lnTo>
                  <a:pt x="132" y="930"/>
                </a:lnTo>
                <a:lnTo>
                  <a:pt x="132" y="936"/>
                </a:lnTo>
                <a:lnTo>
                  <a:pt x="132" y="942"/>
                </a:lnTo>
                <a:lnTo>
                  <a:pt x="132" y="948"/>
                </a:lnTo>
                <a:lnTo>
                  <a:pt x="126" y="948"/>
                </a:lnTo>
                <a:lnTo>
                  <a:pt x="120" y="948"/>
                </a:lnTo>
                <a:lnTo>
                  <a:pt x="120" y="954"/>
                </a:lnTo>
                <a:lnTo>
                  <a:pt x="114" y="954"/>
                </a:lnTo>
                <a:lnTo>
                  <a:pt x="114" y="960"/>
                </a:lnTo>
                <a:lnTo>
                  <a:pt x="108" y="960"/>
                </a:lnTo>
                <a:lnTo>
                  <a:pt x="108" y="966"/>
                </a:lnTo>
                <a:lnTo>
                  <a:pt x="102" y="966"/>
                </a:lnTo>
                <a:lnTo>
                  <a:pt x="102" y="972"/>
                </a:lnTo>
                <a:lnTo>
                  <a:pt x="96" y="972"/>
                </a:lnTo>
                <a:lnTo>
                  <a:pt x="96" y="966"/>
                </a:lnTo>
                <a:lnTo>
                  <a:pt x="90" y="966"/>
                </a:lnTo>
                <a:lnTo>
                  <a:pt x="84" y="966"/>
                </a:lnTo>
                <a:lnTo>
                  <a:pt x="78" y="960"/>
                </a:lnTo>
                <a:lnTo>
                  <a:pt x="72" y="960"/>
                </a:lnTo>
                <a:lnTo>
                  <a:pt x="66" y="960"/>
                </a:lnTo>
                <a:lnTo>
                  <a:pt x="60" y="960"/>
                </a:lnTo>
                <a:lnTo>
                  <a:pt x="54" y="966"/>
                </a:lnTo>
                <a:lnTo>
                  <a:pt x="48" y="966"/>
                </a:lnTo>
                <a:lnTo>
                  <a:pt x="42" y="966"/>
                </a:lnTo>
                <a:lnTo>
                  <a:pt x="36" y="966"/>
                </a:lnTo>
                <a:lnTo>
                  <a:pt x="30" y="966"/>
                </a:lnTo>
                <a:lnTo>
                  <a:pt x="24" y="960"/>
                </a:lnTo>
                <a:lnTo>
                  <a:pt x="18" y="960"/>
                </a:lnTo>
                <a:lnTo>
                  <a:pt x="12" y="960"/>
                </a:lnTo>
                <a:lnTo>
                  <a:pt x="12" y="948"/>
                </a:lnTo>
                <a:lnTo>
                  <a:pt x="18" y="942"/>
                </a:lnTo>
                <a:lnTo>
                  <a:pt x="18" y="936"/>
                </a:lnTo>
                <a:lnTo>
                  <a:pt x="18" y="930"/>
                </a:lnTo>
                <a:lnTo>
                  <a:pt x="18" y="924"/>
                </a:lnTo>
                <a:lnTo>
                  <a:pt x="18" y="912"/>
                </a:lnTo>
                <a:lnTo>
                  <a:pt x="24" y="906"/>
                </a:lnTo>
                <a:lnTo>
                  <a:pt x="30" y="900"/>
                </a:lnTo>
                <a:lnTo>
                  <a:pt x="36" y="894"/>
                </a:lnTo>
                <a:lnTo>
                  <a:pt x="36" y="882"/>
                </a:lnTo>
                <a:lnTo>
                  <a:pt x="30" y="876"/>
                </a:lnTo>
                <a:lnTo>
                  <a:pt x="30" y="870"/>
                </a:lnTo>
                <a:lnTo>
                  <a:pt x="24" y="858"/>
                </a:lnTo>
                <a:lnTo>
                  <a:pt x="24" y="846"/>
                </a:lnTo>
                <a:lnTo>
                  <a:pt x="36" y="822"/>
                </a:lnTo>
                <a:lnTo>
                  <a:pt x="42" y="816"/>
                </a:lnTo>
                <a:lnTo>
                  <a:pt x="48" y="816"/>
                </a:lnTo>
                <a:lnTo>
                  <a:pt x="60" y="804"/>
                </a:lnTo>
                <a:lnTo>
                  <a:pt x="60" y="786"/>
                </a:lnTo>
                <a:lnTo>
                  <a:pt x="60" y="774"/>
                </a:lnTo>
                <a:lnTo>
                  <a:pt x="60" y="768"/>
                </a:lnTo>
                <a:lnTo>
                  <a:pt x="54" y="762"/>
                </a:lnTo>
                <a:lnTo>
                  <a:pt x="42" y="762"/>
                </a:lnTo>
                <a:lnTo>
                  <a:pt x="36" y="762"/>
                </a:lnTo>
                <a:lnTo>
                  <a:pt x="30" y="762"/>
                </a:lnTo>
                <a:lnTo>
                  <a:pt x="30" y="756"/>
                </a:lnTo>
                <a:lnTo>
                  <a:pt x="24" y="750"/>
                </a:lnTo>
                <a:lnTo>
                  <a:pt x="24" y="744"/>
                </a:lnTo>
                <a:lnTo>
                  <a:pt x="24" y="738"/>
                </a:lnTo>
                <a:lnTo>
                  <a:pt x="24" y="732"/>
                </a:lnTo>
                <a:lnTo>
                  <a:pt x="36" y="714"/>
                </a:lnTo>
                <a:lnTo>
                  <a:pt x="30" y="708"/>
                </a:lnTo>
                <a:lnTo>
                  <a:pt x="30" y="702"/>
                </a:lnTo>
                <a:lnTo>
                  <a:pt x="36" y="684"/>
                </a:lnTo>
                <a:lnTo>
                  <a:pt x="36" y="678"/>
                </a:lnTo>
                <a:lnTo>
                  <a:pt x="36" y="666"/>
                </a:lnTo>
                <a:lnTo>
                  <a:pt x="36" y="654"/>
                </a:lnTo>
                <a:lnTo>
                  <a:pt x="18" y="654"/>
                </a:lnTo>
                <a:lnTo>
                  <a:pt x="18" y="648"/>
                </a:lnTo>
                <a:lnTo>
                  <a:pt x="18" y="618"/>
                </a:lnTo>
                <a:lnTo>
                  <a:pt x="18" y="612"/>
                </a:lnTo>
                <a:lnTo>
                  <a:pt x="24" y="612"/>
                </a:lnTo>
                <a:lnTo>
                  <a:pt x="30" y="600"/>
                </a:lnTo>
                <a:lnTo>
                  <a:pt x="36" y="594"/>
                </a:lnTo>
                <a:lnTo>
                  <a:pt x="48" y="594"/>
                </a:lnTo>
                <a:lnTo>
                  <a:pt x="54" y="588"/>
                </a:lnTo>
                <a:lnTo>
                  <a:pt x="60" y="588"/>
                </a:lnTo>
                <a:lnTo>
                  <a:pt x="60" y="582"/>
                </a:lnTo>
                <a:lnTo>
                  <a:pt x="54" y="576"/>
                </a:lnTo>
                <a:lnTo>
                  <a:pt x="48" y="564"/>
                </a:lnTo>
                <a:lnTo>
                  <a:pt x="42" y="564"/>
                </a:lnTo>
                <a:lnTo>
                  <a:pt x="36" y="558"/>
                </a:lnTo>
                <a:lnTo>
                  <a:pt x="30" y="552"/>
                </a:lnTo>
                <a:lnTo>
                  <a:pt x="30" y="546"/>
                </a:lnTo>
                <a:lnTo>
                  <a:pt x="36" y="540"/>
                </a:lnTo>
                <a:lnTo>
                  <a:pt x="48" y="534"/>
                </a:lnTo>
                <a:lnTo>
                  <a:pt x="54" y="528"/>
                </a:lnTo>
                <a:lnTo>
                  <a:pt x="60" y="504"/>
                </a:lnTo>
                <a:lnTo>
                  <a:pt x="60" y="492"/>
                </a:lnTo>
                <a:lnTo>
                  <a:pt x="54" y="492"/>
                </a:lnTo>
                <a:lnTo>
                  <a:pt x="54" y="480"/>
                </a:lnTo>
                <a:lnTo>
                  <a:pt x="48" y="456"/>
                </a:lnTo>
                <a:lnTo>
                  <a:pt x="42" y="450"/>
                </a:lnTo>
                <a:lnTo>
                  <a:pt x="36" y="444"/>
                </a:lnTo>
                <a:lnTo>
                  <a:pt x="36" y="420"/>
                </a:lnTo>
                <a:lnTo>
                  <a:pt x="36" y="408"/>
                </a:lnTo>
                <a:lnTo>
                  <a:pt x="36" y="372"/>
                </a:lnTo>
                <a:lnTo>
                  <a:pt x="36" y="342"/>
                </a:lnTo>
                <a:lnTo>
                  <a:pt x="42" y="342"/>
                </a:lnTo>
                <a:lnTo>
                  <a:pt x="60" y="342"/>
                </a:lnTo>
                <a:lnTo>
                  <a:pt x="66" y="336"/>
                </a:lnTo>
                <a:lnTo>
                  <a:pt x="66" y="330"/>
                </a:lnTo>
                <a:lnTo>
                  <a:pt x="66" y="300"/>
                </a:lnTo>
                <a:lnTo>
                  <a:pt x="60" y="294"/>
                </a:lnTo>
                <a:lnTo>
                  <a:pt x="60" y="288"/>
                </a:lnTo>
                <a:lnTo>
                  <a:pt x="54" y="282"/>
                </a:lnTo>
                <a:lnTo>
                  <a:pt x="42" y="276"/>
                </a:lnTo>
                <a:lnTo>
                  <a:pt x="36" y="276"/>
                </a:lnTo>
                <a:lnTo>
                  <a:pt x="36" y="270"/>
                </a:lnTo>
                <a:lnTo>
                  <a:pt x="30" y="264"/>
                </a:lnTo>
                <a:lnTo>
                  <a:pt x="36" y="258"/>
                </a:lnTo>
                <a:lnTo>
                  <a:pt x="30" y="252"/>
                </a:lnTo>
                <a:lnTo>
                  <a:pt x="24" y="246"/>
                </a:lnTo>
                <a:lnTo>
                  <a:pt x="24" y="240"/>
                </a:lnTo>
                <a:lnTo>
                  <a:pt x="24" y="228"/>
                </a:lnTo>
                <a:lnTo>
                  <a:pt x="24" y="216"/>
                </a:lnTo>
                <a:lnTo>
                  <a:pt x="24" y="210"/>
                </a:lnTo>
                <a:lnTo>
                  <a:pt x="18" y="192"/>
                </a:lnTo>
                <a:lnTo>
                  <a:pt x="18" y="186"/>
                </a:lnTo>
                <a:lnTo>
                  <a:pt x="24" y="162"/>
                </a:lnTo>
                <a:lnTo>
                  <a:pt x="24" y="144"/>
                </a:lnTo>
                <a:lnTo>
                  <a:pt x="24" y="132"/>
                </a:lnTo>
                <a:lnTo>
                  <a:pt x="24" y="114"/>
                </a:lnTo>
                <a:lnTo>
                  <a:pt x="24" y="102"/>
                </a:lnTo>
                <a:lnTo>
                  <a:pt x="18" y="90"/>
                </a:lnTo>
                <a:lnTo>
                  <a:pt x="12" y="90"/>
                </a:lnTo>
                <a:lnTo>
                  <a:pt x="12" y="84"/>
                </a:lnTo>
                <a:lnTo>
                  <a:pt x="6" y="78"/>
                </a:lnTo>
                <a:lnTo>
                  <a:pt x="6" y="72"/>
                </a:lnTo>
                <a:lnTo>
                  <a:pt x="0" y="60"/>
                </a:lnTo>
                <a:lnTo>
                  <a:pt x="18" y="48"/>
                </a:lnTo>
                <a:lnTo>
                  <a:pt x="42" y="36"/>
                </a:lnTo>
                <a:lnTo>
                  <a:pt x="54" y="24"/>
                </a:lnTo>
                <a:lnTo>
                  <a:pt x="60" y="0"/>
                </a:lnTo>
                <a:lnTo>
                  <a:pt x="78" y="0"/>
                </a:lnTo>
                <a:lnTo>
                  <a:pt x="78" y="6"/>
                </a:lnTo>
                <a:lnTo>
                  <a:pt x="90" y="6"/>
                </a:lnTo>
                <a:lnTo>
                  <a:pt x="102" y="12"/>
                </a:lnTo>
                <a:lnTo>
                  <a:pt x="138" y="12"/>
                </a:lnTo>
                <a:lnTo>
                  <a:pt x="138" y="18"/>
                </a:lnTo>
                <a:lnTo>
                  <a:pt x="126" y="18"/>
                </a:lnTo>
                <a:lnTo>
                  <a:pt x="126" y="24"/>
                </a:lnTo>
                <a:lnTo>
                  <a:pt x="120" y="30"/>
                </a:lnTo>
                <a:lnTo>
                  <a:pt x="114" y="60"/>
                </a:lnTo>
                <a:lnTo>
                  <a:pt x="120" y="60"/>
                </a:lnTo>
                <a:lnTo>
                  <a:pt x="114" y="84"/>
                </a:lnTo>
                <a:lnTo>
                  <a:pt x="120" y="90"/>
                </a:lnTo>
                <a:lnTo>
                  <a:pt x="126" y="96"/>
                </a:lnTo>
                <a:lnTo>
                  <a:pt x="132" y="96"/>
                </a:lnTo>
                <a:lnTo>
                  <a:pt x="138" y="96"/>
                </a:lnTo>
                <a:lnTo>
                  <a:pt x="138" y="102"/>
                </a:lnTo>
                <a:lnTo>
                  <a:pt x="138" y="114"/>
                </a:lnTo>
                <a:lnTo>
                  <a:pt x="138" y="132"/>
                </a:lnTo>
                <a:lnTo>
                  <a:pt x="162" y="126"/>
                </a:lnTo>
                <a:lnTo>
                  <a:pt x="162" y="114"/>
                </a:lnTo>
                <a:lnTo>
                  <a:pt x="174" y="108"/>
                </a:lnTo>
                <a:lnTo>
                  <a:pt x="174" y="102"/>
                </a:lnTo>
                <a:lnTo>
                  <a:pt x="180" y="96"/>
                </a:lnTo>
                <a:lnTo>
                  <a:pt x="180" y="60"/>
                </a:lnTo>
                <a:lnTo>
                  <a:pt x="192" y="60"/>
                </a:lnTo>
                <a:lnTo>
                  <a:pt x="192" y="72"/>
                </a:lnTo>
                <a:lnTo>
                  <a:pt x="198" y="72"/>
                </a:lnTo>
                <a:lnTo>
                  <a:pt x="198" y="78"/>
                </a:lnTo>
                <a:lnTo>
                  <a:pt x="204" y="78"/>
                </a:lnTo>
                <a:lnTo>
                  <a:pt x="204" y="96"/>
                </a:lnTo>
                <a:lnTo>
                  <a:pt x="204" y="102"/>
                </a:lnTo>
                <a:lnTo>
                  <a:pt x="204" y="108"/>
                </a:lnTo>
                <a:lnTo>
                  <a:pt x="204" y="114"/>
                </a:lnTo>
                <a:lnTo>
                  <a:pt x="204" y="120"/>
                </a:lnTo>
                <a:lnTo>
                  <a:pt x="204" y="126"/>
                </a:lnTo>
                <a:lnTo>
                  <a:pt x="210" y="126"/>
                </a:lnTo>
                <a:lnTo>
                  <a:pt x="210" y="132"/>
                </a:lnTo>
                <a:lnTo>
                  <a:pt x="204" y="138"/>
                </a:lnTo>
                <a:lnTo>
                  <a:pt x="204" y="150"/>
                </a:lnTo>
                <a:lnTo>
                  <a:pt x="198" y="150"/>
                </a:lnTo>
                <a:lnTo>
                  <a:pt x="192" y="150"/>
                </a:lnTo>
                <a:lnTo>
                  <a:pt x="192" y="156"/>
                </a:lnTo>
                <a:lnTo>
                  <a:pt x="198" y="156"/>
                </a:lnTo>
                <a:lnTo>
                  <a:pt x="204" y="156"/>
                </a:lnTo>
                <a:lnTo>
                  <a:pt x="204" y="162"/>
                </a:lnTo>
                <a:lnTo>
                  <a:pt x="198" y="162"/>
                </a:lnTo>
                <a:lnTo>
                  <a:pt x="192" y="162"/>
                </a:lnTo>
                <a:lnTo>
                  <a:pt x="192" y="168"/>
                </a:lnTo>
                <a:lnTo>
                  <a:pt x="198" y="168"/>
                </a:lnTo>
                <a:lnTo>
                  <a:pt x="198" y="174"/>
                </a:lnTo>
                <a:lnTo>
                  <a:pt x="186" y="174"/>
                </a:lnTo>
                <a:lnTo>
                  <a:pt x="192" y="174"/>
                </a:lnTo>
                <a:lnTo>
                  <a:pt x="198" y="174"/>
                </a:lnTo>
                <a:lnTo>
                  <a:pt x="198" y="180"/>
                </a:lnTo>
                <a:lnTo>
                  <a:pt x="192" y="186"/>
                </a:lnTo>
                <a:lnTo>
                  <a:pt x="192" y="192"/>
                </a:lnTo>
                <a:lnTo>
                  <a:pt x="192" y="198"/>
                </a:lnTo>
                <a:lnTo>
                  <a:pt x="186" y="204"/>
                </a:lnTo>
                <a:lnTo>
                  <a:pt x="186" y="210"/>
                </a:lnTo>
                <a:lnTo>
                  <a:pt x="180" y="210"/>
                </a:lnTo>
                <a:lnTo>
                  <a:pt x="180" y="216"/>
                </a:lnTo>
                <a:lnTo>
                  <a:pt x="180" y="222"/>
                </a:lnTo>
                <a:lnTo>
                  <a:pt x="186" y="228"/>
                </a:lnTo>
                <a:lnTo>
                  <a:pt x="186" y="234"/>
                </a:lnTo>
                <a:lnTo>
                  <a:pt x="192" y="240"/>
                </a:lnTo>
                <a:lnTo>
                  <a:pt x="198" y="246"/>
                </a:lnTo>
                <a:lnTo>
                  <a:pt x="198" y="252"/>
                </a:lnTo>
                <a:lnTo>
                  <a:pt x="198" y="258"/>
                </a:lnTo>
                <a:lnTo>
                  <a:pt x="204" y="258"/>
                </a:lnTo>
                <a:lnTo>
                  <a:pt x="210" y="258"/>
                </a:lnTo>
                <a:lnTo>
                  <a:pt x="216" y="258"/>
                </a:lnTo>
                <a:lnTo>
                  <a:pt x="228" y="270"/>
                </a:lnTo>
                <a:lnTo>
                  <a:pt x="228" y="276"/>
                </a:lnTo>
                <a:lnTo>
                  <a:pt x="234" y="276"/>
                </a:lnTo>
                <a:lnTo>
                  <a:pt x="240" y="288"/>
                </a:lnTo>
                <a:lnTo>
                  <a:pt x="246" y="294"/>
                </a:lnTo>
                <a:lnTo>
                  <a:pt x="246" y="306"/>
                </a:lnTo>
                <a:lnTo>
                  <a:pt x="252" y="318"/>
                </a:lnTo>
                <a:lnTo>
                  <a:pt x="258" y="324"/>
                </a:lnTo>
                <a:lnTo>
                  <a:pt x="258" y="330"/>
                </a:lnTo>
                <a:lnTo>
                  <a:pt x="258" y="342"/>
                </a:lnTo>
                <a:lnTo>
                  <a:pt x="270" y="342"/>
                </a:lnTo>
                <a:lnTo>
                  <a:pt x="276" y="348"/>
                </a:lnTo>
                <a:lnTo>
                  <a:pt x="276" y="354"/>
                </a:lnTo>
                <a:lnTo>
                  <a:pt x="288" y="366"/>
                </a:lnTo>
                <a:lnTo>
                  <a:pt x="336" y="360"/>
                </a:lnTo>
                <a:lnTo>
                  <a:pt x="354" y="360"/>
                </a:lnTo>
                <a:lnTo>
                  <a:pt x="366" y="372"/>
                </a:lnTo>
                <a:lnTo>
                  <a:pt x="378" y="378"/>
                </a:lnTo>
                <a:lnTo>
                  <a:pt x="378" y="390"/>
                </a:lnTo>
                <a:lnTo>
                  <a:pt x="384" y="390"/>
                </a:lnTo>
                <a:lnTo>
                  <a:pt x="390" y="396"/>
                </a:lnTo>
                <a:lnTo>
                  <a:pt x="408" y="390"/>
                </a:lnTo>
                <a:lnTo>
                  <a:pt x="426" y="366"/>
                </a:lnTo>
                <a:lnTo>
                  <a:pt x="432" y="360"/>
                </a:lnTo>
                <a:lnTo>
                  <a:pt x="438" y="348"/>
                </a:lnTo>
                <a:lnTo>
                  <a:pt x="438" y="342"/>
                </a:lnTo>
                <a:lnTo>
                  <a:pt x="438" y="330"/>
                </a:lnTo>
                <a:lnTo>
                  <a:pt x="444" y="324"/>
                </a:lnTo>
                <a:lnTo>
                  <a:pt x="450" y="318"/>
                </a:lnTo>
                <a:lnTo>
                  <a:pt x="456" y="312"/>
                </a:lnTo>
                <a:lnTo>
                  <a:pt x="456" y="306"/>
                </a:lnTo>
                <a:lnTo>
                  <a:pt x="456" y="300"/>
                </a:lnTo>
                <a:lnTo>
                  <a:pt x="474" y="288"/>
                </a:lnTo>
                <a:lnTo>
                  <a:pt x="480" y="288"/>
                </a:lnTo>
                <a:lnTo>
                  <a:pt x="486" y="288"/>
                </a:lnTo>
                <a:lnTo>
                  <a:pt x="492" y="294"/>
                </a:lnTo>
                <a:lnTo>
                  <a:pt x="492" y="318"/>
                </a:lnTo>
                <a:lnTo>
                  <a:pt x="504" y="324"/>
                </a:lnTo>
                <a:lnTo>
                  <a:pt x="492" y="348"/>
                </a:lnTo>
                <a:lnTo>
                  <a:pt x="522" y="348"/>
                </a:lnTo>
                <a:lnTo>
                  <a:pt x="528" y="342"/>
                </a:lnTo>
                <a:lnTo>
                  <a:pt x="528" y="336"/>
                </a:lnTo>
                <a:lnTo>
                  <a:pt x="528" y="330"/>
                </a:lnTo>
                <a:lnTo>
                  <a:pt x="534" y="330"/>
                </a:lnTo>
                <a:lnTo>
                  <a:pt x="540" y="330"/>
                </a:lnTo>
                <a:lnTo>
                  <a:pt x="546" y="330"/>
                </a:lnTo>
                <a:lnTo>
                  <a:pt x="552" y="324"/>
                </a:lnTo>
                <a:lnTo>
                  <a:pt x="558" y="318"/>
                </a:lnTo>
                <a:lnTo>
                  <a:pt x="576" y="318"/>
                </a:lnTo>
                <a:lnTo>
                  <a:pt x="636" y="318"/>
                </a:lnTo>
                <a:lnTo>
                  <a:pt x="642" y="312"/>
                </a:lnTo>
                <a:lnTo>
                  <a:pt x="648" y="348"/>
                </a:lnTo>
                <a:lnTo>
                  <a:pt x="654" y="354"/>
                </a:lnTo>
                <a:lnTo>
                  <a:pt x="648" y="402"/>
                </a:lnTo>
                <a:lnTo>
                  <a:pt x="678" y="402"/>
                </a:lnTo>
                <a:lnTo>
                  <a:pt x="678" y="420"/>
                </a:lnTo>
                <a:lnTo>
                  <a:pt x="684" y="438"/>
                </a:lnTo>
                <a:lnTo>
                  <a:pt x="684" y="450"/>
                </a:lnTo>
                <a:lnTo>
                  <a:pt x="684" y="456"/>
                </a:lnTo>
                <a:lnTo>
                  <a:pt x="690" y="468"/>
                </a:lnTo>
                <a:lnTo>
                  <a:pt x="690" y="474"/>
                </a:lnTo>
                <a:lnTo>
                  <a:pt x="690" y="480"/>
                </a:lnTo>
                <a:lnTo>
                  <a:pt x="696" y="486"/>
                </a:lnTo>
                <a:lnTo>
                  <a:pt x="696" y="498"/>
                </a:lnTo>
                <a:lnTo>
                  <a:pt x="702" y="504"/>
                </a:lnTo>
                <a:lnTo>
                  <a:pt x="690" y="516"/>
                </a:lnTo>
                <a:lnTo>
                  <a:pt x="678" y="522"/>
                </a:lnTo>
                <a:lnTo>
                  <a:pt x="654" y="528"/>
                </a:lnTo>
                <a:lnTo>
                  <a:pt x="660" y="546"/>
                </a:lnTo>
                <a:lnTo>
                  <a:pt x="672" y="546"/>
                </a:lnTo>
                <a:lnTo>
                  <a:pt x="678" y="540"/>
                </a:lnTo>
                <a:lnTo>
                  <a:pt x="714" y="540"/>
                </a:lnTo>
                <a:lnTo>
                  <a:pt x="798" y="540"/>
                </a:lnTo>
                <a:lnTo>
                  <a:pt x="804" y="540"/>
                </a:lnTo>
                <a:lnTo>
                  <a:pt x="816" y="528"/>
                </a:lnTo>
                <a:lnTo>
                  <a:pt x="822" y="522"/>
                </a:lnTo>
                <a:lnTo>
                  <a:pt x="834" y="516"/>
                </a:lnTo>
                <a:lnTo>
                  <a:pt x="846" y="516"/>
                </a:lnTo>
                <a:lnTo>
                  <a:pt x="852" y="510"/>
                </a:lnTo>
                <a:lnTo>
                  <a:pt x="858" y="510"/>
                </a:lnTo>
                <a:lnTo>
                  <a:pt x="882" y="516"/>
                </a:lnTo>
                <a:lnTo>
                  <a:pt x="888" y="516"/>
                </a:lnTo>
                <a:lnTo>
                  <a:pt x="888" y="510"/>
                </a:lnTo>
                <a:lnTo>
                  <a:pt x="894" y="510"/>
                </a:lnTo>
                <a:lnTo>
                  <a:pt x="906" y="504"/>
                </a:lnTo>
                <a:lnTo>
                  <a:pt x="918" y="498"/>
                </a:lnTo>
                <a:lnTo>
                  <a:pt x="930" y="492"/>
                </a:lnTo>
                <a:lnTo>
                  <a:pt x="936" y="492"/>
                </a:lnTo>
                <a:lnTo>
                  <a:pt x="948" y="492"/>
                </a:lnTo>
                <a:lnTo>
                  <a:pt x="954" y="528"/>
                </a:lnTo>
                <a:lnTo>
                  <a:pt x="954" y="564"/>
                </a:lnTo>
                <a:lnTo>
                  <a:pt x="972" y="564"/>
                </a:lnTo>
                <a:lnTo>
                  <a:pt x="978" y="558"/>
                </a:lnTo>
                <a:lnTo>
                  <a:pt x="990" y="552"/>
                </a:lnTo>
                <a:lnTo>
                  <a:pt x="1002" y="540"/>
                </a:lnTo>
                <a:lnTo>
                  <a:pt x="1026" y="534"/>
                </a:lnTo>
                <a:lnTo>
                  <a:pt x="1032" y="540"/>
                </a:lnTo>
                <a:lnTo>
                  <a:pt x="1044" y="546"/>
                </a:lnTo>
                <a:lnTo>
                  <a:pt x="1062" y="552"/>
                </a:lnTo>
                <a:lnTo>
                  <a:pt x="1068" y="552"/>
                </a:lnTo>
                <a:lnTo>
                  <a:pt x="1068" y="570"/>
                </a:lnTo>
                <a:lnTo>
                  <a:pt x="1068" y="576"/>
                </a:lnTo>
                <a:lnTo>
                  <a:pt x="1068" y="582"/>
                </a:lnTo>
                <a:lnTo>
                  <a:pt x="1068" y="588"/>
                </a:lnTo>
                <a:lnTo>
                  <a:pt x="1068" y="594"/>
                </a:lnTo>
                <a:lnTo>
                  <a:pt x="1080" y="600"/>
                </a:lnTo>
                <a:lnTo>
                  <a:pt x="1086" y="606"/>
                </a:lnTo>
                <a:lnTo>
                  <a:pt x="1092" y="594"/>
                </a:lnTo>
                <a:lnTo>
                  <a:pt x="1104" y="588"/>
                </a:lnTo>
                <a:lnTo>
                  <a:pt x="1116" y="588"/>
                </a:lnTo>
                <a:lnTo>
                  <a:pt x="1122" y="588"/>
                </a:lnTo>
                <a:lnTo>
                  <a:pt x="1122" y="594"/>
                </a:lnTo>
                <a:lnTo>
                  <a:pt x="1128" y="594"/>
                </a:lnTo>
                <a:lnTo>
                  <a:pt x="1134" y="594"/>
                </a:lnTo>
                <a:lnTo>
                  <a:pt x="1140" y="594"/>
                </a:lnTo>
                <a:lnTo>
                  <a:pt x="1146" y="588"/>
                </a:lnTo>
                <a:lnTo>
                  <a:pt x="1158" y="582"/>
                </a:lnTo>
                <a:lnTo>
                  <a:pt x="1164" y="576"/>
                </a:lnTo>
                <a:lnTo>
                  <a:pt x="1176" y="576"/>
                </a:lnTo>
                <a:lnTo>
                  <a:pt x="1194" y="576"/>
                </a:lnTo>
                <a:lnTo>
                  <a:pt x="1218" y="576"/>
                </a:lnTo>
                <a:lnTo>
                  <a:pt x="1224" y="582"/>
                </a:lnTo>
                <a:lnTo>
                  <a:pt x="1224" y="588"/>
                </a:lnTo>
                <a:lnTo>
                  <a:pt x="1224" y="594"/>
                </a:lnTo>
                <a:lnTo>
                  <a:pt x="1212" y="600"/>
                </a:lnTo>
                <a:lnTo>
                  <a:pt x="1206" y="606"/>
                </a:lnTo>
                <a:lnTo>
                  <a:pt x="1200" y="606"/>
                </a:lnTo>
                <a:lnTo>
                  <a:pt x="1200" y="612"/>
                </a:lnTo>
                <a:lnTo>
                  <a:pt x="1194" y="612"/>
                </a:lnTo>
                <a:lnTo>
                  <a:pt x="1194" y="618"/>
                </a:lnTo>
                <a:lnTo>
                  <a:pt x="1194" y="624"/>
                </a:lnTo>
                <a:lnTo>
                  <a:pt x="1194" y="630"/>
                </a:lnTo>
                <a:lnTo>
                  <a:pt x="1194" y="648"/>
                </a:lnTo>
                <a:lnTo>
                  <a:pt x="1194" y="660"/>
                </a:lnTo>
                <a:lnTo>
                  <a:pt x="1194" y="666"/>
                </a:lnTo>
                <a:lnTo>
                  <a:pt x="1194" y="672"/>
                </a:lnTo>
                <a:lnTo>
                  <a:pt x="1194" y="678"/>
                </a:lnTo>
                <a:lnTo>
                  <a:pt x="1188" y="684"/>
                </a:lnTo>
                <a:lnTo>
                  <a:pt x="1188" y="690"/>
                </a:lnTo>
                <a:lnTo>
                  <a:pt x="1188" y="696"/>
                </a:lnTo>
                <a:lnTo>
                  <a:pt x="1188" y="702"/>
                </a:lnTo>
                <a:lnTo>
                  <a:pt x="1188" y="708"/>
                </a:lnTo>
                <a:lnTo>
                  <a:pt x="1188" y="714"/>
                </a:lnTo>
                <a:lnTo>
                  <a:pt x="1182" y="720"/>
                </a:lnTo>
                <a:lnTo>
                  <a:pt x="1170" y="720"/>
                </a:lnTo>
                <a:lnTo>
                  <a:pt x="1158" y="726"/>
                </a:lnTo>
                <a:lnTo>
                  <a:pt x="1152" y="726"/>
                </a:lnTo>
                <a:lnTo>
                  <a:pt x="1152" y="732"/>
                </a:lnTo>
                <a:lnTo>
                  <a:pt x="1146" y="738"/>
                </a:lnTo>
                <a:lnTo>
                  <a:pt x="1140" y="738"/>
                </a:lnTo>
                <a:lnTo>
                  <a:pt x="1140" y="744"/>
                </a:lnTo>
                <a:lnTo>
                  <a:pt x="1134" y="744"/>
                </a:lnTo>
                <a:lnTo>
                  <a:pt x="1128" y="744"/>
                </a:lnTo>
                <a:lnTo>
                  <a:pt x="1122" y="750"/>
                </a:lnTo>
                <a:lnTo>
                  <a:pt x="1128" y="750"/>
                </a:lnTo>
                <a:lnTo>
                  <a:pt x="1122" y="756"/>
                </a:lnTo>
                <a:lnTo>
                  <a:pt x="1116" y="756"/>
                </a:lnTo>
                <a:lnTo>
                  <a:pt x="1110" y="762"/>
                </a:lnTo>
                <a:lnTo>
                  <a:pt x="1104" y="762"/>
                </a:lnTo>
                <a:lnTo>
                  <a:pt x="1104" y="768"/>
                </a:lnTo>
                <a:lnTo>
                  <a:pt x="1098" y="768"/>
                </a:lnTo>
                <a:lnTo>
                  <a:pt x="1098" y="774"/>
                </a:lnTo>
                <a:lnTo>
                  <a:pt x="1092" y="774"/>
                </a:lnTo>
                <a:lnTo>
                  <a:pt x="1092" y="780"/>
                </a:lnTo>
                <a:lnTo>
                  <a:pt x="1086" y="780"/>
                </a:lnTo>
                <a:lnTo>
                  <a:pt x="1086" y="786"/>
                </a:lnTo>
                <a:lnTo>
                  <a:pt x="1080" y="786"/>
                </a:lnTo>
                <a:lnTo>
                  <a:pt x="1080" y="792"/>
                </a:lnTo>
                <a:lnTo>
                  <a:pt x="1080" y="798"/>
                </a:lnTo>
                <a:lnTo>
                  <a:pt x="1080" y="804"/>
                </a:lnTo>
                <a:lnTo>
                  <a:pt x="1086" y="810"/>
                </a:lnTo>
                <a:lnTo>
                  <a:pt x="1080" y="816"/>
                </a:lnTo>
                <a:lnTo>
                  <a:pt x="1080" y="822"/>
                </a:lnTo>
                <a:lnTo>
                  <a:pt x="1074" y="822"/>
                </a:lnTo>
                <a:lnTo>
                  <a:pt x="1068" y="828"/>
                </a:lnTo>
                <a:lnTo>
                  <a:pt x="1074" y="828"/>
                </a:lnTo>
                <a:lnTo>
                  <a:pt x="1074" y="834"/>
                </a:lnTo>
                <a:lnTo>
                  <a:pt x="1080" y="846"/>
                </a:lnTo>
                <a:lnTo>
                  <a:pt x="1086" y="846"/>
                </a:lnTo>
                <a:lnTo>
                  <a:pt x="1092" y="852"/>
                </a:lnTo>
                <a:lnTo>
                  <a:pt x="1092" y="858"/>
                </a:lnTo>
                <a:lnTo>
                  <a:pt x="1098" y="858"/>
                </a:lnTo>
                <a:lnTo>
                  <a:pt x="1110" y="864"/>
                </a:lnTo>
                <a:lnTo>
                  <a:pt x="1116" y="864"/>
                </a:lnTo>
                <a:lnTo>
                  <a:pt x="1122" y="864"/>
                </a:lnTo>
                <a:lnTo>
                  <a:pt x="1128" y="864"/>
                </a:lnTo>
                <a:lnTo>
                  <a:pt x="1134" y="876"/>
                </a:lnTo>
                <a:lnTo>
                  <a:pt x="1140" y="882"/>
                </a:lnTo>
                <a:lnTo>
                  <a:pt x="1140" y="888"/>
                </a:lnTo>
                <a:lnTo>
                  <a:pt x="1152" y="918"/>
                </a:lnTo>
                <a:lnTo>
                  <a:pt x="1158" y="894"/>
                </a:lnTo>
                <a:lnTo>
                  <a:pt x="1164" y="888"/>
                </a:lnTo>
                <a:lnTo>
                  <a:pt x="1164" y="882"/>
                </a:lnTo>
                <a:lnTo>
                  <a:pt x="1176" y="864"/>
                </a:lnTo>
                <a:lnTo>
                  <a:pt x="1182" y="858"/>
                </a:lnTo>
                <a:lnTo>
                  <a:pt x="1188" y="846"/>
                </a:lnTo>
                <a:lnTo>
                  <a:pt x="1200" y="840"/>
                </a:lnTo>
                <a:lnTo>
                  <a:pt x="1212" y="840"/>
                </a:lnTo>
                <a:lnTo>
                  <a:pt x="1218" y="846"/>
                </a:lnTo>
                <a:lnTo>
                  <a:pt x="1224" y="858"/>
                </a:lnTo>
                <a:lnTo>
                  <a:pt x="1224" y="864"/>
                </a:lnTo>
                <a:lnTo>
                  <a:pt x="1224" y="876"/>
                </a:lnTo>
                <a:lnTo>
                  <a:pt x="1212" y="912"/>
                </a:lnTo>
                <a:lnTo>
                  <a:pt x="1218" y="918"/>
                </a:lnTo>
                <a:lnTo>
                  <a:pt x="1218" y="930"/>
                </a:lnTo>
                <a:lnTo>
                  <a:pt x="1200" y="930"/>
                </a:lnTo>
                <a:lnTo>
                  <a:pt x="1200" y="942"/>
                </a:lnTo>
                <a:lnTo>
                  <a:pt x="1194" y="948"/>
                </a:lnTo>
                <a:lnTo>
                  <a:pt x="1194" y="960"/>
                </a:lnTo>
                <a:lnTo>
                  <a:pt x="1194" y="966"/>
                </a:lnTo>
                <a:lnTo>
                  <a:pt x="1188" y="972"/>
                </a:lnTo>
                <a:lnTo>
                  <a:pt x="1182" y="984"/>
                </a:lnTo>
                <a:lnTo>
                  <a:pt x="1170" y="984"/>
                </a:lnTo>
                <a:lnTo>
                  <a:pt x="1164" y="984"/>
                </a:lnTo>
                <a:lnTo>
                  <a:pt x="1158" y="984"/>
                </a:lnTo>
                <a:lnTo>
                  <a:pt x="1146" y="984"/>
                </a:lnTo>
                <a:lnTo>
                  <a:pt x="1140" y="990"/>
                </a:lnTo>
                <a:lnTo>
                  <a:pt x="1140" y="996"/>
                </a:lnTo>
                <a:lnTo>
                  <a:pt x="1152" y="996"/>
                </a:lnTo>
                <a:lnTo>
                  <a:pt x="1176" y="1002"/>
                </a:lnTo>
                <a:lnTo>
                  <a:pt x="1194" y="1008"/>
                </a:lnTo>
                <a:lnTo>
                  <a:pt x="1206" y="1008"/>
                </a:lnTo>
                <a:lnTo>
                  <a:pt x="1218" y="1014"/>
                </a:lnTo>
                <a:lnTo>
                  <a:pt x="1212" y="1038"/>
                </a:lnTo>
                <a:lnTo>
                  <a:pt x="1212" y="1044"/>
                </a:lnTo>
                <a:lnTo>
                  <a:pt x="1206" y="1044"/>
                </a:lnTo>
                <a:lnTo>
                  <a:pt x="1206" y="1050"/>
                </a:lnTo>
                <a:lnTo>
                  <a:pt x="1194" y="1050"/>
                </a:lnTo>
                <a:lnTo>
                  <a:pt x="1188" y="1044"/>
                </a:lnTo>
                <a:lnTo>
                  <a:pt x="1158" y="1020"/>
                </a:lnTo>
                <a:lnTo>
                  <a:pt x="1152" y="1020"/>
                </a:lnTo>
                <a:lnTo>
                  <a:pt x="1140" y="1020"/>
                </a:lnTo>
                <a:lnTo>
                  <a:pt x="1134" y="1020"/>
                </a:lnTo>
                <a:lnTo>
                  <a:pt x="1134" y="1026"/>
                </a:lnTo>
                <a:lnTo>
                  <a:pt x="1134" y="1032"/>
                </a:lnTo>
                <a:lnTo>
                  <a:pt x="1128" y="1032"/>
                </a:lnTo>
                <a:close/>
              </a:path>
            </a:pathLst>
          </a:custGeom>
          <a:solidFill>
            <a:srgbClr val="FF9900"/>
          </a:solidFill>
          <a:ln w="9525">
            <a:solidFill>
              <a:schemeClr val="bg1"/>
            </a:solidFill>
            <a:round/>
            <a:headEnd/>
            <a:tailEnd/>
          </a:ln>
        </p:spPr>
        <p:txBody>
          <a:bodyPr/>
          <a:lstStyle/>
          <a:p>
            <a:endParaRPr lang="en-GB"/>
          </a:p>
        </p:txBody>
      </p:sp>
      <p:sp>
        <p:nvSpPr>
          <p:cNvPr id="18465" name="Freeform 28"/>
          <p:cNvSpPr>
            <a:spLocks/>
          </p:cNvSpPr>
          <p:nvPr/>
        </p:nvSpPr>
        <p:spPr bwMode="gray">
          <a:xfrm>
            <a:off x="2117725" y="4478338"/>
            <a:ext cx="503238" cy="571500"/>
          </a:xfrm>
          <a:custGeom>
            <a:avLst/>
            <a:gdLst>
              <a:gd name="T0" fmla="*/ 33724 w 642"/>
              <a:gd name="T1" fmla="*/ 33081 h 708"/>
              <a:gd name="T2" fmla="*/ 30587 w 642"/>
              <a:gd name="T3" fmla="*/ 33081 h 708"/>
              <a:gd name="T4" fmla="*/ 29802 w 642"/>
              <a:gd name="T5" fmla="*/ 37922 h 708"/>
              <a:gd name="T6" fmla="*/ 29802 w 642"/>
              <a:gd name="T7" fmla="*/ 39536 h 708"/>
              <a:gd name="T8" fmla="*/ 29802 w 642"/>
              <a:gd name="T9" fmla="*/ 40343 h 708"/>
              <a:gd name="T10" fmla="*/ 28234 w 642"/>
              <a:gd name="T11" fmla="*/ 41957 h 708"/>
              <a:gd name="T12" fmla="*/ 27450 w 642"/>
              <a:gd name="T13" fmla="*/ 42763 h 708"/>
              <a:gd name="T14" fmla="*/ 25881 w 642"/>
              <a:gd name="T15" fmla="*/ 44377 h 708"/>
              <a:gd name="T16" fmla="*/ 25097 w 642"/>
              <a:gd name="T17" fmla="*/ 45184 h 708"/>
              <a:gd name="T18" fmla="*/ 24312 w 642"/>
              <a:gd name="T19" fmla="*/ 47605 h 708"/>
              <a:gd name="T20" fmla="*/ 20391 w 642"/>
              <a:gd name="T21" fmla="*/ 47605 h 708"/>
              <a:gd name="T22" fmla="*/ 18038 w 642"/>
              <a:gd name="T23" fmla="*/ 49218 h 708"/>
              <a:gd name="T24" fmla="*/ 15685 w 642"/>
              <a:gd name="T25" fmla="*/ 49218 h 708"/>
              <a:gd name="T26" fmla="*/ 13333 w 642"/>
              <a:gd name="T27" fmla="*/ 47605 h 708"/>
              <a:gd name="T28" fmla="*/ 11764 w 642"/>
              <a:gd name="T29" fmla="*/ 45184 h 708"/>
              <a:gd name="T30" fmla="*/ 7058 w 642"/>
              <a:gd name="T31" fmla="*/ 46798 h 708"/>
              <a:gd name="T32" fmla="*/ 4706 w 642"/>
              <a:gd name="T33" fmla="*/ 41957 h 708"/>
              <a:gd name="T34" fmla="*/ 1569 w 642"/>
              <a:gd name="T35" fmla="*/ 42763 h 708"/>
              <a:gd name="T36" fmla="*/ 784 w 642"/>
              <a:gd name="T37" fmla="*/ 41150 h 708"/>
              <a:gd name="T38" fmla="*/ 3137 w 642"/>
              <a:gd name="T39" fmla="*/ 37922 h 708"/>
              <a:gd name="T40" fmla="*/ 3921 w 642"/>
              <a:gd name="T41" fmla="*/ 33081 h 708"/>
              <a:gd name="T42" fmla="*/ 3921 w 642"/>
              <a:gd name="T43" fmla="*/ 30661 h 708"/>
              <a:gd name="T44" fmla="*/ 3921 w 642"/>
              <a:gd name="T45" fmla="*/ 28240 h 708"/>
              <a:gd name="T46" fmla="*/ 4706 w 642"/>
              <a:gd name="T47" fmla="*/ 26626 h 708"/>
              <a:gd name="T48" fmla="*/ 3921 w 642"/>
              <a:gd name="T49" fmla="*/ 23399 h 708"/>
              <a:gd name="T50" fmla="*/ 3137 w 642"/>
              <a:gd name="T51" fmla="*/ 22592 h 708"/>
              <a:gd name="T52" fmla="*/ 784 w 642"/>
              <a:gd name="T53" fmla="*/ 20978 h 708"/>
              <a:gd name="T54" fmla="*/ 784 w 642"/>
              <a:gd name="T55" fmla="*/ 19365 h 708"/>
              <a:gd name="T56" fmla="*/ 784 w 642"/>
              <a:gd name="T57" fmla="*/ 16137 h 708"/>
              <a:gd name="T58" fmla="*/ 784 w 642"/>
              <a:gd name="T59" fmla="*/ 12910 h 708"/>
              <a:gd name="T60" fmla="*/ 1569 w 642"/>
              <a:gd name="T61" fmla="*/ 11296 h 708"/>
              <a:gd name="T62" fmla="*/ 6274 w 642"/>
              <a:gd name="T63" fmla="*/ 11296 h 708"/>
              <a:gd name="T64" fmla="*/ 7058 w 642"/>
              <a:gd name="T65" fmla="*/ 8069 h 708"/>
              <a:gd name="T66" fmla="*/ 11764 w 642"/>
              <a:gd name="T67" fmla="*/ 7262 h 708"/>
              <a:gd name="T68" fmla="*/ 14117 w 642"/>
              <a:gd name="T69" fmla="*/ 11296 h 708"/>
              <a:gd name="T70" fmla="*/ 15685 w 642"/>
              <a:gd name="T71" fmla="*/ 9682 h 708"/>
              <a:gd name="T72" fmla="*/ 15685 w 642"/>
              <a:gd name="T73" fmla="*/ 8875 h 708"/>
              <a:gd name="T74" fmla="*/ 16470 w 642"/>
              <a:gd name="T75" fmla="*/ 7262 h 708"/>
              <a:gd name="T76" fmla="*/ 18823 w 642"/>
              <a:gd name="T77" fmla="*/ 7262 h 708"/>
              <a:gd name="T78" fmla="*/ 21175 w 642"/>
              <a:gd name="T79" fmla="*/ 6455 h 708"/>
              <a:gd name="T80" fmla="*/ 25881 w 642"/>
              <a:gd name="T81" fmla="*/ 1614 h 708"/>
              <a:gd name="T82" fmla="*/ 32939 w 642"/>
              <a:gd name="T83" fmla="*/ 1614 h 708"/>
              <a:gd name="T84" fmla="*/ 38429 w 642"/>
              <a:gd name="T85" fmla="*/ 807 h 708"/>
              <a:gd name="T86" fmla="*/ 41566 w 642"/>
              <a:gd name="T87" fmla="*/ 3227 h 708"/>
              <a:gd name="T88" fmla="*/ 43135 w 642"/>
              <a:gd name="T89" fmla="*/ 3227 h 708"/>
              <a:gd name="T90" fmla="*/ 43135 w 642"/>
              <a:gd name="T91" fmla="*/ 5648 h 708"/>
              <a:gd name="T92" fmla="*/ 40782 w 642"/>
              <a:gd name="T93" fmla="*/ 7262 h 708"/>
              <a:gd name="T94" fmla="*/ 38429 w 642"/>
              <a:gd name="T95" fmla="*/ 9682 h 708"/>
              <a:gd name="T96" fmla="*/ 36861 w 642"/>
              <a:gd name="T97" fmla="*/ 11296 h 708"/>
              <a:gd name="T98" fmla="*/ 36861 w 642"/>
              <a:gd name="T99" fmla="*/ 13717 h 708"/>
              <a:gd name="T100" fmla="*/ 35292 w 642"/>
              <a:gd name="T101" fmla="*/ 20978 h 708"/>
              <a:gd name="T102" fmla="*/ 39214 w 642"/>
              <a:gd name="T103" fmla="*/ 29854 h 70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42"/>
              <a:gd name="T157" fmla="*/ 0 h 708"/>
              <a:gd name="T158" fmla="*/ 642 w 642"/>
              <a:gd name="T159" fmla="*/ 708 h 70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42" h="708">
                <a:moveTo>
                  <a:pt x="576" y="468"/>
                </a:moveTo>
                <a:lnTo>
                  <a:pt x="564" y="468"/>
                </a:lnTo>
                <a:lnTo>
                  <a:pt x="516" y="468"/>
                </a:lnTo>
                <a:lnTo>
                  <a:pt x="498" y="474"/>
                </a:lnTo>
                <a:lnTo>
                  <a:pt x="492" y="468"/>
                </a:lnTo>
                <a:lnTo>
                  <a:pt x="486" y="468"/>
                </a:lnTo>
                <a:lnTo>
                  <a:pt x="480" y="468"/>
                </a:lnTo>
                <a:lnTo>
                  <a:pt x="468" y="474"/>
                </a:lnTo>
                <a:lnTo>
                  <a:pt x="456" y="468"/>
                </a:lnTo>
                <a:lnTo>
                  <a:pt x="444" y="474"/>
                </a:lnTo>
                <a:lnTo>
                  <a:pt x="438" y="492"/>
                </a:lnTo>
                <a:lnTo>
                  <a:pt x="438" y="504"/>
                </a:lnTo>
                <a:lnTo>
                  <a:pt x="432" y="516"/>
                </a:lnTo>
                <a:lnTo>
                  <a:pt x="432" y="528"/>
                </a:lnTo>
                <a:lnTo>
                  <a:pt x="432" y="534"/>
                </a:lnTo>
                <a:lnTo>
                  <a:pt x="444" y="540"/>
                </a:lnTo>
                <a:lnTo>
                  <a:pt x="444" y="546"/>
                </a:lnTo>
                <a:lnTo>
                  <a:pt x="438" y="546"/>
                </a:lnTo>
                <a:lnTo>
                  <a:pt x="432" y="552"/>
                </a:lnTo>
                <a:lnTo>
                  <a:pt x="432" y="558"/>
                </a:lnTo>
                <a:lnTo>
                  <a:pt x="438" y="564"/>
                </a:lnTo>
                <a:lnTo>
                  <a:pt x="444" y="564"/>
                </a:lnTo>
                <a:lnTo>
                  <a:pt x="438" y="564"/>
                </a:lnTo>
                <a:lnTo>
                  <a:pt x="438" y="570"/>
                </a:lnTo>
                <a:lnTo>
                  <a:pt x="432" y="570"/>
                </a:lnTo>
                <a:lnTo>
                  <a:pt x="432" y="576"/>
                </a:lnTo>
                <a:lnTo>
                  <a:pt x="426" y="588"/>
                </a:lnTo>
                <a:lnTo>
                  <a:pt x="420" y="594"/>
                </a:lnTo>
                <a:lnTo>
                  <a:pt x="420" y="600"/>
                </a:lnTo>
                <a:lnTo>
                  <a:pt x="414" y="600"/>
                </a:lnTo>
                <a:lnTo>
                  <a:pt x="414" y="606"/>
                </a:lnTo>
                <a:lnTo>
                  <a:pt x="408" y="606"/>
                </a:lnTo>
                <a:lnTo>
                  <a:pt x="408" y="612"/>
                </a:lnTo>
                <a:lnTo>
                  <a:pt x="402" y="612"/>
                </a:lnTo>
                <a:lnTo>
                  <a:pt x="396" y="612"/>
                </a:lnTo>
                <a:lnTo>
                  <a:pt x="390" y="612"/>
                </a:lnTo>
                <a:lnTo>
                  <a:pt x="390" y="618"/>
                </a:lnTo>
                <a:lnTo>
                  <a:pt x="384" y="618"/>
                </a:lnTo>
                <a:lnTo>
                  <a:pt x="378" y="618"/>
                </a:lnTo>
                <a:lnTo>
                  <a:pt x="378" y="624"/>
                </a:lnTo>
                <a:lnTo>
                  <a:pt x="384" y="630"/>
                </a:lnTo>
                <a:lnTo>
                  <a:pt x="384" y="636"/>
                </a:lnTo>
                <a:lnTo>
                  <a:pt x="378" y="630"/>
                </a:lnTo>
                <a:lnTo>
                  <a:pt x="372" y="636"/>
                </a:lnTo>
                <a:lnTo>
                  <a:pt x="372" y="642"/>
                </a:lnTo>
                <a:lnTo>
                  <a:pt x="366" y="642"/>
                </a:lnTo>
                <a:lnTo>
                  <a:pt x="360" y="654"/>
                </a:lnTo>
                <a:lnTo>
                  <a:pt x="354" y="666"/>
                </a:lnTo>
                <a:lnTo>
                  <a:pt x="354" y="672"/>
                </a:lnTo>
                <a:lnTo>
                  <a:pt x="354" y="678"/>
                </a:lnTo>
                <a:lnTo>
                  <a:pt x="354" y="684"/>
                </a:lnTo>
                <a:lnTo>
                  <a:pt x="348" y="678"/>
                </a:lnTo>
                <a:lnTo>
                  <a:pt x="324" y="678"/>
                </a:lnTo>
                <a:lnTo>
                  <a:pt x="306" y="678"/>
                </a:lnTo>
                <a:lnTo>
                  <a:pt x="294" y="678"/>
                </a:lnTo>
                <a:lnTo>
                  <a:pt x="288" y="684"/>
                </a:lnTo>
                <a:lnTo>
                  <a:pt x="276" y="690"/>
                </a:lnTo>
                <a:lnTo>
                  <a:pt x="270" y="696"/>
                </a:lnTo>
                <a:lnTo>
                  <a:pt x="264" y="696"/>
                </a:lnTo>
                <a:lnTo>
                  <a:pt x="258" y="696"/>
                </a:lnTo>
                <a:lnTo>
                  <a:pt x="252" y="696"/>
                </a:lnTo>
                <a:lnTo>
                  <a:pt x="252" y="690"/>
                </a:lnTo>
                <a:lnTo>
                  <a:pt x="246" y="690"/>
                </a:lnTo>
                <a:lnTo>
                  <a:pt x="234" y="690"/>
                </a:lnTo>
                <a:lnTo>
                  <a:pt x="222" y="696"/>
                </a:lnTo>
                <a:lnTo>
                  <a:pt x="216" y="708"/>
                </a:lnTo>
                <a:lnTo>
                  <a:pt x="210" y="702"/>
                </a:lnTo>
                <a:lnTo>
                  <a:pt x="198" y="696"/>
                </a:lnTo>
                <a:lnTo>
                  <a:pt x="198" y="690"/>
                </a:lnTo>
                <a:lnTo>
                  <a:pt x="198" y="684"/>
                </a:lnTo>
                <a:lnTo>
                  <a:pt x="198" y="678"/>
                </a:lnTo>
                <a:lnTo>
                  <a:pt x="198" y="672"/>
                </a:lnTo>
                <a:lnTo>
                  <a:pt x="198" y="654"/>
                </a:lnTo>
                <a:lnTo>
                  <a:pt x="192" y="654"/>
                </a:lnTo>
                <a:lnTo>
                  <a:pt x="174" y="648"/>
                </a:lnTo>
                <a:lnTo>
                  <a:pt x="162" y="642"/>
                </a:lnTo>
                <a:lnTo>
                  <a:pt x="156" y="636"/>
                </a:lnTo>
                <a:lnTo>
                  <a:pt x="132" y="642"/>
                </a:lnTo>
                <a:lnTo>
                  <a:pt x="120" y="654"/>
                </a:lnTo>
                <a:lnTo>
                  <a:pt x="108" y="660"/>
                </a:lnTo>
                <a:lnTo>
                  <a:pt x="102" y="666"/>
                </a:lnTo>
                <a:lnTo>
                  <a:pt x="84" y="666"/>
                </a:lnTo>
                <a:lnTo>
                  <a:pt x="84" y="630"/>
                </a:lnTo>
                <a:lnTo>
                  <a:pt x="78" y="594"/>
                </a:lnTo>
                <a:lnTo>
                  <a:pt x="66" y="594"/>
                </a:lnTo>
                <a:lnTo>
                  <a:pt x="60" y="594"/>
                </a:lnTo>
                <a:lnTo>
                  <a:pt x="48" y="600"/>
                </a:lnTo>
                <a:lnTo>
                  <a:pt x="36" y="606"/>
                </a:lnTo>
                <a:lnTo>
                  <a:pt x="24" y="612"/>
                </a:lnTo>
                <a:lnTo>
                  <a:pt x="18" y="612"/>
                </a:lnTo>
                <a:lnTo>
                  <a:pt x="12" y="606"/>
                </a:lnTo>
                <a:lnTo>
                  <a:pt x="12" y="600"/>
                </a:lnTo>
                <a:lnTo>
                  <a:pt x="12" y="594"/>
                </a:lnTo>
                <a:lnTo>
                  <a:pt x="12" y="588"/>
                </a:lnTo>
                <a:lnTo>
                  <a:pt x="12" y="582"/>
                </a:lnTo>
                <a:lnTo>
                  <a:pt x="12" y="576"/>
                </a:lnTo>
                <a:lnTo>
                  <a:pt x="18" y="552"/>
                </a:lnTo>
                <a:lnTo>
                  <a:pt x="30" y="552"/>
                </a:lnTo>
                <a:lnTo>
                  <a:pt x="30" y="540"/>
                </a:lnTo>
                <a:lnTo>
                  <a:pt x="42" y="534"/>
                </a:lnTo>
                <a:lnTo>
                  <a:pt x="42" y="522"/>
                </a:lnTo>
                <a:lnTo>
                  <a:pt x="48" y="516"/>
                </a:lnTo>
                <a:lnTo>
                  <a:pt x="48" y="492"/>
                </a:lnTo>
                <a:lnTo>
                  <a:pt x="48" y="480"/>
                </a:lnTo>
                <a:lnTo>
                  <a:pt x="54" y="468"/>
                </a:lnTo>
                <a:lnTo>
                  <a:pt x="48" y="456"/>
                </a:lnTo>
                <a:lnTo>
                  <a:pt x="48" y="450"/>
                </a:lnTo>
                <a:lnTo>
                  <a:pt x="48" y="444"/>
                </a:lnTo>
                <a:lnTo>
                  <a:pt x="48" y="438"/>
                </a:lnTo>
                <a:lnTo>
                  <a:pt x="54" y="432"/>
                </a:lnTo>
                <a:lnTo>
                  <a:pt x="54" y="426"/>
                </a:lnTo>
                <a:lnTo>
                  <a:pt x="54" y="420"/>
                </a:lnTo>
                <a:lnTo>
                  <a:pt x="54" y="414"/>
                </a:lnTo>
                <a:lnTo>
                  <a:pt x="60" y="408"/>
                </a:lnTo>
                <a:lnTo>
                  <a:pt x="60" y="402"/>
                </a:lnTo>
                <a:lnTo>
                  <a:pt x="60" y="396"/>
                </a:lnTo>
                <a:lnTo>
                  <a:pt x="66" y="390"/>
                </a:lnTo>
                <a:lnTo>
                  <a:pt x="72" y="384"/>
                </a:lnTo>
                <a:lnTo>
                  <a:pt x="72" y="378"/>
                </a:lnTo>
                <a:lnTo>
                  <a:pt x="66" y="378"/>
                </a:lnTo>
                <a:lnTo>
                  <a:pt x="66" y="366"/>
                </a:lnTo>
                <a:lnTo>
                  <a:pt x="60" y="360"/>
                </a:lnTo>
                <a:lnTo>
                  <a:pt x="66" y="354"/>
                </a:lnTo>
                <a:lnTo>
                  <a:pt x="60" y="342"/>
                </a:lnTo>
                <a:lnTo>
                  <a:pt x="60" y="336"/>
                </a:lnTo>
                <a:lnTo>
                  <a:pt x="60" y="330"/>
                </a:lnTo>
                <a:lnTo>
                  <a:pt x="54" y="330"/>
                </a:lnTo>
                <a:lnTo>
                  <a:pt x="54" y="324"/>
                </a:lnTo>
                <a:lnTo>
                  <a:pt x="54" y="318"/>
                </a:lnTo>
                <a:lnTo>
                  <a:pt x="48" y="318"/>
                </a:lnTo>
                <a:lnTo>
                  <a:pt x="48" y="312"/>
                </a:lnTo>
                <a:lnTo>
                  <a:pt x="30" y="312"/>
                </a:lnTo>
                <a:lnTo>
                  <a:pt x="24" y="306"/>
                </a:lnTo>
                <a:lnTo>
                  <a:pt x="18" y="306"/>
                </a:lnTo>
                <a:lnTo>
                  <a:pt x="12" y="294"/>
                </a:lnTo>
                <a:lnTo>
                  <a:pt x="12" y="282"/>
                </a:lnTo>
                <a:lnTo>
                  <a:pt x="6" y="276"/>
                </a:lnTo>
                <a:lnTo>
                  <a:pt x="0" y="276"/>
                </a:lnTo>
                <a:lnTo>
                  <a:pt x="0" y="270"/>
                </a:lnTo>
                <a:lnTo>
                  <a:pt x="12" y="270"/>
                </a:lnTo>
                <a:lnTo>
                  <a:pt x="12" y="246"/>
                </a:lnTo>
                <a:lnTo>
                  <a:pt x="12" y="240"/>
                </a:lnTo>
                <a:lnTo>
                  <a:pt x="6" y="234"/>
                </a:lnTo>
                <a:lnTo>
                  <a:pt x="6" y="228"/>
                </a:lnTo>
                <a:lnTo>
                  <a:pt x="12" y="228"/>
                </a:lnTo>
                <a:lnTo>
                  <a:pt x="12" y="222"/>
                </a:lnTo>
                <a:lnTo>
                  <a:pt x="6" y="210"/>
                </a:lnTo>
                <a:lnTo>
                  <a:pt x="12" y="204"/>
                </a:lnTo>
                <a:lnTo>
                  <a:pt x="12" y="198"/>
                </a:lnTo>
                <a:lnTo>
                  <a:pt x="12" y="186"/>
                </a:lnTo>
                <a:lnTo>
                  <a:pt x="18" y="174"/>
                </a:lnTo>
                <a:lnTo>
                  <a:pt x="12" y="168"/>
                </a:lnTo>
                <a:lnTo>
                  <a:pt x="18" y="162"/>
                </a:lnTo>
                <a:lnTo>
                  <a:pt x="18" y="156"/>
                </a:lnTo>
                <a:lnTo>
                  <a:pt x="24" y="156"/>
                </a:lnTo>
                <a:lnTo>
                  <a:pt x="24" y="162"/>
                </a:lnTo>
                <a:lnTo>
                  <a:pt x="30" y="168"/>
                </a:lnTo>
                <a:lnTo>
                  <a:pt x="48" y="162"/>
                </a:lnTo>
                <a:lnTo>
                  <a:pt x="72" y="162"/>
                </a:lnTo>
                <a:lnTo>
                  <a:pt x="90" y="156"/>
                </a:lnTo>
                <a:lnTo>
                  <a:pt x="90" y="150"/>
                </a:lnTo>
                <a:lnTo>
                  <a:pt x="84" y="144"/>
                </a:lnTo>
                <a:lnTo>
                  <a:pt x="84" y="132"/>
                </a:lnTo>
                <a:lnTo>
                  <a:pt x="90" y="120"/>
                </a:lnTo>
                <a:lnTo>
                  <a:pt x="108" y="114"/>
                </a:lnTo>
                <a:lnTo>
                  <a:pt x="114" y="102"/>
                </a:lnTo>
                <a:lnTo>
                  <a:pt x="120" y="90"/>
                </a:lnTo>
                <a:lnTo>
                  <a:pt x="138" y="90"/>
                </a:lnTo>
                <a:lnTo>
                  <a:pt x="138" y="102"/>
                </a:lnTo>
                <a:lnTo>
                  <a:pt x="168" y="108"/>
                </a:lnTo>
                <a:lnTo>
                  <a:pt x="168" y="114"/>
                </a:lnTo>
                <a:lnTo>
                  <a:pt x="174" y="126"/>
                </a:lnTo>
                <a:lnTo>
                  <a:pt x="186" y="150"/>
                </a:lnTo>
                <a:lnTo>
                  <a:pt x="186" y="162"/>
                </a:lnTo>
                <a:lnTo>
                  <a:pt x="204" y="162"/>
                </a:lnTo>
                <a:lnTo>
                  <a:pt x="204" y="156"/>
                </a:lnTo>
                <a:lnTo>
                  <a:pt x="210" y="144"/>
                </a:lnTo>
                <a:lnTo>
                  <a:pt x="210" y="138"/>
                </a:lnTo>
                <a:lnTo>
                  <a:pt x="216" y="138"/>
                </a:lnTo>
                <a:lnTo>
                  <a:pt x="222" y="138"/>
                </a:lnTo>
                <a:lnTo>
                  <a:pt x="228" y="138"/>
                </a:lnTo>
                <a:lnTo>
                  <a:pt x="234" y="144"/>
                </a:lnTo>
                <a:lnTo>
                  <a:pt x="240" y="138"/>
                </a:lnTo>
                <a:lnTo>
                  <a:pt x="240" y="126"/>
                </a:lnTo>
                <a:lnTo>
                  <a:pt x="234" y="126"/>
                </a:lnTo>
                <a:lnTo>
                  <a:pt x="228" y="114"/>
                </a:lnTo>
                <a:lnTo>
                  <a:pt x="228" y="108"/>
                </a:lnTo>
                <a:lnTo>
                  <a:pt x="234" y="102"/>
                </a:lnTo>
                <a:lnTo>
                  <a:pt x="246" y="102"/>
                </a:lnTo>
                <a:lnTo>
                  <a:pt x="246" y="108"/>
                </a:lnTo>
                <a:lnTo>
                  <a:pt x="252" y="108"/>
                </a:lnTo>
                <a:lnTo>
                  <a:pt x="264" y="108"/>
                </a:lnTo>
                <a:lnTo>
                  <a:pt x="270" y="108"/>
                </a:lnTo>
                <a:lnTo>
                  <a:pt x="276" y="108"/>
                </a:lnTo>
                <a:lnTo>
                  <a:pt x="282" y="102"/>
                </a:lnTo>
                <a:lnTo>
                  <a:pt x="288" y="102"/>
                </a:lnTo>
                <a:lnTo>
                  <a:pt x="294" y="102"/>
                </a:lnTo>
                <a:lnTo>
                  <a:pt x="300" y="96"/>
                </a:lnTo>
                <a:lnTo>
                  <a:pt x="306" y="96"/>
                </a:lnTo>
                <a:lnTo>
                  <a:pt x="306" y="90"/>
                </a:lnTo>
                <a:lnTo>
                  <a:pt x="312" y="90"/>
                </a:lnTo>
                <a:lnTo>
                  <a:pt x="318" y="84"/>
                </a:lnTo>
                <a:lnTo>
                  <a:pt x="324" y="18"/>
                </a:lnTo>
                <a:lnTo>
                  <a:pt x="360" y="18"/>
                </a:lnTo>
                <a:lnTo>
                  <a:pt x="378" y="18"/>
                </a:lnTo>
                <a:lnTo>
                  <a:pt x="378" y="30"/>
                </a:lnTo>
                <a:lnTo>
                  <a:pt x="390" y="30"/>
                </a:lnTo>
                <a:lnTo>
                  <a:pt x="432" y="30"/>
                </a:lnTo>
                <a:lnTo>
                  <a:pt x="456" y="24"/>
                </a:lnTo>
                <a:lnTo>
                  <a:pt x="480" y="24"/>
                </a:lnTo>
                <a:lnTo>
                  <a:pt x="498" y="30"/>
                </a:lnTo>
                <a:lnTo>
                  <a:pt x="522" y="18"/>
                </a:lnTo>
                <a:lnTo>
                  <a:pt x="528" y="0"/>
                </a:lnTo>
                <a:lnTo>
                  <a:pt x="558" y="6"/>
                </a:lnTo>
                <a:lnTo>
                  <a:pt x="558" y="12"/>
                </a:lnTo>
                <a:lnTo>
                  <a:pt x="570" y="18"/>
                </a:lnTo>
                <a:lnTo>
                  <a:pt x="576" y="24"/>
                </a:lnTo>
                <a:lnTo>
                  <a:pt x="588" y="36"/>
                </a:lnTo>
                <a:lnTo>
                  <a:pt x="594" y="48"/>
                </a:lnTo>
                <a:lnTo>
                  <a:pt x="606" y="48"/>
                </a:lnTo>
                <a:lnTo>
                  <a:pt x="606" y="42"/>
                </a:lnTo>
                <a:lnTo>
                  <a:pt x="618" y="36"/>
                </a:lnTo>
                <a:lnTo>
                  <a:pt x="624" y="36"/>
                </a:lnTo>
                <a:lnTo>
                  <a:pt x="630" y="42"/>
                </a:lnTo>
                <a:lnTo>
                  <a:pt x="636" y="42"/>
                </a:lnTo>
                <a:lnTo>
                  <a:pt x="636" y="48"/>
                </a:lnTo>
                <a:lnTo>
                  <a:pt x="642" y="54"/>
                </a:lnTo>
                <a:lnTo>
                  <a:pt x="636" y="60"/>
                </a:lnTo>
                <a:lnTo>
                  <a:pt x="636" y="66"/>
                </a:lnTo>
                <a:lnTo>
                  <a:pt x="636" y="78"/>
                </a:lnTo>
                <a:lnTo>
                  <a:pt x="624" y="84"/>
                </a:lnTo>
                <a:lnTo>
                  <a:pt x="618" y="90"/>
                </a:lnTo>
                <a:lnTo>
                  <a:pt x="612" y="90"/>
                </a:lnTo>
                <a:lnTo>
                  <a:pt x="600" y="102"/>
                </a:lnTo>
                <a:lnTo>
                  <a:pt x="594" y="108"/>
                </a:lnTo>
                <a:lnTo>
                  <a:pt x="582" y="114"/>
                </a:lnTo>
                <a:lnTo>
                  <a:pt x="570" y="132"/>
                </a:lnTo>
                <a:lnTo>
                  <a:pt x="564" y="132"/>
                </a:lnTo>
                <a:lnTo>
                  <a:pt x="564" y="138"/>
                </a:lnTo>
                <a:lnTo>
                  <a:pt x="558" y="144"/>
                </a:lnTo>
                <a:lnTo>
                  <a:pt x="558" y="150"/>
                </a:lnTo>
                <a:lnTo>
                  <a:pt x="552" y="150"/>
                </a:lnTo>
                <a:lnTo>
                  <a:pt x="546" y="156"/>
                </a:lnTo>
                <a:lnTo>
                  <a:pt x="546" y="162"/>
                </a:lnTo>
                <a:lnTo>
                  <a:pt x="540" y="162"/>
                </a:lnTo>
                <a:lnTo>
                  <a:pt x="534" y="168"/>
                </a:lnTo>
                <a:lnTo>
                  <a:pt x="534" y="174"/>
                </a:lnTo>
                <a:lnTo>
                  <a:pt x="534" y="180"/>
                </a:lnTo>
                <a:lnTo>
                  <a:pt x="540" y="186"/>
                </a:lnTo>
                <a:lnTo>
                  <a:pt x="540" y="198"/>
                </a:lnTo>
                <a:lnTo>
                  <a:pt x="540" y="210"/>
                </a:lnTo>
                <a:lnTo>
                  <a:pt x="528" y="234"/>
                </a:lnTo>
                <a:lnTo>
                  <a:pt x="528" y="246"/>
                </a:lnTo>
                <a:lnTo>
                  <a:pt x="528" y="252"/>
                </a:lnTo>
                <a:lnTo>
                  <a:pt x="516" y="294"/>
                </a:lnTo>
                <a:lnTo>
                  <a:pt x="516" y="312"/>
                </a:lnTo>
                <a:lnTo>
                  <a:pt x="528" y="318"/>
                </a:lnTo>
                <a:lnTo>
                  <a:pt x="540" y="360"/>
                </a:lnTo>
                <a:lnTo>
                  <a:pt x="558" y="408"/>
                </a:lnTo>
                <a:lnTo>
                  <a:pt x="570" y="426"/>
                </a:lnTo>
                <a:lnTo>
                  <a:pt x="576" y="432"/>
                </a:lnTo>
                <a:lnTo>
                  <a:pt x="576" y="438"/>
                </a:lnTo>
                <a:lnTo>
                  <a:pt x="576" y="444"/>
                </a:lnTo>
                <a:lnTo>
                  <a:pt x="576" y="468"/>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18466" name="Freeform 29"/>
          <p:cNvSpPr>
            <a:spLocks/>
          </p:cNvSpPr>
          <p:nvPr/>
        </p:nvSpPr>
        <p:spPr bwMode="gray">
          <a:xfrm>
            <a:off x="2520950" y="4494213"/>
            <a:ext cx="476250" cy="409575"/>
          </a:xfrm>
          <a:custGeom>
            <a:avLst/>
            <a:gdLst>
              <a:gd name="T0" fmla="*/ 3936 w 606"/>
              <a:gd name="T1" fmla="*/ 28895 h 510"/>
              <a:gd name="T2" fmla="*/ 3149 w 606"/>
              <a:gd name="T3" fmla="*/ 27289 h 510"/>
              <a:gd name="T4" fmla="*/ 0 w 606"/>
              <a:gd name="T5" fmla="*/ 20066 h 510"/>
              <a:gd name="T6" fmla="*/ 787 w 606"/>
              <a:gd name="T7" fmla="*/ 16053 h 510"/>
              <a:gd name="T8" fmla="*/ 1574 w 606"/>
              <a:gd name="T9" fmla="*/ 12039 h 510"/>
              <a:gd name="T10" fmla="*/ 1574 w 606"/>
              <a:gd name="T11" fmla="*/ 10434 h 510"/>
              <a:gd name="T12" fmla="*/ 2361 w 606"/>
              <a:gd name="T13" fmla="*/ 9632 h 510"/>
              <a:gd name="T14" fmla="*/ 3149 w 606"/>
              <a:gd name="T15" fmla="*/ 8829 h 510"/>
              <a:gd name="T16" fmla="*/ 3149 w 606"/>
              <a:gd name="T17" fmla="*/ 8026 h 510"/>
              <a:gd name="T18" fmla="*/ 5510 w 606"/>
              <a:gd name="T19" fmla="*/ 6421 h 510"/>
              <a:gd name="T20" fmla="*/ 7084 w 606"/>
              <a:gd name="T21" fmla="*/ 4816 h 510"/>
              <a:gd name="T22" fmla="*/ 8658 w 606"/>
              <a:gd name="T23" fmla="*/ 3211 h 510"/>
              <a:gd name="T24" fmla="*/ 9446 w 606"/>
              <a:gd name="T25" fmla="*/ 2408 h 510"/>
              <a:gd name="T26" fmla="*/ 10233 w 606"/>
              <a:gd name="T27" fmla="*/ 3211 h 510"/>
              <a:gd name="T28" fmla="*/ 11807 w 606"/>
              <a:gd name="T29" fmla="*/ 1605 h 510"/>
              <a:gd name="T30" fmla="*/ 13381 w 606"/>
              <a:gd name="T31" fmla="*/ 1605 h 510"/>
              <a:gd name="T32" fmla="*/ 14956 w 606"/>
              <a:gd name="T33" fmla="*/ 4013 h 510"/>
              <a:gd name="T34" fmla="*/ 17317 w 606"/>
              <a:gd name="T35" fmla="*/ 4013 h 510"/>
              <a:gd name="T36" fmla="*/ 19678 w 606"/>
              <a:gd name="T37" fmla="*/ 4816 h 510"/>
              <a:gd name="T38" fmla="*/ 22827 w 606"/>
              <a:gd name="T39" fmla="*/ 803 h 510"/>
              <a:gd name="T40" fmla="*/ 29911 w 606"/>
              <a:gd name="T41" fmla="*/ 0 h 510"/>
              <a:gd name="T42" fmla="*/ 29911 w 606"/>
              <a:gd name="T43" fmla="*/ 4013 h 510"/>
              <a:gd name="T44" fmla="*/ 32272 w 606"/>
              <a:gd name="T45" fmla="*/ 3211 h 510"/>
              <a:gd name="T46" fmla="*/ 35421 w 606"/>
              <a:gd name="T47" fmla="*/ 1605 h 510"/>
              <a:gd name="T48" fmla="*/ 36208 w 606"/>
              <a:gd name="T49" fmla="*/ 1605 h 510"/>
              <a:gd name="T50" fmla="*/ 36995 w 606"/>
              <a:gd name="T51" fmla="*/ 4013 h 510"/>
              <a:gd name="T52" fmla="*/ 35421 w 606"/>
              <a:gd name="T53" fmla="*/ 4816 h 510"/>
              <a:gd name="T54" fmla="*/ 35421 w 606"/>
              <a:gd name="T55" fmla="*/ 5618 h 510"/>
              <a:gd name="T56" fmla="*/ 33847 w 606"/>
              <a:gd name="T57" fmla="*/ 6421 h 510"/>
              <a:gd name="T58" fmla="*/ 35421 w 606"/>
              <a:gd name="T59" fmla="*/ 12039 h 510"/>
              <a:gd name="T60" fmla="*/ 38569 w 606"/>
              <a:gd name="T61" fmla="*/ 12039 h 510"/>
              <a:gd name="T62" fmla="*/ 40144 w 606"/>
              <a:gd name="T63" fmla="*/ 12039 h 510"/>
              <a:gd name="T64" fmla="*/ 41718 w 606"/>
              <a:gd name="T65" fmla="*/ 12842 h 510"/>
              <a:gd name="T66" fmla="*/ 40931 w 606"/>
              <a:gd name="T67" fmla="*/ 16053 h 510"/>
              <a:gd name="T68" fmla="*/ 37782 w 606"/>
              <a:gd name="T69" fmla="*/ 18460 h 510"/>
              <a:gd name="T70" fmla="*/ 35421 w 606"/>
              <a:gd name="T71" fmla="*/ 20066 h 510"/>
              <a:gd name="T72" fmla="*/ 34634 w 606"/>
              <a:gd name="T73" fmla="*/ 22474 h 510"/>
              <a:gd name="T74" fmla="*/ 33847 w 606"/>
              <a:gd name="T75" fmla="*/ 26487 h 510"/>
              <a:gd name="T76" fmla="*/ 30698 w 606"/>
              <a:gd name="T77" fmla="*/ 30500 h 510"/>
              <a:gd name="T78" fmla="*/ 29124 w 606"/>
              <a:gd name="T79" fmla="*/ 32908 h 510"/>
              <a:gd name="T80" fmla="*/ 24401 w 606"/>
              <a:gd name="T81" fmla="*/ 35316 h 510"/>
              <a:gd name="T82" fmla="*/ 22040 w 606"/>
              <a:gd name="T83" fmla="*/ 34513 h 510"/>
              <a:gd name="T84" fmla="*/ 22040 w 606"/>
              <a:gd name="T85" fmla="*/ 32908 h 510"/>
              <a:gd name="T86" fmla="*/ 22040 w 606"/>
              <a:gd name="T87" fmla="*/ 32105 h 510"/>
              <a:gd name="T88" fmla="*/ 21253 w 606"/>
              <a:gd name="T89" fmla="*/ 30500 h 510"/>
              <a:gd name="T90" fmla="*/ 21253 w 606"/>
              <a:gd name="T91" fmla="*/ 28895 h 510"/>
              <a:gd name="T92" fmla="*/ 18891 w 606"/>
              <a:gd name="T93" fmla="*/ 28092 h 510"/>
              <a:gd name="T94" fmla="*/ 12594 w 606"/>
              <a:gd name="T95" fmla="*/ 27289 h 510"/>
              <a:gd name="T96" fmla="*/ 10233 w 606"/>
              <a:gd name="T97" fmla="*/ 27289 h 510"/>
              <a:gd name="T98" fmla="*/ 7084 w 606"/>
              <a:gd name="T99" fmla="*/ 28895 h 510"/>
              <a:gd name="T100" fmla="*/ 6297 w 606"/>
              <a:gd name="T101" fmla="*/ 30500 h 510"/>
              <a:gd name="T102" fmla="*/ 5510 w 606"/>
              <a:gd name="T103" fmla="*/ 31302 h 51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6"/>
              <a:gd name="T157" fmla="*/ 0 h 510"/>
              <a:gd name="T158" fmla="*/ 606 w 606"/>
              <a:gd name="T159" fmla="*/ 510 h 51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6" h="510">
                <a:moveTo>
                  <a:pt x="60" y="450"/>
                </a:moveTo>
                <a:lnTo>
                  <a:pt x="60" y="426"/>
                </a:lnTo>
                <a:lnTo>
                  <a:pt x="60" y="420"/>
                </a:lnTo>
                <a:lnTo>
                  <a:pt x="60" y="414"/>
                </a:lnTo>
                <a:lnTo>
                  <a:pt x="54" y="408"/>
                </a:lnTo>
                <a:lnTo>
                  <a:pt x="42" y="390"/>
                </a:lnTo>
                <a:lnTo>
                  <a:pt x="24" y="342"/>
                </a:lnTo>
                <a:lnTo>
                  <a:pt x="12" y="300"/>
                </a:lnTo>
                <a:lnTo>
                  <a:pt x="0" y="294"/>
                </a:lnTo>
                <a:lnTo>
                  <a:pt x="0" y="276"/>
                </a:lnTo>
                <a:lnTo>
                  <a:pt x="12" y="234"/>
                </a:lnTo>
                <a:lnTo>
                  <a:pt x="12" y="228"/>
                </a:lnTo>
                <a:lnTo>
                  <a:pt x="12" y="216"/>
                </a:lnTo>
                <a:lnTo>
                  <a:pt x="24" y="192"/>
                </a:lnTo>
                <a:lnTo>
                  <a:pt x="24" y="180"/>
                </a:lnTo>
                <a:lnTo>
                  <a:pt x="24" y="168"/>
                </a:lnTo>
                <a:lnTo>
                  <a:pt x="18" y="162"/>
                </a:lnTo>
                <a:lnTo>
                  <a:pt x="18" y="156"/>
                </a:lnTo>
                <a:lnTo>
                  <a:pt x="18" y="150"/>
                </a:lnTo>
                <a:lnTo>
                  <a:pt x="24" y="144"/>
                </a:lnTo>
                <a:lnTo>
                  <a:pt x="30" y="144"/>
                </a:lnTo>
                <a:lnTo>
                  <a:pt x="30" y="138"/>
                </a:lnTo>
                <a:lnTo>
                  <a:pt x="36" y="132"/>
                </a:lnTo>
                <a:lnTo>
                  <a:pt x="42" y="132"/>
                </a:lnTo>
                <a:lnTo>
                  <a:pt x="42" y="126"/>
                </a:lnTo>
                <a:lnTo>
                  <a:pt x="48" y="120"/>
                </a:lnTo>
                <a:lnTo>
                  <a:pt x="48" y="114"/>
                </a:lnTo>
                <a:lnTo>
                  <a:pt x="54" y="114"/>
                </a:lnTo>
                <a:lnTo>
                  <a:pt x="66" y="96"/>
                </a:lnTo>
                <a:lnTo>
                  <a:pt x="78" y="90"/>
                </a:lnTo>
                <a:lnTo>
                  <a:pt x="84" y="84"/>
                </a:lnTo>
                <a:lnTo>
                  <a:pt x="96" y="72"/>
                </a:lnTo>
                <a:lnTo>
                  <a:pt x="102" y="72"/>
                </a:lnTo>
                <a:lnTo>
                  <a:pt x="108" y="66"/>
                </a:lnTo>
                <a:lnTo>
                  <a:pt x="120" y="60"/>
                </a:lnTo>
                <a:lnTo>
                  <a:pt x="120" y="48"/>
                </a:lnTo>
                <a:lnTo>
                  <a:pt x="120" y="42"/>
                </a:lnTo>
                <a:lnTo>
                  <a:pt x="126" y="36"/>
                </a:lnTo>
                <a:lnTo>
                  <a:pt x="138" y="36"/>
                </a:lnTo>
                <a:lnTo>
                  <a:pt x="138" y="42"/>
                </a:lnTo>
                <a:lnTo>
                  <a:pt x="144" y="48"/>
                </a:lnTo>
                <a:lnTo>
                  <a:pt x="150" y="48"/>
                </a:lnTo>
                <a:lnTo>
                  <a:pt x="162" y="36"/>
                </a:lnTo>
                <a:lnTo>
                  <a:pt x="162" y="30"/>
                </a:lnTo>
                <a:lnTo>
                  <a:pt x="168" y="24"/>
                </a:lnTo>
                <a:lnTo>
                  <a:pt x="180" y="24"/>
                </a:lnTo>
                <a:lnTo>
                  <a:pt x="192" y="24"/>
                </a:lnTo>
                <a:lnTo>
                  <a:pt x="198" y="24"/>
                </a:lnTo>
                <a:lnTo>
                  <a:pt x="210" y="30"/>
                </a:lnTo>
                <a:lnTo>
                  <a:pt x="216" y="30"/>
                </a:lnTo>
                <a:lnTo>
                  <a:pt x="210" y="54"/>
                </a:lnTo>
                <a:lnTo>
                  <a:pt x="216" y="60"/>
                </a:lnTo>
                <a:lnTo>
                  <a:pt x="222" y="60"/>
                </a:lnTo>
                <a:lnTo>
                  <a:pt x="246" y="60"/>
                </a:lnTo>
                <a:lnTo>
                  <a:pt x="252" y="66"/>
                </a:lnTo>
                <a:lnTo>
                  <a:pt x="258" y="66"/>
                </a:lnTo>
                <a:lnTo>
                  <a:pt x="276" y="66"/>
                </a:lnTo>
                <a:lnTo>
                  <a:pt x="312" y="66"/>
                </a:lnTo>
                <a:lnTo>
                  <a:pt x="318" y="60"/>
                </a:lnTo>
                <a:lnTo>
                  <a:pt x="330" y="12"/>
                </a:lnTo>
                <a:lnTo>
                  <a:pt x="414" y="6"/>
                </a:lnTo>
                <a:lnTo>
                  <a:pt x="420" y="0"/>
                </a:lnTo>
                <a:lnTo>
                  <a:pt x="426" y="6"/>
                </a:lnTo>
                <a:lnTo>
                  <a:pt x="426" y="12"/>
                </a:lnTo>
                <a:lnTo>
                  <a:pt x="426" y="54"/>
                </a:lnTo>
                <a:lnTo>
                  <a:pt x="432" y="54"/>
                </a:lnTo>
                <a:lnTo>
                  <a:pt x="444" y="54"/>
                </a:lnTo>
                <a:lnTo>
                  <a:pt x="450" y="42"/>
                </a:lnTo>
                <a:lnTo>
                  <a:pt x="462" y="42"/>
                </a:lnTo>
                <a:lnTo>
                  <a:pt x="468" y="36"/>
                </a:lnTo>
                <a:lnTo>
                  <a:pt x="486" y="24"/>
                </a:lnTo>
                <a:lnTo>
                  <a:pt x="504" y="18"/>
                </a:lnTo>
                <a:lnTo>
                  <a:pt x="510" y="12"/>
                </a:lnTo>
                <a:lnTo>
                  <a:pt x="516" y="18"/>
                </a:lnTo>
                <a:lnTo>
                  <a:pt x="522" y="24"/>
                </a:lnTo>
                <a:lnTo>
                  <a:pt x="510" y="30"/>
                </a:lnTo>
                <a:lnTo>
                  <a:pt x="516" y="48"/>
                </a:lnTo>
                <a:lnTo>
                  <a:pt x="528" y="54"/>
                </a:lnTo>
                <a:lnTo>
                  <a:pt x="522" y="60"/>
                </a:lnTo>
                <a:lnTo>
                  <a:pt x="516" y="66"/>
                </a:lnTo>
                <a:lnTo>
                  <a:pt x="516" y="72"/>
                </a:lnTo>
                <a:lnTo>
                  <a:pt x="510" y="72"/>
                </a:lnTo>
                <a:lnTo>
                  <a:pt x="510" y="78"/>
                </a:lnTo>
                <a:lnTo>
                  <a:pt x="510" y="84"/>
                </a:lnTo>
                <a:lnTo>
                  <a:pt x="510" y="90"/>
                </a:lnTo>
                <a:lnTo>
                  <a:pt x="504" y="90"/>
                </a:lnTo>
                <a:lnTo>
                  <a:pt x="486" y="90"/>
                </a:lnTo>
                <a:lnTo>
                  <a:pt x="492" y="138"/>
                </a:lnTo>
                <a:lnTo>
                  <a:pt x="498" y="168"/>
                </a:lnTo>
                <a:lnTo>
                  <a:pt x="516" y="168"/>
                </a:lnTo>
                <a:lnTo>
                  <a:pt x="528" y="174"/>
                </a:lnTo>
                <a:lnTo>
                  <a:pt x="534" y="168"/>
                </a:lnTo>
                <a:lnTo>
                  <a:pt x="558" y="174"/>
                </a:lnTo>
                <a:lnTo>
                  <a:pt x="564" y="168"/>
                </a:lnTo>
                <a:lnTo>
                  <a:pt x="570" y="168"/>
                </a:lnTo>
                <a:lnTo>
                  <a:pt x="576" y="174"/>
                </a:lnTo>
                <a:lnTo>
                  <a:pt x="588" y="168"/>
                </a:lnTo>
                <a:lnTo>
                  <a:pt x="594" y="168"/>
                </a:lnTo>
                <a:lnTo>
                  <a:pt x="594" y="186"/>
                </a:lnTo>
                <a:lnTo>
                  <a:pt x="606" y="198"/>
                </a:lnTo>
                <a:lnTo>
                  <a:pt x="600" y="210"/>
                </a:lnTo>
                <a:lnTo>
                  <a:pt x="588" y="234"/>
                </a:lnTo>
                <a:lnTo>
                  <a:pt x="564" y="246"/>
                </a:lnTo>
                <a:lnTo>
                  <a:pt x="546" y="258"/>
                </a:lnTo>
                <a:lnTo>
                  <a:pt x="540" y="270"/>
                </a:lnTo>
                <a:lnTo>
                  <a:pt x="534" y="294"/>
                </a:lnTo>
                <a:lnTo>
                  <a:pt x="528" y="300"/>
                </a:lnTo>
                <a:lnTo>
                  <a:pt x="516" y="294"/>
                </a:lnTo>
                <a:lnTo>
                  <a:pt x="510" y="300"/>
                </a:lnTo>
                <a:lnTo>
                  <a:pt x="498" y="318"/>
                </a:lnTo>
                <a:lnTo>
                  <a:pt x="492" y="324"/>
                </a:lnTo>
                <a:lnTo>
                  <a:pt x="486" y="336"/>
                </a:lnTo>
                <a:lnTo>
                  <a:pt x="486" y="354"/>
                </a:lnTo>
                <a:lnTo>
                  <a:pt x="486" y="384"/>
                </a:lnTo>
                <a:lnTo>
                  <a:pt x="474" y="408"/>
                </a:lnTo>
                <a:lnTo>
                  <a:pt x="450" y="426"/>
                </a:lnTo>
                <a:lnTo>
                  <a:pt x="444" y="444"/>
                </a:lnTo>
                <a:lnTo>
                  <a:pt x="426" y="474"/>
                </a:lnTo>
                <a:lnTo>
                  <a:pt x="420" y="486"/>
                </a:lnTo>
                <a:lnTo>
                  <a:pt x="414" y="486"/>
                </a:lnTo>
                <a:lnTo>
                  <a:pt x="414" y="498"/>
                </a:lnTo>
                <a:lnTo>
                  <a:pt x="378" y="504"/>
                </a:lnTo>
                <a:lnTo>
                  <a:pt x="348" y="510"/>
                </a:lnTo>
                <a:lnTo>
                  <a:pt x="330" y="510"/>
                </a:lnTo>
                <a:lnTo>
                  <a:pt x="324" y="504"/>
                </a:lnTo>
                <a:lnTo>
                  <a:pt x="318" y="504"/>
                </a:lnTo>
                <a:lnTo>
                  <a:pt x="312" y="504"/>
                </a:lnTo>
                <a:lnTo>
                  <a:pt x="312" y="498"/>
                </a:lnTo>
                <a:lnTo>
                  <a:pt x="312" y="486"/>
                </a:lnTo>
                <a:lnTo>
                  <a:pt x="312" y="480"/>
                </a:lnTo>
                <a:lnTo>
                  <a:pt x="318" y="468"/>
                </a:lnTo>
                <a:lnTo>
                  <a:pt x="318" y="462"/>
                </a:lnTo>
                <a:lnTo>
                  <a:pt x="312" y="456"/>
                </a:lnTo>
                <a:lnTo>
                  <a:pt x="312" y="450"/>
                </a:lnTo>
                <a:lnTo>
                  <a:pt x="306" y="444"/>
                </a:lnTo>
                <a:lnTo>
                  <a:pt x="306" y="438"/>
                </a:lnTo>
                <a:lnTo>
                  <a:pt x="300" y="426"/>
                </a:lnTo>
                <a:lnTo>
                  <a:pt x="300" y="420"/>
                </a:lnTo>
                <a:lnTo>
                  <a:pt x="294" y="414"/>
                </a:lnTo>
                <a:lnTo>
                  <a:pt x="294" y="408"/>
                </a:lnTo>
                <a:lnTo>
                  <a:pt x="270" y="408"/>
                </a:lnTo>
                <a:lnTo>
                  <a:pt x="246" y="408"/>
                </a:lnTo>
                <a:lnTo>
                  <a:pt x="222" y="408"/>
                </a:lnTo>
                <a:lnTo>
                  <a:pt x="180" y="402"/>
                </a:lnTo>
                <a:lnTo>
                  <a:pt x="180" y="396"/>
                </a:lnTo>
                <a:lnTo>
                  <a:pt x="156" y="402"/>
                </a:lnTo>
                <a:lnTo>
                  <a:pt x="144" y="396"/>
                </a:lnTo>
                <a:lnTo>
                  <a:pt x="126" y="396"/>
                </a:lnTo>
                <a:lnTo>
                  <a:pt x="108" y="408"/>
                </a:lnTo>
                <a:lnTo>
                  <a:pt x="102" y="414"/>
                </a:lnTo>
                <a:lnTo>
                  <a:pt x="102" y="420"/>
                </a:lnTo>
                <a:lnTo>
                  <a:pt x="96" y="426"/>
                </a:lnTo>
                <a:lnTo>
                  <a:pt x="96" y="438"/>
                </a:lnTo>
                <a:lnTo>
                  <a:pt x="90" y="444"/>
                </a:lnTo>
                <a:lnTo>
                  <a:pt x="90" y="450"/>
                </a:lnTo>
                <a:lnTo>
                  <a:pt x="78" y="450"/>
                </a:lnTo>
                <a:lnTo>
                  <a:pt x="60" y="450"/>
                </a:lnTo>
                <a:close/>
              </a:path>
            </a:pathLst>
          </a:custGeom>
          <a:solidFill>
            <a:srgbClr val="33CC33"/>
          </a:solidFill>
          <a:ln w="9525">
            <a:solidFill>
              <a:schemeClr val="bg1"/>
            </a:solidFill>
            <a:round/>
            <a:headEnd/>
            <a:tailEnd/>
          </a:ln>
        </p:spPr>
        <p:txBody>
          <a:bodyPr/>
          <a:lstStyle/>
          <a:p>
            <a:endParaRPr lang="en-GB">
              <a:solidFill>
                <a:schemeClr val="bg1"/>
              </a:solidFill>
            </a:endParaRPr>
          </a:p>
        </p:txBody>
      </p:sp>
      <p:sp>
        <p:nvSpPr>
          <p:cNvPr id="18467" name="Freeform 30"/>
          <p:cNvSpPr>
            <a:spLocks/>
          </p:cNvSpPr>
          <p:nvPr/>
        </p:nvSpPr>
        <p:spPr bwMode="gray">
          <a:xfrm>
            <a:off x="2274888" y="4654550"/>
            <a:ext cx="825500" cy="971550"/>
          </a:xfrm>
          <a:custGeom>
            <a:avLst/>
            <a:gdLst>
              <a:gd name="T0" fmla="*/ 30470 w 1056"/>
              <a:gd name="T1" fmla="*/ 75722 h 1206"/>
              <a:gd name="T2" fmla="*/ 27345 w 1056"/>
              <a:gd name="T3" fmla="*/ 82972 h 1206"/>
              <a:gd name="T4" fmla="*/ 22657 w 1056"/>
              <a:gd name="T5" fmla="*/ 79750 h 1206"/>
              <a:gd name="T6" fmla="*/ 17970 w 1056"/>
              <a:gd name="T7" fmla="*/ 75722 h 1206"/>
              <a:gd name="T8" fmla="*/ 16407 w 1056"/>
              <a:gd name="T9" fmla="*/ 73305 h 1206"/>
              <a:gd name="T10" fmla="*/ 14063 w 1056"/>
              <a:gd name="T11" fmla="*/ 71694 h 1206"/>
              <a:gd name="T12" fmla="*/ 11719 w 1056"/>
              <a:gd name="T13" fmla="*/ 69278 h 1206"/>
              <a:gd name="T14" fmla="*/ 8594 w 1056"/>
              <a:gd name="T15" fmla="*/ 66861 h 1206"/>
              <a:gd name="T16" fmla="*/ 6250 w 1056"/>
              <a:gd name="T17" fmla="*/ 65250 h 1206"/>
              <a:gd name="T18" fmla="*/ 4688 w 1056"/>
              <a:gd name="T19" fmla="*/ 63639 h 1206"/>
              <a:gd name="T20" fmla="*/ 10157 w 1056"/>
              <a:gd name="T21" fmla="*/ 62833 h 1206"/>
              <a:gd name="T22" fmla="*/ 6250 w 1056"/>
              <a:gd name="T23" fmla="*/ 60416 h 1206"/>
              <a:gd name="T24" fmla="*/ 10157 w 1056"/>
              <a:gd name="T25" fmla="*/ 57194 h 1206"/>
              <a:gd name="T26" fmla="*/ 7813 w 1056"/>
              <a:gd name="T27" fmla="*/ 50750 h 1206"/>
              <a:gd name="T28" fmla="*/ 4688 w 1056"/>
              <a:gd name="T29" fmla="*/ 53167 h 1206"/>
              <a:gd name="T30" fmla="*/ 781 w 1056"/>
              <a:gd name="T31" fmla="*/ 50750 h 1206"/>
              <a:gd name="T32" fmla="*/ 781 w 1056"/>
              <a:gd name="T33" fmla="*/ 47528 h 1206"/>
              <a:gd name="T34" fmla="*/ 2344 w 1056"/>
              <a:gd name="T35" fmla="*/ 45917 h 1206"/>
              <a:gd name="T36" fmla="*/ 4688 w 1056"/>
              <a:gd name="T37" fmla="*/ 44305 h 1206"/>
              <a:gd name="T38" fmla="*/ 7813 w 1056"/>
              <a:gd name="T39" fmla="*/ 41083 h 1206"/>
              <a:gd name="T40" fmla="*/ 8594 w 1056"/>
              <a:gd name="T41" fmla="*/ 37055 h 1206"/>
              <a:gd name="T42" fmla="*/ 10938 w 1056"/>
              <a:gd name="T43" fmla="*/ 33833 h 1206"/>
              <a:gd name="T44" fmla="*/ 11719 w 1056"/>
              <a:gd name="T45" fmla="*/ 29000 h 1206"/>
              <a:gd name="T46" fmla="*/ 13282 w 1056"/>
              <a:gd name="T47" fmla="*/ 27389 h 1206"/>
              <a:gd name="T48" fmla="*/ 15626 w 1056"/>
              <a:gd name="T49" fmla="*/ 24972 h 1206"/>
              <a:gd name="T50" fmla="*/ 16407 w 1056"/>
              <a:gd name="T51" fmla="*/ 23361 h 1206"/>
              <a:gd name="T52" fmla="*/ 17970 w 1056"/>
              <a:gd name="T53" fmla="*/ 17722 h 1206"/>
              <a:gd name="T54" fmla="*/ 27345 w 1056"/>
              <a:gd name="T55" fmla="*/ 17722 h 1206"/>
              <a:gd name="T56" fmla="*/ 32033 w 1056"/>
              <a:gd name="T57" fmla="*/ 14500 h 1206"/>
              <a:gd name="T58" fmla="*/ 42189 w 1056"/>
              <a:gd name="T59" fmla="*/ 16111 h 1206"/>
              <a:gd name="T60" fmla="*/ 42189 w 1056"/>
              <a:gd name="T61" fmla="*/ 20944 h 1206"/>
              <a:gd name="T62" fmla="*/ 50002 w 1056"/>
              <a:gd name="T63" fmla="*/ 20139 h 1206"/>
              <a:gd name="T64" fmla="*/ 55471 w 1056"/>
              <a:gd name="T65" fmla="*/ 8056 h 1206"/>
              <a:gd name="T66" fmla="*/ 62503 w 1056"/>
              <a:gd name="T67" fmla="*/ 806 h 1206"/>
              <a:gd name="T68" fmla="*/ 67191 w 1056"/>
              <a:gd name="T69" fmla="*/ 1611 h 1206"/>
              <a:gd name="T70" fmla="*/ 71097 w 1056"/>
              <a:gd name="T71" fmla="*/ 10472 h 1206"/>
              <a:gd name="T72" fmla="*/ 68753 w 1056"/>
              <a:gd name="T73" fmla="*/ 13694 h 1206"/>
              <a:gd name="T74" fmla="*/ 69534 w 1056"/>
              <a:gd name="T75" fmla="*/ 16917 h 1206"/>
              <a:gd name="T76" fmla="*/ 67191 w 1056"/>
              <a:gd name="T77" fmla="*/ 20139 h 1206"/>
              <a:gd name="T78" fmla="*/ 66409 w 1056"/>
              <a:gd name="T79" fmla="*/ 24972 h 1206"/>
              <a:gd name="T80" fmla="*/ 64847 w 1056"/>
              <a:gd name="T81" fmla="*/ 29000 h 1206"/>
              <a:gd name="T82" fmla="*/ 62503 w 1056"/>
              <a:gd name="T83" fmla="*/ 33833 h 1206"/>
              <a:gd name="T84" fmla="*/ 62503 w 1056"/>
              <a:gd name="T85" fmla="*/ 37861 h 1206"/>
              <a:gd name="T86" fmla="*/ 60159 w 1056"/>
              <a:gd name="T87" fmla="*/ 44305 h 1206"/>
              <a:gd name="T88" fmla="*/ 58596 w 1056"/>
              <a:gd name="T89" fmla="*/ 45917 h 1206"/>
              <a:gd name="T90" fmla="*/ 51565 w 1056"/>
              <a:gd name="T91" fmla="*/ 45917 h 1206"/>
              <a:gd name="T92" fmla="*/ 51565 w 1056"/>
              <a:gd name="T93" fmla="*/ 41083 h 1206"/>
              <a:gd name="T94" fmla="*/ 37502 w 1056"/>
              <a:gd name="T95" fmla="*/ 40278 h 1206"/>
              <a:gd name="T96" fmla="*/ 35939 w 1056"/>
              <a:gd name="T97" fmla="*/ 44305 h 1206"/>
              <a:gd name="T98" fmla="*/ 32814 w 1056"/>
              <a:gd name="T99" fmla="*/ 47528 h 1206"/>
              <a:gd name="T100" fmla="*/ 32033 w 1056"/>
              <a:gd name="T101" fmla="*/ 49944 h 1206"/>
              <a:gd name="T102" fmla="*/ 33595 w 1056"/>
              <a:gd name="T103" fmla="*/ 53972 h 1206"/>
              <a:gd name="T104" fmla="*/ 32814 w 1056"/>
              <a:gd name="T105" fmla="*/ 58000 h 1206"/>
              <a:gd name="T106" fmla="*/ 30470 w 1056"/>
              <a:gd name="T107" fmla="*/ 62028 h 1206"/>
              <a:gd name="T108" fmla="*/ 28126 w 1056"/>
              <a:gd name="T109" fmla="*/ 64444 h 1206"/>
              <a:gd name="T110" fmla="*/ 28908 w 1056"/>
              <a:gd name="T111" fmla="*/ 66861 h 1206"/>
              <a:gd name="T112" fmla="*/ 31251 w 1056"/>
              <a:gd name="T113" fmla="*/ 70083 h 1206"/>
              <a:gd name="T114" fmla="*/ 32814 w 1056"/>
              <a:gd name="T115" fmla="*/ 71694 h 12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56"/>
              <a:gd name="T175" fmla="*/ 0 h 1206"/>
              <a:gd name="T176" fmla="*/ 1056 w 1056"/>
              <a:gd name="T177" fmla="*/ 1206 h 12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56" h="1206">
                <a:moveTo>
                  <a:pt x="492" y="1032"/>
                </a:moveTo>
                <a:lnTo>
                  <a:pt x="486" y="1038"/>
                </a:lnTo>
                <a:lnTo>
                  <a:pt x="486" y="1044"/>
                </a:lnTo>
                <a:lnTo>
                  <a:pt x="480" y="1044"/>
                </a:lnTo>
                <a:lnTo>
                  <a:pt x="474" y="1056"/>
                </a:lnTo>
                <a:lnTo>
                  <a:pt x="462" y="1068"/>
                </a:lnTo>
                <a:lnTo>
                  <a:pt x="456" y="1080"/>
                </a:lnTo>
                <a:lnTo>
                  <a:pt x="450" y="1080"/>
                </a:lnTo>
                <a:lnTo>
                  <a:pt x="450" y="1086"/>
                </a:lnTo>
                <a:lnTo>
                  <a:pt x="450" y="1092"/>
                </a:lnTo>
                <a:lnTo>
                  <a:pt x="444" y="1104"/>
                </a:lnTo>
                <a:lnTo>
                  <a:pt x="444" y="1116"/>
                </a:lnTo>
                <a:lnTo>
                  <a:pt x="438" y="1128"/>
                </a:lnTo>
                <a:lnTo>
                  <a:pt x="432" y="1134"/>
                </a:lnTo>
                <a:lnTo>
                  <a:pt x="432" y="1140"/>
                </a:lnTo>
                <a:lnTo>
                  <a:pt x="420" y="1152"/>
                </a:lnTo>
                <a:lnTo>
                  <a:pt x="420" y="1158"/>
                </a:lnTo>
                <a:lnTo>
                  <a:pt x="408" y="1182"/>
                </a:lnTo>
                <a:lnTo>
                  <a:pt x="396" y="1194"/>
                </a:lnTo>
                <a:lnTo>
                  <a:pt x="390" y="1206"/>
                </a:lnTo>
                <a:lnTo>
                  <a:pt x="390" y="1200"/>
                </a:lnTo>
                <a:lnTo>
                  <a:pt x="384" y="1194"/>
                </a:lnTo>
                <a:lnTo>
                  <a:pt x="378" y="1188"/>
                </a:lnTo>
                <a:lnTo>
                  <a:pt x="366" y="1176"/>
                </a:lnTo>
                <a:lnTo>
                  <a:pt x="366" y="1170"/>
                </a:lnTo>
                <a:lnTo>
                  <a:pt x="348" y="1152"/>
                </a:lnTo>
                <a:lnTo>
                  <a:pt x="336" y="1140"/>
                </a:lnTo>
                <a:lnTo>
                  <a:pt x="330" y="1134"/>
                </a:lnTo>
                <a:lnTo>
                  <a:pt x="324" y="1128"/>
                </a:lnTo>
                <a:lnTo>
                  <a:pt x="318" y="1122"/>
                </a:lnTo>
                <a:lnTo>
                  <a:pt x="312" y="1116"/>
                </a:lnTo>
                <a:lnTo>
                  <a:pt x="306" y="1110"/>
                </a:lnTo>
                <a:lnTo>
                  <a:pt x="300" y="1104"/>
                </a:lnTo>
                <a:lnTo>
                  <a:pt x="294" y="1098"/>
                </a:lnTo>
                <a:lnTo>
                  <a:pt x="276" y="1080"/>
                </a:lnTo>
                <a:lnTo>
                  <a:pt x="270" y="1080"/>
                </a:lnTo>
                <a:lnTo>
                  <a:pt x="270" y="1074"/>
                </a:lnTo>
                <a:lnTo>
                  <a:pt x="264" y="1068"/>
                </a:lnTo>
                <a:lnTo>
                  <a:pt x="258" y="1062"/>
                </a:lnTo>
                <a:lnTo>
                  <a:pt x="252" y="1062"/>
                </a:lnTo>
                <a:lnTo>
                  <a:pt x="252" y="1056"/>
                </a:lnTo>
                <a:lnTo>
                  <a:pt x="252" y="1062"/>
                </a:lnTo>
                <a:lnTo>
                  <a:pt x="252" y="1056"/>
                </a:lnTo>
                <a:lnTo>
                  <a:pt x="246" y="1056"/>
                </a:lnTo>
                <a:lnTo>
                  <a:pt x="246" y="1050"/>
                </a:lnTo>
                <a:lnTo>
                  <a:pt x="240" y="1050"/>
                </a:lnTo>
                <a:lnTo>
                  <a:pt x="234" y="1044"/>
                </a:lnTo>
                <a:lnTo>
                  <a:pt x="228" y="1044"/>
                </a:lnTo>
                <a:lnTo>
                  <a:pt x="222" y="1038"/>
                </a:lnTo>
                <a:lnTo>
                  <a:pt x="222" y="1032"/>
                </a:lnTo>
                <a:lnTo>
                  <a:pt x="216" y="1032"/>
                </a:lnTo>
                <a:lnTo>
                  <a:pt x="216" y="1026"/>
                </a:lnTo>
                <a:lnTo>
                  <a:pt x="210" y="1026"/>
                </a:lnTo>
                <a:lnTo>
                  <a:pt x="204" y="1020"/>
                </a:lnTo>
                <a:lnTo>
                  <a:pt x="204" y="1014"/>
                </a:lnTo>
                <a:lnTo>
                  <a:pt x="198" y="1014"/>
                </a:lnTo>
                <a:lnTo>
                  <a:pt x="192" y="1014"/>
                </a:lnTo>
                <a:lnTo>
                  <a:pt x="192" y="1008"/>
                </a:lnTo>
                <a:lnTo>
                  <a:pt x="186" y="1008"/>
                </a:lnTo>
                <a:lnTo>
                  <a:pt x="186" y="1002"/>
                </a:lnTo>
                <a:lnTo>
                  <a:pt x="180" y="1002"/>
                </a:lnTo>
                <a:lnTo>
                  <a:pt x="174" y="996"/>
                </a:lnTo>
                <a:lnTo>
                  <a:pt x="168" y="996"/>
                </a:lnTo>
                <a:lnTo>
                  <a:pt x="168" y="990"/>
                </a:lnTo>
                <a:lnTo>
                  <a:pt x="162" y="990"/>
                </a:lnTo>
                <a:lnTo>
                  <a:pt x="162" y="984"/>
                </a:lnTo>
                <a:lnTo>
                  <a:pt x="150" y="978"/>
                </a:lnTo>
                <a:lnTo>
                  <a:pt x="144" y="972"/>
                </a:lnTo>
                <a:lnTo>
                  <a:pt x="138" y="972"/>
                </a:lnTo>
                <a:lnTo>
                  <a:pt x="138" y="966"/>
                </a:lnTo>
                <a:lnTo>
                  <a:pt x="132" y="966"/>
                </a:lnTo>
                <a:lnTo>
                  <a:pt x="126" y="960"/>
                </a:lnTo>
                <a:lnTo>
                  <a:pt x="126" y="954"/>
                </a:lnTo>
                <a:lnTo>
                  <a:pt x="120" y="954"/>
                </a:lnTo>
                <a:lnTo>
                  <a:pt x="114" y="948"/>
                </a:lnTo>
                <a:lnTo>
                  <a:pt x="108" y="948"/>
                </a:lnTo>
                <a:lnTo>
                  <a:pt x="108" y="942"/>
                </a:lnTo>
                <a:lnTo>
                  <a:pt x="102" y="942"/>
                </a:lnTo>
                <a:lnTo>
                  <a:pt x="96" y="942"/>
                </a:lnTo>
                <a:lnTo>
                  <a:pt x="96" y="936"/>
                </a:lnTo>
                <a:lnTo>
                  <a:pt x="90" y="936"/>
                </a:lnTo>
                <a:lnTo>
                  <a:pt x="90" y="930"/>
                </a:lnTo>
                <a:lnTo>
                  <a:pt x="84" y="930"/>
                </a:lnTo>
                <a:lnTo>
                  <a:pt x="78" y="930"/>
                </a:lnTo>
                <a:lnTo>
                  <a:pt x="78" y="924"/>
                </a:lnTo>
                <a:lnTo>
                  <a:pt x="60" y="918"/>
                </a:lnTo>
                <a:lnTo>
                  <a:pt x="66" y="918"/>
                </a:lnTo>
                <a:lnTo>
                  <a:pt x="66" y="912"/>
                </a:lnTo>
                <a:lnTo>
                  <a:pt x="66" y="906"/>
                </a:lnTo>
                <a:lnTo>
                  <a:pt x="72" y="906"/>
                </a:lnTo>
                <a:lnTo>
                  <a:pt x="84" y="906"/>
                </a:lnTo>
                <a:lnTo>
                  <a:pt x="90" y="906"/>
                </a:lnTo>
                <a:lnTo>
                  <a:pt x="120" y="930"/>
                </a:lnTo>
                <a:lnTo>
                  <a:pt x="126" y="936"/>
                </a:lnTo>
                <a:lnTo>
                  <a:pt x="138" y="936"/>
                </a:lnTo>
                <a:lnTo>
                  <a:pt x="138" y="930"/>
                </a:lnTo>
                <a:lnTo>
                  <a:pt x="144" y="930"/>
                </a:lnTo>
                <a:lnTo>
                  <a:pt x="144" y="924"/>
                </a:lnTo>
                <a:lnTo>
                  <a:pt x="150" y="900"/>
                </a:lnTo>
                <a:lnTo>
                  <a:pt x="138" y="894"/>
                </a:lnTo>
                <a:lnTo>
                  <a:pt x="126" y="894"/>
                </a:lnTo>
                <a:lnTo>
                  <a:pt x="108" y="888"/>
                </a:lnTo>
                <a:lnTo>
                  <a:pt x="84" y="882"/>
                </a:lnTo>
                <a:lnTo>
                  <a:pt x="72" y="882"/>
                </a:lnTo>
                <a:lnTo>
                  <a:pt x="72" y="876"/>
                </a:lnTo>
                <a:lnTo>
                  <a:pt x="78" y="870"/>
                </a:lnTo>
                <a:lnTo>
                  <a:pt x="90" y="870"/>
                </a:lnTo>
                <a:lnTo>
                  <a:pt x="96" y="870"/>
                </a:lnTo>
                <a:lnTo>
                  <a:pt x="102" y="870"/>
                </a:lnTo>
                <a:lnTo>
                  <a:pt x="114" y="870"/>
                </a:lnTo>
                <a:lnTo>
                  <a:pt x="120" y="858"/>
                </a:lnTo>
                <a:lnTo>
                  <a:pt x="126" y="852"/>
                </a:lnTo>
                <a:lnTo>
                  <a:pt x="126" y="846"/>
                </a:lnTo>
                <a:lnTo>
                  <a:pt x="126" y="834"/>
                </a:lnTo>
                <a:lnTo>
                  <a:pt x="132" y="828"/>
                </a:lnTo>
                <a:lnTo>
                  <a:pt x="132" y="816"/>
                </a:lnTo>
                <a:lnTo>
                  <a:pt x="150" y="816"/>
                </a:lnTo>
                <a:lnTo>
                  <a:pt x="150" y="804"/>
                </a:lnTo>
                <a:lnTo>
                  <a:pt x="144" y="798"/>
                </a:lnTo>
                <a:lnTo>
                  <a:pt x="156" y="762"/>
                </a:lnTo>
                <a:lnTo>
                  <a:pt x="156" y="750"/>
                </a:lnTo>
                <a:lnTo>
                  <a:pt x="156" y="744"/>
                </a:lnTo>
                <a:lnTo>
                  <a:pt x="150" y="732"/>
                </a:lnTo>
                <a:lnTo>
                  <a:pt x="144" y="726"/>
                </a:lnTo>
                <a:lnTo>
                  <a:pt x="132" y="726"/>
                </a:lnTo>
                <a:lnTo>
                  <a:pt x="120" y="732"/>
                </a:lnTo>
                <a:lnTo>
                  <a:pt x="114" y="744"/>
                </a:lnTo>
                <a:lnTo>
                  <a:pt x="108" y="750"/>
                </a:lnTo>
                <a:lnTo>
                  <a:pt x="96" y="768"/>
                </a:lnTo>
                <a:lnTo>
                  <a:pt x="96" y="774"/>
                </a:lnTo>
                <a:lnTo>
                  <a:pt x="90" y="780"/>
                </a:lnTo>
                <a:lnTo>
                  <a:pt x="84" y="804"/>
                </a:lnTo>
                <a:lnTo>
                  <a:pt x="72" y="774"/>
                </a:lnTo>
                <a:lnTo>
                  <a:pt x="72" y="768"/>
                </a:lnTo>
                <a:lnTo>
                  <a:pt x="66" y="762"/>
                </a:lnTo>
                <a:lnTo>
                  <a:pt x="60" y="750"/>
                </a:lnTo>
                <a:lnTo>
                  <a:pt x="54" y="750"/>
                </a:lnTo>
                <a:lnTo>
                  <a:pt x="48" y="750"/>
                </a:lnTo>
                <a:lnTo>
                  <a:pt x="42" y="750"/>
                </a:lnTo>
                <a:lnTo>
                  <a:pt x="30" y="744"/>
                </a:lnTo>
                <a:lnTo>
                  <a:pt x="24" y="744"/>
                </a:lnTo>
                <a:lnTo>
                  <a:pt x="24" y="738"/>
                </a:lnTo>
                <a:lnTo>
                  <a:pt x="18" y="732"/>
                </a:lnTo>
                <a:lnTo>
                  <a:pt x="12" y="732"/>
                </a:lnTo>
                <a:lnTo>
                  <a:pt x="6" y="720"/>
                </a:lnTo>
                <a:lnTo>
                  <a:pt x="6" y="714"/>
                </a:lnTo>
                <a:lnTo>
                  <a:pt x="0" y="714"/>
                </a:lnTo>
                <a:lnTo>
                  <a:pt x="6" y="708"/>
                </a:lnTo>
                <a:lnTo>
                  <a:pt x="12" y="708"/>
                </a:lnTo>
                <a:lnTo>
                  <a:pt x="12" y="702"/>
                </a:lnTo>
                <a:lnTo>
                  <a:pt x="18" y="696"/>
                </a:lnTo>
                <a:lnTo>
                  <a:pt x="12" y="690"/>
                </a:lnTo>
                <a:lnTo>
                  <a:pt x="12" y="684"/>
                </a:lnTo>
                <a:lnTo>
                  <a:pt x="12" y="678"/>
                </a:lnTo>
                <a:lnTo>
                  <a:pt x="12" y="672"/>
                </a:lnTo>
                <a:lnTo>
                  <a:pt x="18" y="672"/>
                </a:lnTo>
                <a:lnTo>
                  <a:pt x="18" y="666"/>
                </a:lnTo>
                <a:lnTo>
                  <a:pt x="24" y="666"/>
                </a:lnTo>
                <a:lnTo>
                  <a:pt x="24" y="660"/>
                </a:lnTo>
                <a:lnTo>
                  <a:pt x="30" y="660"/>
                </a:lnTo>
                <a:lnTo>
                  <a:pt x="30" y="654"/>
                </a:lnTo>
                <a:lnTo>
                  <a:pt x="36" y="654"/>
                </a:lnTo>
                <a:lnTo>
                  <a:pt x="36" y="648"/>
                </a:lnTo>
                <a:lnTo>
                  <a:pt x="42" y="648"/>
                </a:lnTo>
                <a:lnTo>
                  <a:pt x="48" y="642"/>
                </a:lnTo>
                <a:lnTo>
                  <a:pt x="54" y="642"/>
                </a:lnTo>
                <a:lnTo>
                  <a:pt x="60" y="636"/>
                </a:lnTo>
                <a:lnTo>
                  <a:pt x="54" y="636"/>
                </a:lnTo>
                <a:lnTo>
                  <a:pt x="60" y="630"/>
                </a:lnTo>
                <a:lnTo>
                  <a:pt x="66" y="630"/>
                </a:lnTo>
                <a:lnTo>
                  <a:pt x="72" y="630"/>
                </a:lnTo>
                <a:lnTo>
                  <a:pt x="72" y="624"/>
                </a:lnTo>
                <a:lnTo>
                  <a:pt x="78" y="624"/>
                </a:lnTo>
                <a:lnTo>
                  <a:pt x="84" y="618"/>
                </a:lnTo>
                <a:lnTo>
                  <a:pt x="84" y="612"/>
                </a:lnTo>
                <a:lnTo>
                  <a:pt x="90" y="612"/>
                </a:lnTo>
                <a:lnTo>
                  <a:pt x="102" y="606"/>
                </a:lnTo>
                <a:lnTo>
                  <a:pt x="114" y="606"/>
                </a:lnTo>
                <a:lnTo>
                  <a:pt x="120" y="600"/>
                </a:lnTo>
                <a:lnTo>
                  <a:pt x="120" y="594"/>
                </a:lnTo>
                <a:lnTo>
                  <a:pt x="120" y="588"/>
                </a:lnTo>
                <a:lnTo>
                  <a:pt x="120" y="582"/>
                </a:lnTo>
                <a:lnTo>
                  <a:pt x="120" y="576"/>
                </a:lnTo>
                <a:lnTo>
                  <a:pt x="120" y="570"/>
                </a:lnTo>
                <a:lnTo>
                  <a:pt x="126" y="564"/>
                </a:lnTo>
                <a:lnTo>
                  <a:pt x="126" y="558"/>
                </a:lnTo>
                <a:lnTo>
                  <a:pt x="126" y="552"/>
                </a:lnTo>
                <a:lnTo>
                  <a:pt x="126" y="546"/>
                </a:lnTo>
                <a:lnTo>
                  <a:pt x="126" y="534"/>
                </a:lnTo>
                <a:lnTo>
                  <a:pt x="126" y="516"/>
                </a:lnTo>
                <a:lnTo>
                  <a:pt x="126" y="510"/>
                </a:lnTo>
                <a:lnTo>
                  <a:pt x="126" y="504"/>
                </a:lnTo>
                <a:lnTo>
                  <a:pt x="126" y="498"/>
                </a:lnTo>
                <a:lnTo>
                  <a:pt x="132" y="498"/>
                </a:lnTo>
                <a:lnTo>
                  <a:pt x="132" y="492"/>
                </a:lnTo>
                <a:lnTo>
                  <a:pt x="138" y="492"/>
                </a:lnTo>
                <a:lnTo>
                  <a:pt x="144" y="486"/>
                </a:lnTo>
                <a:lnTo>
                  <a:pt x="156" y="480"/>
                </a:lnTo>
                <a:lnTo>
                  <a:pt x="156" y="474"/>
                </a:lnTo>
                <a:lnTo>
                  <a:pt x="156" y="468"/>
                </a:lnTo>
                <a:lnTo>
                  <a:pt x="156" y="462"/>
                </a:lnTo>
                <a:lnTo>
                  <a:pt x="156" y="456"/>
                </a:lnTo>
                <a:lnTo>
                  <a:pt x="156" y="450"/>
                </a:lnTo>
                <a:lnTo>
                  <a:pt x="162" y="438"/>
                </a:lnTo>
                <a:lnTo>
                  <a:pt x="168" y="426"/>
                </a:lnTo>
                <a:lnTo>
                  <a:pt x="174" y="426"/>
                </a:lnTo>
                <a:lnTo>
                  <a:pt x="174" y="420"/>
                </a:lnTo>
                <a:lnTo>
                  <a:pt x="180" y="414"/>
                </a:lnTo>
                <a:lnTo>
                  <a:pt x="186" y="420"/>
                </a:lnTo>
                <a:lnTo>
                  <a:pt x="186" y="414"/>
                </a:lnTo>
                <a:lnTo>
                  <a:pt x="180" y="408"/>
                </a:lnTo>
                <a:lnTo>
                  <a:pt x="180" y="402"/>
                </a:lnTo>
                <a:lnTo>
                  <a:pt x="186" y="402"/>
                </a:lnTo>
                <a:lnTo>
                  <a:pt x="192" y="402"/>
                </a:lnTo>
                <a:lnTo>
                  <a:pt x="192" y="396"/>
                </a:lnTo>
                <a:lnTo>
                  <a:pt x="198" y="396"/>
                </a:lnTo>
                <a:lnTo>
                  <a:pt x="204" y="396"/>
                </a:lnTo>
                <a:lnTo>
                  <a:pt x="210" y="396"/>
                </a:lnTo>
                <a:lnTo>
                  <a:pt x="210" y="390"/>
                </a:lnTo>
                <a:lnTo>
                  <a:pt x="216" y="390"/>
                </a:lnTo>
                <a:lnTo>
                  <a:pt x="216" y="384"/>
                </a:lnTo>
                <a:lnTo>
                  <a:pt x="222" y="384"/>
                </a:lnTo>
                <a:lnTo>
                  <a:pt x="222" y="378"/>
                </a:lnTo>
                <a:lnTo>
                  <a:pt x="228" y="372"/>
                </a:lnTo>
                <a:lnTo>
                  <a:pt x="234" y="360"/>
                </a:lnTo>
                <a:lnTo>
                  <a:pt x="234" y="354"/>
                </a:lnTo>
                <a:lnTo>
                  <a:pt x="240" y="354"/>
                </a:lnTo>
                <a:lnTo>
                  <a:pt x="240" y="348"/>
                </a:lnTo>
                <a:lnTo>
                  <a:pt x="246" y="348"/>
                </a:lnTo>
                <a:lnTo>
                  <a:pt x="240" y="348"/>
                </a:lnTo>
                <a:lnTo>
                  <a:pt x="234" y="342"/>
                </a:lnTo>
                <a:lnTo>
                  <a:pt x="234" y="336"/>
                </a:lnTo>
                <a:lnTo>
                  <a:pt x="240" y="330"/>
                </a:lnTo>
                <a:lnTo>
                  <a:pt x="246" y="330"/>
                </a:lnTo>
                <a:lnTo>
                  <a:pt x="246" y="324"/>
                </a:lnTo>
                <a:lnTo>
                  <a:pt x="234" y="318"/>
                </a:lnTo>
                <a:lnTo>
                  <a:pt x="234" y="312"/>
                </a:lnTo>
                <a:lnTo>
                  <a:pt x="234" y="300"/>
                </a:lnTo>
                <a:lnTo>
                  <a:pt x="240" y="288"/>
                </a:lnTo>
                <a:lnTo>
                  <a:pt x="240" y="276"/>
                </a:lnTo>
                <a:lnTo>
                  <a:pt x="246" y="258"/>
                </a:lnTo>
                <a:lnTo>
                  <a:pt x="258" y="252"/>
                </a:lnTo>
                <a:lnTo>
                  <a:pt x="270" y="258"/>
                </a:lnTo>
                <a:lnTo>
                  <a:pt x="282" y="252"/>
                </a:lnTo>
                <a:lnTo>
                  <a:pt x="288" y="252"/>
                </a:lnTo>
                <a:lnTo>
                  <a:pt x="294" y="252"/>
                </a:lnTo>
                <a:lnTo>
                  <a:pt x="300" y="258"/>
                </a:lnTo>
                <a:lnTo>
                  <a:pt x="318" y="252"/>
                </a:lnTo>
                <a:lnTo>
                  <a:pt x="366" y="252"/>
                </a:lnTo>
                <a:lnTo>
                  <a:pt x="378" y="252"/>
                </a:lnTo>
                <a:lnTo>
                  <a:pt x="396" y="252"/>
                </a:lnTo>
                <a:lnTo>
                  <a:pt x="408" y="252"/>
                </a:lnTo>
                <a:lnTo>
                  <a:pt x="408" y="246"/>
                </a:lnTo>
                <a:lnTo>
                  <a:pt x="414" y="240"/>
                </a:lnTo>
                <a:lnTo>
                  <a:pt x="414" y="228"/>
                </a:lnTo>
                <a:lnTo>
                  <a:pt x="420" y="222"/>
                </a:lnTo>
                <a:lnTo>
                  <a:pt x="420" y="216"/>
                </a:lnTo>
                <a:lnTo>
                  <a:pt x="426" y="210"/>
                </a:lnTo>
                <a:lnTo>
                  <a:pt x="444" y="198"/>
                </a:lnTo>
                <a:lnTo>
                  <a:pt x="462" y="198"/>
                </a:lnTo>
                <a:lnTo>
                  <a:pt x="474" y="204"/>
                </a:lnTo>
                <a:lnTo>
                  <a:pt x="498" y="198"/>
                </a:lnTo>
                <a:lnTo>
                  <a:pt x="498" y="204"/>
                </a:lnTo>
                <a:lnTo>
                  <a:pt x="540" y="210"/>
                </a:lnTo>
                <a:lnTo>
                  <a:pt x="564" y="210"/>
                </a:lnTo>
                <a:lnTo>
                  <a:pt x="588" y="210"/>
                </a:lnTo>
                <a:lnTo>
                  <a:pt x="612" y="210"/>
                </a:lnTo>
                <a:lnTo>
                  <a:pt x="612" y="216"/>
                </a:lnTo>
                <a:lnTo>
                  <a:pt x="618" y="222"/>
                </a:lnTo>
                <a:lnTo>
                  <a:pt x="618" y="228"/>
                </a:lnTo>
                <a:lnTo>
                  <a:pt x="624" y="240"/>
                </a:lnTo>
                <a:lnTo>
                  <a:pt x="624" y="246"/>
                </a:lnTo>
                <a:lnTo>
                  <a:pt x="630" y="252"/>
                </a:lnTo>
                <a:lnTo>
                  <a:pt x="630" y="258"/>
                </a:lnTo>
                <a:lnTo>
                  <a:pt x="636" y="264"/>
                </a:lnTo>
                <a:lnTo>
                  <a:pt x="636" y="270"/>
                </a:lnTo>
                <a:lnTo>
                  <a:pt x="630" y="282"/>
                </a:lnTo>
                <a:lnTo>
                  <a:pt x="630" y="288"/>
                </a:lnTo>
                <a:lnTo>
                  <a:pt x="630" y="300"/>
                </a:lnTo>
                <a:lnTo>
                  <a:pt x="630" y="306"/>
                </a:lnTo>
                <a:lnTo>
                  <a:pt x="636" y="306"/>
                </a:lnTo>
                <a:lnTo>
                  <a:pt x="642" y="306"/>
                </a:lnTo>
                <a:lnTo>
                  <a:pt x="648" y="312"/>
                </a:lnTo>
                <a:lnTo>
                  <a:pt x="666" y="312"/>
                </a:lnTo>
                <a:lnTo>
                  <a:pt x="696" y="306"/>
                </a:lnTo>
                <a:lnTo>
                  <a:pt x="732" y="300"/>
                </a:lnTo>
                <a:lnTo>
                  <a:pt x="732" y="288"/>
                </a:lnTo>
                <a:lnTo>
                  <a:pt x="738" y="288"/>
                </a:lnTo>
                <a:lnTo>
                  <a:pt x="744" y="276"/>
                </a:lnTo>
                <a:lnTo>
                  <a:pt x="762" y="246"/>
                </a:lnTo>
                <a:lnTo>
                  <a:pt x="768" y="228"/>
                </a:lnTo>
                <a:lnTo>
                  <a:pt x="792" y="210"/>
                </a:lnTo>
                <a:lnTo>
                  <a:pt x="804" y="186"/>
                </a:lnTo>
                <a:lnTo>
                  <a:pt x="804" y="156"/>
                </a:lnTo>
                <a:lnTo>
                  <a:pt x="804" y="138"/>
                </a:lnTo>
                <a:lnTo>
                  <a:pt x="810" y="126"/>
                </a:lnTo>
                <a:lnTo>
                  <a:pt x="816" y="120"/>
                </a:lnTo>
                <a:lnTo>
                  <a:pt x="828" y="102"/>
                </a:lnTo>
                <a:lnTo>
                  <a:pt x="834" y="96"/>
                </a:lnTo>
                <a:lnTo>
                  <a:pt x="846" y="102"/>
                </a:lnTo>
                <a:lnTo>
                  <a:pt x="852" y="96"/>
                </a:lnTo>
                <a:lnTo>
                  <a:pt x="858" y="72"/>
                </a:lnTo>
                <a:lnTo>
                  <a:pt x="864" y="60"/>
                </a:lnTo>
                <a:lnTo>
                  <a:pt x="882" y="48"/>
                </a:lnTo>
                <a:lnTo>
                  <a:pt x="906" y="36"/>
                </a:lnTo>
                <a:lnTo>
                  <a:pt x="918" y="12"/>
                </a:lnTo>
                <a:lnTo>
                  <a:pt x="924" y="0"/>
                </a:lnTo>
                <a:lnTo>
                  <a:pt x="930" y="6"/>
                </a:lnTo>
                <a:lnTo>
                  <a:pt x="942" y="12"/>
                </a:lnTo>
                <a:lnTo>
                  <a:pt x="948" y="12"/>
                </a:lnTo>
                <a:lnTo>
                  <a:pt x="954" y="18"/>
                </a:lnTo>
                <a:lnTo>
                  <a:pt x="966" y="18"/>
                </a:lnTo>
                <a:lnTo>
                  <a:pt x="972" y="18"/>
                </a:lnTo>
                <a:lnTo>
                  <a:pt x="984" y="18"/>
                </a:lnTo>
                <a:lnTo>
                  <a:pt x="990" y="18"/>
                </a:lnTo>
                <a:lnTo>
                  <a:pt x="1002" y="48"/>
                </a:lnTo>
                <a:lnTo>
                  <a:pt x="1008" y="78"/>
                </a:lnTo>
                <a:lnTo>
                  <a:pt x="1020" y="78"/>
                </a:lnTo>
                <a:lnTo>
                  <a:pt x="1020" y="90"/>
                </a:lnTo>
                <a:lnTo>
                  <a:pt x="1026" y="102"/>
                </a:lnTo>
                <a:lnTo>
                  <a:pt x="1044" y="120"/>
                </a:lnTo>
                <a:lnTo>
                  <a:pt x="1044" y="132"/>
                </a:lnTo>
                <a:lnTo>
                  <a:pt x="1056" y="150"/>
                </a:lnTo>
                <a:lnTo>
                  <a:pt x="1050" y="150"/>
                </a:lnTo>
                <a:lnTo>
                  <a:pt x="1044" y="156"/>
                </a:lnTo>
                <a:lnTo>
                  <a:pt x="1044" y="162"/>
                </a:lnTo>
                <a:lnTo>
                  <a:pt x="1038" y="162"/>
                </a:lnTo>
                <a:lnTo>
                  <a:pt x="1032" y="162"/>
                </a:lnTo>
                <a:lnTo>
                  <a:pt x="1026" y="168"/>
                </a:lnTo>
                <a:lnTo>
                  <a:pt x="1014" y="174"/>
                </a:lnTo>
                <a:lnTo>
                  <a:pt x="1014" y="186"/>
                </a:lnTo>
                <a:lnTo>
                  <a:pt x="1014" y="192"/>
                </a:lnTo>
                <a:lnTo>
                  <a:pt x="1014" y="198"/>
                </a:lnTo>
                <a:lnTo>
                  <a:pt x="1020" y="204"/>
                </a:lnTo>
                <a:lnTo>
                  <a:pt x="1026" y="204"/>
                </a:lnTo>
                <a:lnTo>
                  <a:pt x="1032" y="204"/>
                </a:lnTo>
                <a:lnTo>
                  <a:pt x="1032" y="210"/>
                </a:lnTo>
                <a:lnTo>
                  <a:pt x="1038" y="210"/>
                </a:lnTo>
                <a:lnTo>
                  <a:pt x="1032" y="216"/>
                </a:lnTo>
                <a:lnTo>
                  <a:pt x="1026" y="228"/>
                </a:lnTo>
                <a:lnTo>
                  <a:pt x="1026" y="234"/>
                </a:lnTo>
                <a:lnTo>
                  <a:pt x="1032" y="240"/>
                </a:lnTo>
                <a:lnTo>
                  <a:pt x="1032" y="246"/>
                </a:lnTo>
                <a:lnTo>
                  <a:pt x="1032" y="252"/>
                </a:lnTo>
                <a:lnTo>
                  <a:pt x="1032" y="258"/>
                </a:lnTo>
                <a:lnTo>
                  <a:pt x="1038" y="264"/>
                </a:lnTo>
                <a:lnTo>
                  <a:pt x="1032" y="276"/>
                </a:lnTo>
                <a:lnTo>
                  <a:pt x="1026" y="276"/>
                </a:lnTo>
                <a:lnTo>
                  <a:pt x="1020" y="276"/>
                </a:lnTo>
                <a:lnTo>
                  <a:pt x="996" y="282"/>
                </a:lnTo>
                <a:lnTo>
                  <a:pt x="996" y="288"/>
                </a:lnTo>
                <a:lnTo>
                  <a:pt x="996" y="294"/>
                </a:lnTo>
                <a:lnTo>
                  <a:pt x="996" y="300"/>
                </a:lnTo>
                <a:lnTo>
                  <a:pt x="996" y="306"/>
                </a:lnTo>
                <a:lnTo>
                  <a:pt x="984" y="324"/>
                </a:lnTo>
                <a:lnTo>
                  <a:pt x="984" y="330"/>
                </a:lnTo>
                <a:lnTo>
                  <a:pt x="984" y="336"/>
                </a:lnTo>
                <a:lnTo>
                  <a:pt x="978" y="336"/>
                </a:lnTo>
                <a:lnTo>
                  <a:pt x="978" y="342"/>
                </a:lnTo>
                <a:lnTo>
                  <a:pt x="984" y="360"/>
                </a:lnTo>
                <a:lnTo>
                  <a:pt x="978" y="366"/>
                </a:lnTo>
                <a:lnTo>
                  <a:pt x="978" y="372"/>
                </a:lnTo>
                <a:lnTo>
                  <a:pt x="972" y="372"/>
                </a:lnTo>
                <a:lnTo>
                  <a:pt x="972" y="378"/>
                </a:lnTo>
                <a:lnTo>
                  <a:pt x="972" y="384"/>
                </a:lnTo>
                <a:lnTo>
                  <a:pt x="972" y="390"/>
                </a:lnTo>
                <a:lnTo>
                  <a:pt x="966" y="402"/>
                </a:lnTo>
                <a:lnTo>
                  <a:pt x="960" y="414"/>
                </a:lnTo>
                <a:lnTo>
                  <a:pt x="954" y="420"/>
                </a:lnTo>
                <a:lnTo>
                  <a:pt x="948" y="426"/>
                </a:lnTo>
                <a:lnTo>
                  <a:pt x="948" y="438"/>
                </a:lnTo>
                <a:lnTo>
                  <a:pt x="942" y="444"/>
                </a:lnTo>
                <a:lnTo>
                  <a:pt x="936" y="450"/>
                </a:lnTo>
                <a:lnTo>
                  <a:pt x="930" y="456"/>
                </a:lnTo>
                <a:lnTo>
                  <a:pt x="924" y="462"/>
                </a:lnTo>
                <a:lnTo>
                  <a:pt x="924" y="474"/>
                </a:lnTo>
                <a:lnTo>
                  <a:pt x="918" y="474"/>
                </a:lnTo>
                <a:lnTo>
                  <a:pt x="918" y="480"/>
                </a:lnTo>
                <a:lnTo>
                  <a:pt x="918" y="486"/>
                </a:lnTo>
                <a:lnTo>
                  <a:pt x="918" y="504"/>
                </a:lnTo>
                <a:lnTo>
                  <a:pt x="918" y="510"/>
                </a:lnTo>
                <a:lnTo>
                  <a:pt x="918" y="522"/>
                </a:lnTo>
                <a:lnTo>
                  <a:pt x="918" y="528"/>
                </a:lnTo>
                <a:lnTo>
                  <a:pt x="924" y="534"/>
                </a:lnTo>
                <a:lnTo>
                  <a:pt x="924" y="540"/>
                </a:lnTo>
                <a:lnTo>
                  <a:pt x="924" y="546"/>
                </a:lnTo>
                <a:lnTo>
                  <a:pt x="918" y="546"/>
                </a:lnTo>
                <a:lnTo>
                  <a:pt x="918" y="552"/>
                </a:lnTo>
                <a:lnTo>
                  <a:pt x="912" y="546"/>
                </a:lnTo>
                <a:lnTo>
                  <a:pt x="912" y="552"/>
                </a:lnTo>
                <a:lnTo>
                  <a:pt x="912" y="570"/>
                </a:lnTo>
                <a:lnTo>
                  <a:pt x="906" y="588"/>
                </a:lnTo>
                <a:lnTo>
                  <a:pt x="900" y="606"/>
                </a:lnTo>
                <a:lnTo>
                  <a:pt x="906" y="624"/>
                </a:lnTo>
                <a:lnTo>
                  <a:pt x="900" y="624"/>
                </a:lnTo>
                <a:lnTo>
                  <a:pt x="894" y="630"/>
                </a:lnTo>
                <a:lnTo>
                  <a:pt x="888" y="630"/>
                </a:lnTo>
                <a:lnTo>
                  <a:pt x="882" y="630"/>
                </a:lnTo>
                <a:lnTo>
                  <a:pt x="882" y="636"/>
                </a:lnTo>
                <a:lnTo>
                  <a:pt x="876" y="642"/>
                </a:lnTo>
                <a:lnTo>
                  <a:pt x="870" y="642"/>
                </a:lnTo>
                <a:lnTo>
                  <a:pt x="870" y="648"/>
                </a:lnTo>
                <a:lnTo>
                  <a:pt x="870" y="654"/>
                </a:lnTo>
                <a:lnTo>
                  <a:pt x="864" y="654"/>
                </a:lnTo>
                <a:lnTo>
                  <a:pt x="864" y="660"/>
                </a:lnTo>
                <a:lnTo>
                  <a:pt x="846" y="666"/>
                </a:lnTo>
                <a:lnTo>
                  <a:pt x="828" y="672"/>
                </a:lnTo>
                <a:lnTo>
                  <a:pt x="816" y="660"/>
                </a:lnTo>
                <a:lnTo>
                  <a:pt x="810" y="660"/>
                </a:lnTo>
                <a:lnTo>
                  <a:pt x="798" y="666"/>
                </a:lnTo>
                <a:lnTo>
                  <a:pt x="786" y="666"/>
                </a:lnTo>
                <a:lnTo>
                  <a:pt x="780" y="672"/>
                </a:lnTo>
                <a:lnTo>
                  <a:pt x="768" y="678"/>
                </a:lnTo>
                <a:lnTo>
                  <a:pt x="762" y="660"/>
                </a:lnTo>
                <a:lnTo>
                  <a:pt x="762" y="654"/>
                </a:lnTo>
                <a:lnTo>
                  <a:pt x="756" y="636"/>
                </a:lnTo>
                <a:lnTo>
                  <a:pt x="762" y="624"/>
                </a:lnTo>
                <a:lnTo>
                  <a:pt x="756" y="606"/>
                </a:lnTo>
                <a:lnTo>
                  <a:pt x="756" y="600"/>
                </a:lnTo>
                <a:lnTo>
                  <a:pt x="762" y="594"/>
                </a:lnTo>
                <a:lnTo>
                  <a:pt x="768" y="600"/>
                </a:lnTo>
                <a:lnTo>
                  <a:pt x="768" y="594"/>
                </a:lnTo>
                <a:lnTo>
                  <a:pt x="768" y="588"/>
                </a:lnTo>
                <a:lnTo>
                  <a:pt x="774" y="582"/>
                </a:lnTo>
                <a:lnTo>
                  <a:pt x="768" y="576"/>
                </a:lnTo>
                <a:lnTo>
                  <a:pt x="762" y="576"/>
                </a:lnTo>
                <a:lnTo>
                  <a:pt x="756" y="576"/>
                </a:lnTo>
                <a:lnTo>
                  <a:pt x="690" y="576"/>
                </a:lnTo>
                <a:lnTo>
                  <a:pt x="624" y="570"/>
                </a:lnTo>
                <a:lnTo>
                  <a:pt x="600" y="564"/>
                </a:lnTo>
                <a:lnTo>
                  <a:pt x="576" y="564"/>
                </a:lnTo>
                <a:lnTo>
                  <a:pt x="558" y="570"/>
                </a:lnTo>
                <a:lnTo>
                  <a:pt x="552" y="576"/>
                </a:lnTo>
                <a:lnTo>
                  <a:pt x="552" y="582"/>
                </a:lnTo>
                <a:lnTo>
                  <a:pt x="552" y="588"/>
                </a:lnTo>
                <a:lnTo>
                  <a:pt x="546" y="594"/>
                </a:lnTo>
                <a:lnTo>
                  <a:pt x="546" y="600"/>
                </a:lnTo>
                <a:lnTo>
                  <a:pt x="540" y="606"/>
                </a:lnTo>
                <a:lnTo>
                  <a:pt x="534" y="618"/>
                </a:lnTo>
                <a:lnTo>
                  <a:pt x="534" y="624"/>
                </a:lnTo>
                <a:lnTo>
                  <a:pt x="534" y="630"/>
                </a:lnTo>
                <a:lnTo>
                  <a:pt x="534" y="636"/>
                </a:lnTo>
                <a:lnTo>
                  <a:pt x="528" y="636"/>
                </a:lnTo>
                <a:lnTo>
                  <a:pt x="516" y="642"/>
                </a:lnTo>
                <a:lnTo>
                  <a:pt x="516" y="648"/>
                </a:lnTo>
                <a:lnTo>
                  <a:pt x="510" y="648"/>
                </a:lnTo>
                <a:lnTo>
                  <a:pt x="504" y="654"/>
                </a:lnTo>
                <a:lnTo>
                  <a:pt x="492" y="666"/>
                </a:lnTo>
                <a:lnTo>
                  <a:pt x="492" y="672"/>
                </a:lnTo>
                <a:lnTo>
                  <a:pt x="492" y="684"/>
                </a:lnTo>
                <a:lnTo>
                  <a:pt x="486" y="690"/>
                </a:lnTo>
                <a:lnTo>
                  <a:pt x="480" y="696"/>
                </a:lnTo>
                <a:lnTo>
                  <a:pt x="486" y="702"/>
                </a:lnTo>
                <a:lnTo>
                  <a:pt x="492" y="702"/>
                </a:lnTo>
                <a:lnTo>
                  <a:pt x="486" y="708"/>
                </a:lnTo>
                <a:lnTo>
                  <a:pt x="480" y="708"/>
                </a:lnTo>
                <a:lnTo>
                  <a:pt x="480" y="714"/>
                </a:lnTo>
                <a:lnTo>
                  <a:pt x="474" y="714"/>
                </a:lnTo>
                <a:lnTo>
                  <a:pt x="474" y="720"/>
                </a:lnTo>
                <a:lnTo>
                  <a:pt x="480" y="726"/>
                </a:lnTo>
                <a:lnTo>
                  <a:pt x="474" y="726"/>
                </a:lnTo>
                <a:lnTo>
                  <a:pt x="474" y="738"/>
                </a:lnTo>
                <a:lnTo>
                  <a:pt x="474" y="744"/>
                </a:lnTo>
                <a:lnTo>
                  <a:pt x="474" y="750"/>
                </a:lnTo>
                <a:lnTo>
                  <a:pt x="480" y="750"/>
                </a:lnTo>
                <a:lnTo>
                  <a:pt x="480" y="756"/>
                </a:lnTo>
                <a:lnTo>
                  <a:pt x="492" y="762"/>
                </a:lnTo>
                <a:lnTo>
                  <a:pt x="498" y="774"/>
                </a:lnTo>
                <a:lnTo>
                  <a:pt x="498" y="780"/>
                </a:lnTo>
                <a:lnTo>
                  <a:pt x="504" y="786"/>
                </a:lnTo>
                <a:lnTo>
                  <a:pt x="510" y="792"/>
                </a:lnTo>
                <a:lnTo>
                  <a:pt x="504" y="798"/>
                </a:lnTo>
                <a:lnTo>
                  <a:pt x="504" y="804"/>
                </a:lnTo>
                <a:lnTo>
                  <a:pt x="504" y="810"/>
                </a:lnTo>
                <a:lnTo>
                  <a:pt x="498" y="822"/>
                </a:lnTo>
                <a:lnTo>
                  <a:pt x="492" y="828"/>
                </a:lnTo>
                <a:lnTo>
                  <a:pt x="492" y="834"/>
                </a:lnTo>
                <a:lnTo>
                  <a:pt x="486" y="840"/>
                </a:lnTo>
                <a:lnTo>
                  <a:pt x="480" y="846"/>
                </a:lnTo>
                <a:lnTo>
                  <a:pt x="474" y="852"/>
                </a:lnTo>
                <a:lnTo>
                  <a:pt x="468" y="858"/>
                </a:lnTo>
                <a:lnTo>
                  <a:pt x="474" y="858"/>
                </a:lnTo>
                <a:lnTo>
                  <a:pt x="468" y="864"/>
                </a:lnTo>
                <a:lnTo>
                  <a:pt x="474" y="870"/>
                </a:lnTo>
                <a:lnTo>
                  <a:pt x="474" y="876"/>
                </a:lnTo>
                <a:lnTo>
                  <a:pt x="456" y="894"/>
                </a:lnTo>
                <a:lnTo>
                  <a:pt x="450" y="894"/>
                </a:lnTo>
                <a:lnTo>
                  <a:pt x="444" y="900"/>
                </a:lnTo>
                <a:lnTo>
                  <a:pt x="444" y="894"/>
                </a:lnTo>
                <a:lnTo>
                  <a:pt x="438" y="894"/>
                </a:lnTo>
                <a:lnTo>
                  <a:pt x="432" y="900"/>
                </a:lnTo>
                <a:lnTo>
                  <a:pt x="432" y="906"/>
                </a:lnTo>
                <a:lnTo>
                  <a:pt x="420" y="906"/>
                </a:lnTo>
                <a:lnTo>
                  <a:pt x="420" y="912"/>
                </a:lnTo>
                <a:lnTo>
                  <a:pt x="420" y="918"/>
                </a:lnTo>
                <a:lnTo>
                  <a:pt x="426" y="918"/>
                </a:lnTo>
                <a:lnTo>
                  <a:pt x="426" y="924"/>
                </a:lnTo>
                <a:lnTo>
                  <a:pt x="426" y="930"/>
                </a:lnTo>
                <a:lnTo>
                  <a:pt x="420" y="930"/>
                </a:lnTo>
                <a:lnTo>
                  <a:pt x="414" y="936"/>
                </a:lnTo>
                <a:lnTo>
                  <a:pt x="414" y="942"/>
                </a:lnTo>
                <a:lnTo>
                  <a:pt x="414" y="948"/>
                </a:lnTo>
                <a:lnTo>
                  <a:pt x="414" y="954"/>
                </a:lnTo>
                <a:lnTo>
                  <a:pt x="426" y="960"/>
                </a:lnTo>
                <a:lnTo>
                  <a:pt x="432" y="966"/>
                </a:lnTo>
                <a:lnTo>
                  <a:pt x="438" y="972"/>
                </a:lnTo>
                <a:lnTo>
                  <a:pt x="444" y="972"/>
                </a:lnTo>
                <a:lnTo>
                  <a:pt x="444" y="978"/>
                </a:lnTo>
                <a:lnTo>
                  <a:pt x="450" y="978"/>
                </a:lnTo>
                <a:lnTo>
                  <a:pt x="450" y="984"/>
                </a:lnTo>
                <a:lnTo>
                  <a:pt x="456" y="990"/>
                </a:lnTo>
                <a:lnTo>
                  <a:pt x="456" y="996"/>
                </a:lnTo>
                <a:lnTo>
                  <a:pt x="462" y="1008"/>
                </a:lnTo>
                <a:lnTo>
                  <a:pt x="468" y="1008"/>
                </a:lnTo>
                <a:lnTo>
                  <a:pt x="468" y="1002"/>
                </a:lnTo>
                <a:lnTo>
                  <a:pt x="474" y="1008"/>
                </a:lnTo>
                <a:lnTo>
                  <a:pt x="480" y="1002"/>
                </a:lnTo>
                <a:lnTo>
                  <a:pt x="486" y="1008"/>
                </a:lnTo>
                <a:lnTo>
                  <a:pt x="486" y="1014"/>
                </a:lnTo>
                <a:lnTo>
                  <a:pt x="492" y="1014"/>
                </a:lnTo>
                <a:lnTo>
                  <a:pt x="492" y="1020"/>
                </a:lnTo>
                <a:lnTo>
                  <a:pt x="486" y="1020"/>
                </a:lnTo>
                <a:lnTo>
                  <a:pt x="492" y="1020"/>
                </a:lnTo>
                <a:lnTo>
                  <a:pt x="486" y="1020"/>
                </a:lnTo>
                <a:lnTo>
                  <a:pt x="486" y="1026"/>
                </a:lnTo>
                <a:lnTo>
                  <a:pt x="492" y="1026"/>
                </a:lnTo>
                <a:lnTo>
                  <a:pt x="486" y="1026"/>
                </a:lnTo>
                <a:lnTo>
                  <a:pt x="492" y="1032"/>
                </a:lnTo>
                <a:close/>
              </a:path>
            </a:pathLst>
          </a:custGeom>
          <a:solidFill>
            <a:srgbClr val="33CC33"/>
          </a:solidFill>
          <a:ln w="9525">
            <a:solidFill>
              <a:schemeClr val="bg1"/>
            </a:solidFill>
            <a:round/>
            <a:headEnd/>
            <a:tailEnd/>
          </a:ln>
        </p:spPr>
        <p:txBody>
          <a:bodyPr/>
          <a:lstStyle/>
          <a:p>
            <a:endParaRPr lang="en-GB"/>
          </a:p>
        </p:txBody>
      </p:sp>
      <p:sp>
        <p:nvSpPr>
          <p:cNvPr id="18468" name="Freeform 31"/>
          <p:cNvSpPr>
            <a:spLocks noEditPoints="1"/>
          </p:cNvSpPr>
          <p:nvPr/>
        </p:nvSpPr>
        <p:spPr bwMode="gray">
          <a:xfrm>
            <a:off x="1443038" y="5210175"/>
            <a:ext cx="825500" cy="168275"/>
          </a:xfrm>
          <a:custGeom>
            <a:avLst/>
            <a:gdLst>
              <a:gd name="T0" fmla="*/ 53909 w 1056"/>
              <a:gd name="T1" fmla="*/ 5640 h 210"/>
              <a:gd name="T2" fmla="*/ 49221 w 1056"/>
              <a:gd name="T3" fmla="*/ 4028 h 210"/>
              <a:gd name="T4" fmla="*/ 44533 w 1056"/>
              <a:gd name="T5" fmla="*/ 4028 h 210"/>
              <a:gd name="T6" fmla="*/ 42189 w 1056"/>
              <a:gd name="T7" fmla="*/ 4834 h 210"/>
              <a:gd name="T8" fmla="*/ 39846 w 1056"/>
              <a:gd name="T9" fmla="*/ 5640 h 210"/>
              <a:gd name="T10" fmla="*/ 35939 w 1056"/>
              <a:gd name="T11" fmla="*/ 7251 h 210"/>
              <a:gd name="T12" fmla="*/ 32814 w 1056"/>
              <a:gd name="T13" fmla="*/ 6445 h 210"/>
              <a:gd name="T14" fmla="*/ 32814 w 1056"/>
              <a:gd name="T15" fmla="*/ 4028 h 210"/>
              <a:gd name="T16" fmla="*/ 32033 w 1056"/>
              <a:gd name="T17" fmla="*/ 5640 h 210"/>
              <a:gd name="T18" fmla="*/ 29689 w 1056"/>
              <a:gd name="T19" fmla="*/ 8057 h 210"/>
              <a:gd name="T20" fmla="*/ 28908 w 1056"/>
              <a:gd name="T21" fmla="*/ 9668 h 210"/>
              <a:gd name="T22" fmla="*/ 28908 w 1056"/>
              <a:gd name="T23" fmla="*/ 12085 h 210"/>
              <a:gd name="T24" fmla="*/ 28908 w 1056"/>
              <a:gd name="T25" fmla="*/ 12891 h 210"/>
              <a:gd name="T26" fmla="*/ 29689 w 1056"/>
              <a:gd name="T27" fmla="*/ 12891 h 210"/>
              <a:gd name="T28" fmla="*/ 26564 w 1056"/>
              <a:gd name="T29" fmla="*/ 12891 h 210"/>
              <a:gd name="T30" fmla="*/ 20313 w 1056"/>
              <a:gd name="T31" fmla="*/ 12891 h 210"/>
              <a:gd name="T32" fmla="*/ 15626 w 1056"/>
              <a:gd name="T33" fmla="*/ 13697 h 210"/>
              <a:gd name="T34" fmla="*/ 10157 w 1056"/>
              <a:gd name="T35" fmla="*/ 13697 h 210"/>
              <a:gd name="T36" fmla="*/ 4688 w 1056"/>
              <a:gd name="T37" fmla="*/ 13697 h 210"/>
              <a:gd name="T38" fmla="*/ 781 w 1056"/>
              <a:gd name="T39" fmla="*/ 14502 h 210"/>
              <a:gd name="T40" fmla="*/ 2344 w 1056"/>
              <a:gd name="T41" fmla="*/ 11280 h 210"/>
              <a:gd name="T42" fmla="*/ 6250 w 1056"/>
              <a:gd name="T43" fmla="*/ 12085 h 210"/>
              <a:gd name="T44" fmla="*/ 8594 w 1056"/>
              <a:gd name="T45" fmla="*/ 9668 h 210"/>
              <a:gd name="T46" fmla="*/ 20313 w 1056"/>
              <a:gd name="T47" fmla="*/ 8057 h 210"/>
              <a:gd name="T48" fmla="*/ 22657 w 1056"/>
              <a:gd name="T49" fmla="*/ 4028 h 210"/>
              <a:gd name="T50" fmla="*/ 26564 w 1056"/>
              <a:gd name="T51" fmla="*/ 806 h 210"/>
              <a:gd name="T52" fmla="*/ 32033 w 1056"/>
              <a:gd name="T53" fmla="*/ 2417 h 210"/>
              <a:gd name="T54" fmla="*/ 57034 w 1056"/>
              <a:gd name="T55" fmla="*/ 806 h 210"/>
              <a:gd name="T56" fmla="*/ 58596 w 1056"/>
              <a:gd name="T57" fmla="*/ 3223 h 210"/>
              <a:gd name="T58" fmla="*/ 66409 w 1056"/>
              <a:gd name="T59" fmla="*/ 12085 h 210"/>
              <a:gd name="T60" fmla="*/ 71097 w 1056"/>
              <a:gd name="T61" fmla="*/ 14502 h 210"/>
              <a:gd name="T62" fmla="*/ 66409 w 1056"/>
              <a:gd name="T63" fmla="*/ 14502 h 210"/>
              <a:gd name="T64" fmla="*/ 61722 w 1056"/>
              <a:gd name="T65" fmla="*/ 12891 h 210"/>
              <a:gd name="T66" fmla="*/ 57815 w 1056"/>
              <a:gd name="T67" fmla="*/ 12891 h 210"/>
              <a:gd name="T68" fmla="*/ 53909 w 1056"/>
              <a:gd name="T69" fmla="*/ 12085 h 210"/>
              <a:gd name="T70" fmla="*/ 50784 w 1056"/>
              <a:gd name="T71" fmla="*/ 11280 h 210"/>
              <a:gd name="T72" fmla="*/ 46096 w 1056"/>
              <a:gd name="T73" fmla="*/ 12085 h 210"/>
              <a:gd name="T74" fmla="*/ 42189 w 1056"/>
              <a:gd name="T75" fmla="*/ 12085 h 210"/>
              <a:gd name="T76" fmla="*/ 38283 w 1056"/>
              <a:gd name="T77" fmla="*/ 12085 h 210"/>
              <a:gd name="T78" fmla="*/ 32814 w 1056"/>
              <a:gd name="T79" fmla="*/ 12085 h 210"/>
              <a:gd name="T80" fmla="*/ 29689 w 1056"/>
              <a:gd name="T81" fmla="*/ 12891 h 210"/>
              <a:gd name="T82" fmla="*/ 32033 w 1056"/>
              <a:gd name="T83" fmla="*/ 11280 h 210"/>
              <a:gd name="T84" fmla="*/ 32814 w 1056"/>
              <a:gd name="T85" fmla="*/ 10474 h 210"/>
              <a:gd name="T86" fmla="*/ 35158 w 1056"/>
              <a:gd name="T87" fmla="*/ 10474 h 210"/>
              <a:gd name="T88" fmla="*/ 37502 w 1056"/>
              <a:gd name="T89" fmla="*/ 9668 h 210"/>
              <a:gd name="T90" fmla="*/ 39846 w 1056"/>
              <a:gd name="T91" fmla="*/ 8863 h 210"/>
              <a:gd name="T92" fmla="*/ 42189 w 1056"/>
              <a:gd name="T93" fmla="*/ 7251 h 210"/>
              <a:gd name="T94" fmla="*/ 44533 w 1056"/>
              <a:gd name="T95" fmla="*/ 6445 h 210"/>
              <a:gd name="T96" fmla="*/ 46877 w 1056"/>
              <a:gd name="T97" fmla="*/ 4028 h 210"/>
              <a:gd name="T98" fmla="*/ 50784 w 1056"/>
              <a:gd name="T99" fmla="*/ 4028 h 210"/>
              <a:gd name="T100" fmla="*/ 56253 w 1056"/>
              <a:gd name="T101" fmla="*/ 5640 h 210"/>
              <a:gd name="T102" fmla="*/ 60159 w 1056"/>
              <a:gd name="T103" fmla="*/ 8863 h 210"/>
              <a:gd name="T104" fmla="*/ 53909 w 1056"/>
              <a:gd name="T105" fmla="*/ 8057 h 210"/>
              <a:gd name="T106" fmla="*/ 56253 w 1056"/>
              <a:gd name="T107" fmla="*/ 9668 h 210"/>
              <a:gd name="T108" fmla="*/ 60940 w 1056"/>
              <a:gd name="T109" fmla="*/ 12085 h 210"/>
              <a:gd name="T110" fmla="*/ 65628 w 1056"/>
              <a:gd name="T111" fmla="*/ 11280 h 210"/>
              <a:gd name="T112" fmla="*/ 65628 w 1056"/>
              <a:gd name="T113" fmla="*/ 11280 h 210"/>
              <a:gd name="T114" fmla="*/ 60940 w 1056"/>
              <a:gd name="T115" fmla="*/ 10474 h 210"/>
              <a:gd name="T116" fmla="*/ 59378 w 1056"/>
              <a:gd name="T117" fmla="*/ 11280 h 210"/>
              <a:gd name="T118" fmla="*/ 29689 w 1056"/>
              <a:gd name="T119" fmla="*/ 9668 h 210"/>
              <a:gd name="T120" fmla="*/ 32033 w 1056"/>
              <a:gd name="T121" fmla="*/ 9668 h 210"/>
              <a:gd name="T122" fmla="*/ 31251 w 1056"/>
              <a:gd name="T123" fmla="*/ 11280 h 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6"/>
              <a:gd name="T187" fmla="*/ 0 h 210"/>
              <a:gd name="T188" fmla="*/ 1056 w 1056"/>
              <a:gd name="T189" fmla="*/ 210 h 2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6" h="210">
                <a:moveTo>
                  <a:pt x="870" y="90"/>
                </a:moveTo>
                <a:lnTo>
                  <a:pt x="864" y="90"/>
                </a:lnTo>
                <a:lnTo>
                  <a:pt x="852" y="84"/>
                </a:lnTo>
                <a:lnTo>
                  <a:pt x="846" y="84"/>
                </a:lnTo>
                <a:lnTo>
                  <a:pt x="846" y="78"/>
                </a:lnTo>
                <a:lnTo>
                  <a:pt x="840" y="78"/>
                </a:lnTo>
                <a:lnTo>
                  <a:pt x="834" y="78"/>
                </a:lnTo>
                <a:lnTo>
                  <a:pt x="834" y="72"/>
                </a:lnTo>
                <a:lnTo>
                  <a:pt x="804" y="78"/>
                </a:lnTo>
                <a:lnTo>
                  <a:pt x="798" y="78"/>
                </a:lnTo>
                <a:lnTo>
                  <a:pt x="792" y="72"/>
                </a:lnTo>
                <a:lnTo>
                  <a:pt x="780" y="60"/>
                </a:lnTo>
                <a:lnTo>
                  <a:pt x="768" y="54"/>
                </a:lnTo>
                <a:lnTo>
                  <a:pt x="756" y="54"/>
                </a:lnTo>
                <a:lnTo>
                  <a:pt x="750" y="54"/>
                </a:lnTo>
                <a:lnTo>
                  <a:pt x="750" y="48"/>
                </a:lnTo>
                <a:lnTo>
                  <a:pt x="744" y="48"/>
                </a:lnTo>
                <a:lnTo>
                  <a:pt x="738" y="48"/>
                </a:lnTo>
                <a:lnTo>
                  <a:pt x="732" y="48"/>
                </a:lnTo>
                <a:lnTo>
                  <a:pt x="732" y="54"/>
                </a:lnTo>
                <a:lnTo>
                  <a:pt x="726" y="48"/>
                </a:lnTo>
                <a:lnTo>
                  <a:pt x="720" y="48"/>
                </a:lnTo>
                <a:lnTo>
                  <a:pt x="714" y="48"/>
                </a:lnTo>
                <a:lnTo>
                  <a:pt x="708" y="48"/>
                </a:lnTo>
                <a:lnTo>
                  <a:pt x="702" y="48"/>
                </a:lnTo>
                <a:lnTo>
                  <a:pt x="696" y="48"/>
                </a:lnTo>
                <a:lnTo>
                  <a:pt x="684" y="48"/>
                </a:lnTo>
                <a:lnTo>
                  <a:pt x="678" y="48"/>
                </a:lnTo>
                <a:lnTo>
                  <a:pt x="672" y="48"/>
                </a:lnTo>
                <a:lnTo>
                  <a:pt x="666" y="54"/>
                </a:lnTo>
                <a:lnTo>
                  <a:pt x="660" y="54"/>
                </a:lnTo>
                <a:lnTo>
                  <a:pt x="660" y="48"/>
                </a:lnTo>
                <a:lnTo>
                  <a:pt x="654" y="48"/>
                </a:lnTo>
                <a:lnTo>
                  <a:pt x="648" y="48"/>
                </a:lnTo>
                <a:lnTo>
                  <a:pt x="642" y="48"/>
                </a:lnTo>
                <a:lnTo>
                  <a:pt x="642" y="54"/>
                </a:lnTo>
                <a:lnTo>
                  <a:pt x="636" y="54"/>
                </a:lnTo>
                <a:lnTo>
                  <a:pt x="636" y="60"/>
                </a:lnTo>
                <a:lnTo>
                  <a:pt x="630" y="60"/>
                </a:lnTo>
                <a:lnTo>
                  <a:pt x="630" y="66"/>
                </a:lnTo>
                <a:lnTo>
                  <a:pt x="624" y="66"/>
                </a:lnTo>
                <a:lnTo>
                  <a:pt x="618" y="66"/>
                </a:lnTo>
                <a:lnTo>
                  <a:pt x="618" y="72"/>
                </a:lnTo>
                <a:lnTo>
                  <a:pt x="612" y="78"/>
                </a:lnTo>
                <a:lnTo>
                  <a:pt x="606" y="78"/>
                </a:lnTo>
                <a:lnTo>
                  <a:pt x="606" y="84"/>
                </a:lnTo>
                <a:lnTo>
                  <a:pt x="600" y="84"/>
                </a:lnTo>
                <a:lnTo>
                  <a:pt x="594" y="90"/>
                </a:lnTo>
                <a:lnTo>
                  <a:pt x="588" y="90"/>
                </a:lnTo>
                <a:lnTo>
                  <a:pt x="588" y="84"/>
                </a:lnTo>
                <a:lnTo>
                  <a:pt x="582" y="84"/>
                </a:lnTo>
                <a:lnTo>
                  <a:pt x="576" y="84"/>
                </a:lnTo>
                <a:lnTo>
                  <a:pt x="570" y="84"/>
                </a:lnTo>
                <a:lnTo>
                  <a:pt x="564" y="84"/>
                </a:lnTo>
                <a:lnTo>
                  <a:pt x="558" y="90"/>
                </a:lnTo>
                <a:lnTo>
                  <a:pt x="558" y="96"/>
                </a:lnTo>
                <a:lnTo>
                  <a:pt x="552" y="96"/>
                </a:lnTo>
                <a:lnTo>
                  <a:pt x="546" y="102"/>
                </a:lnTo>
                <a:lnTo>
                  <a:pt x="540" y="102"/>
                </a:lnTo>
                <a:lnTo>
                  <a:pt x="534" y="102"/>
                </a:lnTo>
                <a:lnTo>
                  <a:pt x="528" y="102"/>
                </a:lnTo>
                <a:lnTo>
                  <a:pt x="528" y="108"/>
                </a:lnTo>
                <a:lnTo>
                  <a:pt x="522" y="108"/>
                </a:lnTo>
                <a:lnTo>
                  <a:pt x="522" y="102"/>
                </a:lnTo>
                <a:lnTo>
                  <a:pt x="516" y="102"/>
                </a:lnTo>
                <a:lnTo>
                  <a:pt x="510" y="102"/>
                </a:lnTo>
                <a:lnTo>
                  <a:pt x="504" y="102"/>
                </a:lnTo>
                <a:lnTo>
                  <a:pt x="498" y="102"/>
                </a:lnTo>
                <a:lnTo>
                  <a:pt x="498" y="96"/>
                </a:lnTo>
                <a:lnTo>
                  <a:pt x="492" y="96"/>
                </a:lnTo>
                <a:lnTo>
                  <a:pt x="492" y="90"/>
                </a:lnTo>
                <a:lnTo>
                  <a:pt x="492" y="84"/>
                </a:lnTo>
                <a:lnTo>
                  <a:pt x="492" y="78"/>
                </a:lnTo>
                <a:lnTo>
                  <a:pt x="498" y="78"/>
                </a:lnTo>
                <a:lnTo>
                  <a:pt x="498" y="72"/>
                </a:lnTo>
                <a:lnTo>
                  <a:pt x="498" y="66"/>
                </a:lnTo>
                <a:lnTo>
                  <a:pt x="504" y="60"/>
                </a:lnTo>
                <a:lnTo>
                  <a:pt x="498" y="60"/>
                </a:lnTo>
                <a:lnTo>
                  <a:pt x="498" y="54"/>
                </a:lnTo>
                <a:lnTo>
                  <a:pt x="492" y="54"/>
                </a:lnTo>
                <a:lnTo>
                  <a:pt x="492" y="60"/>
                </a:lnTo>
                <a:lnTo>
                  <a:pt x="486" y="60"/>
                </a:lnTo>
                <a:lnTo>
                  <a:pt x="486" y="66"/>
                </a:lnTo>
                <a:lnTo>
                  <a:pt x="480" y="66"/>
                </a:lnTo>
                <a:lnTo>
                  <a:pt x="474" y="72"/>
                </a:lnTo>
                <a:lnTo>
                  <a:pt x="474" y="66"/>
                </a:lnTo>
                <a:lnTo>
                  <a:pt x="474" y="72"/>
                </a:lnTo>
                <a:lnTo>
                  <a:pt x="468" y="72"/>
                </a:lnTo>
                <a:lnTo>
                  <a:pt x="468" y="78"/>
                </a:lnTo>
                <a:lnTo>
                  <a:pt x="468" y="84"/>
                </a:lnTo>
                <a:lnTo>
                  <a:pt x="462" y="90"/>
                </a:lnTo>
                <a:lnTo>
                  <a:pt x="462" y="84"/>
                </a:lnTo>
                <a:lnTo>
                  <a:pt x="456" y="84"/>
                </a:lnTo>
                <a:lnTo>
                  <a:pt x="450" y="84"/>
                </a:lnTo>
                <a:lnTo>
                  <a:pt x="450" y="90"/>
                </a:lnTo>
                <a:lnTo>
                  <a:pt x="450" y="96"/>
                </a:lnTo>
                <a:lnTo>
                  <a:pt x="450" y="102"/>
                </a:lnTo>
                <a:lnTo>
                  <a:pt x="444" y="102"/>
                </a:lnTo>
                <a:lnTo>
                  <a:pt x="444" y="108"/>
                </a:lnTo>
                <a:lnTo>
                  <a:pt x="444" y="114"/>
                </a:lnTo>
                <a:lnTo>
                  <a:pt x="450" y="114"/>
                </a:lnTo>
                <a:lnTo>
                  <a:pt x="444" y="120"/>
                </a:lnTo>
                <a:lnTo>
                  <a:pt x="444" y="126"/>
                </a:lnTo>
                <a:lnTo>
                  <a:pt x="438" y="126"/>
                </a:lnTo>
                <a:lnTo>
                  <a:pt x="438" y="132"/>
                </a:lnTo>
                <a:lnTo>
                  <a:pt x="438" y="138"/>
                </a:lnTo>
                <a:lnTo>
                  <a:pt x="438" y="144"/>
                </a:lnTo>
                <a:lnTo>
                  <a:pt x="432" y="144"/>
                </a:lnTo>
                <a:lnTo>
                  <a:pt x="432" y="150"/>
                </a:lnTo>
                <a:lnTo>
                  <a:pt x="432" y="144"/>
                </a:lnTo>
                <a:lnTo>
                  <a:pt x="426" y="144"/>
                </a:lnTo>
                <a:lnTo>
                  <a:pt x="426" y="150"/>
                </a:lnTo>
                <a:lnTo>
                  <a:pt x="426" y="156"/>
                </a:lnTo>
                <a:lnTo>
                  <a:pt x="432" y="156"/>
                </a:lnTo>
                <a:lnTo>
                  <a:pt x="438" y="156"/>
                </a:lnTo>
                <a:lnTo>
                  <a:pt x="438" y="162"/>
                </a:lnTo>
                <a:lnTo>
                  <a:pt x="438" y="168"/>
                </a:lnTo>
                <a:lnTo>
                  <a:pt x="432" y="162"/>
                </a:lnTo>
                <a:lnTo>
                  <a:pt x="432" y="168"/>
                </a:lnTo>
                <a:lnTo>
                  <a:pt x="426" y="168"/>
                </a:lnTo>
                <a:lnTo>
                  <a:pt x="420" y="168"/>
                </a:lnTo>
                <a:lnTo>
                  <a:pt x="420" y="174"/>
                </a:lnTo>
                <a:lnTo>
                  <a:pt x="426" y="168"/>
                </a:lnTo>
                <a:lnTo>
                  <a:pt x="432" y="168"/>
                </a:lnTo>
                <a:lnTo>
                  <a:pt x="438" y="168"/>
                </a:lnTo>
                <a:lnTo>
                  <a:pt x="432" y="168"/>
                </a:lnTo>
                <a:lnTo>
                  <a:pt x="438" y="168"/>
                </a:lnTo>
                <a:lnTo>
                  <a:pt x="438" y="174"/>
                </a:lnTo>
                <a:lnTo>
                  <a:pt x="438" y="180"/>
                </a:lnTo>
                <a:lnTo>
                  <a:pt x="432" y="180"/>
                </a:lnTo>
                <a:lnTo>
                  <a:pt x="432" y="186"/>
                </a:lnTo>
                <a:lnTo>
                  <a:pt x="432" y="180"/>
                </a:lnTo>
                <a:lnTo>
                  <a:pt x="438" y="180"/>
                </a:lnTo>
                <a:lnTo>
                  <a:pt x="438" y="174"/>
                </a:lnTo>
                <a:lnTo>
                  <a:pt x="444" y="174"/>
                </a:lnTo>
                <a:lnTo>
                  <a:pt x="438" y="174"/>
                </a:lnTo>
                <a:lnTo>
                  <a:pt x="444" y="174"/>
                </a:lnTo>
                <a:lnTo>
                  <a:pt x="444" y="168"/>
                </a:lnTo>
                <a:lnTo>
                  <a:pt x="444" y="174"/>
                </a:lnTo>
                <a:lnTo>
                  <a:pt x="444" y="180"/>
                </a:lnTo>
                <a:lnTo>
                  <a:pt x="444" y="186"/>
                </a:lnTo>
                <a:lnTo>
                  <a:pt x="444" y="192"/>
                </a:lnTo>
                <a:lnTo>
                  <a:pt x="438" y="192"/>
                </a:lnTo>
                <a:lnTo>
                  <a:pt x="432" y="192"/>
                </a:lnTo>
                <a:lnTo>
                  <a:pt x="426" y="192"/>
                </a:lnTo>
                <a:lnTo>
                  <a:pt x="420" y="186"/>
                </a:lnTo>
                <a:lnTo>
                  <a:pt x="414" y="186"/>
                </a:lnTo>
                <a:lnTo>
                  <a:pt x="408" y="186"/>
                </a:lnTo>
                <a:lnTo>
                  <a:pt x="402" y="186"/>
                </a:lnTo>
                <a:lnTo>
                  <a:pt x="396" y="186"/>
                </a:lnTo>
                <a:lnTo>
                  <a:pt x="390" y="186"/>
                </a:lnTo>
                <a:lnTo>
                  <a:pt x="384" y="186"/>
                </a:lnTo>
                <a:lnTo>
                  <a:pt x="378" y="186"/>
                </a:lnTo>
                <a:lnTo>
                  <a:pt x="372" y="186"/>
                </a:lnTo>
                <a:lnTo>
                  <a:pt x="354" y="186"/>
                </a:lnTo>
                <a:lnTo>
                  <a:pt x="342" y="186"/>
                </a:lnTo>
                <a:lnTo>
                  <a:pt x="324" y="186"/>
                </a:lnTo>
                <a:lnTo>
                  <a:pt x="312" y="186"/>
                </a:lnTo>
                <a:lnTo>
                  <a:pt x="306" y="186"/>
                </a:lnTo>
                <a:lnTo>
                  <a:pt x="300" y="186"/>
                </a:lnTo>
                <a:lnTo>
                  <a:pt x="294" y="186"/>
                </a:lnTo>
                <a:lnTo>
                  <a:pt x="282" y="186"/>
                </a:lnTo>
                <a:lnTo>
                  <a:pt x="270" y="186"/>
                </a:lnTo>
                <a:lnTo>
                  <a:pt x="264" y="186"/>
                </a:lnTo>
                <a:lnTo>
                  <a:pt x="258" y="192"/>
                </a:lnTo>
                <a:lnTo>
                  <a:pt x="258" y="186"/>
                </a:lnTo>
                <a:lnTo>
                  <a:pt x="246" y="186"/>
                </a:lnTo>
                <a:lnTo>
                  <a:pt x="240" y="186"/>
                </a:lnTo>
                <a:lnTo>
                  <a:pt x="234" y="186"/>
                </a:lnTo>
                <a:lnTo>
                  <a:pt x="228" y="192"/>
                </a:lnTo>
                <a:lnTo>
                  <a:pt x="222" y="192"/>
                </a:lnTo>
                <a:lnTo>
                  <a:pt x="216" y="192"/>
                </a:lnTo>
                <a:lnTo>
                  <a:pt x="210" y="192"/>
                </a:lnTo>
                <a:lnTo>
                  <a:pt x="204" y="192"/>
                </a:lnTo>
                <a:lnTo>
                  <a:pt x="198" y="192"/>
                </a:lnTo>
                <a:lnTo>
                  <a:pt x="192" y="192"/>
                </a:lnTo>
                <a:lnTo>
                  <a:pt x="180" y="192"/>
                </a:lnTo>
                <a:lnTo>
                  <a:pt x="168" y="192"/>
                </a:lnTo>
                <a:lnTo>
                  <a:pt x="162" y="192"/>
                </a:lnTo>
                <a:lnTo>
                  <a:pt x="150" y="192"/>
                </a:lnTo>
                <a:lnTo>
                  <a:pt x="138" y="192"/>
                </a:lnTo>
                <a:lnTo>
                  <a:pt x="132" y="192"/>
                </a:lnTo>
                <a:lnTo>
                  <a:pt x="120" y="192"/>
                </a:lnTo>
                <a:lnTo>
                  <a:pt x="114" y="192"/>
                </a:lnTo>
                <a:lnTo>
                  <a:pt x="108" y="192"/>
                </a:lnTo>
                <a:lnTo>
                  <a:pt x="102" y="192"/>
                </a:lnTo>
                <a:lnTo>
                  <a:pt x="90" y="192"/>
                </a:lnTo>
                <a:lnTo>
                  <a:pt x="84" y="192"/>
                </a:lnTo>
                <a:lnTo>
                  <a:pt x="78" y="192"/>
                </a:lnTo>
                <a:lnTo>
                  <a:pt x="72" y="198"/>
                </a:lnTo>
                <a:lnTo>
                  <a:pt x="66" y="198"/>
                </a:lnTo>
                <a:lnTo>
                  <a:pt x="60" y="198"/>
                </a:lnTo>
                <a:lnTo>
                  <a:pt x="54" y="198"/>
                </a:lnTo>
                <a:lnTo>
                  <a:pt x="48" y="198"/>
                </a:lnTo>
                <a:lnTo>
                  <a:pt x="42" y="198"/>
                </a:lnTo>
                <a:lnTo>
                  <a:pt x="36" y="198"/>
                </a:lnTo>
                <a:lnTo>
                  <a:pt x="30" y="204"/>
                </a:lnTo>
                <a:lnTo>
                  <a:pt x="24" y="204"/>
                </a:lnTo>
                <a:lnTo>
                  <a:pt x="18" y="204"/>
                </a:lnTo>
                <a:lnTo>
                  <a:pt x="12" y="204"/>
                </a:lnTo>
                <a:lnTo>
                  <a:pt x="6" y="210"/>
                </a:lnTo>
                <a:lnTo>
                  <a:pt x="0" y="186"/>
                </a:lnTo>
                <a:lnTo>
                  <a:pt x="0" y="180"/>
                </a:lnTo>
                <a:lnTo>
                  <a:pt x="0" y="174"/>
                </a:lnTo>
                <a:lnTo>
                  <a:pt x="6" y="156"/>
                </a:lnTo>
                <a:lnTo>
                  <a:pt x="12" y="156"/>
                </a:lnTo>
                <a:lnTo>
                  <a:pt x="18" y="156"/>
                </a:lnTo>
                <a:lnTo>
                  <a:pt x="24" y="162"/>
                </a:lnTo>
                <a:lnTo>
                  <a:pt x="30" y="162"/>
                </a:lnTo>
                <a:lnTo>
                  <a:pt x="36" y="162"/>
                </a:lnTo>
                <a:lnTo>
                  <a:pt x="42" y="162"/>
                </a:lnTo>
                <a:lnTo>
                  <a:pt x="48" y="162"/>
                </a:lnTo>
                <a:lnTo>
                  <a:pt x="54" y="156"/>
                </a:lnTo>
                <a:lnTo>
                  <a:pt x="60" y="156"/>
                </a:lnTo>
                <a:lnTo>
                  <a:pt x="66" y="156"/>
                </a:lnTo>
                <a:lnTo>
                  <a:pt x="72" y="156"/>
                </a:lnTo>
                <a:lnTo>
                  <a:pt x="78" y="162"/>
                </a:lnTo>
                <a:lnTo>
                  <a:pt x="84" y="162"/>
                </a:lnTo>
                <a:lnTo>
                  <a:pt x="90" y="162"/>
                </a:lnTo>
                <a:lnTo>
                  <a:pt x="90" y="168"/>
                </a:lnTo>
                <a:lnTo>
                  <a:pt x="96" y="168"/>
                </a:lnTo>
                <a:lnTo>
                  <a:pt x="96" y="162"/>
                </a:lnTo>
                <a:lnTo>
                  <a:pt x="102" y="162"/>
                </a:lnTo>
                <a:lnTo>
                  <a:pt x="102" y="156"/>
                </a:lnTo>
                <a:lnTo>
                  <a:pt x="108" y="156"/>
                </a:lnTo>
                <a:lnTo>
                  <a:pt x="108" y="150"/>
                </a:lnTo>
                <a:lnTo>
                  <a:pt x="114" y="150"/>
                </a:lnTo>
                <a:lnTo>
                  <a:pt x="114" y="144"/>
                </a:lnTo>
                <a:lnTo>
                  <a:pt x="120" y="144"/>
                </a:lnTo>
                <a:lnTo>
                  <a:pt x="126" y="144"/>
                </a:lnTo>
                <a:lnTo>
                  <a:pt x="126" y="138"/>
                </a:lnTo>
                <a:lnTo>
                  <a:pt x="126" y="132"/>
                </a:lnTo>
                <a:lnTo>
                  <a:pt x="126" y="126"/>
                </a:lnTo>
                <a:lnTo>
                  <a:pt x="192" y="126"/>
                </a:lnTo>
                <a:lnTo>
                  <a:pt x="258" y="126"/>
                </a:lnTo>
                <a:lnTo>
                  <a:pt x="264" y="126"/>
                </a:lnTo>
                <a:lnTo>
                  <a:pt x="270" y="126"/>
                </a:lnTo>
                <a:lnTo>
                  <a:pt x="276" y="120"/>
                </a:lnTo>
                <a:lnTo>
                  <a:pt x="282" y="120"/>
                </a:lnTo>
                <a:lnTo>
                  <a:pt x="300" y="120"/>
                </a:lnTo>
                <a:lnTo>
                  <a:pt x="306" y="114"/>
                </a:lnTo>
                <a:lnTo>
                  <a:pt x="312" y="108"/>
                </a:lnTo>
                <a:lnTo>
                  <a:pt x="318" y="102"/>
                </a:lnTo>
                <a:lnTo>
                  <a:pt x="324" y="102"/>
                </a:lnTo>
                <a:lnTo>
                  <a:pt x="324" y="96"/>
                </a:lnTo>
                <a:lnTo>
                  <a:pt x="318" y="90"/>
                </a:lnTo>
                <a:lnTo>
                  <a:pt x="318" y="84"/>
                </a:lnTo>
                <a:lnTo>
                  <a:pt x="324" y="72"/>
                </a:lnTo>
                <a:lnTo>
                  <a:pt x="336" y="66"/>
                </a:lnTo>
                <a:lnTo>
                  <a:pt x="336" y="60"/>
                </a:lnTo>
                <a:lnTo>
                  <a:pt x="342" y="54"/>
                </a:lnTo>
                <a:lnTo>
                  <a:pt x="342" y="48"/>
                </a:lnTo>
                <a:lnTo>
                  <a:pt x="342" y="30"/>
                </a:lnTo>
                <a:lnTo>
                  <a:pt x="342" y="24"/>
                </a:lnTo>
                <a:lnTo>
                  <a:pt x="354" y="0"/>
                </a:lnTo>
                <a:lnTo>
                  <a:pt x="360" y="0"/>
                </a:lnTo>
                <a:lnTo>
                  <a:pt x="366" y="0"/>
                </a:lnTo>
                <a:lnTo>
                  <a:pt x="366" y="6"/>
                </a:lnTo>
                <a:lnTo>
                  <a:pt x="378" y="12"/>
                </a:lnTo>
                <a:lnTo>
                  <a:pt x="390" y="12"/>
                </a:lnTo>
                <a:lnTo>
                  <a:pt x="390" y="18"/>
                </a:lnTo>
                <a:lnTo>
                  <a:pt x="402" y="18"/>
                </a:lnTo>
                <a:lnTo>
                  <a:pt x="408" y="18"/>
                </a:lnTo>
                <a:lnTo>
                  <a:pt x="414" y="24"/>
                </a:lnTo>
                <a:lnTo>
                  <a:pt x="414" y="30"/>
                </a:lnTo>
                <a:lnTo>
                  <a:pt x="420" y="30"/>
                </a:lnTo>
                <a:lnTo>
                  <a:pt x="426" y="36"/>
                </a:lnTo>
                <a:lnTo>
                  <a:pt x="462" y="36"/>
                </a:lnTo>
                <a:lnTo>
                  <a:pt x="468" y="36"/>
                </a:lnTo>
                <a:lnTo>
                  <a:pt x="474" y="30"/>
                </a:lnTo>
                <a:lnTo>
                  <a:pt x="474" y="18"/>
                </a:lnTo>
                <a:lnTo>
                  <a:pt x="474" y="12"/>
                </a:lnTo>
                <a:lnTo>
                  <a:pt x="480" y="12"/>
                </a:lnTo>
                <a:lnTo>
                  <a:pt x="486" y="12"/>
                </a:lnTo>
                <a:lnTo>
                  <a:pt x="606" y="12"/>
                </a:lnTo>
                <a:lnTo>
                  <a:pt x="630" y="12"/>
                </a:lnTo>
                <a:lnTo>
                  <a:pt x="678" y="12"/>
                </a:lnTo>
                <a:lnTo>
                  <a:pt x="744" y="12"/>
                </a:lnTo>
                <a:lnTo>
                  <a:pt x="774" y="12"/>
                </a:lnTo>
                <a:lnTo>
                  <a:pt x="846" y="12"/>
                </a:lnTo>
                <a:lnTo>
                  <a:pt x="852" y="12"/>
                </a:lnTo>
                <a:lnTo>
                  <a:pt x="852" y="6"/>
                </a:lnTo>
                <a:lnTo>
                  <a:pt x="888" y="12"/>
                </a:lnTo>
                <a:lnTo>
                  <a:pt x="888" y="24"/>
                </a:lnTo>
                <a:lnTo>
                  <a:pt x="888" y="30"/>
                </a:lnTo>
                <a:lnTo>
                  <a:pt x="882" y="36"/>
                </a:lnTo>
                <a:lnTo>
                  <a:pt x="876" y="42"/>
                </a:lnTo>
                <a:lnTo>
                  <a:pt x="870" y="42"/>
                </a:lnTo>
                <a:lnTo>
                  <a:pt x="864" y="42"/>
                </a:lnTo>
                <a:lnTo>
                  <a:pt x="864" y="48"/>
                </a:lnTo>
                <a:lnTo>
                  <a:pt x="858" y="54"/>
                </a:lnTo>
                <a:lnTo>
                  <a:pt x="864" y="54"/>
                </a:lnTo>
                <a:lnTo>
                  <a:pt x="870" y="72"/>
                </a:lnTo>
                <a:lnTo>
                  <a:pt x="870" y="78"/>
                </a:lnTo>
                <a:lnTo>
                  <a:pt x="870" y="84"/>
                </a:lnTo>
                <a:lnTo>
                  <a:pt x="870" y="90"/>
                </a:lnTo>
                <a:close/>
                <a:moveTo>
                  <a:pt x="972" y="156"/>
                </a:moveTo>
                <a:lnTo>
                  <a:pt x="972" y="162"/>
                </a:lnTo>
                <a:lnTo>
                  <a:pt x="978" y="162"/>
                </a:lnTo>
                <a:lnTo>
                  <a:pt x="984" y="168"/>
                </a:lnTo>
                <a:lnTo>
                  <a:pt x="990" y="168"/>
                </a:lnTo>
                <a:lnTo>
                  <a:pt x="990" y="162"/>
                </a:lnTo>
                <a:lnTo>
                  <a:pt x="1008" y="162"/>
                </a:lnTo>
                <a:lnTo>
                  <a:pt x="1020" y="162"/>
                </a:lnTo>
                <a:lnTo>
                  <a:pt x="1038" y="162"/>
                </a:lnTo>
                <a:lnTo>
                  <a:pt x="1056" y="168"/>
                </a:lnTo>
                <a:lnTo>
                  <a:pt x="1056" y="180"/>
                </a:lnTo>
                <a:lnTo>
                  <a:pt x="1056" y="186"/>
                </a:lnTo>
                <a:lnTo>
                  <a:pt x="1056" y="204"/>
                </a:lnTo>
                <a:lnTo>
                  <a:pt x="1050" y="204"/>
                </a:lnTo>
                <a:lnTo>
                  <a:pt x="1044" y="204"/>
                </a:lnTo>
                <a:lnTo>
                  <a:pt x="1038" y="204"/>
                </a:lnTo>
                <a:lnTo>
                  <a:pt x="1032" y="204"/>
                </a:lnTo>
                <a:lnTo>
                  <a:pt x="1026" y="204"/>
                </a:lnTo>
                <a:lnTo>
                  <a:pt x="1020" y="204"/>
                </a:lnTo>
                <a:lnTo>
                  <a:pt x="1014" y="204"/>
                </a:lnTo>
                <a:lnTo>
                  <a:pt x="1008" y="204"/>
                </a:lnTo>
                <a:lnTo>
                  <a:pt x="1002" y="204"/>
                </a:lnTo>
                <a:lnTo>
                  <a:pt x="996" y="204"/>
                </a:lnTo>
                <a:lnTo>
                  <a:pt x="984" y="204"/>
                </a:lnTo>
                <a:lnTo>
                  <a:pt x="984" y="198"/>
                </a:lnTo>
                <a:lnTo>
                  <a:pt x="978" y="198"/>
                </a:lnTo>
                <a:lnTo>
                  <a:pt x="966" y="198"/>
                </a:lnTo>
                <a:lnTo>
                  <a:pt x="948" y="192"/>
                </a:lnTo>
                <a:lnTo>
                  <a:pt x="942" y="192"/>
                </a:lnTo>
                <a:lnTo>
                  <a:pt x="936" y="192"/>
                </a:lnTo>
                <a:lnTo>
                  <a:pt x="924" y="192"/>
                </a:lnTo>
                <a:lnTo>
                  <a:pt x="918" y="192"/>
                </a:lnTo>
                <a:lnTo>
                  <a:pt x="918" y="186"/>
                </a:lnTo>
                <a:lnTo>
                  <a:pt x="912" y="186"/>
                </a:lnTo>
                <a:lnTo>
                  <a:pt x="906" y="186"/>
                </a:lnTo>
                <a:lnTo>
                  <a:pt x="900" y="186"/>
                </a:lnTo>
                <a:lnTo>
                  <a:pt x="894" y="186"/>
                </a:lnTo>
                <a:lnTo>
                  <a:pt x="888" y="186"/>
                </a:lnTo>
                <a:lnTo>
                  <a:pt x="888" y="180"/>
                </a:lnTo>
                <a:lnTo>
                  <a:pt x="882" y="180"/>
                </a:lnTo>
                <a:lnTo>
                  <a:pt x="876" y="180"/>
                </a:lnTo>
                <a:lnTo>
                  <a:pt x="870" y="180"/>
                </a:lnTo>
                <a:lnTo>
                  <a:pt x="864" y="180"/>
                </a:lnTo>
                <a:lnTo>
                  <a:pt x="858" y="180"/>
                </a:lnTo>
                <a:lnTo>
                  <a:pt x="852" y="180"/>
                </a:lnTo>
                <a:lnTo>
                  <a:pt x="852" y="174"/>
                </a:lnTo>
                <a:lnTo>
                  <a:pt x="846" y="174"/>
                </a:lnTo>
                <a:lnTo>
                  <a:pt x="840" y="174"/>
                </a:lnTo>
                <a:lnTo>
                  <a:pt x="834" y="174"/>
                </a:lnTo>
                <a:lnTo>
                  <a:pt x="828" y="174"/>
                </a:lnTo>
                <a:lnTo>
                  <a:pt x="822" y="174"/>
                </a:lnTo>
                <a:lnTo>
                  <a:pt x="816" y="174"/>
                </a:lnTo>
                <a:lnTo>
                  <a:pt x="810" y="168"/>
                </a:lnTo>
                <a:lnTo>
                  <a:pt x="804" y="168"/>
                </a:lnTo>
                <a:lnTo>
                  <a:pt x="798" y="168"/>
                </a:lnTo>
                <a:lnTo>
                  <a:pt x="792" y="168"/>
                </a:lnTo>
                <a:lnTo>
                  <a:pt x="786" y="168"/>
                </a:lnTo>
                <a:lnTo>
                  <a:pt x="780" y="168"/>
                </a:lnTo>
                <a:lnTo>
                  <a:pt x="774" y="168"/>
                </a:lnTo>
                <a:lnTo>
                  <a:pt x="768" y="168"/>
                </a:lnTo>
                <a:lnTo>
                  <a:pt x="762" y="168"/>
                </a:lnTo>
                <a:lnTo>
                  <a:pt x="756" y="168"/>
                </a:lnTo>
                <a:lnTo>
                  <a:pt x="750" y="168"/>
                </a:lnTo>
                <a:lnTo>
                  <a:pt x="750" y="162"/>
                </a:lnTo>
                <a:lnTo>
                  <a:pt x="744" y="168"/>
                </a:lnTo>
                <a:lnTo>
                  <a:pt x="738" y="162"/>
                </a:lnTo>
                <a:lnTo>
                  <a:pt x="732" y="162"/>
                </a:lnTo>
                <a:lnTo>
                  <a:pt x="726" y="162"/>
                </a:lnTo>
                <a:lnTo>
                  <a:pt x="714" y="162"/>
                </a:lnTo>
                <a:lnTo>
                  <a:pt x="702" y="162"/>
                </a:lnTo>
                <a:lnTo>
                  <a:pt x="696" y="168"/>
                </a:lnTo>
                <a:lnTo>
                  <a:pt x="690" y="168"/>
                </a:lnTo>
                <a:lnTo>
                  <a:pt x="684" y="168"/>
                </a:lnTo>
                <a:lnTo>
                  <a:pt x="678" y="168"/>
                </a:lnTo>
                <a:lnTo>
                  <a:pt x="672" y="168"/>
                </a:lnTo>
                <a:lnTo>
                  <a:pt x="666" y="168"/>
                </a:lnTo>
                <a:lnTo>
                  <a:pt x="660" y="168"/>
                </a:lnTo>
                <a:lnTo>
                  <a:pt x="654" y="168"/>
                </a:lnTo>
                <a:lnTo>
                  <a:pt x="648" y="174"/>
                </a:lnTo>
                <a:lnTo>
                  <a:pt x="648" y="168"/>
                </a:lnTo>
                <a:lnTo>
                  <a:pt x="642" y="174"/>
                </a:lnTo>
                <a:lnTo>
                  <a:pt x="636" y="174"/>
                </a:lnTo>
                <a:lnTo>
                  <a:pt x="630" y="174"/>
                </a:lnTo>
                <a:lnTo>
                  <a:pt x="624" y="174"/>
                </a:lnTo>
                <a:lnTo>
                  <a:pt x="618" y="174"/>
                </a:lnTo>
                <a:lnTo>
                  <a:pt x="612" y="174"/>
                </a:lnTo>
                <a:lnTo>
                  <a:pt x="606" y="174"/>
                </a:lnTo>
                <a:lnTo>
                  <a:pt x="600" y="174"/>
                </a:lnTo>
                <a:lnTo>
                  <a:pt x="594" y="174"/>
                </a:lnTo>
                <a:lnTo>
                  <a:pt x="588" y="174"/>
                </a:lnTo>
                <a:lnTo>
                  <a:pt x="582" y="174"/>
                </a:lnTo>
                <a:lnTo>
                  <a:pt x="576" y="174"/>
                </a:lnTo>
                <a:lnTo>
                  <a:pt x="570" y="174"/>
                </a:lnTo>
                <a:lnTo>
                  <a:pt x="564" y="174"/>
                </a:lnTo>
                <a:lnTo>
                  <a:pt x="558" y="174"/>
                </a:lnTo>
                <a:lnTo>
                  <a:pt x="552" y="174"/>
                </a:lnTo>
                <a:lnTo>
                  <a:pt x="540" y="174"/>
                </a:lnTo>
                <a:lnTo>
                  <a:pt x="534" y="174"/>
                </a:lnTo>
                <a:lnTo>
                  <a:pt x="522" y="174"/>
                </a:lnTo>
                <a:lnTo>
                  <a:pt x="510" y="174"/>
                </a:lnTo>
                <a:lnTo>
                  <a:pt x="504" y="174"/>
                </a:lnTo>
                <a:lnTo>
                  <a:pt x="498" y="174"/>
                </a:lnTo>
                <a:lnTo>
                  <a:pt x="492" y="174"/>
                </a:lnTo>
                <a:lnTo>
                  <a:pt x="486" y="174"/>
                </a:lnTo>
                <a:lnTo>
                  <a:pt x="480" y="174"/>
                </a:lnTo>
                <a:lnTo>
                  <a:pt x="474" y="174"/>
                </a:lnTo>
                <a:lnTo>
                  <a:pt x="468" y="174"/>
                </a:lnTo>
                <a:lnTo>
                  <a:pt x="462" y="174"/>
                </a:lnTo>
                <a:lnTo>
                  <a:pt x="456" y="174"/>
                </a:lnTo>
                <a:lnTo>
                  <a:pt x="450" y="180"/>
                </a:lnTo>
                <a:lnTo>
                  <a:pt x="450" y="186"/>
                </a:lnTo>
                <a:lnTo>
                  <a:pt x="450" y="192"/>
                </a:lnTo>
                <a:lnTo>
                  <a:pt x="444" y="192"/>
                </a:lnTo>
                <a:lnTo>
                  <a:pt x="444" y="186"/>
                </a:lnTo>
                <a:lnTo>
                  <a:pt x="444" y="180"/>
                </a:lnTo>
                <a:lnTo>
                  <a:pt x="450" y="180"/>
                </a:lnTo>
                <a:lnTo>
                  <a:pt x="450" y="174"/>
                </a:lnTo>
                <a:lnTo>
                  <a:pt x="450" y="168"/>
                </a:lnTo>
                <a:lnTo>
                  <a:pt x="450" y="162"/>
                </a:lnTo>
                <a:lnTo>
                  <a:pt x="456" y="162"/>
                </a:lnTo>
                <a:lnTo>
                  <a:pt x="456" y="168"/>
                </a:lnTo>
                <a:lnTo>
                  <a:pt x="456" y="162"/>
                </a:lnTo>
                <a:lnTo>
                  <a:pt x="462" y="162"/>
                </a:lnTo>
                <a:lnTo>
                  <a:pt x="468" y="162"/>
                </a:lnTo>
                <a:lnTo>
                  <a:pt x="468" y="168"/>
                </a:lnTo>
                <a:lnTo>
                  <a:pt x="474" y="168"/>
                </a:lnTo>
                <a:lnTo>
                  <a:pt x="480" y="168"/>
                </a:lnTo>
                <a:lnTo>
                  <a:pt x="480" y="162"/>
                </a:lnTo>
                <a:lnTo>
                  <a:pt x="480" y="156"/>
                </a:lnTo>
                <a:lnTo>
                  <a:pt x="486" y="156"/>
                </a:lnTo>
                <a:lnTo>
                  <a:pt x="486" y="162"/>
                </a:lnTo>
                <a:lnTo>
                  <a:pt x="486" y="156"/>
                </a:lnTo>
                <a:lnTo>
                  <a:pt x="492" y="156"/>
                </a:lnTo>
                <a:lnTo>
                  <a:pt x="486" y="150"/>
                </a:lnTo>
                <a:lnTo>
                  <a:pt x="492" y="150"/>
                </a:lnTo>
                <a:lnTo>
                  <a:pt x="498" y="150"/>
                </a:lnTo>
                <a:lnTo>
                  <a:pt x="498" y="156"/>
                </a:lnTo>
                <a:lnTo>
                  <a:pt x="504" y="156"/>
                </a:lnTo>
                <a:lnTo>
                  <a:pt x="504" y="162"/>
                </a:lnTo>
                <a:lnTo>
                  <a:pt x="504" y="156"/>
                </a:lnTo>
                <a:lnTo>
                  <a:pt x="510" y="156"/>
                </a:lnTo>
                <a:lnTo>
                  <a:pt x="510" y="150"/>
                </a:lnTo>
                <a:lnTo>
                  <a:pt x="516" y="150"/>
                </a:lnTo>
                <a:lnTo>
                  <a:pt x="522" y="150"/>
                </a:lnTo>
                <a:lnTo>
                  <a:pt x="522" y="144"/>
                </a:lnTo>
                <a:lnTo>
                  <a:pt x="522" y="150"/>
                </a:lnTo>
                <a:lnTo>
                  <a:pt x="528" y="150"/>
                </a:lnTo>
                <a:lnTo>
                  <a:pt x="534" y="150"/>
                </a:lnTo>
                <a:lnTo>
                  <a:pt x="528" y="150"/>
                </a:lnTo>
                <a:lnTo>
                  <a:pt x="528" y="144"/>
                </a:lnTo>
                <a:lnTo>
                  <a:pt x="540" y="144"/>
                </a:lnTo>
                <a:lnTo>
                  <a:pt x="546" y="144"/>
                </a:lnTo>
                <a:lnTo>
                  <a:pt x="552" y="138"/>
                </a:lnTo>
                <a:lnTo>
                  <a:pt x="552" y="132"/>
                </a:lnTo>
                <a:lnTo>
                  <a:pt x="558" y="132"/>
                </a:lnTo>
                <a:lnTo>
                  <a:pt x="558" y="126"/>
                </a:lnTo>
                <a:lnTo>
                  <a:pt x="558" y="120"/>
                </a:lnTo>
                <a:lnTo>
                  <a:pt x="558" y="114"/>
                </a:lnTo>
                <a:lnTo>
                  <a:pt x="564" y="114"/>
                </a:lnTo>
                <a:lnTo>
                  <a:pt x="570" y="114"/>
                </a:lnTo>
                <a:lnTo>
                  <a:pt x="576" y="114"/>
                </a:lnTo>
                <a:lnTo>
                  <a:pt x="582" y="120"/>
                </a:lnTo>
                <a:lnTo>
                  <a:pt x="588" y="120"/>
                </a:lnTo>
                <a:lnTo>
                  <a:pt x="588" y="126"/>
                </a:lnTo>
                <a:lnTo>
                  <a:pt x="588" y="120"/>
                </a:lnTo>
                <a:lnTo>
                  <a:pt x="594" y="120"/>
                </a:lnTo>
                <a:lnTo>
                  <a:pt x="594" y="114"/>
                </a:lnTo>
                <a:lnTo>
                  <a:pt x="594" y="120"/>
                </a:lnTo>
                <a:lnTo>
                  <a:pt x="594" y="114"/>
                </a:lnTo>
                <a:lnTo>
                  <a:pt x="600" y="114"/>
                </a:lnTo>
                <a:lnTo>
                  <a:pt x="606" y="114"/>
                </a:lnTo>
                <a:lnTo>
                  <a:pt x="618" y="114"/>
                </a:lnTo>
                <a:lnTo>
                  <a:pt x="618" y="108"/>
                </a:lnTo>
                <a:lnTo>
                  <a:pt x="624" y="108"/>
                </a:lnTo>
                <a:lnTo>
                  <a:pt x="624" y="102"/>
                </a:lnTo>
                <a:lnTo>
                  <a:pt x="630" y="102"/>
                </a:lnTo>
                <a:lnTo>
                  <a:pt x="636" y="102"/>
                </a:lnTo>
                <a:lnTo>
                  <a:pt x="636" y="108"/>
                </a:lnTo>
                <a:lnTo>
                  <a:pt x="642" y="108"/>
                </a:lnTo>
                <a:lnTo>
                  <a:pt x="648" y="108"/>
                </a:lnTo>
                <a:lnTo>
                  <a:pt x="648" y="102"/>
                </a:lnTo>
                <a:lnTo>
                  <a:pt x="654" y="102"/>
                </a:lnTo>
                <a:lnTo>
                  <a:pt x="660" y="102"/>
                </a:lnTo>
                <a:lnTo>
                  <a:pt x="660" y="96"/>
                </a:lnTo>
                <a:lnTo>
                  <a:pt x="660" y="90"/>
                </a:lnTo>
                <a:lnTo>
                  <a:pt x="666" y="90"/>
                </a:lnTo>
                <a:lnTo>
                  <a:pt x="666" y="84"/>
                </a:lnTo>
                <a:lnTo>
                  <a:pt x="672" y="78"/>
                </a:lnTo>
                <a:lnTo>
                  <a:pt x="672" y="72"/>
                </a:lnTo>
                <a:lnTo>
                  <a:pt x="678" y="66"/>
                </a:lnTo>
                <a:lnTo>
                  <a:pt x="684" y="66"/>
                </a:lnTo>
                <a:lnTo>
                  <a:pt x="684" y="60"/>
                </a:lnTo>
                <a:lnTo>
                  <a:pt x="690" y="60"/>
                </a:lnTo>
                <a:lnTo>
                  <a:pt x="696" y="60"/>
                </a:lnTo>
                <a:lnTo>
                  <a:pt x="702" y="60"/>
                </a:lnTo>
                <a:lnTo>
                  <a:pt x="702" y="66"/>
                </a:lnTo>
                <a:lnTo>
                  <a:pt x="708" y="66"/>
                </a:lnTo>
                <a:lnTo>
                  <a:pt x="714" y="66"/>
                </a:lnTo>
                <a:lnTo>
                  <a:pt x="720" y="66"/>
                </a:lnTo>
                <a:lnTo>
                  <a:pt x="720" y="60"/>
                </a:lnTo>
                <a:lnTo>
                  <a:pt x="726" y="60"/>
                </a:lnTo>
                <a:lnTo>
                  <a:pt x="732" y="60"/>
                </a:lnTo>
                <a:lnTo>
                  <a:pt x="744" y="60"/>
                </a:lnTo>
                <a:lnTo>
                  <a:pt x="750" y="54"/>
                </a:lnTo>
                <a:lnTo>
                  <a:pt x="762" y="60"/>
                </a:lnTo>
                <a:lnTo>
                  <a:pt x="774" y="60"/>
                </a:lnTo>
                <a:lnTo>
                  <a:pt x="774" y="66"/>
                </a:lnTo>
                <a:lnTo>
                  <a:pt x="780" y="72"/>
                </a:lnTo>
                <a:lnTo>
                  <a:pt x="786" y="78"/>
                </a:lnTo>
                <a:lnTo>
                  <a:pt x="792" y="78"/>
                </a:lnTo>
                <a:lnTo>
                  <a:pt x="810" y="84"/>
                </a:lnTo>
                <a:lnTo>
                  <a:pt x="822" y="84"/>
                </a:lnTo>
                <a:lnTo>
                  <a:pt x="828" y="84"/>
                </a:lnTo>
                <a:lnTo>
                  <a:pt x="834" y="84"/>
                </a:lnTo>
                <a:lnTo>
                  <a:pt x="840" y="96"/>
                </a:lnTo>
                <a:lnTo>
                  <a:pt x="846" y="102"/>
                </a:lnTo>
                <a:lnTo>
                  <a:pt x="858" y="102"/>
                </a:lnTo>
                <a:lnTo>
                  <a:pt x="864" y="102"/>
                </a:lnTo>
                <a:lnTo>
                  <a:pt x="876" y="96"/>
                </a:lnTo>
                <a:lnTo>
                  <a:pt x="882" y="102"/>
                </a:lnTo>
                <a:lnTo>
                  <a:pt x="888" y="108"/>
                </a:lnTo>
                <a:lnTo>
                  <a:pt x="888" y="114"/>
                </a:lnTo>
                <a:lnTo>
                  <a:pt x="888" y="120"/>
                </a:lnTo>
                <a:lnTo>
                  <a:pt x="888" y="126"/>
                </a:lnTo>
                <a:lnTo>
                  <a:pt x="888" y="132"/>
                </a:lnTo>
                <a:lnTo>
                  <a:pt x="882" y="132"/>
                </a:lnTo>
                <a:lnTo>
                  <a:pt x="864" y="126"/>
                </a:lnTo>
                <a:lnTo>
                  <a:pt x="852" y="120"/>
                </a:lnTo>
                <a:lnTo>
                  <a:pt x="840" y="126"/>
                </a:lnTo>
                <a:lnTo>
                  <a:pt x="834" y="120"/>
                </a:lnTo>
                <a:lnTo>
                  <a:pt x="828" y="120"/>
                </a:lnTo>
                <a:lnTo>
                  <a:pt x="822" y="120"/>
                </a:lnTo>
                <a:lnTo>
                  <a:pt x="810" y="114"/>
                </a:lnTo>
                <a:lnTo>
                  <a:pt x="804" y="114"/>
                </a:lnTo>
                <a:lnTo>
                  <a:pt x="798" y="114"/>
                </a:lnTo>
                <a:lnTo>
                  <a:pt x="792" y="114"/>
                </a:lnTo>
                <a:lnTo>
                  <a:pt x="786" y="114"/>
                </a:lnTo>
                <a:lnTo>
                  <a:pt x="780" y="114"/>
                </a:lnTo>
                <a:lnTo>
                  <a:pt x="780" y="126"/>
                </a:lnTo>
                <a:lnTo>
                  <a:pt x="786" y="126"/>
                </a:lnTo>
                <a:lnTo>
                  <a:pt x="798" y="126"/>
                </a:lnTo>
                <a:lnTo>
                  <a:pt x="804" y="126"/>
                </a:lnTo>
                <a:lnTo>
                  <a:pt x="822" y="132"/>
                </a:lnTo>
                <a:lnTo>
                  <a:pt x="828" y="132"/>
                </a:lnTo>
                <a:lnTo>
                  <a:pt x="834" y="132"/>
                </a:lnTo>
                <a:lnTo>
                  <a:pt x="840" y="144"/>
                </a:lnTo>
                <a:lnTo>
                  <a:pt x="846" y="150"/>
                </a:lnTo>
                <a:lnTo>
                  <a:pt x="858" y="150"/>
                </a:lnTo>
                <a:lnTo>
                  <a:pt x="864" y="162"/>
                </a:lnTo>
                <a:lnTo>
                  <a:pt x="870" y="162"/>
                </a:lnTo>
                <a:lnTo>
                  <a:pt x="876" y="168"/>
                </a:lnTo>
                <a:lnTo>
                  <a:pt x="888" y="168"/>
                </a:lnTo>
                <a:lnTo>
                  <a:pt x="894" y="174"/>
                </a:lnTo>
                <a:lnTo>
                  <a:pt x="900" y="174"/>
                </a:lnTo>
                <a:lnTo>
                  <a:pt x="918" y="174"/>
                </a:lnTo>
                <a:lnTo>
                  <a:pt x="924" y="174"/>
                </a:lnTo>
                <a:lnTo>
                  <a:pt x="930" y="174"/>
                </a:lnTo>
                <a:lnTo>
                  <a:pt x="942" y="174"/>
                </a:lnTo>
                <a:lnTo>
                  <a:pt x="954" y="174"/>
                </a:lnTo>
                <a:lnTo>
                  <a:pt x="960" y="174"/>
                </a:lnTo>
                <a:lnTo>
                  <a:pt x="966" y="174"/>
                </a:lnTo>
                <a:lnTo>
                  <a:pt x="966" y="168"/>
                </a:lnTo>
                <a:lnTo>
                  <a:pt x="972" y="162"/>
                </a:lnTo>
                <a:lnTo>
                  <a:pt x="972" y="156"/>
                </a:lnTo>
                <a:close/>
                <a:moveTo>
                  <a:pt x="942" y="174"/>
                </a:moveTo>
                <a:lnTo>
                  <a:pt x="936" y="174"/>
                </a:lnTo>
                <a:lnTo>
                  <a:pt x="936" y="168"/>
                </a:lnTo>
                <a:lnTo>
                  <a:pt x="936" y="162"/>
                </a:lnTo>
                <a:lnTo>
                  <a:pt x="948" y="162"/>
                </a:lnTo>
                <a:lnTo>
                  <a:pt x="948" y="156"/>
                </a:lnTo>
                <a:lnTo>
                  <a:pt x="954" y="156"/>
                </a:lnTo>
                <a:lnTo>
                  <a:pt x="960" y="156"/>
                </a:lnTo>
                <a:lnTo>
                  <a:pt x="966" y="156"/>
                </a:lnTo>
                <a:lnTo>
                  <a:pt x="966" y="162"/>
                </a:lnTo>
                <a:lnTo>
                  <a:pt x="960" y="168"/>
                </a:lnTo>
                <a:lnTo>
                  <a:pt x="942" y="174"/>
                </a:lnTo>
                <a:close/>
                <a:moveTo>
                  <a:pt x="900" y="168"/>
                </a:moveTo>
                <a:lnTo>
                  <a:pt x="894" y="168"/>
                </a:lnTo>
                <a:lnTo>
                  <a:pt x="882" y="156"/>
                </a:lnTo>
                <a:lnTo>
                  <a:pt x="882" y="150"/>
                </a:lnTo>
                <a:lnTo>
                  <a:pt x="888" y="156"/>
                </a:lnTo>
                <a:lnTo>
                  <a:pt x="894" y="150"/>
                </a:lnTo>
                <a:lnTo>
                  <a:pt x="900" y="150"/>
                </a:lnTo>
                <a:lnTo>
                  <a:pt x="906" y="150"/>
                </a:lnTo>
                <a:lnTo>
                  <a:pt x="912" y="150"/>
                </a:lnTo>
                <a:lnTo>
                  <a:pt x="924" y="150"/>
                </a:lnTo>
                <a:lnTo>
                  <a:pt x="924" y="156"/>
                </a:lnTo>
                <a:lnTo>
                  <a:pt x="924" y="162"/>
                </a:lnTo>
                <a:lnTo>
                  <a:pt x="924" y="168"/>
                </a:lnTo>
                <a:lnTo>
                  <a:pt x="918" y="168"/>
                </a:lnTo>
                <a:lnTo>
                  <a:pt x="906" y="168"/>
                </a:lnTo>
                <a:lnTo>
                  <a:pt x="900" y="168"/>
                </a:lnTo>
                <a:close/>
                <a:moveTo>
                  <a:pt x="870" y="162"/>
                </a:moveTo>
                <a:lnTo>
                  <a:pt x="876" y="162"/>
                </a:lnTo>
                <a:lnTo>
                  <a:pt x="876" y="168"/>
                </a:lnTo>
                <a:lnTo>
                  <a:pt x="870" y="168"/>
                </a:lnTo>
                <a:lnTo>
                  <a:pt x="870" y="162"/>
                </a:lnTo>
                <a:close/>
                <a:moveTo>
                  <a:pt x="450" y="162"/>
                </a:moveTo>
                <a:lnTo>
                  <a:pt x="444" y="162"/>
                </a:lnTo>
                <a:lnTo>
                  <a:pt x="444" y="156"/>
                </a:lnTo>
                <a:lnTo>
                  <a:pt x="438" y="156"/>
                </a:lnTo>
                <a:lnTo>
                  <a:pt x="432" y="150"/>
                </a:lnTo>
                <a:lnTo>
                  <a:pt x="438" y="150"/>
                </a:lnTo>
                <a:lnTo>
                  <a:pt x="438" y="144"/>
                </a:lnTo>
                <a:lnTo>
                  <a:pt x="438" y="150"/>
                </a:lnTo>
                <a:lnTo>
                  <a:pt x="444" y="150"/>
                </a:lnTo>
                <a:lnTo>
                  <a:pt x="450" y="150"/>
                </a:lnTo>
                <a:lnTo>
                  <a:pt x="450" y="156"/>
                </a:lnTo>
                <a:lnTo>
                  <a:pt x="456" y="156"/>
                </a:lnTo>
                <a:lnTo>
                  <a:pt x="456" y="150"/>
                </a:lnTo>
                <a:lnTo>
                  <a:pt x="456" y="156"/>
                </a:lnTo>
                <a:lnTo>
                  <a:pt x="462" y="150"/>
                </a:lnTo>
                <a:lnTo>
                  <a:pt x="462" y="144"/>
                </a:lnTo>
                <a:lnTo>
                  <a:pt x="468" y="144"/>
                </a:lnTo>
                <a:lnTo>
                  <a:pt x="468" y="150"/>
                </a:lnTo>
                <a:lnTo>
                  <a:pt x="474" y="150"/>
                </a:lnTo>
                <a:lnTo>
                  <a:pt x="480" y="150"/>
                </a:lnTo>
                <a:lnTo>
                  <a:pt x="480" y="156"/>
                </a:lnTo>
                <a:lnTo>
                  <a:pt x="480" y="162"/>
                </a:lnTo>
                <a:lnTo>
                  <a:pt x="474" y="162"/>
                </a:lnTo>
                <a:lnTo>
                  <a:pt x="474" y="168"/>
                </a:lnTo>
                <a:lnTo>
                  <a:pt x="474" y="162"/>
                </a:lnTo>
                <a:lnTo>
                  <a:pt x="468" y="162"/>
                </a:lnTo>
                <a:lnTo>
                  <a:pt x="462" y="162"/>
                </a:lnTo>
                <a:lnTo>
                  <a:pt x="456" y="162"/>
                </a:lnTo>
                <a:lnTo>
                  <a:pt x="450" y="162"/>
                </a:lnTo>
                <a:close/>
              </a:path>
            </a:pathLst>
          </a:custGeom>
          <a:solidFill>
            <a:srgbClr val="33CC33"/>
          </a:solidFill>
          <a:ln w="9525">
            <a:solidFill>
              <a:schemeClr val="bg1"/>
            </a:solidFill>
            <a:round/>
            <a:headEnd/>
            <a:tailEnd/>
          </a:ln>
        </p:spPr>
        <p:txBody>
          <a:bodyPr/>
          <a:lstStyle/>
          <a:p>
            <a:endParaRPr lang="en-GB"/>
          </a:p>
        </p:txBody>
      </p:sp>
      <p:sp>
        <p:nvSpPr>
          <p:cNvPr id="18469" name="Freeform 32"/>
          <p:cNvSpPr>
            <a:spLocks/>
          </p:cNvSpPr>
          <p:nvPr/>
        </p:nvSpPr>
        <p:spPr bwMode="gray">
          <a:xfrm>
            <a:off x="1455738" y="3425825"/>
            <a:ext cx="1743075" cy="1122363"/>
          </a:xfrm>
          <a:custGeom>
            <a:avLst/>
            <a:gdLst>
              <a:gd name="T0" fmla="*/ 108100 w 2226"/>
              <a:gd name="T1" fmla="*/ 97573 h 1392"/>
              <a:gd name="T2" fmla="*/ 104184 w 2226"/>
              <a:gd name="T3" fmla="*/ 95961 h 1392"/>
              <a:gd name="T4" fmla="*/ 100267 w 2226"/>
              <a:gd name="T5" fmla="*/ 94348 h 1392"/>
              <a:gd name="T6" fmla="*/ 93217 w 2226"/>
              <a:gd name="T7" fmla="*/ 93541 h 1392"/>
              <a:gd name="T8" fmla="*/ 79117 w 2226"/>
              <a:gd name="T9" fmla="*/ 93541 h 1392"/>
              <a:gd name="T10" fmla="*/ 73634 w 2226"/>
              <a:gd name="T11" fmla="*/ 83865 h 1392"/>
              <a:gd name="T12" fmla="*/ 64234 w 2226"/>
              <a:gd name="T13" fmla="*/ 66931 h 1392"/>
              <a:gd name="T14" fmla="*/ 68150 w 2226"/>
              <a:gd name="T15" fmla="*/ 55641 h 1392"/>
              <a:gd name="T16" fmla="*/ 64234 w 2226"/>
              <a:gd name="T17" fmla="*/ 52416 h 1392"/>
              <a:gd name="T18" fmla="*/ 46217 w 2226"/>
              <a:gd name="T19" fmla="*/ 45964 h 1392"/>
              <a:gd name="T20" fmla="*/ 22717 w 2226"/>
              <a:gd name="T21" fmla="*/ 62092 h 1392"/>
              <a:gd name="T22" fmla="*/ 15667 w 2226"/>
              <a:gd name="T23" fmla="*/ 62899 h 1392"/>
              <a:gd name="T24" fmla="*/ 11750 w 2226"/>
              <a:gd name="T25" fmla="*/ 66124 h 1392"/>
              <a:gd name="T26" fmla="*/ 6267 w 2226"/>
              <a:gd name="T27" fmla="*/ 69350 h 1392"/>
              <a:gd name="T28" fmla="*/ 783 w 2226"/>
              <a:gd name="T29" fmla="*/ 70963 h 1392"/>
              <a:gd name="T30" fmla="*/ 0 w 2226"/>
              <a:gd name="T31" fmla="*/ 66124 h 1392"/>
              <a:gd name="T32" fmla="*/ 0 w 2226"/>
              <a:gd name="T33" fmla="*/ 61286 h 1392"/>
              <a:gd name="T34" fmla="*/ 1567 w 2226"/>
              <a:gd name="T35" fmla="*/ 56447 h 1392"/>
              <a:gd name="T36" fmla="*/ 2350 w 2226"/>
              <a:gd name="T37" fmla="*/ 52416 h 1392"/>
              <a:gd name="T38" fmla="*/ 1567 w 2226"/>
              <a:gd name="T39" fmla="*/ 50803 h 1392"/>
              <a:gd name="T40" fmla="*/ 7050 w 2226"/>
              <a:gd name="T41" fmla="*/ 48384 h 1392"/>
              <a:gd name="T42" fmla="*/ 13317 w 2226"/>
              <a:gd name="T43" fmla="*/ 47577 h 1392"/>
              <a:gd name="T44" fmla="*/ 17233 w 2226"/>
              <a:gd name="T45" fmla="*/ 41126 h 1392"/>
              <a:gd name="T46" fmla="*/ 18017 w 2226"/>
              <a:gd name="T47" fmla="*/ 34675 h 1392"/>
              <a:gd name="T48" fmla="*/ 21150 w 2226"/>
              <a:gd name="T49" fmla="*/ 27417 h 1392"/>
              <a:gd name="T50" fmla="*/ 23500 w 2226"/>
              <a:gd name="T51" fmla="*/ 21773 h 1392"/>
              <a:gd name="T52" fmla="*/ 25850 w 2226"/>
              <a:gd name="T53" fmla="*/ 17741 h 1392"/>
              <a:gd name="T54" fmla="*/ 32900 w 2226"/>
              <a:gd name="T55" fmla="*/ 13709 h 1392"/>
              <a:gd name="T56" fmla="*/ 36817 w 2226"/>
              <a:gd name="T57" fmla="*/ 11289 h 1392"/>
              <a:gd name="T58" fmla="*/ 38383 w 2226"/>
              <a:gd name="T59" fmla="*/ 4032 h 1392"/>
              <a:gd name="T60" fmla="*/ 41517 w 2226"/>
              <a:gd name="T61" fmla="*/ 0 h 1392"/>
              <a:gd name="T62" fmla="*/ 43083 w 2226"/>
              <a:gd name="T63" fmla="*/ 3226 h 1392"/>
              <a:gd name="T64" fmla="*/ 46217 w 2226"/>
              <a:gd name="T65" fmla="*/ 5645 h 1392"/>
              <a:gd name="T66" fmla="*/ 49350 w 2226"/>
              <a:gd name="T67" fmla="*/ 5645 h 1392"/>
              <a:gd name="T68" fmla="*/ 51700 w 2226"/>
              <a:gd name="T69" fmla="*/ 7258 h 1392"/>
              <a:gd name="T70" fmla="*/ 52484 w 2226"/>
              <a:gd name="T71" fmla="*/ 9677 h 1392"/>
              <a:gd name="T72" fmla="*/ 52484 w 2226"/>
              <a:gd name="T73" fmla="*/ 10483 h 1392"/>
              <a:gd name="T74" fmla="*/ 54834 w 2226"/>
              <a:gd name="T75" fmla="*/ 12096 h 1392"/>
              <a:gd name="T76" fmla="*/ 57967 w 2226"/>
              <a:gd name="T77" fmla="*/ 13709 h 1392"/>
              <a:gd name="T78" fmla="*/ 61100 w 2226"/>
              <a:gd name="T79" fmla="*/ 14515 h 1392"/>
              <a:gd name="T80" fmla="*/ 75984 w 2226"/>
              <a:gd name="T81" fmla="*/ 32256 h 1392"/>
              <a:gd name="T82" fmla="*/ 79900 w 2226"/>
              <a:gd name="T83" fmla="*/ 35481 h 1392"/>
              <a:gd name="T84" fmla="*/ 86167 w 2226"/>
              <a:gd name="T85" fmla="*/ 39513 h 1392"/>
              <a:gd name="T86" fmla="*/ 88517 w 2226"/>
              <a:gd name="T87" fmla="*/ 42739 h 1392"/>
              <a:gd name="T88" fmla="*/ 92434 w 2226"/>
              <a:gd name="T89" fmla="*/ 45964 h 1392"/>
              <a:gd name="T90" fmla="*/ 97134 w 2226"/>
              <a:gd name="T91" fmla="*/ 43545 h 1392"/>
              <a:gd name="T92" fmla="*/ 104184 w 2226"/>
              <a:gd name="T93" fmla="*/ 46771 h 1392"/>
              <a:gd name="T94" fmla="*/ 107317 w 2226"/>
              <a:gd name="T95" fmla="*/ 51609 h 1392"/>
              <a:gd name="T96" fmla="*/ 113584 w 2226"/>
              <a:gd name="T97" fmla="*/ 52416 h 1392"/>
              <a:gd name="T98" fmla="*/ 119067 w 2226"/>
              <a:gd name="T99" fmla="*/ 54028 h 1392"/>
              <a:gd name="T100" fmla="*/ 126117 w 2226"/>
              <a:gd name="T101" fmla="*/ 58060 h 1392"/>
              <a:gd name="T102" fmla="*/ 131601 w 2226"/>
              <a:gd name="T103" fmla="*/ 61286 h 1392"/>
              <a:gd name="T104" fmla="*/ 138651 w 2226"/>
              <a:gd name="T105" fmla="*/ 62899 h 1392"/>
              <a:gd name="T106" fmla="*/ 144134 w 2226"/>
              <a:gd name="T107" fmla="*/ 62899 h 1392"/>
              <a:gd name="T108" fmla="*/ 148834 w 2226"/>
              <a:gd name="T109" fmla="*/ 65318 h 1392"/>
              <a:gd name="T110" fmla="*/ 150401 w 2226"/>
              <a:gd name="T111" fmla="*/ 69350 h 1392"/>
              <a:gd name="T112" fmla="*/ 146484 w 2226"/>
              <a:gd name="T113" fmla="*/ 79833 h 1392"/>
              <a:gd name="T114" fmla="*/ 129251 w 2226"/>
              <a:gd name="T115" fmla="*/ 78220 h 1392"/>
              <a:gd name="T116" fmla="*/ 121417 w 2226"/>
              <a:gd name="T117" fmla="*/ 74188 h 1392"/>
              <a:gd name="T118" fmla="*/ 114367 w 2226"/>
              <a:gd name="T119" fmla="*/ 82252 h 1392"/>
              <a:gd name="T120" fmla="*/ 116717 w 2226"/>
              <a:gd name="T121" fmla="*/ 85478 h 1392"/>
              <a:gd name="T122" fmla="*/ 118284 w 2226"/>
              <a:gd name="T123" fmla="*/ 87090 h 1392"/>
              <a:gd name="T124" fmla="*/ 122984 w 2226"/>
              <a:gd name="T125" fmla="*/ 91122 h 13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1392"/>
              <a:gd name="T191" fmla="*/ 2226 w 2226"/>
              <a:gd name="T192" fmla="*/ 1392 h 13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1392">
                <a:moveTo>
                  <a:pt x="1782" y="1326"/>
                </a:moveTo>
                <a:lnTo>
                  <a:pt x="1776" y="1332"/>
                </a:lnTo>
                <a:lnTo>
                  <a:pt x="1692" y="1338"/>
                </a:lnTo>
                <a:lnTo>
                  <a:pt x="1680" y="1386"/>
                </a:lnTo>
                <a:lnTo>
                  <a:pt x="1674" y="1392"/>
                </a:lnTo>
                <a:lnTo>
                  <a:pt x="1638" y="1392"/>
                </a:lnTo>
                <a:lnTo>
                  <a:pt x="1620" y="1392"/>
                </a:lnTo>
                <a:lnTo>
                  <a:pt x="1614" y="1392"/>
                </a:lnTo>
                <a:lnTo>
                  <a:pt x="1608" y="1386"/>
                </a:lnTo>
                <a:lnTo>
                  <a:pt x="1584" y="1386"/>
                </a:lnTo>
                <a:lnTo>
                  <a:pt x="1578" y="1386"/>
                </a:lnTo>
                <a:lnTo>
                  <a:pt x="1572" y="1380"/>
                </a:lnTo>
                <a:lnTo>
                  <a:pt x="1578" y="1356"/>
                </a:lnTo>
                <a:lnTo>
                  <a:pt x="1572" y="1356"/>
                </a:lnTo>
                <a:lnTo>
                  <a:pt x="1560" y="1350"/>
                </a:lnTo>
                <a:lnTo>
                  <a:pt x="1554" y="1350"/>
                </a:lnTo>
                <a:lnTo>
                  <a:pt x="1542" y="1350"/>
                </a:lnTo>
                <a:lnTo>
                  <a:pt x="1530" y="1350"/>
                </a:lnTo>
                <a:lnTo>
                  <a:pt x="1524" y="1356"/>
                </a:lnTo>
                <a:lnTo>
                  <a:pt x="1524" y="1362"/>
                </a:lnTo>
                <a:lnTo>
                  <a:pt x="1512" y="1374"/>
                </a:lnTo>
                <a:lnTo>
                  <a:pt x="1506" y="1374"/>
                </a:lnTo>
                <a:lnTo>
                  <a:pt x="1500" y="1368"/>
                </a:lnTo>
                <a:lnTo>
                  <a:pt x="1500" y="1362"/>
                </a:lnTo>
                <a:lnTo>
                  <a:pt x="1488" y="1362"/>
                </a:lnTo>
                <a:lnTo>
                  <a:pt x="1482" y="1356"/>
                </a:lnTo>
                <a:lnTo>
                  <a:pt x="1482" y="1350"/>
                </a:lnTo>
                <a:lnTo>
                  <a:pt x="1476" y="1350"/>
                </a:lnTo>
                <a:lnTo>
                  <a:pt x="1470" y="1344"/>
                </a:lnTo>
                <a:lnTo>
                  <a:pt x="1464" y="1344"/>
                </a:lnTo>
                <a:lnTo>
                  <a:pt x="1452" y="1350"/>
                </a:lnTo>
                <a:lnTo>
                  <a:pt x="1452" y="1356"/>
                </a:lnTo>
                <a:lnTo>
                  <a:pt x="1440" y="1356"/>
                </a:lnTo>
                <a:lnTo>
                  <a:pt x="1434" y="1344"/>
                </a:lnTo>
                <a:lnTo>
                  <a:pt x="1422" y="1332"/>
                </a:lnTo>
                <a:lnTo>
                  <a:pt x="1416" y="1326"/>
                </a:lnTo>
                <a:lnTo>
                  <a:pt x="1404" y="1320"/>
                </a:lnTo>
                <a:lnTo>
                  <a:pt x="1404" y="1314"/>
                </a:lnTo>
                <a:lnTo>
                  <a:pt x="1374" y="1308"/>
                </a:lnTo>
                <a:lnTo>
                  <a:pt x="1368" y="1326"/>
                </a:lnTo>
                <a:lnTo>
                  <a:pt x="1344" y="1338"/>
                </a:lnTo>
                <a:lnTo>
                  <a:pt x="1326" y="1332"/>
                </a:lnTo>
                <a:lnTo>
                  <a:pt x="1302" y="1332"/>
                </a:lnTo>
                <a:lnTo>
                  <a:pt x="1278" y="1338"/>
                </a:lnTo>
                <a:lnTo>
                  <a:pt x="1236" y="1338"/>
                </a:lnTo>
                <a:lnTo>
                  <a:pt x="1224" y="1338"/>
                </a:lnTo>
                <a:lnTo>
                  <a:pt x="1224" y="1326"/>
                </a:lnTo>
                <a:lnTo>
                  <a:pt x="1206" y="1326"/>
                </a:lnTo>
                <a:lnTo>
                  <a:pt x="1170" y="1326"/>
                </a:lnTo>
                <a:lnTo>
                  <a:pt x="1152" y="1326"/>
                </a:lnTo>
                <a:lnTo>
                  <a:pt x="1140" y="1314"/>
                </a:lnTo>
                <a:lnTo>
                  <a:pt x="1134" y="1296"/>
                </a:lnTo>
                <a:lnTo>
                  <a:pt x="1134" y="1284"/>
                </a:lnTo>
                <a:lnTo>
                  <a:pt x="1128" y="1254"/>
                </a:lnTo>
                <a:lnTo>
                  <a:pt x="1128" y="1242"/>
                </a:lnTo>
                <a:lnTo>
                  <a:pt x="1122" y="1230"/>
                </a:lnTo>
                <a:lnTo>
                  <a:pt x="1104" y="1218"/>
                </a:lnTo>
                <a:lnTo>
                  <a:pt x="1104" y="1212"/>
                </a:lnTo>
                <a:lnTo>
                  <a:pt x="1092" y="1206"/>
                </a:lnTo>
                <a:lnTo>
                  <a:pt x="1080" y="1194"/>
                </a:lnTo>
                <a:lnTo>
                  <a:pt x="1068" y="1176"/>
                </a:lnTo>
                <a:lnTo>
                  <a:pt x="1050" y="1152"/>
                </a:lnTo>
                <a:lnTo>
                  <a:pt x="1020" y="1098"/>
                </a:lnTo>
                <a:lnTo>
                  <a:pt x="978" y="1026"/>
                </a:lnTo>
                <a:lnTo>
                  <a:pt x="978" y="1014"/>
                </a:lnTo>
                <a:lnTo>
                  <a:pt x="972" y="1014"/>
                </a:lnTo>
                <a:lnTo>
                  <a:pt x="972" y="1008"/>
                </a:lnTo>
                <a:lnTo>
                  <a:pt x="978" y="1002"/>
                </a:lnTo>
                <a:lnTo>
                  <a:pt x="960" y="966"/>
                </a:lnTo>
                <a:lnTo>
                  <a:pt x="948" y="954"/>
                </a:lnTo>
                <a:lnTo>
                  <a:pt x="948" y="936"/>
                </a:lnTo>
                <a:lnTo>
                  <a:pt x="936" y="900"/>
                </a:lnTo>
                <a:lnTo>
                  <a:pt x="942" y="876"/>
                </a:lnTo>
                <a:lnTo>
                  <a:pt x="942" y="834"/>
                </a:lnTo>
                <a:lnTo>
                  <a:pt x="960" y="828"/>
                </a:lnTo>
                <a:lnTo>
                  <a:pt x="966" y="816"/>
                </a:lnTo>
                <a:lnTo>
                  <a:pt x="972" y="810"/>
                </a:lnTo>
                <a:lnTo>
                  <a:pt x="978" y="804"/>
                </a:lnTo>
                <a:lnTo>
                  <a:pt x="996" y="798"/>
                </a:lnTo>
                <a:lnTo>
                  <a:pt x="996" y="792"/>
                </a:lnTo>
                <a:lnTo>
                  <a:pt x="1014" y="780"/>
                </a:lnTo>
                <a:lnTo>
                  <a:pt x="1026" y="768"/>
                </a:lnTo>
                <a:lnTo>
                  <a:pt x="1032" y="762"/>
                </a:lnTo>
                <a:lnTo>
                  <a:pt x="1026" y="756"/>
                </a:lnTo>
                <a:lnTo>
                  <a:pt x="1014" y="744"/>
                </a:lnTo>
                <a:lnTo>
                  <a:pt x="996" y="756"/>
                </a:lnTo>
                <a:lnTo>
                  <a:pt x="954" y="768"/>
                </a:lnTo>
                <a:lnTo>
                  <a:pt x="942" y="762"/>
                </a:lnTo>
                <a:lnTo>
                  <a:pt x="942" y="756"/>
                </a:lnTo>
                <a:lnTo>
                  <a:pt x="936" y="750"/>
                </a:lnTo>
                <a:lnTo>
                  <a:pt x="846" y="732"/>
                </a:lnTo>
                <a:lnTo>
                  <a:pt x="822" y="726"/>
                </a:lnTo>
                <a:lnTo>
                  <a:pt x="810" y="714"/>
                </a:lnTo>
                <a:lnTo>
                  <a:pt x="792" y="690"/>
                </a:lnTo>
                <a:lnTo>
                  <a:pt x="792" y="678"/>
                </a:lnTo>
                <a:lnTo>
                  <a:pt x="762" y="642"/>
                </a:lnTo>
                <a:lnTo>
                  <a:pt x="750" y="636"/>
                </a:lnTo>
                <a:lnTo>
                  <a:pt x="726" y="630"/>
                </a:lnTo>
                <a:lnTo>
                  <a:pt x="696" y="642"/>
                </a:lnTo>
                <a:lnTo>
                  <a:pt x="678" y="654"/>
                </a:lnTo>
                <a:lnTo>
                  <a:pt x="666" y="684"/>
                </a:lnTo>
                <a:lnTo>
                  <a:pt x="660" y="726"/>
                </a:lnTo>
                <a:lnTo>
                  <a:pt x="606" y="756"/>
                </a:lnTo>
                <a:lnTo>
                  <a:pt x="558" y="780"/>
                </a:lnTo>
                <a:lnTo>
                  <a:pt x="438" y="834"/>
                </a:lnTo>
                <a:lnTo>
                  <a:pt x="402" y="846"/>
                </a:lnTo>
                <a:lnTo>
                  <a:pt x="372" y="870"/>
                </a:lnTo>
                <a:lnTo>
                  <a:pt x="360" y="876"/>
                </a:lnTo>
                <a:lnTo>
                  <a:pt x="354" y="876"/>
                </a:lnTo>
                <a:lnTo>
                  <a:pt x="330" y="882"/>
                </a:lnTo>
                <a:lnTo>
                  <a:pt x="306" y="882"/>
                </a:lnTo>
                <a:lnTo>
                  <a:pt x="300" y="876"/>
                </a:lnTo>
                <a:lnTo>
                  <a:pt x="294" y="876"/>
                </a:lnTo>
                <a:lnTo>
                  <a:pt x="294" y="864"/>
                </a:lnTo>
                <a:lnTo>
                  <a:pt x="288" y="864"/>
                </a:lnTo>
                <a:lnTo>
                  <a:pt x="276" y="864"/>
                </a:lnTo>
                <a:lnTo>
                  <a:pt x="270" y="870"/>
                </a:lnTo>
                <a:lnTo>
                  <a:pt x="264" y="870"/>
                </a:lnTo>
                <a:lnTo>
                  <a:pt x="240" y="894"/>
                </a:lnTo>
                <a:lnTo>
                  <a:pt x="234" y="894"/>
                </a:lnTo>
                <a:lnTo>
                  <a:pt x="228" y="900"/>
                </a:lnTo>
                <a:lnTo>
                  <a:pt x="222" y="906"/>
                </a:lnTo>
                <a:lnTo>
                  <a:pt x="210" y="912"/>
                </a:lnTo>
                <a:lnTo>
                  <a:pt x="204" y="912"/>
                </a:lnTo>
                <a:lnTo>
                  <a:pt x="198" y="912"/>
                </a:lnTo>
                <a:lnTo>
                  <a:pt x="192" y="918"/>
                </a:lnTo>
                <a:lnTo>
                  <a:pt x="180" y="918"/>
                </a:lnTo>
                <a:lnTo>
                  <a:pt x="174" y="930"/>
                </a:lnTo>
                <a:lnTo>
                  <a:pt x="174" y="936"/>
                </a:lnTo>
                <a:lnTo>
                  <a:pt x="168" y="942"/>
                </a:lnTo>
                <a:lnTo>
                  <a:pt x="162" y="942"/>
                </a:lnTo>
                <a:lnTo>
                  <a:pt x="150" y="960"/>
                </a:lnTo>
                <a:lnTo>
                  <a:pt x="144" y="966"/>
                </a:lnTo>
                <a:lnTo>
                  <a:pt x="138" y="972"/>
                </a:lnTo>
                <a:lnTo>
                  <a:pt x="132" y="972"/>
                </a:lnTo>
                <a:lnTo>
                  <a:pt x="126" y="984"/>
                </a:lnTo>
                <a:lnTo>
                  <a:pt x="120" y="984"/>
                </a:lnTo>
                <a:lnTo>
                  <a:pt x="114" y="990"/>
                </a:lnTo>
                <a:lnTo>
                  <a:pt x="96" y="990"/>
                </a:lnTo>
                <a:lnTo>
                  <a:pt x="90" y="990"/>
                </a:lnTo>
                <a:lnTo>
                  <a:pt x="78" y="990"/>
                </a:lnTo>
                <a:lnTo>
                  <a:pt x="72" y="990"/>
                </a:lnTo>
                <a:lnTo>
                  <a:pt x="60" y="990"/>
                </a:lnTo>
                <a:lnTo>
                  <a:pt x="42" y="990"/>
                </a:lnTo>
                <a:lnTo>
                  <a:pt x="36" y="996"/>
                </a:lnTo>
                <a:lnTo>
                  <a:pt x="30" y="1002"/>
                </a:lnTo>
                <a:lnTo>
                  <a:pt x="24" y="1014"/>
                </a:lnTo>
                <a:lnTo>
                  <a:pt x="24" y="1020"/>
                </a:lnTo>
                <a:lnTo>
                  <a:pt x="18" y="1020"/>
                </a:lnTo>
                <a:lnTo>
                  <a:pt x="12" y="1014"/>
                </a:lnTo>
                <a:lnTo>
                  <a:pt x="12" y="1008"/>
                </a:lnTo>
                <a:lnTo>
                  <a:pt x="12" y="990"/>
                </a:lnTo>
                <a:lnTo>
                  <a:pt x="12" y="984"/>
                </a:lnTo>
                <a:lnTo>
                  <a:pt x="12" y="972"/>
                </a:lnTo>
                <a:lnTo>
                  <a:pt x="12" y="966"/>
                </a:lnTo>
                <a:lnTo>
                  <a:pt x="6" y="966"/>
                </a:lnTo>
                <a:lnTo>
                  <a:pt x="6" y="960"/>
                </a:lnTo>
                <a:lnTo>
                  <a:pt x="6" y="954"/>
                </a:lnTo>
                <a:lnTo>
                  <a:pt x="6" y="948"/>
                </a:lnTo>
                <a:lnTo>
                  <a:pt x="6" y="942"/>
                </a:lnTo>
                <a:lnTo>
                  <a:pt x="12" y="930"/>
                </a:lnTo>
                <a:lnTo>
                  <a:pt x="6" y="924"/>
                </a:lnTo>
                <a:lnTo>
                  <a:pt x="6" y="918"/>
                </a:lnTo>
                <a:lnTo>
                  <a:pt x="6" y="912"/>
                </a:lnTo>
                <a:lnTo>
                  <a:pt x="6" y="906"/>
                </a:lnTo>
                <a:lnTo>
                  <a:pt x="6" y="900"/>
                </a:lnTo>
                <a:lnTo>
                  <a:pt x="0" y="894"/>
                </a:lnTo>
                <a:lnTo>
                  <a:pt x="0" y="888"/>
                </a:lnTo>
                <a:lnTo>
                  <a:pt x="0" y="882"/>
                </a:lnTo>
                <a:lnTo>
                  <a:pt x="6" y="876"/>
                </a:lnTo>
                <a:lnTo>
                  <a:pt x="6" y="870"/>
                </a:lnTo>
                <a:lnTo>
                  <a:pt x="18" y="864"/>
                </a:lnTo>
                <a:lnTo>
                  <a:pt x="18" y="858"/>
                </a:lnTo>
                <a:lnTo>
                  <a:pt x="18" y="846"/>
                </a:lnTo>
                <a:lnTo>
                  <a:pt x="18" y="834"/>
                </a:lnTo>
                <a:lnTo>
                  <a:pt x="18" y="828"/>
                </a:lnTo>
                <a:lnTo>
                  <a:pt x="24" y="828"/>
                </a:lnTo>
                <a:lnTo>
                  <a:pt x="24" y="810"/>
                </a:lnTo>
                <a:lnTo>
                  <a:pt x="24" y="804"/>
                </a:lnTo>
                <a:lnTo>
                  <a:pt x="18" y="804"/>
                </a:lnTo>
                <a:lnTo>
                  <a:pt x="18" y="798"/>
                </a:lnTo>
                <a:lnTo>
                  <a:pt x="18" y="792"/>
                </a:lnTo>
                <a:lnTo>
                  <a:pt x="24" y="792"/>
                </a:lnTo>
                <a:lnTo>
                  <a:pt x="30" y="774"/>
                </a:lnTo>
                <a:lnTo>
                  <a:pt x="24" y="768"/>
                </a:lnTo>
                <a:lnTo>
                  <a:pt x="30" y="768"/>
                </a:lnTo>
                <a:lnTo>
                  <a:pt x="36" y="762"/>
                </a:lnTo>
                <a:lnTo>
                  <a:pt x="36" y="756"/>
                </a:lnTo>
                <a:lnTo>
                  <a:pt x="30" y="756"/>
                </a:lnTo>
                <a:lnTo>
                  <a:pt x="30" y="750"/>
                </a:lnTo>
                <a:lnTo>
                  <a:pt x="36" y="750"/>
                </a:lnTo>
                <a:lnTo>
                  <a:pt x="36" y="744"/>
                </a:lnTo>
                <a:lnTo>
                  <a:pt x="30" y="744"/>
                </a:lnTo>
                <a:lnTo>
                  <a:pt x="30" y="738"/>
                </a:lnTo>
                <a:lnTo>
                  <a:pt x="24" y="738"/>
                </a:lnTo>
                <a:lnTo>
                  <a:pt x="24" y="732"/>
                </a:lnTo>
                <a:lnTo>
                  <a:pt x="30" y="732"/>
                </a:lnTo>
                <a:lnTo>
                  <a:pt x="36" y="726"/>
                </a:lnTo>
                <a:lnTo>
                  <a:pt x="30" y="726"/>
                </a:lnTo>
                <a:lnTo>
                  <a:pt x="24" y="726"/>
                </a:lnTo>
                <a:lnTo>
                  <a:pt x="30" y="720"/>
                </a:lnTo>
                <a:lnTo>
                  <a:pt x="30" y="714"/>
                </a:lnTo>
                <a:lnTo>
                  <a:pt x="36" y="714"/>
                </a:lnTo>
                <a:lnTo>
                  <a:pt x="30" y="708"/>
                </a:lnTo>
                <a:lnTo>
                  <a:pt x="30" y="696"/>
                </a:lnTo>
                <a:lnTo>
                  <a:pt x="66" y="702"/>
                </a:lnTo>
                <a:lnTo>
                  <a:pt x="78" y="702"/>
                </a:lnTo>
                <a:lnTo>
                  <a:pt x="84" y="702"/>
                </a:lnTo>
                <a:lnTo>
                  <a:pt x="96" y="696"/>
                </a:lnTo>
                <a:lnTo>
                  <a:pt x="102" y="690"/>
                </a:lnTo>
                <a:lnTo>
                  <a:pt x="102" y="684"/>
                </a:lnTo>
                <a:lnTo>
                  <a:pt x="114" y="684"/>
                </a:lnTo>
                <a:lnTo>
                  <a:pt x="144" y="684"/>
                </a:lnTo>
                <a:lnTo>
                  <a:pt x="150" y="690"/>
                </a:lnTo>
                <a:lnTo>
                  <a:pt x="162" y="696"/>
                </a:lnTo>
                <a:lnTo>
                  <a:pt x="168" y="696"/>
                </a:lnTo>
                <a:lnTo>
                  <a:pt x="174" y="696"/>
                </a:lnTo>
                <a:lnTo>
                  <a:pt x="186" y="690"/>
                </a:lnTo>
                <a:lnTo>
                  <a:pt x="192" y="690"/>
                </a:lnTo>
                <a:lnTo>
                  <a:pt x="198" y="684"/>
                </a:lnTo>
                <a:lnTo>
                  <a:pt x="204" y="684"/>
                </a:lnTo>
                <a:lnTo>
                  <a:pt x="210" y="684"/>
                </a:lnTo>
                <a:lnTo>
                  <a:pt x="222" y="678"/>
                </a:lnTo>
                <a:lnTo>
                  <a:pt x="228" y="678"/>
                </a:lnTo>
                <a:lnTo>
                  <a:pt x="228" y="660"/>
                </a:lnTo>
                <a:lnTo>
                  <a:pt x="234" y="642"/>
                </a:lnTo>
                <a:lnTo>
                  <a:pt x="246" y="618"/>
                </a:lnTo>
                <a:lnTo>
                  <a:pt x="252" y="618"/>
                </a:lnTo>
                <a:lnTo>
                  <a:pt x="252" y="600"/>
                </a:lnTo>
                <a:lnTo>
                  <a:pt x="252" y="588"/>
                </a:lnTo>
                <a:lnTo>
                  <a:pt x="252" y="582"/>
                </a:lnTo>
                <a:lnTo>
                  <a:pt x="258" y="576"/>
                </a:lnTo>
                <a:lnTo>
                  <a:pt x="270" y="564"/>
                </a:lnTo>
                <a:lnTo>
                  <a:pt x="270" y="558"/>
                </a:lnTo>
                <a:lnTo>
                  <a:pt x="270" y="552"/>
                </a:lnTo>
                <a:lnTo>
                  <a:pt x="270" y="540"/>
                </a:lnTo>
                <a:lnTo>
                  <a:pt x="270" y="534"/>
                </a:lnTo>
                <a:lnTo>
                  <a:pt x="270" y="522"/>
                </a:lnTo>
                <a:lnTo>
                  <a:pt x="270" y="510"/>
                </a:lnTo>
                <a:lnTo>
                  <a:pt x="270" y="498"/>
                </a:lnTo>
                <a:lnTo>
                  <a:pt x="258" y="468"/>
                </a:lnTo>
                <a:lnTo>
                  <a:pt x="252" y="456"/>
                </a:lnTo>
                <a:lnTo>
                  <a:pt x="258" y="444"/>
                </a:lnTo>
                <a:lnTo>
                  <a:pt x="264" y="432"/>
                </a:lnTo>
                <a:lnTo>
                  <a:pt x="270" y="426"/>
                </a:lnTo>
                <a:lnTo>
                  <a:pt x="276" y="420"/>
                </a:lnTo>
                <a:lnTo>
                  <a:pt x="288" y="420"/>
                </a:lnTo>
                <a:lnTo>
                  <a:pt x="288" y="414"/>
                </a:lnTo>
                <a:lnTo>
                  <a:pt x="294" y="414"/>
                </a:lnTo>
                <a:lnTo>
                  <a:pt x="306" y="390"/>
                </a:lnTo>
                <a:lnTo>
                  <a:pt x="312" y="384"/>
                </a:lnTo>
                <a:lnTo>
                  <a:pt x="318" y="378"/>
                </a:lnTo>
                <a:lnTo>
                  <a:pt x="318" y="372"/>
                </a:lnTo>
                <a:lnTo>
                  <a:pt x="324" y="366"/>
                </a:lnTo>
                <a:lnTo>
                  <a:pt x="330" y="354"/>
                </a:lnTo>
                <a:lnTo>
                  <a:pt x="336" y="348"/>
                </a:lnTo>
                <a:lnTo>
                  <a:pt x="336" y="330"/>
                </a:lnTo>
                <a:lnTo>
                  <a:pt x="342" y="324"/>
                </a:lnTo>
                <a:lnTo>
                  <a:pt x="342" y="318"/>
                </a:lnTo>
                <a:lnTo>
                  <a:pt x="348" y="318"/>
                </a:lnTo>
                <a:lnTo>
                  <a:pt x="360" y="318"/>
                </a:lnTo>
                <a:lnTo>
                  <a:pt x="372" y="318"/>
                </a:lnTo>
                <a:lnTo>
                  <a:pt x="384" y="306"/>
                </a:lnTo>
                <a:lnTo>
                  <a:pt x="396" y="300"/>
                </a:lnTo>
                <a:lnTo>
                  <a:pt x="396" y="294"/>
                </a:lnTo>
                <a:lnTo>
                  <a:pt x="396" y="288"/>
                </a:lnTo>
                <a:lnTo>
                  <a:pt x="390" y="282"/>
                </a:lnTo>
                <a:lnTo>
                  <a:pt x="390" y="276"/>
                </a:lnTo>
                <a:lnTo>
                  <a:pt x="384" y="264"/>
                </a:lnTo>
                <a:lnTo>
                  <a:pt x="378" y="252"/>
                </a:lnTo>
                <a:lnTo>
                  <a:pt x="378" y="246"/>
                </a:lnTo>
                <a:lnTo>
                  <a:pt x="384" y="228"/>
                </a:lnTo>
                <a:lnTo>
                  <a:pt x="390" y="216"/>
                </a:lnTo>
                <a:lnTo>
                  <a:pt x="402" y="210"/>
                </a:lnTo>
                <a:lnTo>
                  <a:pt x="408" y="210"/>
                </a:lnTo>
                <a:lnTo>
                  <a:pt x="420" y="204"/>
                </a:lnTo>
                <a:lnTo>
                  <a:pt x="444" y="198"/>
                </a:lnTo>
                <a:lnTo>
                  <a:pt x="462" y="192"/>
                </a:lnTo>
                <a:lnTo>
                  <a:pt x="474" y="186"/>
                </a:lnTo>
                <a:lnTo>
                  <a:pt x="480" y="192"/>
                </a:lnTo>
                <a:lnTo>
                  <a:pt x="492" y="192"/>
                </a:lnTo>
                <a:lnTo>
                  <a:pt x="498" y="192"/>
                </a:lnTo>
                <a:lnTo>
                  <a:pt x="504" y="192"/>
                </a:lnTo>
                <a:lnTo>
                  <a:pt x="510" y="192"/>
                </a:lnTo>
                <a:lnTo>
                  <a:pt x="516" y="186"/>
                </a:lnTo>
                <a:lnTo>
                  <a:pt x="522" y="180"/>
                </a:lnTo>
                <a:lnTo>
                  <a:pt x="522" y="174"/>
                </a:lnTo>
                <a:lnTo>
                  <a:pt x="528" y="168"/>
                </a:lnTo>
                <a:lnTo>
                  <a:pt x="534" y="168"/>
                </a:lnTo>
                <a:lnTo>
                  <a:pt x="534" y="156"/>
                </a:lnTo>
                <a:lnTo>
                  <a:pt x="534" y="150"/>
                </a:lnTo>
                <a:lnTo>
                  <a:pt x="552" y="138"/>
                </a:lnTo>
                <a:lnTo>
                  <a:pt x="558" y="126"/>
                </a:lnTo>
                <a:lnTo>
                  <a:pt x="558" y="114"/>
                </a:lnTo>
                <a:lnTo>
                  <a:pt x="564" y="102"/>
                </a:lnTo>
                <a:lnTo>
                  <a:pt x="564" y="96"/>
                </a:lnTo>
                <a:lnTo>
                  <a:pt x="564" y="90"/>
                </a:lnTo>
                <a:lnTo>
                  <a:pt x="564" y="72"/>
                </a:lnTo>
                <a:lnTo>
                  <a:pt x="564" y="60"/>
                </a:lnTo>
                <a:lnTo>
                  <a:pt x="564" y="54"/>
                </a:lnTo>
                <a:lnTo>
                  <a:pt x="570" y="42"/>
                </a:lnTo>
                <a:lnTo>
                  <a:pt x="576" y="42"/>
                </a:lnTo>
                <a:lnTo>
                  <a:pt x="582" y="36"/>
                </a:lnTo>
                <a:lnTo>
                  <a:pt x="594" y="36"/>
                </a:lnTo>
                <a:lnTo>
                  <a:pt x="594" y="30"/>
                </a:lnTo>
                <a:lnTo>
                  <a:pt x="600" y="24"/>
                </a:lnTo>
                <a:lnTo>
                  <a:pt x="600" y="12"/>
                </a:lnTo>
                <a:lnTo>
                  <a:pt x="606" y="6"/>
                </a:lnTo>
                <a:lnTo>
                  <a:pt x="606" y="0"/>
                </a:lnTo>
                <a:lnTo>
                  <a:pt x="612" y="0"/>
                </a:lnTo>
                <a:lnTo>
                  <a:pt x="618" y="0"/>
                </a:lnTo>
                <a:lnTo>
                  <a:pt x="624" y="6"/>
                </a:lnTo>
                <a:lnTo>
                  <a:pt x="624" y="12"/>
                </a:lnTo>
                <a:lnTo>
                  <a:pt x="624" y="18"/>
                </a:lnTo>
                <a:lnTo>
                  <a:pt x="624" y="24"/>
                </a:lnTo>
                <a:lnTo>
                  <a:pt x="624" y="30"/>
                </a:lnTo>
                <a:lnTo>
                  <a:pt x="630" y="30"/>
                </a:lnTo>
                <a:lnTo>
                  <a:pt x="630" y="36"/>
                </a:lnTo>
                <a:lnTo>
                  <a:pt x="630" y="42"/>
                </a:lnTo>
                <a:lnTo>
                  <a:pt x="630" y="48"/>
                </a:lnTo>
                <a:lnTo>
                  <a:pt x="636" y="54"/>
                </a:lnTo>
                <a:lnTo>
                  <a:pt x="642" y="48"/>
                </a:lnTo>
                <a:lnTo>
                  <a:pt x="648" y="48"/>
                </a:lnTo>
                <a:lnTo>
                  <a:pt x="648" y="60"/>
                </a:lnTo>
                <a:lnTo>
                  <a:pt x="654" y="66"/>
                </a:lnTo>
                <a:lnTo>
                  <a:pt x="660" y="72"/>
                </a:lnTo>
                <a:lnTo>
                  <a:pt x="666" y="72"/>
                </a:lnTo>
                <a:lnTo>
                  <a:pt x="666" y="84"/>
                </a:lnTo>
                <a:lnTo>
                  <a:pt x="672" y="84"/>
                </a:lnTo>
                <a:lnTo>
                  <a:pt x="672" y="78"/>
                </a:lnTo>
                <a:lnTo>
                  <a:pt x="672" y="66"/>
                </a:lnTo>
                <a:lnTo>
                  <a:pt x="678" y="66"/>
                </a:lnTo>
                <a:lnTo>
                  <a:pt x="678" y="60"/>
                </a:lnTo>
                <a:lnTo>
                  <a:pt x="684" y="60"/>
                </a:lnTo>
                <a:lnTo>
                  <a:pt x="696" y="66"/>
                </a:lnTo>
                <a:lnTo>
                  <a:pt x="696" y="72"/>
                </a:lnTo>
                <a:lnTo>
                  <a:pt x="702" y="72"/>
                </a:lnTo>
                <a:lnTo>
                  <a:pt x="708" y="72"/>
                </a:lnTo>
                <a:lnTo>
                  <a:pt x="720" y="66"/>
                </a:lnTo>
                <a:lnTo>
                  <a:pt x="726" y="78"/>
                </a:lnTo>
                <a:lnTo>
                  <a:pt x="744" y="84"/>
                </a:lnTo>
                <a:lnTo>
                  <a:pt x="744" y="90"/>
                </a:lnTo>
                <a:lnTo>
                  <a:pt x="744" y="96"/>
                </a:lnTo>
                <a:lnTo>
                  <a:pt x="738" y="96"/>
                </a:lnTo>
                <a:lnTo>
                  <a:pt x="738" y="102"/>
                </a:lnTo>
                <a:lnTo>
                  <a:pt x="732" y="102"/>
                </a:lnTo>
                <a:lnTo>
                  <a:pt x="732" y="108"/>
                </a:lnTo>
                <a:lnTo>
                  <a:pt x="738" y="108"/>
                </a:lnTo>
                <a:lnTo>
                  <a:pt x="744" y="114"/>
                </a:lnTo>
                <a:lnTo>
                  <a:pt x="750" y="108"/>
                </a:lnTo>
                <a:lnTo>
                  <a:pt x="756" y="108"/>
                </a:lnTo>
                <a:lnTo>
                  <a:pt x="762" y="108"/>
                </a:lnTo>
                <a:lnTo>
                  <a:pt x="768" y="108"/>
                </a:lnTo>
                <a:lnTo>
                  <a:pt x="774" y="114"/>
                </a:lnTo>
                <a:lnTo>
                  <a:pt x="780" y="120"/>
                </a:lnTo>
                <a:lnTo>
                  <a:pt x="774" y="120"/>
                </a:lnTo>
                <a:lnTo>
                  <a:pt x="768" y="120"/>
                </a:lnTo>
                <a:lnTo>
                  <a:pt x="768" y="126"/>
                </a:lnTo>
                <a:lnTo>
                  <a:pt x="768" y="132"/>
                </a:lnTo>
                <a:lnTo>
                  <a:pt x="774" y="138"/>
                </a:lnTo>
                <a:lnTo>
                  <a:pt x="774" y="132"/>
                </a:lnTo>
                <a:lnTo>
                  <a:pt x="780" y="132"/>
                </a:lnTo>
                <a:lnTo>
                  <a:pt x="786" y="132"/>
                </a:lnTo>
                <a:lnTo>
                  <a:pt x="792" y="138"/>
                </a:lnTo>
                <a:lnTo>
                  <a:pt x="792" y="144"/>
                </a:lnTo>
                <a:lnTo>
                  <a:pt x="786" y="144"/>
                </a:lnTo>
                <a:lnTo>
                  <a:pt x="786" y="150"/>
                </a:lnTo>
                <a:lnTo>
                  <a:pt x="780" y="150"/>
                </a:lnTo>
                <a:lnTo>
                  <a:pt x="774" y="150"/>
                </a:lnTo>
                <a:lnTo>
                  <a:pt x="768" y="150"/>
                </a:lnTo>
                <a:lnTo>
                  <a:pt x="768" y="156"/>
                </a:lnTo>
                <a:lnTo>
                  <a:pt x="768" y="162"/>
                </a:lnTo>
                <a:lnTo>
                  <a:pt x="774" y="162"/>
                </a:lnTo>
                <a:lnTo>
                  <a:pt x="780" y="162"/>
                </a:lnTo>
                <a:lnTo>
                  <a:pt x="786" y="168"/>
                </a:lnTo>
                <a:lnTo>
                  <a:pt x="792" y="162"/>
                </a:lnTo>
                <a:lnTo>
                  <a:pt x="798" y="168"/>
                </a:lnTo>
                <a:lnTo>
                  <a:pt x="798" y="174"/>
                </a:lnTo>
                <a:lnTo>
                  <a:pt x="804" y="168"/>
                </a:lnTo>
                <a:lnTo>
                  <a:pt x="810" y="168"/>
                </a:lnTo>
                <a:lnTo>
                  <a:pt x="810" y="174"/>
                </a:lnTo>
                <a:lnTo>
                  <a:pt x="816" y="168"/>
                </a:lnTo>
                <a:lnTo>
                  <a:pt x="822" y="162"/>
                </a:lnTo>
                <a:lnTo>
                  <a:pt x="822" y="168"/>
                </a:lnTo>
                <a:lnTo>
                  <a:pt x="828" y="168"/>
                </a:lnTo>
                <a:lnTo>
                  <a:pt x="828" y="174"/>
                </a:lnTo>
                <a:lnTo>
                  <a:pt x="834" y="192"/>
                </a:lnTo>
                <a:lnTo>
                  <a:pt x="834" y="198"/>
                </a:lnTo>
                <a:lnTo>
                  <a:pt x="840" y="192"/>
                </a:lnTo>
                <a:lnTo>
                  <a:pt x="846" y="192"/>
                </a:lnTo>
                <a:lnTo>
                  <a:pt x="852" y="186"/>
                </a:lnTo>
                <a:lnTo>
                  <a:pt x="858" y="192"/>
                </a:lnTo>
                <a:lnTo>
                  <a:pt x="864" y="192"/>
                </a:lnTo>
                <a:lnTo>
                  <a:pt x="870" y="198"/>
                </a:lnTo>
                <a:lnTo>
                  <a:pt x="876" y="180"/>
                </a:lnTo>
                <a:lnTo>
                  <a:pt x="882" y="180"/>
                </a:lnTo>
                <a:lnTo>
                  <a:pt x="888" y="180"/>
                </a:lnTo>
                <a:lnTo>
                  <a:pt x="894" y="186"/>
                </a:lnTo>
                <a:lnTo>
                  <a:pt x="888" y="198"/>
                </a:lnTo>
                <a:lnTo>
                  <a:pt x="894" y="204"/>
                </a:lnTo>
                <a:lnTo>
                  <a:pt x="906" y="210"/>
                </a:lnTo>
                <a:lnTo>
                  <a:pt x="918" y="246"/>
                </a:lnTo>
                <a:lnTo>
                  <a:pt x="930" y="258"/>
                </a:lnTo>
                <a:lnTo>
                  <a:pt x="942" y="282"/>
                </a:lnTo>
                <a:lnTo>
                  <a:pt x="966" y="288"/>
                </a:lnTo>
                <a:lnTo>
                  <a:pt x="972" y="300"/>
                </a:lnTo>
                <a:lnTo>
                  <a:pt x="972" y="318"/>
                </a:lnTo>
                <a:lnTo>
                  <a:pt x="996" y="336"/>
                </a:lnTo>
                <a:lnTo>
                  <a:pt x="1050" y="390"/>
                </a:lnTo>
                <a:lnTo>
                  <a:pt x="1116" y="462"/>
                </a:lnTo>
                <a:lnTo>
                  <a:pt x="1122" y="468"/>
                </a:lnTo>
                <a:lnTo>
                  <a:pt x="1128" y="474"/>
                </a:lnTo>
                <a:lnTo>
                  <a:pt x="1140" y="474"/>
                </a:lnTo>
                <a:lnTo>
                  <a:pt x="1152" y="486"/>
                </a:lnTo>
                <a:lnTo>
                  <a:pt x="1152" y="492"/>
                </a:lnTo>
                <a:lnTo>
                  <a:pt x="1158" y="492"/>
                </a:lnTo>
                <a:lnTo>
                  <a:pt x="1164" y="492"/>
                </a:lnTo>
                <a:lnTo>
                  <a:pt x="1170" y="504"/>
                </a:lnTo>
                <a:lnTo>
                  <a:pt x="1176" y="504"/>
                </a:lnTo>
                <a:lnTo>
                  <a:pt x="1176" y="510"/>
                </a:lnTo>
                <a:lnTo>
                  <a:pt x="1200" y="516"/>
                </a:lnTo>
                <a:lnTo>
                  <a:pt x="1200" y="522"/>
                </a:lnTo>
                <a:lnTo>
                  <a:pt x="1212" y="534"/>
                </a:lnTo>
                <a:lnTo>
                  <a:pt x="1218" y="540"/>
                </a:lnTo>
                <a:lnTo>
                  <a:pt x="1224" y="552"/>
                </a:lnTo>
                <a:lnTo>
                  <a:pt x="1230" y="552"/>
                </a:lnTo>
                <a:lnTo>
                  <a:pt x="1242" y="552"/>
                </a:lnTo>
                <a:lnTo>
                  <a:pt x="1248" y="558"/>
                </a:lnTo>
                <a:lnTo>
                  <a:pt x="1254" y="558"/>
                </a:lnTo>
                <a:lnTo>
                  <a:pt x="1260" y="564"/>
                </a:lnTo>
                <a:lnTo>
                  <a:pt x="1266" y="564"/>
                </a:lnTo>
                <a:lnTo>
                  <a:pt x="1272" y="564"/>
                </a:lnTo>
                <a:lnTo>
                  <a:pt x="1284" y="564"/>
                </a:lnTo>
                <a:lnTo>
                  <a:pt x="1290" y="570"/>
                </a:lnTo>
                <a:lnTo>
                  <a:pt x="1296" y="576"/>
                </a:lnTo>
                <a:lnTo>
                  <a:pt x="1302" y="588"/>
                </a:lnTo>
                <a:lnTo>
                  <a:pt x="1296" y="594"/>
                </a:lnTo>
                <a:lnTo>
                  <a:pt x="1296" y="600"/>
                </a:lnTo>
                <a:lnTo>
                  <a:pt x="1296" y="606"/>
                </a:lnTo>
                <a:lnTo>
                  <a:pt x="1290" y="612"/>
                </a:lnTo>
                <a:lnTo>
                  <a:pt x="1290" y="624"/>
                </a:lnTo>
                <a:lnTo>
                  <a:pt x="1290" y="636"/>
                </a:lnTo>
                <a:lnTo>
                  <a:pt x="1296" y="642"/>
                </a:lnTo>
                <a:lnTo>
                  <a:pt x="1302" y="648"/>
                </a:lnTo>
                <a:lnTo>
                  <a:pt x="1308" y="654"/>
                </a:lnTo>
                <a:lnTo>
                  <a:pt x="1320" y="654"/>
                </a:lnTo>
                <a:lnTo>
                  <a:pt x="1326" y="660"/>
                </a:lnTo>
                <a:lnTo>
                  <a:pt x="1338" y="654"/>
                </a:lnTo>
                <a:lnTo>
                  <a:pt x="1344" y="654"/>
                </a:lnTo>
                <a:lnTo>
                  <a:pt x="1356" y="654"/>
                </a:lnTo>
                <a:lnTo>
                  <a:pt x="1362" y="648"/>
                </a:lnTo>
                <a:lnTo>
                  <a:pt x="1368" y="642"/>
                </a:lnTo>
                <a:lnTo>
                  <a:pt x="1374" y="636"/>
                </a:lnTo>
                <a:lnTo>
                  <a:pt x="1380" y="636"/>
                </a:lnTo>
                <a:lnTo>
                  <a:pt x="1392" y="636"/>
                </a:lnTo>
                <a:lnTo>
                  <a:pt x="1398" y="636"/>
                </a:lnTo>
                <a:lnTo>
                  <a:pt x="1404" y="636"/>
                </a:lnTo>
                <a:lnTo>
                  <a:pt x="1410" y="630"/>
                </a:lnTo>
                <a:lnTo>
                  <a:pt x="1410" y="624"/>
                </a:lnTo>
                <a:lnTo>
                  <a:pt x="1422" y="618"/>
                </a:lnTo>
                <a:lnTo>
                  <a:pt x="1428" y="618"/>
                </a:lnTo>
                <a:lnTo>
                  <a:pt x="1440" y="612"/>
                </a:lnTo>
                <a:lnTo>
                  <a:pt x="1446" y="612"/>
                </a:lnTo>
                <a:lnTo>
                  <a:pt x="1458" y="612"/>
                </a:lnTo>
                <a:lnTo>
                  <a:pt x="1470" y="624"/>
                </a:lnTo>
                <a:lnTo>
                  <a:pt x="1488" y="642"/>
                </a:lnTo>
                <a:lnTo>
                  <a:pt x="1500" y="648"/>
                </a:lnTo>
                <a:lnTo>
                  <a:pt x="1512" y="654"/>
                </a:lnTo>
                <a:lnTo>
                  <a:pt x="1518" y="660"/>
                </a:lnTo>
                <a:lnTo>
                  <a:pt x="1524" y="660"/>
                </a:lnTo>
                <a:lnTo>
                  <a:pt x="1530" y="660"/>
                </a:lnTo>
                <a:lnTo>
                  <a:pt x="1536" y="666"/>
                </a:lnTo>
                <a:lnTo>
                  <a:pt x="1542" y="672"/>
                </a:lnTo>
                <a:lnTo>
                  <a:pt x="1548" y="672"/>
                </a:lnTo>
                <a:lnTo>
                  <a:pt x="1554" y="684"/>
                </a:lnTo>
                <a:lnTo>
                  <a:pt x="1554" y="690"/>
                </a:lnTo>
                <a:lnTo>
                  <a:pt x="1566" y="702"/>
                </a:lnTo>
                <a:lnTo>
                  <a:pt x="1572" y="720"/>
                </a:lnTo>
                <a:lnTo>
                  <a:pt x="1572" y="726"/>
                </a:lnTo>
                <a:lnTo>
                  <a:pt x="1578" y="732"/>
                </a:lnTo>
                <a:lnTo>
                  <a:pt x="1584" y="738"/>
                </a:lnTo>
                <a:lnTo>
                  <a:pt x="1590" y="738"/>
                </a:lnTo>
                <a:lnTo>
                  <a:pt x="1596" y="738"/>
                </a:lnTo>
                <a:lnTo>
                  <a:pt x="1602" y="744"/>
                </a:lnTo>
                <a:lnTo>
                  <a:pt x="1608" y="744"/>
                </a:lnTo>
                <a:lnTo>
                  <a:pt x="1614" y="744"/>
                </a:lnTo>
                <a:lnTo>
                  <a:pt x="1626" y="744"/>
                </a:lnTo>
                <a:lnTo>
                  <a:pt x="1638" y="744"/>
                </a:lnTo>
                <a:lnTo>
                  <a:pt x="1650" y="744"/>
                </a:lnTo>
                <a:lnTo>
                  <a:pt x="1662" y="744"/>
                </a:lnTo>
                <a:lnTo>
                  <a:pt x="1668" y="744"/>
                </a:lnTo>
                <a:lnTo>
                  <a:pt x="1674" y="744"/>
                </a:lnTo>
                <a:lnTo>
                  <a:pt x="1686" y="744"/>
                </a:lnTo>
                <a:lnTo>
                  <a:pt x="1698" y="750"/>
                </a:lnTo>
                <a:lnTo>
                  <a:pt x="1704" y="750"/>
                </a:lnTo>
                <a:lnTo>
                  <a:pt x="1716" y="756"/>
                </a:lnTo>
                <a:lnTo>
                  <a:pt x="1722" y="756"/>
                </a:lnTo>
                <a:lnTo>
                  <a:pt x="1728" y="756"/>
                </a:lnTo>
                <a:lnTo>
                  <a:pt x="1734" y="762"/>
                </a:lnTo>
                <a:lnTo>
                  <a:pt x="1740" y="768"/>
                </a:lnTo>
                <a:lnTo>
                  <a:pt x="1758" y="780"/>
                </a:lnTo>
                <a:lnTo>
                  <a:pt x="1770" y="780"/>
                </a:lnTo>
                <a:lnTo>
                  <a:pt x="1776" y="780"/>
                </a:lnTo>
                <a:lnTo>
                  <a:pt x="1782" y="780"/>
                </a:lnTo>
                <a:lnTo>
                  <a:pt x="1800" y="798"/>
                </a:lnTo>
                <a:lnTo>
                  <a:pt x="1818" y="810"/>
                </a:lnTo>
                <a:lnTo>
                  <a:pt x="1830" y="816"/>
                </a:lnTo>
                <a:lnTo>
                  <a:pt x="1836" y="822"/>
                </a:lnTo>
                <a:lnTo>
                  <a:pt x="1836" y="828"/>
                </a:lnTo>
                <a:lnTo>
                  <a:pt x="1842" y="828"/>
                </a:lnTo>
                <a:lnTo>
                  <a:pt x="1848" y="834"/>
                </a:lnTo>
                <a:lnTo>
                  <a:pt x="1854" y="840"/>
                </a:lnTo>
                <a:lnTo>
                  <a:pt x="1860" y="846"/>
                </a:lnTo>
                <a:lnTo>
                  <a:pt x="1872" y="852"/>
                </a:lnTo>
                <a:lnTo>
                  <a:pt x="1884" y="852"/>
                </a:lnTo>
                <a:lnTo>
                  <a:pt x="1896" y="852"/>
                </a:lnTo>
                <a:lnTo>
                  <a:pt x="1902" y="846"/>
                </a:lnTo>
                <a:lnTo>
                  <a:pt x="1908" y="852"/>
                </a:lnTo>
                <a:lnTo>
                  <a:pt x="1920" y="858"/>
                </a:lnTo>
                <a:lnTo>
                  <a:pt x="1926" y="870"/>
                </a:lnTo>
                <a:lnTo>
                  <a:pt x="1938" y="888"/>
                </a:lnTo>
                <a:lnTo>
                  <a:pt x="1944" y="900"/>
                </a:lnTo>
                <a:lnTo>
                  <a:pt x="1950" y="900"/>
                </a:lnTo>
                <a:lnTo>
                  <a:pt x="1962" y="906"/>
                </a:lnTo>
                <a:lnTo>
                  <a:pt x="1968" y="906"/>
                </a:lnTo>
                <a:lnTo>
                  <a:pt x="1980" y="906"/>
                </a:lnTo>
                <a:lnTo>
                  <a:pt x="1998" y="906"/>
                </a:lnTo>
                <a:lnTo>
                  <a:pt x="2010" y="900"/>
                </a:lnTo>
                <a:lnTo>
                  <a:pt x="2022" y="900"/>
                </a:lnTo>
                <a:lnTo>
                  <a:pt x="2028" y="900"/>
                </a:lnTo>
                <a:lnTo>
                  <a:pt x="2034" y="906"/>
                </a:lnTo>
                <a:lnTo>
                  <a:pt x="2046" y="906"/>
                </a:lnTo>
                <a:lnTo>
                  <a:pt x="2052" y="900"/>
                </a:lnTo>
                <a:lnTo>
                  <a:pt x="2058" y="900"/>
                </a:lnTo>
                <a:lnTo>
                  <a:pt x="2064" y="900"/>
                </a:lnTo>
                <a:lnTo>
                  <a:pt x="2070" y="900"/>
                </a:lnTo>
                <a:lnTo>
                  <a:pt x="2076" y="900"/>
                </a:lnTo>
                <a:lnTo>
                  <a:pt x="2076" y="906"/>
                </a:lnTo>
                <a:lnTo>
                  <a:pt x="2088" y="906"/>
                </a:lnTo>
                <a:lnTo>
                  <a:pt x="2106" y="900"/>
                </a:lnTo>
                <a:lnTo>
                  <a:pt x="2118" y="900"/>
                </a:lnTo>
                <a:lnTo>
                  <a:pt x="2130" y="900"/>
                </a:lnTo>
                <a:lnTo>
                  <a:pt x="2142" y="900"/>
                </a:lnTo>
                <a:lnTo>
                  <a:pt x="2148" y="906"/>
                </a:lnTo>
                <a:lnTo>
                  <a:pt x="2154" y="906"/>
                </a:lnTo>
                <a:lnTo>
                  <a:pt x="2160" y="906"/>
                </a:lnTo>
                <a:lnTo>
                  <a:pt x="2166" y="906"/>
                </a:lnTo>
                <a:lnTo>
                  <a:pt x="2178" y="918"/>
                </a:lnTo>
                <a:lnTo>
                  <a:pt x="2178" y="924"/>
                </a:lnTo>
                <a:lnTo>
                  <a:pt x="2184" y="924"/>
                </a:lnTo>
                <a:lnTo>
                  <a:pt x="2190" y="924"/>
                </a:lnTo>
                <a:lnTo>
                  <a:pt x="2196" y="924"/>
                </a:lnTo>
                <a:lnTo>
                  <a:pt x="2202" y="918"/>
                </a:lnTo>
                <a:lnTo>
                  <a:pt x="2208" y="918"/>
                </a:lnTo>
                <a:lnTo>
                  <a:pt x="2214" y="918"/>
                </a:lnTo>
                <a:lnTo>
                  <a:pt x="2226" y="918"/>
                </a:lnTo>
                <a:lnTo>
                  <a:pt x="2220" y="948"/>
                </a:lnTo>
                <a:lnTo>
                  <a:pt x="2214" y="972"/>
                </a:lnTo>
                <a:lnTo>
                  <a:pt x="2214" y="984"/>
                </a:lnTo>
                <a:lnTo>
                  <a:pt x="2208" y="990"/>
                </a:lnTo>
                <a:lnTo>
                  <a:pt x="2208" y="996"/>
                </a:lnTo>
                <a:lnTo>
                  <a:pt x="2202" y="996"/>
                </a:lnTo>
                <a:lnTo>
                  <a:pt x="2196" y="996"/>
                </a:lnTo>
                <a:lnTo>
                  <a:pt x="2190" y="1008"/>
                </a:lnTo>
                <a:lnTo>
                  <a:pt x="2172" y="1074"/>
                </a:lnTo>
                <a:lnTo>
                  <a:pt x="2166" y="1092"/>
                </a:lnTo>
                <a:lnTo>
                  <a:pt x="2172" y="1110"/>
                </a:lnTo>
                <a:lnTo>
                  <a:pt x="2172" y="1122"/>
                </a:lnTo>
                <a:lnTo>
                  <a:pt x="2166" y="1134"/>
                </a:lnTo>
                <a:lnTo>
                  <a:pt x="2148" y="1140"/>
                </a:lnTo>
                <a:lnTo>
                  <a:pt x="2148" y="1134"/>
                </a:lnTo>
                <a:lnTo>
                  <a:pt x="2118" y="1140"/>
                </a:lnTo>
                <a:lnTo>
                  <a:pt x="2088" y="1134"/>
                </a:lnTo>
                <a:lnTo>
                  <a:pt x="2064" y="1122"/>
                </a:lnTo>
                <a:lnTo>
                  <a:pt x="2034" y="1122"/>
                </a:lnTo>
                <a:lnTo>
                  <a:pt x="2022" y="1128"/>
                </a:lnTo>
                <a:lnTo>
                  <a:pt x="1986" y="1128"/>
                </a:lnTo>
                <a:lnTo>
                  <a:pt x="1938" y="1122"/>
                </a:lnTo>
                <a:lnTo>
                  <a:pt x="1932" y="1116"/>
                </a:lnTo>
                <a:lnTo>
                  <a:pt x="1896" y="1110"/>
                </a:lnTo>
                <a:lnTo>
                  <a:pt x="1878" y="1104"/>
                </a:lnTo>
                <a:lnTo>
                  <a:pt x="1866" y="1098"/>
                </a:lnTo>
                <a:lnTo>
                  <a:pt x="1860" y="1098"/>
                </a:lnTo>
                <a:lnTo>
                  <a:pt x="1854" y="1092"/>
                </a:lnTo>
                <a:lnTo>
                  <a:pt x="1860" y="1092"/>
                </a:lnTo>
                <a:lnTo>
                  <a:pt x="1860" y="1086"/>
                </a:lnTo>
                <a:lnTo>
                  <a:pt x="1854" y="1086"/>
                </a:lnTo>
                <a:lnTo>
                  <a:pt x="1842" y="1080"/>
                </a:lnTo>
                <a:lnTo>
                  <a:pt x="1818" y="1062"/>
                </a:lnTo>
                <a:lnTo>
                  <a:pt x="1782" y="1056"/>
                </a:lnTo>
                <a:lnTo>
                  <a:pt x="1770" y="1068"/>
                </a:lnTo>
                <a:lnTo>
                  <a:pt x="1746" y="1098"/>
                </a:lnTo>
                <a:lnTo>
                  <a:pt x="1722" y="1104"/>
                </a:lnTo>
                <a:lnTo>
                  <a:pt x="1710" y="1122"/>
                </a:lnTo>
                <a:lnTo>
                  <a:pt x="1710" y="1128"/>
                </a:lnTo>
                <a:lnTo>
                  <a:pt x="1710" y="1140"/>
                </a:lnTo>
                <a:lnTo>
                  <a:pt x="1698" y="1146"/>
                </a:lnTo>
                <a:lnTo>
                  <a:pt x="1686" y="1152"/>
                </a:lnTo>
                <a:lnTo>
                  <a:pt x="1680" y="1164"/>
                </a:lnTo>
                <a:lnTo>
                  <a:pt x="1680" y="1170"/>
                </a:lnTo>
                <a:lnTo>
                  <a:pt x="1686" y="1170"/>
                </a:lnTo>
                <a:lnTo>
                  <a:pt x="1686" y="1176"/>
                </a:lnTo>
                <a:lnTo>
                  <a:pt x="1698" y="1188"/>
                </a:lnTo>
                <a:lnTo>
                  <a:pt x="1704" y="1188"/>
                </a:lnTo>
                <a:lnTo>
                  <a:pt x="1698" y="1194"/>
                </a:lnTo>
                <a:lnTo>
                  <a:pt x="1704" y="1194"/>
                </a:lnTo>
                <a:lnTo>
                  <a:pt x="1704" y="1200"/>
                </a:lnTo>
                <a:lnTo>
                  <a:pt x="1704" y="1206"/>
                </a:lnTo>
                <a:lnTo>
                  <a:pt x="1704" y="1212"/>
                </a:lnTo>
                <a:lnTo>
                  <a:pt x="1704" y="1218"/>
                </a:lnTo>
                <a:lnTo>
                  <a:pt x="1710" y="1218"/>
                </a:lnTo>
                <a:lnTo>
                  <a:pt x="1710" y="1212"/>
                </a:lnTo>
                <a:lnTo>
                  <a:pt x="1716" y="1212"/>
                </a:lnTo>
                <a:lnTo>
                  <a:pt x="1716" y="1218"/>
                </a:lnTo>
                <a:lnTo>
                  <a:pt x="1716" y="1224"/>
                </a:lnTo>
                <a:lnTo>
                  <a:pt x="1716" y="1230"/>
                </a:lnTo>
                <a:lnTo>
                  <a:pt x="1722" y="1236"/>
                </a:lnTo>
                <a:lnTo>
                  <a:pt x="1740" y="1230"/>
                </a:lnTo>
                <a:lnTo>
                  <a:pt x="1734" y="1236"/>
                </a:lnTo>
                <a:lnTo>
                  <a:pt x="1734" y="1242"/>
                </a:lnTo>
                <a:lnTo>
                  <a:pt x="1734" y="1248"/>
                </a:lnTo>
                <a:lnTo>
                  <a:pt x="1734" y="1254"/>
                </a:lnTo>
                <a:lnTo>
                  <a:pt x="1740" y="1260"/>
                </a:lnTo>
                <a:lnTo>
                  <a:pt x="1746" y="1266"/>
                </a:lnTo>
                <a:lnTo>
                  <a:pt x="1752" y="1266"/>
                </a:lnTo>
                <a:lnTo>
                  <a:pt x="1764" y="1266"/>
                </a:lnTo>
                <a:lnTo>
                  <a:pt x="1788" y="1260"/>
                </a:lnTo>
                <a:lnTo>
                  <a:pt x="1800" y="1260"/>
                </a:lnTo>
                <a:lnTo>
                  <a:pt x="1806" y="1272"/>
                </a:lnTo>
                <a:lnTo>
                  <a:pt x="1806" y="1296"/>
                </a:lnTo>
                <a:lnTo>
                  <a:pt x="1800" y="1308"/>
                </a:lnTo>
                <a:lnTo>
                  <a:pt x="1788" y="1308"/>
                </a:lnTo>
                <a:lnTo>
                  <a:pt x="1782" y="1326"/>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18470" name="Freeform 33"/>
          <p:cNvSpPr>
            <a:spLocks/>
          </p:cNvSpPr>
          <p:nvPr/>
        </p:nvSpPr>
        <p:spPr bwMode="gray">
          <a:xfrm>
            <a:off x="1884363" y="2803525"/>
            <a:ext cx="1900237" cy="1641475"/>
          </a:xfrm>
          <a:custGeom>
            <a:avLst/>
            <a:gdLst>
              <a:gd name="T0" fmla="*/ 138464 w 2430"/>
              <a:gd name="T1" fmla="*/ 136096 h 2040"/>
              <a:gd name="T2" fmla="*/ 136117 w 2430"/>
              <a:gd name="T3" fmla="*/ 139317 h 2040"/>
              <a:gd name="T4" fmla="*/ 132205 w 2430"/>
              <a:gd name="T5" fmla="*/ 137706 h 2040"/>
              <a:gd name="T6" fmla="*/ 125165 w 2430"/>
              <a:gd name="T7" fmla="*/ 131264 h 2040"/>
              <a:gd name="T8" fmla="*/ 120471 w 2430"/>
              <a:gd name="T9" fmla="*/ 119990 h 2040"/>
              <a:gd name="T10" fmla="*/ 112648 w 2430"/>
              <a:gd name="T11" fmla="*/ 118379 h 2040"/>
              <a:gd name="T12" fmla="*/ 104043 w 2430"/>
              <a:gd name="T13" fmla="*/ 117574 h 2040"/>
              <a:gd name="T14" fmla="*/ 94656 w 2430"/>
              <a:gd name="T15" fmla="*/ 116769 h 2040"/>
              <a:gd name="T16" fmla="*/ 86051 w 2430"/>
              <a:gd name="T17" fmla="*/ 110326 h 2040"/>
              <a:gd name="T18" fmla="*/ 75881 w 2430"/>
              <a:gd name="T19" fmla="*/ 105494 h 2040"/>
              <a:gd name="T20" fmla="*/ 68058 w 2430"/>
              <a:gd name="T21" fmla="*/ 100663 h 2040"/>
              <a:gd name="T22" fmla="*/ 58671 w 2430"/>
              <a:gd name="T23" fmla="*/ 98247 h 2040"/>
              <a:gd name="T24" fmla="*/ 50848 w 2430"/>
              <a:gd name="T25" fmla="*/ 98247 h 2040"/>
              <a:gd name="T26" fmla="*/ 46155 w 2430"/>
              <a:gd name="T27" fmla="*/ 92610 h 2040"/>
              <a:gd name="T28" fmla="*/ 39114 w 2430"/>
              <a:gd name="T29" fmla="*/ 86167 h 2040"/>
              <a:gd name="T30" fmla="*/ 21904 w 2430"/>
              <a:gd name="T31" fmla="*/ 67645 h 2040"/>
              <a:gd name="T32" fmla="*/ 17210 w 2430"/>
              <a:gd name="T33" fmla="*/ 66035 h 2040"/>
              <a:gd name="T34" fmla="*/ 15646 w 2430"/>
              <a:gd name="T35" fmla="*/ 63619 h 2040"/>
              <a:gd name="T36" fmla="*/ 12516 w 2430"/>
              <a:gd name="T37" fmla="*/ 61203 h 2040"/>
              <a:gd name="T38" fmla="*/ 8605 w 2430"/>
              <a:gd name="T39" fmla="*/ 59592 h 2040"/>
              <a:gd name="T40" fmla="*/ 5476 w 2430"/>
              <a:gd name="T41" fmla="*/ 55566 h 2040"/>
              <a:gd name="T42" fmla="*/ 0 w 2430"/>
              <a:gd name="T43" fmla="*/ 48318 h 2040"/>
              <a:gd name="T44" fmla="*/ 7823 w 2430"/>
              <a:gd name="T45" fmla="*/ 42681 h 2040"/>
              <a:gd name="T46" fmla="*/ 11734 w 2430"/>
              <a:gd name="T47" fmla="*/ 32212 h 2040"/>
              <a:gd name="T48" fmla="*/ 7041 w 2430"/>
              <a:gd name="T49" fmla="*/ 23354 h 2040"/>
              <a:gd name="T50" fmla="*/ 5476 w 2430"/>
              <a:gd name="T51" fmla="*/ 12885 h 2040"/>
              <a:gd name="T52" fmla="*/ 14081 w 2430"/>
              <a:gd name="T53" fmla="*/ 16911 h 2040"/>
              <a:gd name="T54" fmla="*/ 37549 w 2430"/>
              <a:gd name="T55" fmla="*/ 21743 h 2040"/>
              <a:gd name="T56" fmla="*/ 48501 w 2430"/>
              <a:gd name="T57" fmla="*/ 20133 h 2040"/>
              <a:gd name="T58" fmla="*/ 46155 w 2430"/>
              <a:gd name="T59" fmla="*/ 33823 h 2040"/>
              <a:gd name="T60" fmla="*/ 42243 w 2430"/>
              <a:gd name="T61" fmla="*/ 52345 h 2040"/>
              <a:gd name="T62" fmla="*/ 50848 w 2430"/>
              <a:gd name="T63" fmla="*/ 48318 h 2040"/>
              <a:gd name="T64" fmla="*/ 53195 w 2430"/>
              <a:gd name="T65" fmla="*/ 32212 h 2040"/>
              <a:gd name="T66" fmla="*/ 58671 w 2430"/>
              <a:gd name="T67" fmla="*/ 28991 h 2040"/>
              <a:gd name="T68" fmla="*/ 64929 w 2430"/>
              <a:gd name="T69" fmla="*/ 23354 h 2040"/>
              <a:gd name="T70" fmla="*/ 63365 w 2430"/>
              <a:gd name="T71" fmla="*/ 13690 h 2040"/>
              <a:gd name="T72" fmla="*/ 51630 w 2430"/>
              <a:gd name="T73" fmla="*/ 5637 h 2040"/>
              <a:gd name="T74" fmla="*/ 62582 w 2430"/>
              <a:gd name="T75" fmla="*/ 4027 h 2040"/>
              <a:gd name="T76" fmla="*/ 69623 w 2430"/>
              <a:gd name="T77" fmla="*/ 805 h 2040"/>
              <a:gd name="T78" fmla="*/ 79010 w 2430"/>
              <a:gd name="T79" fmla="*/ 8053 h 2040"/>
              <a:gd name="T80" fmla="*/ 80575 w 2430"/>
              <a:gd name="T81" fmla="*/ 14495 h 2040"/>
              <a:gd name="T82" fmla="*/ 86051 w 2430"/>
              <a:gd name="T83" fmla="*/ 18522 h 2040"/>
              <a:gd name="T84" fmla="*/ 94656 w 2430"/>
              <a:gd name="T85" fmla="*/ 16106 h 2040"/>
              <a:gd name="T86" fmla="*/ 100914 w 2430"/>
              <a:gd name="T87" fmla="*/ 12080 h 2040"/>
              <a:gd name="T88" fmla="*/ 111084 w 2430"/>
              <a:gd name="T89" fmla="*/ 18522 h 2040"/>
              <a:gd name="T90" fmla="*/ 110302 w 2430"/>
              <a:gd name="T91" fmla="*/ 24159 h 2040"/>
              <a:gd name="T92" fmla="*/ 109519 w 2430"/>
              <a:gd name="T93" fmla="*/ 30601 h 2040"/>
              <a:gd name="T94" fmla="*/ 108737 w 2430"/>
              <a:gd name="T95" fmla="*/ 37044 h 2040"/>
              <a:gd name="T96" fmla="*/ 114995 w 2430"/>
              <a:gd name="T97" fmla="*/ 43486 h 2040"/>
              <a:gd name="T98" fmla="*/ 118907 w 2430"/>
              <a:gd name="T99" fmla="*/ 40265 h 2040"/>
              <a:gd name="T100" fmla="*/ 124383 w 2430"/>
              <a:gd name="T101" fmla="*/ 34628 h 2040"/>
              <a:gd name="T102" fmla="*/ 136117 w 2430"/>
              <a:gd name="T103" fmla="*/ 33017 h 2040"/>
              <a:gd name="T104" fmla="*/ 148633 w 2430"/>
              <a:gd name="T105" fmla="*/ 45902 h 2040"/>
              <a:gd name="T106" fmla="*/ 146286 w 2430"/>
              <a:gd name="T107" fmla="*/ 53150 h 2040"/>
              <a:gd name="T108" fmla="*/ 143157 w 2430"/>
              <a:gd name="T109" fmla="*/ 57982 h 2040"/>
              <a:gd name="T110" fmla="*/ 151762 w 2430"/>
              <a:gd name="T111" fmla="*/ 58787 h 2040"/>
              <a:gd name="T112" fmla="*/ 158021 w 2430"/>
              <a:gd name="T113" fmla="*/ 59592 h 2040"/>
              <a:gd name="T114" fmla="*/ 159585 w 2430"/>
              <a:gd name="T115" fmla="*/ 71672 h 2040"/>
              <a:gd name="T116" fmla="*/ 162714 w 2430"/>
              <a:gd name="T117" fmla="*/ 79725 h 2040"/>
              <a:gd name="T118" fmla="*/ 158803 w 2430"/>
              <a:gd name="T119" fmla="*/ 82946 h 2040"/>
              <a:gd name="T120" fmla="*/ 163497 w 2430"/>
              <a:gd name="T121" fmla="*/ 89388 h 2040"/>
              <a:gd name="T122" fmla="*/ 159585 w 2430"/>
              <a:gd name="T123" fmla="*/ 99857 h 2040"/>
              <a:gd name="T124" fmla="*/ 148633 w 2430"/>
              <a:gd name="T125" fmla="*/ 94220 h 20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430"/>
              <a:gd name="T190" fmla="*/ 0 h 2040"/>
              <a:gd name="T191" fmla="*/ 2430 w 2430"/>
              <a:gd name="T192" fmla="*/ 2040 h 20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430" h="2040">
                <a:moveTo>
                  <a:pt x="2076" y="1896"/>
                </a:moveTo>
                <a:lnTo>
                  <a:pt x="2070" y="1896"/>
                </a:lnTo>
                <a:lnTo>
                  <a:pt x="2070" y="1902"/>
                </a:lnTo>
                <a:lnTo>
                  <a:pt x="2076" y="1902"/>
                </a:lnTo>
                <a:lnTo>
                  <a:pt x="2082" y="1902"/>
                </a:lnTo>
                <a:lnTo>
                  <a:pt x="2082" y="1908"/>
                </a:lnTo>
                <a:lnTo>
                  <a:pt x="2076" y="1908"/>
                </a:lnTo>
                <a:lnTo>
                  <a:pt x="2076" y="1914"/>
                </a:lnTo>
                <a:lnTo>
                  <a:pt x="2070" y="1920"/>
                </a:lnTo>
                <a:lnTo>
                  <a:pt x="2064" y="1932"/>
                </a:lnTo>
                <a:lnTo>
                  <a:pt x="2064" y="1938"/>
                </a:lnTo>
                <a:lnTo>
                  <a:pt x="2058" y="1938"/>
                </a:lnTo>
                <a:lnTo>
                  <a:pt x="2052" y="1944"/>
                </a:lnTo>
                <a:lnTo>
                  <a:pt x="2052" y="1950"/>
                </a:lnTo>
                <a:lnTo>
                  <a:pt x="2040" y="1944"/>
                </a:lnTo>
                <a:lnTo>
                  <a:pt x="2040" y="1950"/>
                </a:lnTo>
                <a:lnTo>
                  <a:pt x="2034" y="1956"/>
                </a:lnTo>
                <a:lnTo>
                  <a:pt x="2034" y="1962"/>
                </a:lnTo>
                <a:lnTo>
                  <a:pt x="2028" y="1962"/>
                </a:lnTo>
                <a:lnTo>
                  <a:pt x="2022" y="1962"/>
                </a:lnTo>
                <a:lnTo>
                  <a:pt x="2022" y="1968"/>
                </a:lnTo>
                <a:lnTo>
                  <a:pt x="2028" y="1974"/>
                </a:lnTo>
                <a:lnTo>
                  <a:pt x="2034" y="1980"/>
                </a:lnTo>
                <a:lnTo>
                  <a:pt x="2028" y="1986"/>
                </a:lnTo>
                <a:lnTo>
                  <a:pt x="2022" y="1992"/>
                </a:lnTo>
                <a:lnTo>
                  <a:pt x="2022" y="1986"/>
                </a:lnTo>
                <a:lnTo>
                  <a:pt x="2016" y="1986"/>
                </a:lnTo>
                <a:lnTo>
                  <a:pt x="2010" y="1980"/>
                </a:lnTo>
                <a:lnTo>
                  <a:pt x="2004" y="1980"/>
                </a:lnTo>
                <a:lnTo>
                  <a:pt x="2004" y="1986"/>
                </a:lnTo>
                <a:lnTo>
                  <a:pt x="2010" y="1992"/>
                </a:lnTo>
                <a:lnTo>
                  <a:pt x="2010" y="1998"/>
                </a:lnTo>
                <a:lnTo>
                  <a:pt x="2004" y="2004"/>
                </a:lnTo>
                <a:lnTo>
                  <a:pt x="1998" y="2004"/>
                </a:lnTo>
                <a:lnTo>
                  <a:pt x="1998" y="2022"/>
                </a:lnTo>
                <a:lnTo>
                  <a:pt x="1998" y="2028"/>
                </a:lnTo>
                <a:lnTo>
                  <a:pt x="1992" y="2034"/>
                </a:lnTo>
                <a:lnTo>
                  <a:pt x="1992" y="2040"/>
                </a:lnTo>
                <a:lnTo>
                  <a:pt x="1986" y="2040"/>
                </a:lnTo>
                <a:lnTo>
                  <a:pt x="1986" y="2034"/>
                </a:lnTo>
                <a:lnTo>
                  <a:pt x="1980" y="2028"/>
                </a:lnTo>
                <a:lnTo>
                  <a:pt x="1980" y="2022"/>
                </a:lnTo>
                <a:lnTo>
                  <a:pt x="1968" y="2016"/>
                </a:lnTo>
                <a:lnTo>
                  <a:pt x="1962" y="2010"/>
                </a:lnTo>
                <a:lnTo>
                  <a:pt x="1956" y="2004"/>
                </a:lnTo>
                <a:lnTo>
                  <a:pt x="1950" y="1992"/>
                </a:lnTo>
                <a:lnTo>
                  <a:pt x="1950" y="1986"/>
                </a:lnTo>
                <a:lnTo>
                  <a:pt x="1950" y="1974"/>
                </a:lnTo>
                <a:lnTo>
                  <a:pt x="1944" y="1974"/>
                </a:lnTo>
                <a:lnTo>
                  <a:pt x="1932" y="1962"/>
                </a:lnTo>
                <a:lnTo>
                  <a:pt x="1932" y="1956"/>
                </a:lnTo>
                <a:lnTo>
                  <a:pt x="1932" y="1950"/>
                </a:lnTo>
                <a:lnTo>
                  <a:pt x="1920" y="1944"/>
                </a:lnTo>
                <a:lnTo>
                  <a:pt x="1914" y="1944"/>
                </a:lnTo>
                <a:lnTo>
                  <a:pt x="1908" y="1938"/>
                </a:lnTo>
                <a:lnTo>
                  <a:pt x="1902" y="1926"/>
                </a:lnTo>
                <a:lnTo>
                  <a:pt x="1890" y="1914"/>
                </a:lnTo>
                <a:lnTo>
                  <a:pt x="1884" y="1914"/>
                </a:lnTo>
                <a:lnTo>
                  <a:pt x="1878" y="1908"/>
                </a:lnTo>
                <a:lnTo>
                  <a:pt x="1872" y="1902"/>
                </a:lnTo>
                <a:lnTo>
                  <a:pt x="1872" y="1896"/>
                </a:lnTo>
                <a:lnTo>
                  <a:pt x="1866" y="1890"/>
                </a:lnTo>
                <a:lnTo>
                  <a:pt x="1854" y="1884"/>
                </a:lnTo>
                <a:lnTo>
                  <a:pt x="1848" y="1884"/>
                </a:lnTo>
                <a:lnTo>
                  <a:pt x="1842" y="1872"/>
                </a:lnTo>
                <a:lnTo>
                  <a:pt x="1836" y="1872"/>
                </a:lnTo>
                <a:lnTo>
                  <a:pt x="1830" y="1866"/>
                </a:lnTo>
                <a:lnTo>
                  <a:pt x="1830" y="1854"/>
                </a:lnTo>
                <a:lnTo>
                  <a:pt x="1824" y="1848"/>
                </a:lnTo>
                <a:lnTo>
                  <a:pt x="1818" y="1830"/>
                </a:lnTo>
                <a:lnTo>
                  <a:pt x="1818" y="1818"/>
                </a:lnTo>
                <a:lnTo>
                  <a:pt x="1812" y="1800"/>
                </a:lnTo>
                <a:lnTo>
                  <a:pt x="1812" y="1788"/>
                </a:lnTo>
                <a:lnTo>
                  <a:pt x="1806" y="1776"/>
                </a:lnTo>
                <a:lnTo>
                  <a:pt x="1800" y="1764"/>
                </a:lnTo>
                <a:lnTo>
                  <a:pt x="1794" y="1758"/>
                </a:lnTo>
                <a:lnTo>
                  <a:pt x="1782" y="1740"/>
                </a:lnTo>
                <a:lnTo>
                  <a:pt x="1776" y="1728"/>
                </a:lnTo>
                <a:lnTo>
                  <a:pt x="1776" y="1722"/>
                </a:lnTo>
                <a:lnTo>
                  <a:pt x="1770" y="1722"/>
                </a:lnTo>
                <a:lnTo>
                  <a:pt x="1770" y="1716"/>
                </a:lnTo>
                <a:lnTo>
                  <a:pt x="1764" y="1716"/>
                </a:lnTo>
                <a:lnTo>
                  <a:pt x="1758" y="1710"/>
                </a:lnTo>
                <a:lnTo>
                  <a:pt x="1752" y="1704"/>
                </a:lnTo>
                <a:lnTo>
                  <a:pt x="1746" y="1704"/>
                </a:lnTo>
                <a:lnTo>
                  <a:pt x="1740" y="1704"/>
                </a:lnTo>
                <a:lnTo>
                  <a:pt x="1734" y="1704"/>
                </a:lnTo>
                <a:lnTo>
                  <a:pt x="1734" y="1698"/>
                </a:lnTo>
                <a:lnTo>
                  <a:pt x="1728" y="1692"/>
                </a:lnTo>
                <a:lnTo>
                  <a:pt x="1722" y="1686"/>
                </a:lnTo>
                <a:lnTo>
                  <a:pt x="1716" y="1686"/>
                </a:lnTo>
                <a:lnTo>
                  <a:pt x="1698" y="1686"/>
                </a:lnTo>
                <a:lnTo>
                  <a:pt x="1692" y="1692"/>
                </a:lnTo>
                <a:lnTo>
                  <a:pt x="1680" y="1692"/>
                </a:lnTo>
                <a:lnTo>
                  <a:pt x="1668" y="1692"/>
                </a:lnTo>
                <a:lnTo>
                  <a:pt x="1662" y="1692"/>
                </a:lnTo>
                <a:lnTo>
                  <a:pt x="1656" y="1692"/>
                </a:lnTo>
                <a:lnTo>
                  <a:pt x="1650" y="1698"/>
                </a:lnTo>
                <a:lnTo>
                  <a:pt x="1644" y="1698"/>
                </a:lnTo>
                <a:lnTo>
                  <a:pt x="1638" y="1698"/>
                </a:lnTo>
                <a:lnTo>
                  <a:pt x="1632" y="1698"/>
                </a:lnTo>
                <a:lnTo>
                  <a:pt x="1632" y="1692"/>
                </a:lnTo>
                <a:lnTo>
                  <a:pt x="1620" y="1680"/>
                </a:lnTo>
                <a:lnTo>
                  <a:pt x="1614" y="1680"/>
                </a:lnTo>
                <a:lnTo>
                  <a:pt x="1608" y="1680"/>
                </a:lnTo>
                <a:lnTo>
                  <a:pt x="1602" y="1680"/>
                </a:lnTo>
                <a:lnTo>
                  <a:pt x="1596" y="1674"/>
                </a:lnTo>
                <a:lnTo>
                  <a:pt x="1584" y="1674"/>
                </a:lnTo>
                <a:lnTo>
                  <a:pt x="1572" y="1674"/>
                </a:lnTo>
                <a:lnTo>
                  <a:pt x="1560" y="1674"/>
                </a:lnTo>
                <a:lnTo>
                  <a:pt x="1542" y="1680"/>
                </a:lnTo>
                <a:lnTo>
                  <a:pt x="1530" y="1680"/>
                </a:lnTo>
                <a:lnTo>
                  <a:pt x="1530" y="1674"/>
                </a:lnTo>
                <a:lnTo>
                  <a:pt x="1524" y="1674"/>
                </a:lnTo>
                <a:lnTo>
                  <a:pt x="1518" y="1674"/>
                </a:lnTo>
                <a:lnTo>
                  <a:pt x="1512" y="1674"/>
                </a:lnTo>
                <a:lnTo>
                  <a:pt x="1506" y="1674"/>
                </a:lnTo>
                <a:lnTo>
                  <a:pt x="1500" y="1680"/>
                </a:lnTo>
                <a:lnTo>
                  <a:pt x="1488" y="1680"/>
                </a:lnTo>
                <a:lnTo>
                  <a:pt x="1482" y="1674"/>
                </a:lnTo>
                <a:lnTo>
                  <a:pt x="1476" y="1674"/>
                </a:lnTo>
                <a:lnTo>
                  <a:pt x="1464" y="1674"/>
                </a:lnTo>
                <a:lnTo>
                  <a:pt x="1452" y="1680"/>
                </a:lnTo>
                <a:lnTo>
                  <a:pt x="1434" y="1680"/>
                </a:lnTo>
                <a:lnTo>
                  <a:pt x="1422" y="1680"/>
                </a:lnTo>
                <a:lnTo>
                  <a:pt x="1416" y="1680"/>
                </a:lnTo>
                <a:lnTo>
                  <a:pt x="1404" y="1674"/>
                </a:lnTo>
                <a:lnTo>
                  <a:pt x="1398" y="1674"/>
                </a:lnTo>
                <a:lnTo>
                  <a:pt x="1392" y="1662"/>
                </a:lnTo>
                <a:lnTo>
                  <a:pt x="1380" y="1644"/>
                </a:lnTo>
                <a:lnTo>
                  <a:pt x="1374" y="1632"/>
                </a:lnTo>
                <a:lnTo>
                  <a:pt x="1362" y="1626"/>
                </a:lnTo>
                <a:lnTo>
                  <a:pt x="1356" y="1620"/>
                </a:lnTo>
                <a:lnTo>
                  <a:pt x="1350" y="1626"/>
                </a:lnTo>
                <a:lnTo>
                  <a:pt x="1338" y="1626"/>
                </a:lnTo>
                <a:lnTo>
                  <a:pt x="1326" y="1626"/>
                </a:lnTo>
                <a:lnTo>
                  <a:pt x="1314" y="1620"/>
                </a:lnTo>
                <a:lnTo>
                  <a:pt x="1308" y="1614"/>
                </a:lnTo>
                <a:lnTo>
                  <a:pt x="1302" y="1608"/>
                </a:lnTo>
                <a:lnTo>
                  <a:pt x="1296" y="1602"/>
                </a:lnTo>
                <a:lnTo>
                  <a:pt x="1290" y="1602"/>
                </a:lnTo>
                <a:lnTo>
                  <a:pt x="1290" y="1596"/>
                </a:lnTo>
                <a:lnTo>
                  <a:pt x="1284" y="1590"/>
                </a:lnTo>
                <a:lnTo>
                  <a:pt x="1272" y="1584"/>
                </a:lnTo>
                <a:lnTo>
                  <a:pt x="1254" y="1572"/>
                </a:lnTo>
                <a:lnTo>
                  <a:pt x="1236" y="1554"/>
                </a:lnTo>
                <a:lnTo>
                  <a:pt x="1230" y="1554"/>
                </a:lnTo>
                <a:lnTo>
                  <a:pt x="1224" y="1554"/>
                </a:lnTo>
                <a:lnTo>
                  <a:pt x="1212" y="1554"/>
                </a:lnTo>
                <a:lnTo>
                  <a:pt x="1194" y="1542"/>
                </a:lnTo>
                <a:lnTo>
                  <a:pt x="1188" y="1536"/>
                </a:lnTo>
                <a:lnTo>
                  <a:pt x="1182" y="1530"/>
                </a:lnTo>
                <a:lnTo>
                  <a:pt x="1176" y="1530"/>
                </a:lnTo>
                <a:lnTo>
                  <a:pt x="1170" y="1530"/>
                </a:lnTo>
                <a:lnTo>
                  <a:pt x="1158" y="1524"/>
                </a:lnTo>
                <a:lnTo>
                  <a:pt x="1152" y="1524"/>
                </a:lnTo>
                <a:lnTo>
                  <a:pt x="1140" y="1518"/>
                </a:lnTo>
                <a:lnTo>
                  <a:pt x="1128" y="1518"/>
                </a:lnTo>
                <a:lnTo>
                  <a:pt x="1122" y="1518"/>
                </a:lnTo>
                <a:lnTo>
                  <a:pt x="1116" y="1518"/>
                </a:lnTo>
                <a:lnTo>
                  <a:pt x="1104" y="1518"/>
                </a:lnTo>
                <a:lnTo>
                  <a:pt x="1092" y="1518"/>
                </a:lnTo>
                <a:lnTo>
                  <a:pt x="1080" y="1518"/>
                </a:lnTo>
                <a:lnTo>
                  <a:pt x="1068" y="1518"/>
                </a:lnTo>
                <a:lnTo>
                  <a:pt x="1062" y="1518"/>
                </a:lnTo>
                <a:lnTo>
                  <a:pt x="1056" y="1518"/>
                </a:lnTo>
                <a:lnTo>
                  <a:pt x="1050" y="1512"/>
                </a:lnTo>
                <a:lnTo>
                  <a:pt x="1044" y="1512"/>
                </a:lnTo>
                <a:lnTo>
                  <a:pt x="1038" y="1512"/>
                </a:lnTo>
                <a:lnTo>
                  <a:pt x="1032" y="1506"/>
                </a:lnTo>
                <a:lnTo>
                  <a:pt x="1026" y="1500"/>
                </a:lnTo>
                <a:lnTo>
                  <a:pt x="1026" y="1494"/>
                </a:lnTo>
                <a:lnTo>
                  <a:pt x="1020" y="1476"/>
                </a:lnTo>
                <a:lnTo>
                  <a:pt x="1008" y="1464"/>
                </a:lnTo>
                <a:lnTo>
                  <a:pt x="1008" y="1458"/>
                </a:lnTo>
                <a:lnTo>
                  <a:pt x="1002" y="1446"/>
                </a:lnTo>
                <a:lnTo>
                  <a:pt x="996" y="1446"/>
                </a:lnTo>
                <a:lnTo>
                  <a:pt x="990" y="1440"/>
                </a:lnTo>
                <a:lnTo>
                  <a:pt x="984" y="1434"/>
                </a:lnTo>
                <a:lnTo>
                  <a:pt x="978" y="1434"/>
                </a:lnTo>
                <a:lnTo>
                  <a:pt x="972" y="1434"/>
                </a:lnTo>
                <a:lnTo>
                  <a:pt x="966" y="1428"/>
                </a:lnTo>
                <a:lnTo>
                  <a:pt x="954" y="1422"/>
                </a:lnTo>
                <a:lnTo>
                  <a:pt x="942" y="1416"/>
                </a:lnTo>
                <a:lnTo>
                  <a:pt x="924" y="1398"/>
                </a:lnTo>
                <a:lnTo>
                  <a:pt x="912" y="1386"/>
                </a:lnTo>
                <a:lnTo>
                  <a:pt x="900" y="1386"/>
                </a:lnTo>
                <a:lnTo>
                  <a:pt x="894" y="1386"/>
                </a:lnTo>
                <a:lnTo>
                  <a:pt x="882" y="1392"/>
                </a:lnTo>
                <a:lnTo>
                  <a:pt x="876" y="1392"/>
                </a:lnTo>
                <a:lnTo>
                  <a:pt x="864" y="1398"/>
                </a:lnTo>
                <a:lnTo>
                  <a:pt x="864" y="1404"/>
                </a:lnTo>
                <a:lnTo>
                  <a:pt x="858" y="1410"/>
                </a:lnTo>
                <a:lnTo>
                  <a:pt x="852" y="1410"/>
                </a:lnTo>
                <a:lnTo>
                  <a:pt x="846" y="1410"/>
                </a:lnTo>
                <a:lnTo>
                  <a:pt x="834" y="1410"/>
                </a:lnTo>
                <a:lnTo>
                  <a:pt x="828" y="1410"/>
                </a:lnTo>
                <a:lnTo>
                  <a:pt x="822" y="1416"/>
                </a:lnTo>
                <a:lnTo>
                  <a:pt x="816" y="1422"/>
                </a:lnTo>
                <a:lnTo>
                  <a:pt x="810" y="1428"/>
                </a:lnTo>
                <a:lnTo>
                  <a:pt x="798" y="1428"/>
                </a:lnTo>
                <a:lnTo>
                  <a:pt x="792" y="1428"/>
                </a:lnTo>
                <a:lnTo>
                  <a:pt x="780" y="1434"/>
                </a:lnTo>
                <a:lnTo>
                  <a:pt x="774" y="1428"/>
                </a:lnTo>
                <a:lnTo>
                  <a:pt x="762" y="1428"/>
                </a:lnTo>
                <a:lnTo>
                  <a:pt x="756" y="1422"/>
                </a:lnTo>
                <a:lnTo>
                  <a:pt x="750" y="1416"/>
                </a:lnTo>
                <a:lnTo>
                  <a:pt x="744" y="1410"/>
                </a:lnTo>
                <a:lnTo>
                  <a:pt x="744" y="1398"/>
                </a:lnTo>
                <a:lnTo>
                  <a:pt x="744" y="1386"/>
                </a:lnTo>
                <a:lnTo>
                  <a:pt x="750" y="1380"/>
                </a:lnTo>
                <a:lnTo>
                  <a:pt x="750" y="1374"/>
                </a:lnTo>
                <a:lnTo>
                  <a:pt x="750" y="1368"/>
                </a:lnTo>
                <a:lnTo>
                  <a:pt x="756" y="1362"/>
                </a:lnTo>
                <a:lnTo>
                  <a:pt x="750" y="1350"/>
                </a:lnTo>
                <a:lnTo>
                  <a:pt x="744" y="1344"/>
                </a:lnTo>
                <a:lnTo>
                  <a:pt x="738" y="1338"/>
                </a:lnTo>
                <a:lnTo>
                  <a:pt x="726" y="1338"/>
                </a:lnTo>
                <a:lnTo>
                  <a:pt x="720" y="1338"/>
                </a:lnTo>
                <a:lnTo>
                  <a:pt x="714" y="1338"/>
                </a:lnTo>
                <a:lnTo>
                  <a:pt x="708" y="1332"/>
                </a:lnTo>
                <a:lnTo>
                  <a:pt x="702" y="1332"/>
                </a:lnTo>
                <a:lnTo>
                  <a:pt x="696" y="1326"/>
                </a:lnTo>
                <a:lnTo>
                  <a:pt x="684" y="1326"/>
                </a:lnTo>
                <a:lnTo>
                  <a:pt x="678" y="1326"/>
                </a:lnTo>
                <a:lnTo>
                  <a:pt x="672" y="1314"/>
                </a:lnTo>
                <a:lnTo>
                  <a:pt x="666" y="1308"/>
                </a:lnTo>
                <a:lnTo>
                  <a:pt x="654" y="1296"/>
                </a:lnTo>
                <a:lnTo>
                  <a:pt x="654" y="1290"/>
                </a:lnTo>
                <a:lnTo>
                  <a:pt x="630" y="1284"/>
                </a:lnTo>
                <a:lnTo>
                  <a:pt x="630" y="1278"/>
                </a:lnTo>
                <a:lnTo>
                  <a:pt x="624" y="1278"/>
                </a:lnTo>
                <a:lnTo>
                  <a:pt x="618" y="1266"/>
                </a:lnTo>
                <a:lnTo>
                  <a:pt x="612" y="1266"/>
                </a:lnTo>
                <a:lnTo>
                  <a:pt x="606" y="1266"/>
                </a:lnTo>
                <a:lnTo>
                  <a:pt x="606" y="1260"/>
                </a:lnTo>
                <a:lnTo>
                  <a:pt x="594" y="1248"/>
                </a:lnTo>
                <a:lnTo>
                  <a:pt x="582" y="1248"/>
                </a:lnTo>
                <a:lnTo>
                  <a:pt x="576" y="1242"/>
                </a:lnTo>
                <a:lnTo>
                  <a:pt x="570" y="1236"/>
                </a:lnTo>
                <a:lnTo>
                  <a:pt x="504" y="1164"/>
                </a:lnTo>
                <a:lnTo>
                  <a:pt x="450" y="1110"/>
                </a:lnTo>
                <a:lnTo>
                  <a:pt x="426" y="1092"/>
                </a:lnTo>
                <a:lnTo>
                  <a:pt x="426" y="1074"/>
                </a:lnTo>
                <a:lnTo>
                  <a:pt x="420" y="1062"/>
                </a:lnTo>
                <a:lnTo>
                  <a:pt x="396" y="1056"/>
                </a:lnTo>
                <a:lnTo>
                  <a:pt x="384" y="1032"/>
                </a:lnTo>
                <a:lnTo>
                  <a:pt x="372" y="1020"/>
                </a:lnTo>
                <a:lnTo>
                  <a:pt x="360" y="984"/>
                </a:lnTo>
                <a:lnTo>
                  <a:pt x="348" y="978"/>
                </a:lnTo>
                <a:lnTo>
                  <a:pt x="342" y="972"/>
                </a:lnTo>
                <a:lnTo>
                  <a:pt x="348" y="960"/>
                </a:lnTo>
                <a:lnTo>
                  <a:pt x="342" y="954"/>
                </a:lnTo>
                <a:lnTo>
                  <a:pt x="336" y="954"/>
                </a:lnTo>
                <a:lnTo>
                  <a:pt x="330" y="954"/>
                </a:lnTo>
                <a:lnTo>
                  <a:pt x="324" y="972"/>
                </a:lnTo>
                <a:lnTo>
                  <a:pt x="318" y="966"/>
                </a:lnTo>
                <a:lnTo>
                  <a:pt x="312" y="966"/>
                </a:lnTo>
                <a:lnTo>
                  <a:pt x="306" y="960"/>
                </a:lnTo>
                <a:lnTo>
                  <a:pt x="300" y="966"/>
                </a:lnTo>
                <a:lnTo>
                  <a:pt x="294" y="966"/>
                </a:lnTo>
                <a:lnTo>
                  <a:pt x="288" y="972"/>
                </a:lnTo>
                <a:lnTo>
                  <a:pt x="288" y="966"/>
                </a:lnTo>
                <a:lnTo>
                  <a:pt x="282" y="948"/>
                </a:lnTo>
                <a:lnTo>
                  <a:pt x="282" y="942"/>
                </a:lnTo>
                <a:lnTo>
                  <a:pt x="276" y="942"/>
                </a:lnTo>
                <a:lnTo>
                  <a:pt x="276" y="936"/>
                </a:lnTo>
                <a:lnTo>
                  <a:pt x="270" y="942"/>
                </a:lnTo>
                <a:lnTo>
                  <a:pt x="264" y="948"/>
                </a:lnTo>
                <a:lnTo>
                  <a:pt x="264" y="942"/>
                </a:lnTo>
                <a:lnTo>
                  <a:pt x="258" y="942"/>
                </a:lnTo>
                <a:lnTo>
                  <a:pt x="252" y="948"/>
                </a:lnTo>
                <a:lnTo>
                  <a:pt x="252" y="942"/>
                </a:lnTo>
                <a:lnTo>
                  <a:pt x="246" y="936"/>
                </a:lnTo>
                <a:lnTo>
                  <a:pt x="240" y="942"/>
                </a:lnTo>
                <a:lnTo>
                  <a:pt x="234" y="936"/>
                </a:lnTo>
                <a:lnTo>
                  <a:pt x="228" y="936"/>
                </a:lnTo>
                <a:lnTo>
                  <a:pt x="222" y="936"/>
                </a:lnTo>
                <a:lnTo>
                  <a:pt x="222" y="930"/>
                </a:lnTo>
                <a:lnTo>
                  <a:pt x="222" y="924"/>
                </a:lnTo>
                <a:lnTo>
                  <a:pt x="228" y="924"/>
                </a:lnTo>
                <a:lnTo>
                  <a:pt x="234" y="924"/>
                </a:lnTo>
                <a:lnTo>
                  <a:pt x="240" y="924"/>
                </a:lnTo>
                <a:lnTo>
                  <a:pt x="240" y="918"/>
                </a:lnTo>
                <a:lnTo>
                  <a:pt x="246" y="918"/>
                </a:lnTo>
                <a:lnTo>
                  <a:pt x="246" y="912"/>
                </a:lnTo>
                <a:lnTo>
                  <a:pt x="240" y="906"/>
                </a:lnTo>
                <a:lnTo>
                  <a:pt x="234" y="906"/>
                </a:lnTo>
                <a:lnTo>
                  <a:pt x="228" y="906"/>
                </a:lnTo>
                <a:lnTo>
                  <a:pt x="228" y="912"/>
                </a:lnTo>
                <a:lnTo>
                  <a:pt x="222" y="906"/>
                </a:lnTo>
                <a:lnTo>
                  <a:pt x="222" y="900"/>
                </a:lnTo>
                <a:lnTo>
                  <a:pt x="222" y="894"/>
                </a:lnTo>
                <a:lnTo>
                  <a:pt x="228" y="894"/>
                </a:lnTo>
                <a:lnTo>
                  <a:pt x="234" y="894"/>
                </a:lnTo>
                <a:lnTo>
                  <a:pt x="228" y="888"/>
                </a:lnTo>
                <a:lnTo>
                  <a:pt x="222" y="882"/>
                </a:lnTo>
                <a:lnTo>
                  <a:pt x="216" y="882"/>
                </a:lnTo>
                <a:lnTo>
                  <a:pt x="210" y="882"/>
                </a:lnTo>
                <a:lnTo>
                  <a:pt x="204" y="882"/>
                </a:lnTo>
                <a:lnTo>
                  <a:pt x="198" y="888"/>
                </a:lnTo>
                <a:lnTo>
                  <a:pt x="192" y="882"/>
                </a:lnTo>
                <a:lnTo>
                  <a:pt x="186" y="882"/>
                </a:lnTo>
                <a:lnTo>
                  <a:pt x="186" y="876"/>
                </a:lnTo>
                <a:lnTo>
                  <a:pt x="192" y="876"/>
                </a:lnTo>
                <a:lnTo>
                  <a:pt x="192" y="870"/>
                </a:lnTo>
                <a:lnTo>
                  <a:pt x="198" y="870"/>
                </a:lnTo>
                <a:lnTo>
                  <a:pt x="198" y="864"/>
                </a:lnTo>
                <a:lnTo>
                  <a:pt x="198" y="858"/>
                </a:lnTo>
                <a:lnTo>
                  <a:pt x="180" y="852"/>
                </a:lnTo>
                <a:lnTo>
                  <a:pt x="174" y="840"/>
                </a:lnTo>
                <a:lnTo>
                  <a:pt x="162" y="846"/>
                </a:lnTo>
                <a:lnTo>
                  <a:pt x="156" y="846"/>
                </a:lnTo>
                <a:lnTo>
                  <a:pt x="150" y="846"/>
                </a:lnTo>
                <a:lnTo>
                  <a:pt x="150" y="840"/>
                </a:lnTo>
                <a:lnTo>
                  <a:pt x="138" y="834"/>
                </a:lnTo>
                <a:lnTo>
                  <a:pt x="132" y="834"/>
                </a:lnTo>
                <a:lnTo>
                  <a:pt x="132" y="840"/>
                </a:lnTo>
                <a:lnTo>
                  <a:pt x="126" y="840"/>
                </a:lnTo>
                <a:lnTo>
                  <a:pt x="126" y="852"/>
                </a:lnTo>
                <a:lnTo>
                  <a:pt x="126" y="858"/>
                </a:lnTo>
                <a:lnTo>
                  <a:pt x="120" y="858"/>
                </a:lnTo>
                <a:lnTo>
                  <a:pt x="120" y="846"/>
                </a:lnTo>
                <a:lnTo>
                  <a:pt x="114" y="846"/>
                </a:lnTo>
                <a:lnTo>
                  <a:pt x="108" y="840"/>
                </a:lnTo>
                <a:lnTo>
                  <a:pt x="102" y="834"/>
                </a:lnTo>
                <a:lnTo>
                  <a:pt x="102" y="822"/>
                </a:lnTo>
                <a:lnTo>
                  <a:pt x="96" y="822"/>
                </a:lnTo>
                <a:lnTo>
                  <a:pt x="90" y="828"/>
                </a:lnTo>
                <a:lnTo>
                  <a:pt x="84" y="822"/>
                </a:lnTo>
                <a:lnTo>
                  <a:pt x="84" y="816"/>
                </a:lnTo>
                <a:lnTo>
                  <a:pt x="84" y="810"/>
                </a:lnTo>
                <a:lnTo>
                  <a:pt x="84" y="804"/>
                </a:lnTo>
                <a:lnTo>
                  <a:pt x="78" y="804"/>
                </a:lnTo>
                <a:lnTo>
                  <a:pt x="78" y="798"/>
                </a:lnTo>
                <a:lnTo>
                  <a:pt x="78" y="792"/>
                </a:lnTo>
                <a:lnTo>
                  <a:pt x="78" y="786"/>
                </a:lnTo>
                <a:lnTo>
                  <a:pt x="78" y="780"/>
                </a:lnTo>
                <a:lnTo>
                  <a:pt x="72" y="774"/>
                </a:lnTo>
                <a:lnTo>
                  <a:pt x="66" y="774"/>
                </a:lnTo>
                <a:lnTo>
                  <a:pt x="60" y="774"/>
                </a:lnTo>
                <a:lnTo>
                  <a:pt x="60" y="768"/>
                </a:lnTo>
                <a:lnTo>
                  <a:pt x="60" y="762"/>
                </a:lnTo>
                <a:lnTo>
                  <a:pt x="54" y="756"/>
                </a:lnTo>
                <a:lnTo>
                  <a:pt x="42" y="756"/>
                </a:lnTo>
                <a:lnTo>
                  <a:pt x="36" y="756"/>
                </a:lnTo>
                <a:lnTo>
                  <a:pt x="24" y="738"/>
                </a:lnTo>
                <a:lnTo>
                  <a:pt x="18" y="732"/>
                </a:lnTo>
                <a:lnTo>
                  <a:pt x="6" y="720"/>
                </a:lnTo>
                <a:lnTo>
                  <a:pt x="6" y="714"/>
                </a:lnTo>
                <a:lnTo>
                  <a:pt x="0" y="702"/>
                </a:lnTo>
                <a:lnTo>
                  <a:pt x="0" y="696"/>
                </a:lnTo>
                <a:lnTo>
                  <a:pt x="12" y="666"/>
                </a:lnTo>
                <a:lnTo>
                  <a:pt x="18" y="648"/>
                </a:lnTo>
                <a:lnTo>
                  <a:pt x="24" y="636"/>
                </a:lnTo>
                <a:lnTo>
                  <a:pt x="30" y="630"/>
                </a:lnTo>
                <a:lnTo>
                  <a:pt x="30" y="624"/>
                </a:lnTo>
                <a:lnTo>
                  <a:pt x="30" y="612"/>
                </a:lnTo>
                <a:lnTo>
                  <a:pt x="30" y="606"/>
                </a:lnTo>
                <a:lnTo>
                  <a:pt x="30" y="600"/>
                </a:lnTo>
                <a:lnTo>
                  <a:pt x="36" y="594"/>
                </a:lnTo>
                <a:lnTo>
                  <a:pt x="48" y="594"/>
                </a:lnTo>
                <a:lnTo>
                  <a:pt x="66" y="582"/>
                </a:lnTo>
                <a:lnTo>
                  <a:pt x="72" y="588"/>
                </a:lnTo>
                <a:lnTo>
                  <a:pt x="84" y="594"/>
                </a:lnTo>
                <a:lnTo>
                  <a:pt x="90" y="600"/>
                </a:lnTo>
                <a:lnTo>
                  <a:pt x="102" y="606"/>
                </a:lnTo>
                <a:lnTo>
                  <a:pt x="114" y="606"/>
                </a:lnTo>
                <a:lnTo>
                  <a:pt x="114" y="612"/>
                </a:lnTo>
                <a:lnTo>
                  <a:pt x="120" y="612"/>
                </a:lnTo>
                <a:lnTo>
                  <a:pt x="126" y="618"/>
                </a:lnTo>
                <a:lnTo>
                  <a:pt x="138" y="594"/>
                </a:lnTo>
                <a:lnTo>
                  <a:pt x="138" y="582"/>
                </a:lnTo>
                <a:lnTo>
                  <a:pt x="138" y="570"/>
                </a:lnTo>
                <a:lnTo>
                  <a:pt x="138" y="564"/>
                </a:lnTo>
                <a:lnTo>
                  <a:pt x="138" y="552"/>
                </a:lnTo>
                <a:lnTo>
                  <a:pt x="144" y="540"/>
                </a:lnTo>
                <a:lnTo>
                  <a:pt x="150" y="528"/>
                </a:lnTo>
                <a:lnTo>
                  <a:pt x="156" y="510"/>
                </a:lnTo>
                <a:lnTo>
                  <a:pt x="168" y="498"/>
                </a:lnTo>
                <a:lnTo>
                  <a:pt x="168" y="492"/>
                </a:lnTo>
                <a:lnTo>
                  <a:pt x="168" y="486"/>
                </a:lnTo>
                <a:lnTo>
                  <a:pt x="168" y="480"/>
                </a:lnTo>
                <a:lnTo>
                  <a:pt x="168" y="462"/>
                </a:lnTo>
                <a:lnTo>
                  <a:pt x="168" y="450"/>
                </a:lnTo>
                <a:lnTo>
                  <a:pt x="168" y="444"/>
                </a:lnTo>
                <a:lnTo>
                  <a:pt x="162" y="432"/>
                </a:lnTo>
                <a:lnTo>
                  <a:pt x="162" y="426"/>
                </a:lnTo>
                <a:lnTo>
                  <a:pt x="156" y="420"/>
                </a:lnTo>
                <a:lnTo>
                  <a:pt x="144" y="414"/>
                </a:lnTo>
                <a:lnTo>
                  <a:pt x="132" y="402"/>
                </a:lnTo>
                <a:lnTo>
                  <a:pt x="126" y="390"/>
                </a:lnTo>
                <a:lnTo>
                  <a:pt x="120" y="384"/>
                </a:lnTo>
                <a:lnTo>
                  <a:pt x="120" y="372"/>
                </a:lnTo>
                <a:lnTo>
                  <a:pt x="114" y="360"/>
                </a:lnTo>
                <a:lnTo>
                  <a:pt x="108" y="360"/>
                </a:lnTo>
                <a:lnTo>
                  <a:pt x="108" y="354"/>
                </a:lnTo>
                <a:lnTo>
                  <a:pt x="102" y="348"/>
                </a:lnTo>
                <a:lnTo>
                  <a:pt x="102" y="342"/>
                </a:lnTo>
                <a:lnTo>
                  <a:pt x="108" y="330"/>
                </a:lnTo>
                <a:lnTo>
                  <a:pt x="114" y="312"/>
                </a:lnTo>
                <a:lnTo>
                  <a:pt x="114" y="300"/>
                </a:lnTo>
                <a:lnTo>
                  <a:pt x="120" y="288"/>
                </a:lnTo>
                <a:lnTo>
                  <a:pt x="120" y="282"/>
                </a:lnTo>
                <a:lnTo>
                  <a:pt x="114" y="270"/>
                </a:lnTo>
                <a:lnTo>
                  <a:pt x="114" y="258"/>
                </a:lnTo>
                <a:lnTo>
                  <a:pt x="108" y="234"/>
                </a:lnTo>
                <a:lnTo>
                  <a:pt x="108" y="228"/>
                </a:lnTo>
                <a:lnTo>
                  <a:pt x="96" y="222"/>
                </a:lnTo>
                <a:lnTo>
                  <a:pt x="90" y="222"/>
                </a:lnTo>
                <a:lnTo>
                  <a:pt x="84" y="222"/>
                </a:lnTo>
                <a:lnTo>
                  <a:pt x="84" y="216"/>
                </a:lnTo>
                <a:lnTo>
                  <a:pt x="84" y="210"/>
                </a:lnTo>
                <a:lnTo>
                  <a:pt x="90" y="198"/>
                </a:lnTo>
                <a:lnTo>
                  <a:pt x="90" y="192"/>
                </a:lnTo>
                <a:lnTo>
                  <a:pt x="84" y="186"/>
                </a:lnTo>
                <a:lnTo>
                  <a:pt x="84" y="180"/>
                </a:lnTo>
                <a:lnTo>
                  <a:pt x="108" y="174"/>
                </a:lnTo>
                <a:lnTo>
                  <a:pt x="132" y="186"/>
                </a:lnTo>
                <a:lnTo>
                  <a:pt x="138" y="192"/>
                </a:lnTo>
                <a:lnTo>
                  <a:pt x="144" y="198"/>
                </a:lnTo>
                <a:lnTo>
                  <a:pt x="144" y="204"/>
                </a:lnTo>
                <a:lnTo>
                  <a:pt x="150" y="204"/>
                </a:lnTo>
                <a:lnTo>
                  <a:pt x="156" y="204"/>
                </a:lnTo>
                <a:lnTo>
                  <a:pt x="162" y="198"/>
                </a:lnTo>
                <a:lnTo>
                  <a:pt x="168" y="198"/>
                </a:lnTo>
                <a:lnTo>
                  <a:pt x="174" y="204"/>
                </a:lnTo>
                <a:lnTo>
                  <a:pt x="180" y="216"/>
                </a:lnTo>
                <a:lnTo>
                  <a:pt x="186" y="228"/>
                </a:lnTo>
                <a:lnTo>
                  <a:pt x="192" y="234"/>
                </a:lnTo>
                <a:lnTo>
                  <a:pt x="198" y="234"/>
                </a:lnTo>
                <a:lnTo>
                  <a:pt x="204" y="240"/>
                </a:lnTo>
                <a:lnTo>
                  <a:pt x="210" y="240"/>
                </a:lnTo>
                <a:lnTo>
                  <a:pt x="216" y="240"/>
                </a:lnTo>
                <a:lnTo>
                  <a:pt x="222" y="240"/>
                </a:lnTo>
                <a:lnTo>
                  <a:pt x="228" y="246"/>
                </a:lnTo>
                <a:lnTo>
                  <a:pt x="234" y="246"/>
                </a:lnTo>
                <a:lnTo>
                  <a:pt x="240" y="246"/>
                </a:lnTo>
                <a:lnTo>
                  <a:pt x="252" y="252"/>
                </a:lnTo>
                <a:lnTo>
                  <a:pt x="330" y="246"/>
                </a:lnTo>
                <a:lnTo>
                  <a:pt x="360" y="228"/>
                </a:lnTo>
                <a:lnTo>
                  <a:pt x="396" y="228"/>
                </a:lnTo>
                <a:lnTo>
                  <a:pt x="402" y="240"/>
                </a:lnTo>
                <a:lnTo>
                  <a:pt x="432" y="240"/>
                </a:lnTo>
                <a:lnTo>
                  <a:pt x="450" y="258"/>
                </a:lnTo>
                <a:lnTo>
                  <a:pt x="468" y="258"/>
                </a:lnTo>
                <a:lnTo>
                  <a:pt x="474" y="294"/>
                </a:lnTo>
                <a:lnTo>
                  <a:pt x="558" y="318"/>
                </a:lnTo>
                <a:lnTo>
                  <a:pt x="588" y="318"/>
                </a:lnTo>
                <a:lnTo>
                  <a:pt x="588" y="312"/>
                </a:lnTo>
                <a:lnTo>
                  <a:pt x="594" y="306"/>
                </a:lnTo>
                <a:lnTo>
                  <a:pt x="600" y="306"/>
                </a:lnTo>
                <a:lnTo>
                  <a:pt x="612" y="300"/>
                </a:lnTo>
                <a:lnTo>
                  <a:pt x="618" y="300"/>
                </a:lnTo>
                <a:lnTo>
                  <a:pt x="630" y="300"/>
                </a:lnTo>
                <a:lnTo>
                  <a:pt x="642" y="306"/>
                </a:lnTo>
                <a:lnTo>
                  <a:pt x="660" y="306"/>
                </a:lnTo>
                <a:lnTo>
                  <a:pt x="666" y="306"/>
                </a:lnTo>
                <a:lnTo>
                  <a:pt x="672" y="306"/>
                </a:lnTo>
                <a:lnTo>
                  <a:pt x="684" y="300"/>
                </a:lnTo>
                <a:lnTo>
                  <a:pt x="696" y="294"/>
                </a:lnTo>
                <a:lnTo>
                  <a:pt x="702" y="288"/>
                </a:lnTo>
                <a:lnTo>
                  <a:pt x="714" y="282"/>
                </a:lnTo>
                <a:lnTo>
                  <a:pt x="714" y="288"/>
                </a:lnTo>
                <a:lnTo>
                  <a:pt x="726" y="300"/>
                </a:lnTo>
                <a:lnTo>
                  <a:pt x="732" y="306"/>
                </a:lnTo>
                <a:lnTo>
                  <a:pt x="732" y="318"/>
                </a:lnTo>
                <a:lnTo>
                  <a:pt x="732" y="330"/>
                </a:lnTo>
                <a:lnTo>
                  <a:pt x="726" y="342"/>
                </a:lnTo>
                <a:lnTo>
                  <a:pt x="720" y="354"/>
                </a:lnTo>
                <a:lnTo>
                  <a:pt x="720" y="360"/>
                </a:lnTo>
                <a:lnTo>
                  <a:pt x="714" y="372"/>
                </a:lnTo>
                <a:lnTo>
                  <a:pt x="714" y="378"/>
                </a:lnTo>
                <a:lnTo>
                  <a:pt x="714" y="408"/>
                </a:lnTo>
                <a:lnTo>
                  <a:pt x="708" y="420"/>
                </a:lnTo>
                <a:lnTo>
                  <a:pt x="714" y="432"/>
                </a:lnTo>
                <a:lnTo>
                  <a:pt x="708" y="450"/>
                </a:lnTo>
                <a:lnTo>
                  <a:pt x="708" y="468"/>
                </a:lnTo>
                <a:lnTo>
                  <a:pt x="696" y="480"/>
                </a:lnTo>
                <a:lnTo>
                  <a:pt x="684" y="486"/>
                </a:lnTo>
                <a:lnTo>
                  <a:pt x="672" y="492"/>
                </a:lnTo>
                <a:lnTo>
                  <a:pt x="660" y="498"/>
                </a:lnTo>
                <a:lnTo>
                  <a:pt x="654" y="510"/>
                </a:lnTo>
                <a:lnTo>
                  <a:pt x="648" y="516"/>
                </a:lnTo>
                <a:lnTo>
                  <a:pt x="642" y="522"/>
                </a:lnTo>
                <a:lnTo>
                  <a:pt x="630" y="522"/>
                </a:lnTo>
                <a:lnTo>
                  <a:pt x="624" y="528"/>
                </a:lnTo>
                <a:lnTo>
                  <a:pt x="618" y="540"/>
                </a:lnTo>
                <a:lnTo>
                  <a:pt x="618" y="558"/>
                </a:lnTo>
                <a:lnTo>
                  <a:pt x="612" y="576"/>
                </a:lnTo>
                <a:lnTo>
                  <a:pt x="612" y="684"/>
                </a:lnTo>
                <a:lnTo>
                  <a:pt x="618" y="696"/>
                </a:lnTo>
                <a:lnTo>
                  <a:pt x="636" y="696"/>
                </a:lnTo>
                <a:lnTo>
                  <a:pt x="636" y="720"/>
                </a:lnTo>
                <a:lnTo>
                  <a:pt x="636" y="732"/>
                </a:lnTo>
                <a:lnTo>
                  <a:pt x="618" y="750"/>
                </a:lnTo>
                <a:lnTo>
                  <a:pt x="606" y="762"/>
                </a:lnTo>
                <a:lnTo>
                  <a:pt x="600" y="774"/>
                </a:lnTo>
                <a:lnTo>
                  <a:pt x="594" y="798"/>
                </a:lnTo>
                <a:lnTo>
                  <a:pt x="606" y="798"/>
                </a:lnTo>
                <a:lnTo>
                  <a:pt x="660" y="792"/>
                </a:lnTo>
                <a:lnTo>
                  <a:pt x="696" y="798"/>
                </a:lnTo>
                <a:lnTo>
                  <a:pt x="720" y="798"/>
                </a:lnTo>
                <a:lnTo>
                  <a:pt x="720" y="786"/>
                </a:lnTo>
                <a:lnTo>
                  <a:pt x="720" y="774"/>
                </a:lnTo>
                <a:lnTo>
                  <a:pt x="702" y="762"/>
                </a:lnTo>
                <a:lnTo>
                  <a:pt x="702" y="750"/>
                </a:lnTo>
                <a:lnTo>
                  <a:pt x="702" y="726"/>
                </a:lnTo>
                <a:lnTo>
                  <a:pt x="714" y="714"/>
                </a:lnTo>
                <a:lnTo>
                  <a:pt x="720" y="702"/>
                </a:lnTo>
                <a:lnTo>
                  <a:pt x="720" y="696"/>
                </a:lnTo>
                <a:lnTo>
                  <a:pt x="744" y="690"/>
                </a:lnTo>
                <a:lnTo>
                  <a:pt x="744" y="696"/>
                </a:lnTo>
                <a:lnTo>
                  <a:pt x="756" y="696"/>
                </a:lnTo>
                <a:lnTo>
                  <a:pt x="762" y="690"/>
                </a:lnTo>
                <a:lnTo>
                  <a:pt x="768" y="690"/>
                </a:lnTo>
                <a:lnTo>
                  <a:pt x="774" y="696"/>
                </a:lnTo>
                <a:lnTo>
                  <a:pt x="780" y="696"/>
                </a:lnTo>
                <a:lnTo>
                  <a:pt x="786" y="696"/>
                </a:lnTo>
                <a:lnTo>
                  <a:pt x="804" y="684"/>
                </a:lnTo>
                <a:lnTo>
                  <a:pt x="810" y="684"/>
                </a:lnTo>
                <a:lnTo>
                  <a:pt x="810" y="654"/>
                </a:lnTo>
                <a:lnTo>
                  <a:pt x="816" y="588"/>
                </a:lnTo>
                <a:lnTo>
                  <a:pt x="804" y="582"/>
                </a:lnTo>
                <a:lnTo>
                  <a:pt x="798" y="552"/>
                </a:lnTo>
                <a:lnTo>
                  <a:pt x="798" y="480"/>
                </a:lnTo>
                <a:lnTo>
                  <a:pt x="780" y="468"/>
                </a:lnTo>
                <a:lnTo>
                  <a:pt x="780" y="462"/>
                </a:lnTo>
                <a:lnTo>
                  <a:pt x="774" y="450"/>
                </a:lnTo>
                <a:lnTo>
                  <a:pt x="762" y="444"/>
                </a:lnTo>
                <a:lnTo>
                  <a:pt x="762" y="438"/>
                </a:lnTo>
                <a:lnTo>
                  <a:pt x="768" y="432"/>
                </a:lnTo>
                <a:lnTo>
                  <a:pt x="774" y="426"/>
                </a:lnTo>
                <a:lnTo>
                  <a:pt x="780" y="426"/>
                </a:lnTo>
                <a:lnTo>
                  <a:pt x="780" y="414"/>
                </a:lnTo>
                <a:lnTo>
                  <a:pt x="834" y="414"/>
                </a:lnTo>
                <a:lnTo>
                  <a:pt x="834" y="426"/>
                </a:lnTo>
                <a:lnTo>
                  <a:pt x="840" y="432"/>
                </a:lnTo>
                <a:lnTo>
                  <a:pt x="846" y="432"/>
                </a:lnTo>
                <a:lnTo>
                  <a:pt x="852" y="432"/>
                </a:lnTo>
                <a:lnTo>
                  <a:pt x="858" y="432"/>
                </a:lnTo>
                <a:lnTo>
                  <a:pt x="870" y="432"/>
                </a:lnTo>
                <a:lnTo>
                  <a:pt x="870" y="426"/>
                </a:lnTo>
                <a:lnTo>
                  <a:pt x="870" y="420"/>
                </a:lnTo>
                <a:lnTo>
                  <a:pt x="876" y="420"/>
                </a:lnTo>
                <a:lnTo>
                  <a:pt x="882" y="420"/>
                </a:lnTo>
                <a:lnTo>
                  <a:pt x="894" y="414"/>
                </a:lnTo>
                <a:lnTo>
                  <a:pt x="900" y="414"/>
                </a:lnTo>
                <a:lnTo>
                  <a:pt x="906" y="408"/>
                </a:lnTo>
                <a:lnTo>
                  <a:pt x="918" y="408"/>
                </a:lnTo>
                <a:lnTo>
                  <a:pt x="924" y="402"/>
                </a:lnTo>
                <a:lnTo>
                  <a:pt x="930" y="384"/>
                </a:lnTo>
                <a:lnTo>
                  <a:pt x="948" y="396"/>
                </a:lnTo>
                <a:lnTo>
                  <a:pt x="954" y="384"/>
                </a:lnTo>
                <a:lnTo>
                  <a:pt x="960" y="384"/>
                </a:lnTo>
                <a:lnTo>
                  <a:pt x="972" y="384"/>
                </a:lnTo>
                <a:lnTo>
                  <a:pt x="978" y="378"/>
                </a:lnTo>
                <a:lnTo>
                  <a:pt x="972" y="366"/>
                </a:lnTo>
                <a:lnTo>
                  <a:pt x="966" y="342"/>
                </a:lnTo>
                <a:lnTo>
                  <a:pt x="960" y="330"/>
                </a:lnTo>
                <a:lnTo>
                  <a:pt x="942" y="324"/>
                </a:lnTo>
                <a:lnTo>
                  <a:pt x="936" y="318"/>
                </a:lnTo>
                <a:lnTo>
                  <a:pt x="936" y="294"/>
                </a:lnTo>
                <a:lnTo>
                  <a:pt x="942" y="294"/>
                </a:lnTo>
                <a:lnTo>
                  <a:pt x="942" y="288"/>
                </a:lnTo>
                <a:lnTo>
                  <a:pt x="954" y="288"/>
                </a:lnTo>
                <a:lnTo>
                  <a:pt x="954" y="282"/>
                </a:lnTo>
                <a:lnTo>
                  <a:pt x="954" y="276"/>
                </a:lnTo>
                <a:lnTo>
                  <a:pt x="960" y="276"/>
                </a:lnTo>
                <a:lnTo>
                  <a:pt x="966" y="276"/>
                </a:lnTo>
                <a:lnTo>
                  <a:pt x="960" y="258"/>
                </a:lnTo>
                <a:lnTo>
                  <a:pt x="954" y="240"/>
                </a:lnTo>
                <a:lnTo>
                  <a:pt x="948" y="204"/>
                </a:lnTo>
                <a:lnTo>
                  <a:pt x="954" y="204"/>
                </a:lnTo>
                <a:lnTo>
                  <a:pt x="960" y="198"/>
                </a:lnTo>
                <a:lnTo>
                  <a:pt x="930" y="192"/>
                </a:lnTo>
                <a:lnTo>
                  <a:pt x="930" y="186"/>
                </a:lnTo>
                <a:lnTo>
                  <a:pt x="900" y="186"/>
                </a:lnTo>
                <a:lnTo>
                  <a:pt x="876" y="180"/>
                </a:lnTo>
                <a:lnTo>
                  <a:pt x="858" y="180"/>
                </a:lnTo>
                <a:lnTo>
                  <a:pt x="852" y="168"/>
                </a:lnTo>
                <a:lnTo>
                  <a:pt x="834" y="156"/>
                </a:lnTo>
                <a:lnTo>
                  <a:pt x="822" y="156"/>
                </a:lnTo>
                <a:lnTo>
                  <a:pt x="804" y="156"/>
                </a:lnTo>
                <a:lnTo>
                  <a:pt x="804" y="150"/>
                </a:lnTo>
                <a:lnTo>
                  <a:pt x="792" y="144"/>
                </a:lnTo>
                <a:lnTo>
                  <a:pt x="762" y="138"/>
                </a:lnTo>
                <a:lnTo>
                  <a:pt x="768" y="120"/>
                </a:lnTo>
                <a:lnTo>
                  <a:pt x="756" y="120"/>
                </a:lnTo>
                <a:lnTo>
                  <a:pt x="744" y="108"/>
                </a:lnTo>
                <a:lnTo>
                  <a:pt x="744" y="96"/>
                </a:lnTo>
                <a:lnTo>
                  <a:pt x="762" y="84"/>
                </a:lnTo>
                <a:lnTo>
                  <a:pt x="768" y="84"/>
                </a:lnTo>
                <a:lnTo>
                  <a:pt x="768" y="72"/>
                </a:lnTo>
                <a:lnTo>
                  <a:pt x="780" y="66"/>
                </a:lnTo>
                <a:lnTo>
                  <a:pt x="798" y="54"/>
                </a:lnTo>
                <a:lnTo>
                  <a:pt x="792" y="54"/>
                </a:lnTo>
                <a:lnTo>
                  <a:pt x="798" y="36"/>
                </a:lnTo>
                <a:lnTo>
                  <a:pt x="804" y="36"/>
                </a:lnTo>
                <a:lnTo>
                  <a:pt x="816" y="30"/>
                </a:lnTo>
                <a:lnTo>
                  <a:pt x="828" y="30"/>
                </a:lnTo>
                <a:lnTo>
                  <a:pt x="846" y="12"/>
                </a:lnTo>
                <a:lnTo>
                  <a:pt x="876" y="0"/>
                </a:lnTo>
                <a:lnTo>
                  <a:pt x="882" y="6"/>
                </a:lnTo>
                <a:lnTo>
                  <a:pt x="900" y="6"/>
                </a:lnTo>
                <a:lnTo>
                  <a:pt x="912" y="36"/>
                </a:lnTo>
                <a:lnTo>
                  <a:pt x="918" y="42"/>
                </a:lnTo>
                <a:lnTo>
                  <a:pt x="924" y="54"/>
                </a:lnTo>
                <a:lnTo>
                  <a:pt x="930" y="54"/>
                </a:lnTo>
                <a:lnTo>
                  <a:pt x="930" y="78"/>
                </a:lnTo>
                <a:lnTo>
                  <a:pt x="954" y="72"/>
                </a:lnTo>
                <a:lnTo>
                  <a:pt x="954" y="60"/>
                </a:lnTo>
                <a:lnTo>
                  <a:pt x="966" y="66"/>
                </a:lnTo>
                <a:lnTo>
                  <a:pt x="966" y="78"/>
                </a:lnTo>
                <a:lnTo>
                  <a:pt x="960" y="84"/>
                </a:lnTo>
                <a:lnTo>
                  <a:pt x="954" y="102"/>
                </a:lnTo>
                <a:lnTo>
                  <a:pt x="972" y="102"/>
                </a:lnTo>
                <a:lnTo>
                  <a:pt x="978" y="84"/>
                </a:lnTo>
                <a:lnTo>
                  <a:pt x="984" y="72"/>
                </a:lnTo>
                <a:lnTo>
                  <a:pt x="990" y="72"/>
                </a:lnTo>
                <a:lnTo>
                  <a:pt x="996" y="18"/>
                </a:lnTo>
                <a:lnTo>
                  <a:pt x="990" y="12"/>
                </a:lnTo>
                <a:lnTo>
                  <a:pt x="1014" y="12"/>
                </a:lnTo>
                <a:lnTo>
                  <a:pt x="1026" y="12"/>
                </a:lnTo>
                <a:lnTo>
                  <a:pt x="1026" y="24"/>
                </a:lnTo>
                <a:lnTo>
                  <a:pt x="1050" y="24"/>
                </a:lnTo>
                <a:lnTo>
                  <a:pt x="1050" y="36"/>
                </a:lnTo>
                <a:lnTo>
                  <a:pt x="1062" y="66"/>
                </a:lnTo>
                <a:lnTo>
                  <a:pt x="1074" y="66"/>
                </a:lnTo>
                <a:lnTo>
                  <a:pt x="1080" y="60"/>
                </a:lnTo>
                <a:lnTo>
                  <a:pt x="1074" y="24"/>
                </a:lnTo>
                <a:lnTo>
                  <a:pt x="1086" y="18"/>
                </a:lnTo>
                <a:lnTo>
                  <a:pt x="1086" y="12"/>
                </a:lnTo>
                <a:lnTo>
                  <a:pt x="1104" y="6"/>
                </a:lnTo>
                <a:lnTo>
                  <a:pt x="1122" y="0"/>
                </a:lnTo>
                <a:lnTo>
                  <a:pt x="1134" y="6"/>
                </a:lnTo>
                <a:lnTo>
                  <a:pt x="1134" y="42"/>
                </a:lnTo>
                <a:lnTo>
                  <a:pt x="1140" y="72"/>
                </a:lnTo>
                <a:lnTo>
                  <a:pt x="1158" y="114"/>
                </a:lnTo>
                <a:lnTo>
                  <a:pt x="1170" y="114"/>
                </a:lnTo>
                <a:lnTo>
                  <a:pt x="1170" y="126"/>
                </a:lnTo>
                <a:lnTo>
                  <a:pt x="1182" y="126"/>
                </a:lnTo>
                <a:lnTo>
                  <a:pt x="1182" y="138"/>
                </a:lnTo>
                <a:lnTo>
                  <a:pt x="1194" y="144"/>
                </a:lnTo>
                <a:lnTo>
                  <a:pt x="1194" y="156"/>
                </a:lnTo>
                <a:lnTo>
                  <a:pt x="1188" y="156"/>
                </a:lnTo>
                <a:lnTo>
                  <a:pt x="1194" y="162"/>
                </a:lnTo>
                <a:lnTo>
                  <a:pt x="1194" y="168"/>
                </a:lnTo>
                <a:lnTo>
                  <a:pt x="1188" y="168"/>
                </a:lnTo>
                <a:lnTo>
                  <a:pt x="1188" y="174"/>
                </a:lnTo>
                <a:lnTo>
                  <a:pt x="1188" y="180"/>
                </a:lnTo>
                <a:lnTo>
                  <a:pt x="1182" y="180"/>
                </a:lnTo>
                <a:lnTo>
                  <a:pt x="1188" y="186"/>
                </a:lnTo>
                <a:lnTo>
                  <a:pt x="1188" y="192"/>
                </a:lnTo>
                <a:lnTo>
                  <a:pt x="1182" y="198"/>
                </a:lnTo>
                <a:lnTo>
                  <a:pt x="1182" y="204"/>
                </a:lnTo>
                <a:lnTo>
                  <a:pt x="1182" y="210"/>
                </a:lnTo>
                <a:lnTo>
                  <a:pt x="1188" y="210"/>
                </a:lnTo>
                <a:lnTo>
                  <a:pt x="1182" y="210"/>
                </a:lnTo>
                <a:lnTo>
                  <a:pt x="1182" y="216"/>
                </a:lnTo>
                <a:lnTo>
                  <a:pt x="1182" y="222"/>
                </a:lnTo>
                <a:lnTo>
                  <a:pt x="1194" y="264"/>
                </a:lnTo>
                <a:lnTo>
                  <a:pt x="1200" y="264"/>
                </a:lnTo>
                <a:lnTo>
                  <a:pt x="1212" y="264"/>
                </a:lnTo>
                <a:lnTo>
                  <a:pt x="1212" y="258"/>
                </a:lnTo>
                <a:lnTo>
                  <a:pt x="1224" y="258"/>
                </a:lnTo>
                <a:lnTo>
                  <a:pt x="1248" y="252"/>
                </a:lnTo>
                <a:lnTo>
                  <a:pt x="1248" y="264"/>
                </a:lnTo>
                <a:lnTo>
                  <a:pt x="1254" y="264"/>
                </a:lnTo>
                <a:lnTo>
                  <a:pt x="1254" y="270"/>
                </a:lnTo>
                <a:lnTo>
                  <a:pt x="1260" y="270"/>
                </a:lnTo>
                <a:lnTo>
                  <a:pt x="1266" y="270"/>
                </a:lnTo>
                <a:lnTo>
                  <a:pt x="1272" y="270"/>
                </a:lnTo>
                <a:lnTo>
                  <a:pt x="1272" y="264"/>
                </a:lnTo>
                <a:lnTo>
                  <a:pt x="1272" y="258"/>
                </a:lnTo>
                <a:lnTo>
                  <a:pt x="1278" y="258"/>
                </a:lnTo>
                <a:lnTo>
                  <a:pt x="1278" y="252"/>
                </a:lnTo>
                <a:lnTo>
                  <a:pt x="1290" y="252"/>
                </a:lnTo>
                <a:lnTo>
                  <a:pt x="1296" y="246"/>
                </a:lnTo>
                <a:lnTo>
                  <a:pt x="1308" y="246"/>
                </a:lnTo>
                <a:lnTo>
                  <a:pt x="1308" y="240"/>
                </a:lnTo>
                <a:lnTo>
                  <a:pt x="1320" y="240"/>
                </a:lnTo>
                <a:lnTo>
                  <a:pt x="1326" y="246"/>
                </a:lnTo>
                <a:lnTo>
                  <a:pt x="1338" y="246"/>
                </a:lnTo>
                <a:lnTo>
                  <a:pt x="1338" y="240"/>
                </a:lnTo>
                <a:lnTo>
                  <a:pt x="1350" y="240"/>
                </a:lnTo>
                <a:lnTo>
                  <a:pt x="1386" y="234"/>
                </a:lnTo>
                <a:lnTo>
                  <a:pt x="1398" y="228"/>
                </a:lnTo>
                <a:lnTo>
                  <a:pt x="1404" y="216"/>
                </a:lnTo>
                <a:lnTo>
                  <a:pt x="1416" y="204"/>
                </a:lnTo>
                <a:lnTo>
                  <a:pt x="1434" y="192"/>
                </a:lnTo>
                <a:lnTo>
                  <a:pt x="1446" y="198"/>
                </a:lnTo>
                <a:lnTo>
                  <a:pt x="1446" y="204"/>
                </a:lnTo>
                <a:lnTo>
                  <a:pt x="1452" y="210"/>
                </a:lnTo>
                <a:lnTo>
                  <a:pt x="1464" y="222"/>
                </a:lnTo>
                <a:lnTo>
                  <a:pt x="1464" y="228"/>
                </a:lnTo>
                <a:lnTo>
                  <a:pt x="1464" y="234"/>
                </a:lnTo>
                <a:lnTo>
                  <a:pt x="1470" y="240"/>
                </a:lnTo>
                <a:lnTo>
                  <a:pt x="1476" y="228"/>
                </a:lnTo>
                <a:lnTo>
                  <a:pt x="1476" y="222"/>
                </a:lnTo>
                <a:lnTo>
                  <a:pt x="1482" y="210"/>
                </a:lnTo>
                <a:lnTo>
                  <a:pt x="1488" y="192"/>
                </a:lnTo>
                <a:lnTo>
                  <a:pt x="1488" y="186"/>
                </a:lnTo>
                <a:lnTo>
                  <a:pt x="1488" y="180"/>
                </a:lnTo>
                <a:lnTo>
                  <a:pt x="1500" y="180"/>
                </a:lnTo>
                <a:lnTo>
                  <a:pt x="1500" y="174"/>
                </a:lnTo>
                <a:lnTo>
                  <a:pt x="1518" y="162"/>
                </a:lnTo>
                <a:lnTo>
                  <a:pt x="1536" y="150"/>
                </a:lnTo>
                <a:lnTo>
                  <a:pt x="1554" y="168"/>
                </a:lnTo>
                <a:lnTo>
                  <a:pt x="1572" y="180"/>
                </a:lnTo>
                <a:lnTo>
                  <a:pt x="1596" y="216"/>
                </a:lnTo>
                <a:lnTo>
                  <a:pt x="1602" y="216"/>
                </a:lnTo>
                <a:lnTo>
                  <a:pt x="1614" y="228"/>
                </a:lnTo>
                <a:lnTo>
                  <a:pt x="1614" y="234"/>
                </a:lnTo>
                <a:lnTo>
                  <a:pt x="1620" y="240"/>
                </a:lnTo>
                <a:lnTo>
                  <a:pt x="1620" y="246"/>
                </a:lnTo>
                <a:lnTo>
                  <a:pt x="1626" y="252"/>
                </a:lnTo>
                <a:lnTo>
                  <a:pt x="1632" y="258"/>
                </a:lnTo>
                <a:lnTo>
                  <a:pt x="1632" y="264"/>
                </a:lnTo>
                <a:lnTo>
                  <a:pt x="1638" y="264"/>
                </a:lnTo>
                <a:lnTo>
                  <a:pt x="1638" y="270"/>
                </a:lnTo>
                <a:lnTo>
                  <a:pt x="1638" y="276"/>
                </a:lnTo>
                <a:lnTo>
                  <a:pt x="1638" y="282"/>
                </a:lnTo>
                <a:lnTo>
                  <a:pt x="1644" y="288"/>
                </a:lnTo>
                <a:lnTo>
                  <a:pt x="1644" y="294"/>
                </a:lnTo>
                <a:lnTo>
                  <a:pt x="1644" y="300"/>
                </a:lnTo>
                <a:lnTo>
                  <a:pt x="1644" y="306"/>
                </a:lnTo>
                <a:lnTo>
                  <a:pt x="1650" y="306"/>
                </a:lnTo>
                <a:lnTo>
                  <a:pt x="1650" y="312"/>
                </a:lnTo>
                <a:lnTo>
                  <a:pt x="1650" y="318"/>
                </a:lnTo>
                <a:lnTo>
                  <a:pt x="1650" y="324"/>
                </a:lnTo>
                <a:lnTo>
                  <a:pt x="1644" y="330"/>
                </a:lnTo>
                <a:lnTo>
                  <a:pt x="1626" y="330"/>
                </a:lnTo>
                <a:lnTo>
                  <a:pt x="1626" y="336"/>
                </a:lnTo>
                <a:lnTo>
                  <a:pt x="1626" y="342"/>
                </a:lnTo>
                <a:lnTo>
                  <a:pt x="1626" y="348"/>
                </a:lnTo>
                <a:lnTo>
                  <a:pt x="1620" y="354"/>
                </a:lnTo>
                <a:lnTo>
                  <a:pt x="1614" y="354"/>
                </a:lnTo>
                <a:lnTo>
                  <a:pt x="1614" y="360"/>
                </a:lnTo>
                <a:lnTo>
                  <a:pt x="1614" y="372"/>
                </a:lnTo>
                <a:lnTo>
                  <a:pt x="1608" y="378"/>
                </a:lnTo>
                <a:lnTo>
                  <a:pt x="1608" y="384"/>
                </a:lnTo>
                <a:lnTo>
                  <a:pt x="1614" y="390"/>
                </a:lnTo>
                <a:lnTo>
                  <a:pt x="1614" y="396"/>
                </a:lnTo>
                <a:lnTo>
                  <a:pt x="1614" y="402"/>
                </a:lnTo>
                <a:lnTo>
                  <a:pt x="1614" y="408"/>
                </a:lnTo>
                <a:lnTo>
                  <a:pt x="1614" y="414"/>
                </a:lnTo>
                <a:lnTo>
                  <a:pt x="1602" y="420"/>
                </a:lnTo>
                <a:lnTo>
                  <a:pt x="1602" y="426"/>
                </a:lnTo>
                <a:lnTo>
                  <a:pt x="1608" y="432"/>
                </a:lnTo>
                <a:lnTo>
                  <a:pt x="1614" y="426"/>
                </a:lnTo>
                <a:lnTo>
                  <a:pt x="1620" y="438"/>
                </a:lnTo>
                <a:lnTo>
                  <a:pt x="1626" y="438"/>
                </a:lnTo>
                <a:lnTo>
                  <a:pt x="1632" y="444"/>
                </a:lnTo>
                <a:lnTo>
                  <a:pt x="1626" y="456"/>
                </a:lnTo>
                <a:lnTo>
                  <a:pt x="1626" y="468"/>
                </a:lnTo>
                <a:lnTo>
                  <a:pt x="1620" y="474"/>
                </a:lnTo>
                <a:lnTo>
                  <a:pt x="1614" y="474"/>
                </a:lnTo>
                <a:lnTo>
                  <a:pt x="1614" y="486"/>
                </a:lnTo>
                <a:lnTo>
                  <a:pt x="1614" y="492"/>
                </a:lnTo>
                <a:lnTo>
                  <a:pt x="1620" y="492"/>
                </a:lnTo>
                <a:lnTo>
                  <a:pt x="1626" y="498"/>
                </a:lnTo>
                <a:lnTo>
                  <a:pt x="1626" y="504"/>
                </a:lnTo>
                <a:lnTo>
                  <a:pt x="1626" y="510"/>
                </a:lnTo>
                <a:lnTo>
                  <a:pt x="1620" y="516"/>
                </a:lnTo>
                <a:lnTo>
                  <a:pt x="1620" y="522"/>
                </a:lnTo>
                <a:lnTo>
                  <a:pt x="1614" y="522"/>
                </a:lnTo>
                <a:lnTo>
                  <a:pt x="1608" y="528"/>
                </a:lnTo>
                <a:lnTo>
                  <a:pt x="1602" y="522"/>
                </a:lnTo>
                <a:lnTo>
                  <a:pt x="1602" y="528"/>
                </a:lnTo>
                <a:lnTo>
                  <a:pt x="1602" y="540"/>
                </a:lnTo>
                <a:lnTo>
                  <a:pt x="1602" y="558"/>
                </a:lnTo>
                <a:lnTo>
                  <a:pt x="1602" y="564"/>
                </a:lnTo>
                <a:lnTo>
                  <a:pt x="1602" y="570"/>
                </a:lnTo>
                <a:lnTo>
                  <a:pt x="1602" y="576"/>
                </a:lnTo>
                <a:lnTo>
                  <a:pt x="1596" y="576"/>
                </a:lnTo>
                <a:lnTo>
                  <a:pt x="1632" y="582"/>
                </a:lnTo>
                <a:lnTo>
                  <a:pt x="1644" y="618"/>
                </a:lnTo>
                <a:lnTo>
                  <a:pt x="1650" y="648"/>
                </a:lnTo>
                <a:lnTo>
                  <a:pt x="1662" y="636"/>
                </a:lnTo>
                <a:lnTo>
                  <a:pt x="1668" y="636"/>
                </a:lnTo>
                <a:lnTo>
                  <a:pt x="1674" y="636"/>
                </a:lnTo>
                <a:lnTo>
                  <a:pt x="1680" y="630"/>
                </a:lnTo>
                <a:lnTo>
                  <a:pt x="1686" y="630"/>
                </a:lnTo>
                <a:lnTo>
                  <a:pt x="1692" y="630"/>
                </a:lnTo>
                <a:lnTo>
                  <a:pt x="1698" y="630"/>
                </a:lnTo>
                <a:lnTo>
                  <a:pt x="1704" y="630"/>
                </a:lnTo>
                <a:lnTo>
                  <a:pt x="1704" y="624"/>
                </a:lnTo>
                <a:lnTo>
                  <a:pt x="1710" y="624"/>
                </a:lnTo>
                <a:lnTo>
                  <a:pt x="1716" y="624"/>
                </a:lnTo>
                <a:lnTo>
                  <a:pt x="1722" y="624"/>
                </a:lnTo>
                <a:lnTo>
                  <a:pt x="1728" y="624"/>
                </a:lnTo>
                <a:lnTo>
                  <a:pt x="1722" y="618"/>
                </a:lnTo>
                <a:lnTo>
                  <a:pt x="1728" y="606"/>
                </a:lnTo>
                <a:lnTo>
                  <a:pt x="1734" y="606"/>
                </a:lnTo>
                <a:lnTo>
                  <a:pt x="1740" y="600"/>
                </a:lnTo>
                <a:lnTo>
                  <a:pt x="1746" y="594"/>
                </a:lnTo>
                <a:lnTo>
                  <a:pt x="1752" y="588"/>
                </a:lnTo>
                <a:lnTo>
                  <a:pt x="1752" y="582"/>
                </a:lnTo>
                <a:lnTo>
                  <a:pt x="1758" y="576"/>
                </a:lnTo>
                <a:lnTo>
                  <a:pt x="1764" y="576"/>
                </a:lnTo>
                <a:lnTo>
                  <a:pt x="1770" y="570"/>
                </a:lnTo>
                <a:lnTo>
                  <a:pt x="1776" y="564"/>
                </a:lnTo>
                <a:lnTo>
                  <a:pt x="1788" y="558"/>
                </a:lnTo>
                <a:lnTo>
                  <a:pt x="1788" y="546"/>
                </a:lnTo>
                <a:lnTo>
                  <a:pt x="1788" y="540"/>
                </a:lnTo>
                <a:lnTo>
                  <a:pt x="1794" y="540"/>
                </a:lnTo>
                <a:lnTo>
                  <a:pt x="1788" y="534"/>
                </a:lnTo>
                <a:lnTo>
                  <a:pt x="1788" y="528"/>
                </a:lnTo>
                <a:lnTo>
                  <a:pt x="1794" y="516"/>
                </a:lnTo>
                <a:lnTo>
                  <a:pt x="1800" y="510"/>
                </a:lnTo>
                <a:lnTo>
                  <a:pt x="1812" y="510"/>
                </a:lnTo>
                <a:lnTo>
                  <a:pt x="1818" y="504"/>
                </a:lnTo>
                <a:lnTo>
                  <a:pt x="1824" y="504"/>
                </a:lnTo>
                <a:lnTo>
                  <a:pt x="1830" y="498"/>
                </a:lnTo>
                <a:lnTo>
                  <a:pt x="1836" y="498"/>
                </a:lnTo>
                <a:lnTo>
                  <a:pt x="1848" y="492"/>
                </a:lnTo>
                <a:lnTo>
                  <a:pt x="1848" y="480"/>
                </a:lnTo>
                <a:lnTo>
                  <a:pt x="1854" y="480"/>
                </a:lnTo>
                <a:lnTo>
                  <a:pt x="1890" y="504"/>
                </a:lnTo>
                <a:lnTo>
                  <a:pt x="1908" y="534"/>
                </a:lnTo>
                <a:lnTo>
                  <a:pt x="1902" y="534"/>
                </a:lnTo>
                <a:lnTo>
                  <a:pt x="1920" y="528"/>
                </a:lnTo>
                <a:lnTo>
                  <a:pt x="1920" y="516"/>
                </a:lnTo>
                <a:lnTo>
                  <a:pt x="1944" y="516"/>
                </a:lnTo>
                <a:lnTo>
                  <a:pt x="2004" y="516"/>
                </a:lnTo>
                <a:lnTo>
                  <a:pt x="2010" y="510"/>
                </a:lnTo>
                <a:lnTo>
                  <a:pt x="2004" y="510"/>
                </a:lnTo>
                <a:lnTo>
                  <a:pt x="2010" y="498"/>
                </a:lnTo>
                <a:lnTo>
                  <a:pt x="2004" y="486"/>
                </a:lnTo>
                <a:lnTo>
                  <a:pt x="2004" y="480"/>
                </a:lnTo>
                <a:lnTo>
                  <a:pt x="2004" y="474"/>
                </a:lnTo>
                <a:lnTo>
                  <a:pt x="2004" y="462"/>
                </a:lnTo>
                <a:lnTo>
                  <a:pt x="2004" y="456"/>
                </a:lnTo>
                <a:lnTo>
                  <a:pt x="2058" y="462"/>
                </a:lnTo>
                <a:lnTo>
                  <a:pt x="2076" y="474"/>
                </a:lnTo>
                <a:lnTo>
                  <a:pt x="2082" y="522"/>
                </a:lnTo>
                <a:lnTo>
                  <a:pt x="2088" y="516"/>
                </a:lnTo>
                <a:lnTo>
                  <a:pt x="2094" y="522"/>
                </a:lnTo>
                <a:lnTo>
                  <a:pt x="2100" y="528"/>
                </a:lnTo>
                <a:lnTo>
                  <a:pt x="2130" y="540"/>
                </a:lnTo>
                <a:lnTo>
                  <a:pt x="2160" y="564"/>
                </a:lnTo>
                <a:lnTo>
                  <a:pt x="2166" y="600"/>
                </a:lnTo>
                <a:lnTo>
                  <a:pt x="2160" y="618"/>
                </a:lnTo>
                <a:lnTo>
                  <a:pt x="2142" y="636"/>
                </a:lnTo>
                <a:lnTo>
                  <a:pt x="2148" y="648"/>
                </a:lnTo>
                <a:lnTo>
                  <a:pt x="2154" y="660"/>
                </a:lnTo>
                <a:lnTo>
                  <a:pt x="2196" y="654"/>
                </a:lnTo>
                <a:lnTo>
                  <a:pt x="2214" y="660"/>
                </a:lnTo>
                <a:lnTo>
                  <a:pt x="2214" y="666"/>
                </a:lnTo>
                <a:lnTo>
                  <a:pt x="2220" y="672"/>
                </a:lnTo>
                <a:lnTo>
                  <a:pt x="2214" y="678"/>
                </a:lnTo>
                <a:lnTo>
                  <a:pt x="2214" y="684"/>
                </a:lnTo>
                <a:lnTo>
                  <a:pt x="2214" y="690"/>
                </a:lnTo>
                <a:lnTo>
                  <a:pt x="2208" y="690"/>
                </a:lnTo>
                <a:lnTo>
                  <a:pt x="2202" y="696"/>
                </a:lnTo>
                <a:lnTo>
                  <a:pt x="2196" y="702"/>
                </a:lnTo>
                <a:lnTo>
                  <a:pt x="2190" y="708"/>
                </a:lnTo>
                <a:lnTo>
                  <a:pt x="2190" y="720"/>
                </a:lnTo>
                <a:lnTo>
                  <a:pt x="2184" y="720"/>
                </a:lnTo>
                <a:lnTo>
                  <a:pt x="2178" y="726"/>
                </a:lnTo>
                <a:lnTo>
                  <a:pt x="2166" y="732"/>
                </a:lnTo>
                <a:lnTo>
                  <a:pt x="2160" y="744"/>
                </a:lnTo>
                <a:lnTo>
                  <a:pt x="2154" y="756"/>
                </a:lnTo>
                <a:lnTo>
                  <a:pt x="2148" y="762"/>
                </a:lnTo>
                <a:lnTo>
                  <a:pt x="2124" y="762"/>
                </a:lnTo>
                <a:lnTo>
                  <a:pt x="2124" y="768"/>
                </a:lnTo>
                <a:lnTo>
                  <a:pt x="2118" y="768"/>
                </a:lnTo>
                <a:lnTo>
                  <a:pt x="2124" y="774"/>
                </a:lnTo>
                <a:lnTo>
                  <a:pt x="2118" y="774"/>
                </a:lnTo>
                <a:lnTo>
                  <a:pt x="2112" y="774"/>
                </a:lnTo>
                <a:lnTo>
                  <a:pt x="2106" y="780"/>
                </a:lnTo>
                <a:lnTo>
                  <a:pt x="2112" y="786"/>
                </a:lnTo>
                <a:lnTo>
                  <a:pt x="2106" y="792"/>
                </a:lnTo>
                <a:lnTo>
                  <a:pt x="2106" y="798"/>
                </a:lnTo>
                <a:lnTo>
                  <a:pt x="2106" y="810"/>
                </a:lnTo>
                <a:lnTo>
                  <a:pt x="2112" y="828"/>
                </a:lnTo>
                <a:lnTo>
                  <a:pt x="2112" y="834"/>
                </a:lnTo>
                <a:lnTo>
                  <a:pt x="2112" y="840"/>
                </a:lnTo>
                <a:lnTo>
                  <a:pt x="2112" y="834"/>
                </a:lnTo>
                <a:lnTo>
                  <a:pt x="2124" y="834"/>
                </a:lnTo>
                <a:lnTo>
                  <a:pt x="2130" y="834"/>
                </a:lnTo>
                <a:lnTo>
                  <a:pt x="2136" y="840"/>
                </a:lnTo>
                <a:lnTo>
                  <a:pt x="2142" y="840"/>
                </a:lnTo>
                <a:lnTo>
                  <a:pt x="2154" y="852"/>
                </a:lnTo>
                <a:lnTo>
                  <a:pt x="2160" y="852"/>
                </a:lnTo>
                <a:lnTo>
                  <a:pt x="2172" y="846"/>
                </a:lnTo>
                <a:lnTo>
                  <a:pt x="2178" y="846"/>
                </a:lnTo>
                <a:lnTo>
                  <a:pt x="2184" y="846"/>
                </a:lnTo>
                <a:lnTo>
                  <a:pt x="2190" y="846"/>
                </a:lnTo>
                <a:lnTo>
                  <a:pt x="2196" y="852"/>
                </a:lnTo>
                <a:lnTo>
                  <a:pt x="2196" y="858"/>
                </a:lnTo>
                <a:lnTo>
                  <a:pt x="2202" y="852"/>
                </a:lnTo>
                <a:lnTo>
                  <a:pt x="2208" y="846"/>
                </a:lnTo>
                <a:lnTo>
                  <a:pt x="2214" y="846"/>
                </a:lnTo>
                <a:lnTo>
                  <a:pt x="2226" y="846"/>
                </a:lnTo>
                <a:lnTo>
                  <a:pt x="2232" y="852"/>
                </a:lnTo>
                <a:lnTo>
                  <a:pt x="2238" y="852"/>
                </a:lnTo>
                <a:lnTo>
                  <a:pt x="2244" y="858"/>
                </a:lnTo>
                <a:lnTo>
                  <a:pt x="2250" y="858"/>
                </a:lnTo>
                <a:lnTo>
                  <a:pt x="2256" y="858"/>
                </a:lnTo>
                <a:lnTo>
                  <a:pt x="2262" y="858"/>
                </a:lnTo>
                <a:lnTo>
                  <a:pt x="2268" y="852"/>
                </a:lnTo>
                <a:lnTo>
                  <a:pt x="2274" y="852"/>
                </a:lnTo>
                <a:lnTo>
                  <a:pt x="2280" y="852"/>
                </a:lnTo>
                <a:lnTo>
                  <a:pt x="2286" y="852"/>
                </a:lnTo>
                <a:lnTo>
                  <a:pt x="2298" y="858"/>
                </a:lnTo>
                <a:lnTo>
                  <a:pt x="2304" y="858"/>
                </a:lnTo>
                <a:lnTo>
                  <a:pt x="2310" y="858"/>
                </a:lnTo>
                <a:lnTo>
                  <a:pt x="2316" y="852"/>
                </a:lnTo>
                <a:lnTo>
                  <a:pt x="2322" y="858"/>
                </a:lnTo>
                <a:lnTo>
                  <a:pt x="2328" y="858"/>
                </a:lnTo>
                <a:lnTo>
                  <a:pt x="2328" y="852"/>
                </a:lnTo>
                <a:lnTo>
                  <a:pt x="2364" y="858"/>
                </a:lnTo>
                <a:lnTo>
                  <a:pt x="2376" y="876"/>
                </a:lnTo>
                <a:lnTo>
                  <a:pt x="2382" y="936"/>
                </a:lnTo>
                <a:lnTo>
                  <a:pt x="2388" y="966"/>
                </a:lnTo>
                <a:lnTo>
                  <a:pt x="2382" y="972"/>
                </a:lnTo>
                <a:lnTo>
                  <a:pt x="2382" y="978"/>
                </a:lnTo>
                <a:lnTo>
                  <a:pt x="2382" y="984"/>
                </a:lnTo>
                <a:lnTo>
                  <a:pt x="2388" y="990"/>
                </a:lnTo>
                <a:lnTo>
                  <a:pt x="2382" y="990"/>
                </a:lnTo>
                <a:lnTo>
                  <a:pt x="2382" y="996"/>
                </a:lnTo>
                <a:lnTo>
                  <a:pt x="2376" y="996"/>
                </a:lnTo>
                <a:lnTo>
                  <a:pt x="2376" y="1020"/>
                </a:lnTo>
                <a:lnTo>
                  <a:pt x="2370" y="1032"/>
                </a:lnTo>
                <a:lnTo>
                  <a:pt x="2352" y="1032"/>
                </a:lnTo>
                <a:lnTo>
                  <a:pt x="2346" y="1020"/>
                </a:lnTo>
                <a:lnTo>
                  <a:pt x="2328" y="1032"/>
                </a:lnTo>
                <a:lnTo>
                  <a:pt x="2316" y="1038"/>
                </a:lnTo>
                <a:lnTo>
                  <a:pt x="2328" y="1044"/>
                </a:lnTo>
                <a:lnTo>
                  <a:pt x="2340" y="1056"/>
                </a:lnTo>
                <a:lnTo>
                  <a:pt x="2376" y="1062"/>
                </a:lnTo>
                <a:lnTo>
                  <a:pt x="2376" y="1068"/>
                </a:lnTo>
                <a:lnTo>
                  <a:pt x="2382" y="1086"/>
                </a:lnTo>
                <a:lnTo>
                  <a:pt x="2376" y="1086"/>
                </a:lnTo>
                <a:lnTo>
                  <a:pt x="2370" y="1086"/>
                </a:lnTo>
                <a:lnTo>
                  <a:pt x="2364" y="1086"/>
                </a:lnTo>
                <a:lnTo>
                  <a:pt x="2364" y="1098"/>
                </a:lnTo>
                <a:lnTo>
                  <a:pt x="2388" y="1104"/>
                </a:lnTo>
                <a:lnTo>
                  <a:pt x="2400" y="1122"/>
                </a:lnTo>
                <a:lnTo>
                  <a:pt x="2400" y="1134"/>
                </a:lnTo>
                <a:lnTo>
                  <a:pt x="2400" y="1146"/>
                </a:lnTo>
                <a:lnTo>
                  <a:pt x="2394" y="1146"/>
                </a:lnTo>
                <a:lnTo>
                  <a:pt x="2394" y="1152"/>
                </a:lnTo>
                <a:lnTo>
                  <a:pt x="2388" y="1152"/>
                </a:lnTo>
                <a:lnTo>
                  <a:pt x="2388" y="1146"/>
                </a:lnTo>
                <a:lnTo>
                  <a:pt x="2382" y="1152"/>
                </a:lnTo>
                <a:lnTo>
                  <a:pt x="2376" y="1152"/>
                </a:lnTo>
                <a:lnTo>
                  <a:pt x="2370" y="1158"/>
                </a:lnTo>
                <a:lnTo>
                  <a:pt x="2370" y="1164"/>
                </a:lnTo>
                <a:lnTo>
                  <a:pt x="2364" y="1170"/>
                </a:lnTo>
                <a:lnTo>
                  <a:pt x="2370" y="1170"/>
                </a:lnTo>
                <a:lnTo>
                  <a:pt x="2376" y="1170"/>
                </a:lnTo>
                <a:lnTo>
                  <a:pt x="2370" y="1176"/>
                </a:lnTo>
                <a:lnTo>
                  <a:pt x="2364" y="1176"/>
                </a:lnTo>
                <a:lnTo>
                  <a:pt x="2358" y="1182"/>
                </a:lnTo>
                <a:lnTo>
                  <a:pt x="2352" y="1182"/>
                </a:lnTo>
                <a:lnTo>
                  <a:pt x="2346" y="1188"/>
                </a:lnTo>
                <a:lnTo>
                  <a:pt x="2340" y="1182"/>
                </a:lnTo>
                <a:lnTo>
                  <a:pt x="2334" y="1182"/>
                </a:lnTo>
                <a:lnTo>
                  <a:pt x="2334" y="1188"/>
                </a:lnTo>
                <a:lnTo>
                  <a:pt x="2328" y="1194"/>
                </a:lnTo>
                <a:lnTo>
                  <a:pt x="2328" y="1200"/>
                </a:lnTo>
                <a:lnTo>
                  <a:pt x="2322" y="1224"/>
                </a:lnTo>
                <a:lnTo>
                  <a:pt x="2328" y="1230"/>
                </a:lnTo>
                <a:lnTo>
                  <a:pt x="2358" y="1230"/>
                </a:lnTo>
                <a:lnTo>
                  <a:pt x="2358" y="1242"/>
                </a:lnTo>
                <a:lnTo>
                  <a:pt x="2358" y="1254"/>
                </a:lnTo>
                <a:lnTo>
                  <a:pt x="2346" y="1254"/>
                </a:lnTo>
                <a:lnTo>
                  <a:pt x="2346" y="1278"/>
                </a:lnTo>
                <a:lnTo>
                  <a:pt x="2358" y="1278"/>
                </a:lnTo>
                <a:lnTo>
                  <a:pt x="2358" y="1284"/>
                </a:lnTo>
                <a:lnTo>
                  <a:pt x="2376" y="1284"/>
                </a:lnTo>
                <a:lnTo>
                  <a:pt x="2388" y="1278"/>
                </a:lnTo>
                <a:lnTo>
                  <a:pt x="2406" y="1278"/>
                </a:lnTo>
                <a:lnTo>
                  <a:pt x="2430" y="1284"/>
                </a:lnTo>
                <a:lnTo>
                  <a:pt x="2430" y="1302"/>
                </a:lnTo>
                <a:lnTo>
                  <a:pt x="2430" y="1314"/>
                </a:lnTo>
                <a:lnTo>
                  <a:pt x="2424" y="1326"/>
                </a:lnTo>
                <a:lnTo>
                  <a:pt x="2412" y="1326"/>
                </a:lnTo>
                <a:lnTo>
                  <a:pt x="2412" y="1344"/>
                </a:lnTo>
                <a:lnTo>
                  <a:pt x="2406" y="1344"/>
                </a:lnTo>
                <a:lnTo>
                  <a:pt x="2400" y="1362"/>
                </a:lnTo>
                <a:lnTo>
                  <a:pt x="2394" y="1368"/>
                </a:lnTo>
                <a:lnTo>
                  <a:pt x="2388" y="1374"/>
                </a:lnTo>
                <a:lnTo>
                  <a:pt x="2382" y="1380"/>
                </a:lnTo>
                <a:lnTo>
                  <a:pt x="2376" y="1386"/>
                </a:lnTo>
                <a:lnTo>
                  <a:pt x="2376" y="1392"/>
                </a:lnTo>
                <a:lnTo>
                  <a:pt x="2370" y="1404"/>
                </a:lnTo>
                <a:lnTo>
                  <a:pt x="2364" y="1416"/>
                </a:lnTo>
                <a:lnTo>
                  <a:pt x="2346" y="1434"/>
                </a:lnTo>
                <a:lnTo>
                  <a:pt x="2328" y="1440"/>
                </a:lnTo>
                <a:lnTo>
                  <a:pt x="2328" y="1446"/>
                </a:lnTo>
                <a:lnTo>
                  <a:pt x="2322" y="1452"/>
                </a:lnTo>
                <a:lnTo>
                  <a:pt x="2316" y="1452"/>
                </a:lnTo>
                <a:lnTo>
                  <a:pt x="2304" y="1446"/>
                </a:lnTo>
                <a:lnTo>
                  <a:pt x="2298" y="1446"/>
                </a:lnTo>
                <a:lnTo>
                  <a:pt x="2298" y="1434"/>
                </a:lnTo>
                <a:lnTo>
                  <a:pt x="2292" y="1434"/>
                </a:lnTo>
                <a:lnTo>
                  <a:pt x="2286" y="1428"/>
                </a:lnTo>
                <a:lnTo>
                  <a:pt x="2274" y="1416"/>
                </a:lnTo>
                <a:lnTo>
                  <a:pt x="2256" y="1404"/>
                </a:lnTo>
                <a:lnTo>
                  <a:pt x="2244" y="1386"/>
                </a:lnTo>
                <a:lnTo>
                  <a:pt x="2220" y="1368"/>
                </a:lnTo>
                <a:lnTo>
                  <a:pt x="2208" y="1362"/>
                </a:lnTo>
                <a:lnTo>
                  <a:pt x="2202" y="1350"/>
                </a:lnTo>
                <a:lnTo>
                  <a:pt x="2196" y="1350"/>
                </a:lnTo>
                <a:lnTo>
                  <a:pt x="2190" y="1356"/>
                </a:lnTo>
                <a:lnTo>
                  <a:pt x="2184" y="1356"/>
                </a:lnTo>
                <a:lnTo>
                  <a:pt x="2094" y="1350"/>
                </a:lnTo>
                <a:lnTo>
                  <a:pt x="2058" y="1350"/>
                </a:lnTo>
                <a:lnTo>
                  <a:pt x="2034" y="1890"/>
                </a:lnTo>
                <a:lnTo>
                  <a:pt x="2064" y="1890"/>
                </a:lnTo>
                <a:lnTo>
                  <a:pt x="2070" y="1896"/>
                </a:lnTo>
                <a:lnTo>
                  <a:pt x="2076" y="1896"/>
                </a:lnTo>
                <a:close/>
              </a:path>
            </a:pathLst>
          </a:custGeom>
          <a:solidFill>
            <a:srgbClr val="FF9900"/>
          </a:solidFill>
          <a:ln w="9525">
            <a:solidFill>
              <a:schemeClr val="bg1"/>
            </a:solidFill>
            <a:round/>
            <a:headEnd/>
            <a:tailEnd/>
          </a:ln>
        </p:spPr>
        <p:txBody>
          <a:bodyPr/>
          <a:lstStyle/>
          <a:p>
            <a:endParaRPr lang="en-GB"/>
          </a:p>
        </p:txBody>
      </p:sp>
      <p:sp>
        <p:nvSpPr>
          <p:cNvPr id="18471" name="Freeform 34"/>
          <p:cNvSpPr>
            <a:spLocks/>
          </p:cNvSpPr>
          <p:nvPr/>
        </p:nvSpPr>
        <p:spPr bwMode="gray">
          <a:xfrm>
            <a:off x="2154238" y="1501775"/>
            <a:ext cx="1330325" cy="1179513"/>
          </a:xfrm>
          <a:custGeom>
            <a:avLst/>
            <a:gdLst>
              <a:gd name="T0" fmla="*/ 112034 w 1698"/>
              <a:gd name="T1" fmla="*/ 34626 h 1464"/>
              <a:gd name="T2" fmla="*/ 102633 w 1698"/>
              <a:gd name="T3" fmla="*/ 35431 h 1464"/>
              <a:gd name="T4" fmla="*/ 98715 w 1698"/>
              <a:gd name="T5" fmla="*/ 33016 h 1464"/>
              <a:gd name="T6" fmla="*/ 93231 w 1698"/>
              <a:gd name="T7" fmla="*/ 36237 h 1464"/>
              <a:gd name="T8" fmla="*/ 86963 w 1698"/>
              <a:gd name="T9" fmla="*/ 37042 h 1464"/>
              <a:gd name="T10" fmla="*/ 83830 w 1698"/>
              <a:gd name="T11" fmla="*/ 40263 h 1464"/>
              <a:gd name="T12" fmla="*/ 83830 w 1698"/>
              <a:gd name="T13" fmla="*/ 48315 h 1464"/>
              <a:gd name="T14" fmla="*/ 81479 w 1698"/>
              <a:gd name="T15" fmla="*/ 49926 h 1464"/>
              <a:gd name="T16" fmla="*/ 75995 w 1698"/>
              <a:gd name="T17" fmla="*/ 47510 h 1464"/>
              <a:gd name="T18" fmla="*/ 72078 w 1698"/>
              <a:gd name="T19" fmla="*/ 47510 h 1464"/>
              <a:gd name="T20" fmla="*/ 70511 w 1698"/>
              <a:gd name="T21" fmla="*/ 49926 h 1464"/>
              <a:gd name="T22" fmla="*/ 72861 w 1698"/>
              <a:gd name="T23" fmla="*/ 62005 h 1464"/>
              <a:gd name="T24" fmla="*/ 66594 w 1698"/>
              <a:gd name="T25" fmla="*/ 70863 h 1464"/>
              <a:gd name="T26" fmla="*/ 54842 w 1698"/>
              <a:gd name="T27" fmla="*/ 71668 h 1464"/>
              <a:gd name="T28" fmla="*/ 50925 w 1698"/>
              <a:gd name="T29" fmla="*/ 70863 h 1464"/>
              <a:gd name="T30" fmla="*/ 39173 w 1698"/>
              <a:gd name="T31" fmla="*/ 70863 h 1464"/>
              <a:gd name="T32" fmla="*/ 37606 w 1698"/>
              <a:gd name="T33" fmla="*/ 86162 h 1464"/>
              <a:gd name="T34" fmla="*/ 36822 w 1698"/>
              <a:gd name="T35" fmla="*/ 96631 h 1464"/>
              <a:gd name="T36" fmla="*/ 33689 w 1698"/>
              <a:gd name="T37" fmla="*/ 97436 h 1464"/>
              <a:gd name="T38" fmla="*/ 31338 w 1698"/>
              <a:gd name="T39" fmla="*/ 96631 h 1464"/>
              <a:gd name="T40" fmla="*/ 27421 w 1698"/>
              <a:gd name="T41" fmla="*/ 98241 h 1464"/>
              <a:gd name="T42" fmla="*/ 22720 w 1698"/>
              <a:gd name="T43" fmla="*/ 99046 h 1464"/>
              <a:gd name="T44" fmla="*/ 18803 w 1698"/>
              <a:gd name="T45" fmla="*/ 100657 h 1464"/>
              <a:gd name="T46" fmla="*/ 15669 w 1698"/>
              <a:gd name="T47" fmla="*/ 100657 h 1464"/>
              <a:gd name="T48" fmla="*/ 14102 w 1698"/>
              <a:gd name="T49" fmla="*/ 98241 h 1464"/>
              <a:gd name="T50" fmla="*/ 20370 w 1698"/>
              <a:gd name="T51" fmla="*/ 86968 h 1464"/>
              <a:gd name="T52" fmla="*/ 18803 w 1698"/>
              <a:gd name="T53" fmla="*/ 71668 h 1464"/>
              <a:gd name="T54" fmla="*/ 21937 w 1698"/>
              <a:gd name="T55" fmla="*/ 68447 h 1464"/>
              <a:gd name="T56" fmla="*/ 25071 w 1698"/>
              <a:gd name="T57" fmla="*/ 64420 h 1464"/>
              <a:gd name="T58" fmla="*/ 28204 w 1698"/>
              <a:gd name="T59" fmla="*/ 69252 h 1464"/>
              <a:gd name="T60" fmla="*/ 30555 w 1698"/>
              <a:gd name="T61" fmla="*/ 64420 h 1464"/>
              <a:gd name="T62" fmla="*/ 32122 w 1698"/>
              <a:gd name="T63" fmla="*/ 58784 h 1464"/>
              <a:gd name="T64" fmla="*/ 29771 w 1698"/>
              <a:gd name="T65" fmla="*/ 51536 h 1464"/>
              <a:gd name="T66" fmla="*/ 30555 w 1698"/>
              <a:gd name="T67" fmla="*/ 47510 h 1464"/>
              <a:gd name="T68" fmla="*/ 25071 w 1698"/>
              <a:gd name="T69" fmla="*/ 43484 h 1464"/>
              <a:gd name="T70" fmla="*/ 25071 w 1698"/>
              <a:gd name="T71" fmla="*/ 36237 h 1464"/>
              <a:gd name="T72" fmla="*/ 24287 w 1698"/>
              <a:gd name="T73" fmla="*/ 33016 h 1464"/>
              <a:gd name="T74" fmla="*/ 18803 w 1698"/>
              <a:gd name="T75" fmla="*/ 34626 h 1464"/>
              <a:gd name="T76" fmla="*/ 13319 w 1698"/>
              <a:gd name="T77" fmla="*/ 32210 h 1464"/>
              <a:gd name="T78" fmla="*/ 8618 w 1698"/>
              <a:gd name="T79" fmla="*/ 30600 h 1464"/>
              <a:gd name="T80" fmla="*/ 1567 w 1698"/>
              <a:gd name="T81" fmla="*/ 28989 h 1464"/>
              <a:gd name="T82" fmla="*/ 0 w 1698"/>
              <a:gd name="T83" fmla="*/ 19326 h 1464"/>
              <a:gd name="T84" fmla="*/ 8618 w 1698"/>
              <a:gd name="T85" fmla="*/ 14495 h 1464"/>
              <a:gd name="T86" fmla="*/ 14886 w 1698"/>
              <a:gd name="T87" fmla="*/ 8053 h 1464"/>
              <a:gd name="T88" fmla="*/ 21937 w 1698"/>
              <a:gd name="T89" fmla="*/ 7247 h 1464"/>
              <a:gd name="T90" fmla="*/ 31338 w 1698"/>
              <a:gd name="T91" fmla="*/ 4832 h 1464"/>
              <a:gd name="T92" fmla="*/ 38389 w 1698"/>
              <a:gd name="T93" fmla="*/ 6442 h 1464"/>
              <a:gd name="T94" fmla="*/ 43873 w 1698"/>
              <a:gd name="T95" fmla="*/ 6442 h 1464"/>
              <a:gd name="T96" fmla="*/ 50141 w 1698"/>
              <a:gd name="T97" fmla="*/ 5637 h 1464"/>
              <a:gd name="T98" fmla="*/ 57976 w 1698"/>
              <a:gd name="T99" fmla="*/ 805 h 1464"/>
              <a:gd name="T100" fmla="*/ 65027 w 1698"/>
              <a:gd name="T101" fmla="*/ 2416 h 1464"/>
              <a:gd name="T102" fmla="*/ 77562 w 1698"/>
              <a:gd name="T103" fmla="*/ 7247 h 1464"/>
              <a:gd name="T104" fmla="*/ 87747 w 1698"/>
              <a:gd name="T105" fmla="*/ 11274 h 1464"/>
              <a:gd name="T106" fmla="*/ 93231 w 1698"/>
              <a:gd name="T107" fmla="*/ 9663 h 1464"/>
              <a:gd name="T108" fmla="*/ 100282 w 1698"/>
              <a:gd name="T109" fmla="*/ 13689 h 1464"/>
              <a:gd name="T110" fmla="*/ 110467 w 1698"/>
              <a:gd name="T111" fmla="*/ 23352 h 1464"/>
              <a:gd name="T112" fmla="*/ 113601 w 1698"/>
              <a:gd name="T113" fmla="*/ 28184 h 14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98"/>
              <a:gd name="T172" fmla="*/ 0 h 1464"/>
              <a:gd name="T173" fmla="*/ 1698 w 1698"/>
              <a:gd name="T174" fmla="*/ 1464 h 14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98" h="1464">
                <a:moveTo>
                  <a:pt x="1698" y="462"/>
                </a:moveTo>
                <a:lnTo>
                  <a:pt x="1686" y="468"/>
                </a:lnTo>
                <a:lnTo>
                  <a:pt x="1680" y="474"/>
                </a:lnTo>
                <a:lnTo>
                  <a:pt x="1674" y="480"/>
                </a:lnTo>
                <a:lnTo>
                  <a:pt x="1668" y="480"/>
                </a:lnTo>
                <a:lnTo>
                  <a:pt x="1662" y="486"/>
                </a:lnTo>
                <a:lnTo>
                  <a:pt x="1656" y="492"/>
                </a:lnTo>
                <a:lnTo>
                  <a:pt x="1644" y="498"/>
                </a:lnTo>
                <a:lnTo>
                  <a:pt x="1626" y="504"/>
                </a:lnTo>
                <a:lnTo>
                  <a:pt x="1614" y="510"/>
                </a:lnTo>
                <a:lnTo>
                  <a:pt x="1602" y="516"/>
                </a:lnTo>
                <a:lnTo>
                  <a:pt x="1590" y="516"/>
                </a:lnTo>
                <a:lnTo>
                  <a:pt x="1590" y="522"/>
                </a:lnTo>
                <a:lnTo>
                  <a:pt x="1566" y="522"/>
                </a:lnTo>
                <a:lnTo>
                  <a:pt x="1506" y="510"/>
                </a:lnTo>
                <a:lnTo>
                  <a:pt x="1500" y="510"/>
                </a:lnTo>
                <a:lnTo>
                  <a:pt x="1488" y="504"/>
                </a:lnTo>
                <a:lnTo>
                  <a:pt x="1482" y="498"/>
                </a:lnTo>
                <a:lnTo>
                  <a:pt x="1476" y="498"/>
                </a:lnTo>
                <a:lnTo>
                  <a:pt x="1476" y="492"/>
                </a:lnTo>
                <a:lnTo>
                  <a:pt x="1470" y="492"/>
                </a:lnTo>
                <a:lnTo>
                  <a:pt x="1464" y="486"/>
                </a:lnTo>
                <a:lnTo>
                  <a:pt x="1452" y="486"/>
                </a:lnTo>
                <a:lnTo>
                  <a:pt x="1446" y="474"/>
                </a:lnTo>
                <a:lnTo>
                  <a:pt x="1434" y="468"/>
                </a:lnTo>
                <a:lnTo>
                  <a:pt x="1416" y="468"/>
                </a:lnTo>
                <a:lnTo>
                  <a:pt x="1392" y="468"/>
                </a:lnTo>
                <a:lnTo>
                  <a:pt x="1374" y="474"/>
                </a:lnTo>
                <a:lnTo>
                  <a:pt x="1368" y="474"/>
                </a:lnTo>
                <a:lnTo>
                  <a:pt x="1368" y="486"/>
                </a:lnTo>
                <a:lnTo>
                  <a:pt x="1368" y="498"/>
                </a:lnTo>
                <a:lnTo>
                  <a:pt x="1368" y="522"/>
                </a:lnTo>
                <a:lnTo>
                  <a:pt x="1368" y="534"/>
                </a:lnTo>
                <a:lnTo>
                  <a:pt x="1362" y="546"/>
                </a:lnTo>
                <a:lnTo>
                  <a:pt x="1356" y="546"/>
                </a:lnTo>
                <a:lnTo>
                  <a:pt x="1344" y="540"/>
                </a:lnTo>
                <a:lnTo>
                  <a:pt x="1338" y="534"/>
                </a:lnTo>
                <a:lnTo>
                  <a:pt x="1308" y="522"/>
                </a:lnTo>
                <a:lnTo>
                  <a:pt x="1296" y="522"/>
                </a:lnTo>
                <a:lnTo>
                  <a:pt x="1278" y="528"/>
                </a:lnTo>
                <a:lnTo>
                  <a:pt x="1260" y="534"/>
                </a:lnTo>
                <a:lnTo>
                  <a:pt x="1242" y="546"/>
                </a:lnTo>
                <a:lnTo>
                  <a:pt x="1236" y="552"/>
                </a:lnTo>
                <a:lnTo>
                  <a:pt x="1224" y="558"/>
                </a:lnTo>
                <a:lnTo>
                  <a:pt x="1218" y="558"/>
                </a:lnTo>
                <a:lnTo>
                  <a:pt x="1218" y="564"/>
                </a:lnTo>
                <a:lnTo>
                  <a:pt x="1224" y="570"/>
                </a:lnTo>
                <a:lnTo>
                  <a:pt x="1224" y="582"/>
                </a:lnTo>
                <a:lnTo>
                  <a:pt x="1224" y="594"/>
                </a:lnTo>
                <a:lnTo>
                  <a:pt x="1212" y="618"/>
                </a:lnTo>
                <a:lnTo>
                  <a:pt x="1212" y="624"/>
                </a:lnTo>
                <a:lnTo>
                  <a:pt x="1212" y="630"/>
                </a:lnTo>
                <a:lnTo>
                  <a:pt x="1212" y="636"/>
                </a:lnTo>
                <a:lnTo>
                  <a:pt x="1218" y="654"/>
                </a:lnTo>
                <a:lnTo>
                  <a:pt x="1224" y="672"/>
                </a:lnTo>
                <a:lnTo>
                  <a:pt x="1230" y="696"/>
                </a:lnTo>
                <a:lnTo>
                  <a:pt x="1236" y="708"/>
                </a:lnTo>
                <a:lnTo>
                  <a:pt x="1236" y="714"/>
                </a:lnTo>
                <a:lnTo>
                  <a:pt x="1236" y="720"/>
                </a:lnTo>
                <a:lnTo>
                  <a:pt x="1218" y="726"/>
                </a:lnTo>
                <a:lnTo>
                  <a:pt x="1212" y="726"/>
                </a:lnTo>
                <a:lnTo>
                  <a:pt x="1206" y="726"/>
                </a:lnTo>
                <a:lnTo>
                  <a:pt x="1194" y="720"/>
                </a:lnTo>
                <a:lnTo>
                  <a:pt x="1194" y="714"/>
                </a:lnTo>
                <a:lnTo>
                  <a:pt x="1176" y="714"/>
                </a:lnTo>
                <a:lnTo>
                  <a:pt x="1164" y="708"/>
                </a:lnTo>
                <a:lnTo>
                  <a:pt x="1158" y="708"/>
                </a:lnTo>
                <a:lnTo>
                  <a:pt x="1140" y="702"/>
                </a:lnTo>
                <a:lnTo>
                  <a:pt x="1134" y="696"/>
                </a:lnTo>
                <a:lnTo>
                  <a:pt x="1128" y="690"/>
                </a:lnTo>
                <a:lnTo>
                  <a:pt x="1116" y="678"/>
                </a:lnTo>
                <a:lnTo>
                  <a:pt x="1110" y="678"/>
                </a:lnTo>
                <a:lnTo>
                  <a:pt x="1104" y="672"/>
                </a:lnTo>
                <a:lnTo>
                  <a:pt x="1092" y="672"/>
                </a:lnTo>
                <a:lnTo>
                  <a:pt x="1086" y="672"/>
                </a:lnTo>
                <a:lnTo>
                  <a:pt x="1080" y="672"/>
                </a:lnTo>
                <a:lnTo>
                  <a:pt x="1074" y="672"/>
                </a:lnTo>
                <a:lnTo>
                  <a:pt x="1068" y="672"/>
                </a:lnTo>
                <a:lnTo>
                  <a:pt x="1062" y="678"/>
                </a:lnTo>
                <a:lnTo>
                  <a:pt x="1056" y="678"/>
                </a:lnTo>
                <a:lnTo>
                  <a:pt x="1056" y="684"/>
                </a:lnTo>
                <a:lnTo>
                  <a:pt x="1056" y="690"/>
                </a:lnTo>
                <a:lnTo>
                  <a:pt x="1050" y="690"/>
                </a:lnTo>
                <a:lnTo>
                  <a:pt x="1044" y="696"/>
                </a:lnTo>
                <a:lnTo>
                  <a:pt x="1032" y="708"/>
                </a:lnTo>
                <a:lnTo>
                  <a:pt x="1026" y="708"/>
                </a:lnTo>
                <a:lnTo>
                  <a:pt x="1032" y="714"/>
                </a:lnTo>
                <a:lnTo>
                  <a:pt x="1026" y="720"/>
                </a:lnTo>
                <a:lnTo>
                  <a:pt x="1020" y="720"/>
                </a:lnTo>
                <a:lnTo>
                  <a:pt x="1014" y="732"/>
                </a:lnTo>
                <a:lnTo>
                  <a:pt x="1014" y="744"/>
                </a:lnTo>
                <a:lnTo>
                  <a:pt x="1038" y="810"/>
                </a:lnTo>
                <a:lnTo>
                  <a:pt x="1050" y="834"/>
                </a:lnTo>
                <a:lnTo>
                  <a:pt x="1056" y="858"/>
                </a:lnTo>
                <a:lnTo>
                  <a:pt x="1062" y="876"/>
                </a:lnTo>
                <a:lnTo>
                  <a:pt x="1068" y="882"/>
                </a:lnTo>
                <a:lnTo>
                  <a:pt x="1062" y="972"/>
                </a:lnTo>
                <a:lnTo>
                  <a:pt x="1056" y="972"/>
                </a:lnTo>
                <a:lnTo>
                  <a:pt x="1050" y="996"/>
                </a:lnTo>
                <a:lnTo>
                  <a:pt x="1044" y="1014"/>
                </a:lnTo>
                <a:lnTo>
                  <a:pt x="1008" y="1014"/>
                </a:lnTo>
                <a:lnTo>
                  <a:pt x="1008" y="1008"/>
                </a:lnTo>
                <a:lnTo>
                  <a:pt x="990" y="1008"/>
                </a:lnTo>
                <a:lnTo>
                  <a:pt x="972" y="1014"/>
                </a:lnTo>
                <a:lnTo>
                  <a:pt x="948" y="1020"/>
                </a:lnTo>
                <a:lnTo>
                  <a:pt x="918" y="1026"/>
                </a:lnTo>
                <a:lnTo>
                  <a:pt x="840" y="1032"/>
                </a:lnTo>
                <a:lnTo>
                  <a:pt x="834" y="1032"/>
                </a:lnTo>
                <a:lnTo>
                  <a:pt x="834" y="1026"/>
                </a:lnTo>
                <a:lnTo>
                  <a:pt x="822" y="1026"/>
                </a:lnTo>
                <a:lnTo>
                  <a:pt x="816" y="1032"/>
                </a:lnTo>
                <a:lnTo>
                  <a:pt x="804" y="1032"/>
                </a:lnTo>
                <a:lnTo>
                  <a:pt x="798" y="1026"/>
                </a:lnTo>
                <a:lnTo>
                  <a:pt x="780" y="1026"/>
                </a:lnTo>
                <a:lnTo>
                  <a:pt x="762" y="1026"/>
                </a:lnTo>
                <a:lnTo>
                  <a:pt x="756" y="1026"/>
                </a:lnTo>
                <a:lnTo>
                  <a:pt x="750" y="1026"/>
                </a:lnTo>
                <a:lnTo>
                  <a:pt x="756" y="1020"/>
                </a:lnTo>
                <a:lnTo>
                  <a:pt x="750" y="1020"/>
                </a:lnTo>
                <a:lnTo>
                  <a:pt x="744" y="1014"/>
                </a:lnTo>
                <a:lnTo>
                  <a:pt x="684" y="1020"/>
                </a:lnTo>
                <a:lnTo>
                  <a:pt x="648" y="1020"/>
                </a:lnTo>
                <a:lnTo>
                  <a:pt x="630" y="1020"/>
                </a:lnTo>
                <a:lnTo>
                  <a:pt x="618" y="1020"/>
                </a:lnTo>
                <a:lnTo>
                  <a:pt x="606" y="1014"/>
                </a:lnTo>
                <a:lnTo>
                  <a:pt x="582" y="1014"/>
                </a:lnTo>
                <a:lnTo>
                  <a:pt x="576" y="1014"/>
                </a:lnTo>
                <a:lnTo>
                  <a:pt x="570" y="1014"/>
                </a:lnTo>
                <a:lnTo>
                  <a:pt x="564" y="1020"/>
                </a:lnTo>
                <a:lnTo>
                  <a:pt x="558" y="1026"/>
                </a:lnTo>
                <a:lnTo>
                  <a:pt x="552" y="1032"/>
                </a:lnTo>
                <a:lnTo>
                  <a:pt x="552" y="1038"/>
                </a:lnTo>
                <a:lnTo>
                  <a:pt x="558" y="1194"/>
                </a:lnTo>
                <a:lnTo>
                  <a:pt x="558" y="1206"/>
                </a:lnTo>
                <a:lnTo>
                  <a:pt x="552" y="1218"/>
                </a:lnTo>
                <a:lnTo>
                  <a:pt x="552" y="1236"/>
                </a:lnTo>
                <a:lnTo>
                  <a:pt x="546" y="1272"/>
                </a:lnTo>
                <a:lnTo>
                  <a:pt x="546" y="1308"/>
                </a:lnTo>
                <a:lnTo>
                  <a:pt x="540" y="1332"/>
                </a:lnTo>
                <a:lnTo>
                  <a:pt x="546" y="1356"/>
                </a:lnTo>
                <a:lnTo>
                  <a:pt x="546" y="1362"/>
                </a:lnTo>
                <a:lnTo>
                  <a:pt x="546" y="1374"/>
                </a:lnTo>
                <a:lnTo>
                  <a:pt x="546" y="1380"/>
                </a:lnTo>
                <a:lnTo>
                  <a:pt x="540" y="1380"/>
                </a:lnTo>
                <a:lnTo>
                  <a:pt x="522" y="1380"/>
                </a:lnTo>
                <a:lnTo>
                  <a:pt x="516" y="1380"/>
                </a:lnTo>
                <a:lnTo>
                  <a:pt x="516" y="1386"/>
                </a:lnTo>
                <a:lnTo>
                  <a:pt x="516" y="1392"/>
                </a:lnTo>
                <a:lnTo>
                  <a:pt x="510" y="1392"/>
                </a:lnTo>
                <a:lnTo>
                  <a:pt x="504" y="1386"/>
                </a:lnTo>
                <a:lnTo>
                  <a:pt x="498" y="1392"/>
                </a:lnTo>
                <a:lnTo>
                  <a:pt x="492" y="1398"/>
                </a:lnTo>
                <a:lnTo>
                  <a:pt x="486" y="1398"/>
                </a:lnTo>
                <a:lnTo>
                  <a:pt x="486" y="1392"/>
                </a:lnTo>
                <a:lnTo>
                  <a:pt x="486" y="1380"/>
                </a:lnTo>
                <a:lnTo>
                  <a:pt x="486" y="1374"/>
                </a:lnTo>
                <a:lnTo>
                  <a:pt x="480" y="1374"/>
                </a:lnTo>
                <a:lnTo>
                  <a:pt x="474" y="1374"/>
                </a:lnTo>
                <a:lnTo>
                  <a:pt x="468" y="1380"/>
                </a:lnTo>
                <a:lnTo>
                  <a:pt x="462" y="1380"/>
                </a:lnTo>
                <a:lnTo>
                  <a:pt x="456" y="1380"/>
                </a:lnTo>
                <a:lnTo>
                  <a:pt x="450" y="1386"/>
                </a:lnTo>
                <a:lnTo>
                  <a:pt x="444" y="1386"/>
                </a:lnTo>
                <a:lnTo>
                  <a:pt x="444" y="1392"/>
                </a:lnTo>
                <a:lnTo>
                  <a:pt x="432" y="1398"/>
                </a:lnTo>
                <a:lnTo>
                  <a:pt x="426" y="1404"/>
                </a:lnTo>
                <a:lnTo>
                  <a:pt x="420" y="1404"/>
                </a:lnTo>
                <a:lnTo>
                  <a:pt x="408" y="1404"/>
                </a:lnTo>
                <a:lnTo>
                  <a:pt x="378" y="1410"/>
                </a:lnTo>
                <a:lnTo>
                  <a:pt x="372" y="1410"/>
                </a:lnTo>
                <a:lnTo>
                  <a:pt x="360" y="1410"/>
                </a:lnTo>
                <a:lnTo>
                  <a:pt x="354" y="1416"/>
                </a:lnTo>
                <a:lnTo>
                  <a:pt x="348" y="1416"/>
                </a:lnTo>
                <a:lnTo>
                  <a:pt x="342" y="1410"/>
                </a:lnTo>
                <a:lnTo>
                  <a:pt x="336" y="1410"/>
                </a:lnTo>
                <a:lnTo>
                  <a:pt x="336" y="1416"/>
                </a:lnTo>
                <a:lnTo>
                  <a:pt x="330" y="1422"/>
                </a:lnTo>
                <a:lnTo>
                  <a:pt x="324" y="1422"/>
                </a:lnTo>
                <a:lnTo>
                  <a:pt x="318" y="1422"/>
                </a:lnTo>
                <a:lnTo>
                  <a:pt x="312" y="1428"/>
                </a:lnTo>
                <a:lnTo>
                  <a:pt x="312" y="1434"/>
                </a:lnTo>
                <a:lnTo>
                  <a:pt x="300" y="1428"/>
                </a:lnTo>
                <a:lnTo>
                  <a:pt x="288" y="1434"/>
                </a:lnTo>
                <a:lnTo>
                  <a:pt x="282" y="1440"/>
                </a:lnTo>
                <a:lnTo>
                  <a:pt x="282" y="1446"/>
                </a:lnTo>
                <a:lnTo>
                  <a:pt x="276" y="1446"/>
                </a:lnTo>
                <a:lnTo>
                  <a:pt x="276" y="1452"/>
                </a:lnTo>
                <a:lnTo>
                  <a:pt x="270" y="1452"/>
                </a:lnTo>
                <a:lnTo>
                  <a:pt x="258" y="1464"/>
                </a:lnTo>
                <a:lnTo>
                  <a:pt x="240" y="1458"/>
                </a:lnTo>
                <a:lnTo>
                  <a:pt x="234" y="1452"/>
                </a:lnTo>
                <a:lnTo>
                  <a:pt x="234" y="1446"/>
                </a:lnTo>
                <a:lnTo>
                  <a:pt x="228" y="1446"/>
                </a:lnTo>
                <a:lnTo>
                  <a:pt x="222" y="1440"/>
                </a:lnTo>
                <a:lnTo>
                  <a:pt x="216" y="1440"/>
                </a:lnTo>
                <a:lnTo>
                  <a:pt x="210" y="1428"/>
                </a:lnTo>
                <a:lnTo>
                  <a:pt x="210" y="1422"/>
                </a:lnTo>
                <a:lnTo>
                  <a:pt x="198" y="1416"/>
                </a:lnTo>
                <a:lnTo>
                  <a:pt x="204" y="1410"/>
                </a:lnTo>
                <a:lnTo>
                  <a:pt x="210" y="1404"/>
                </a:lnTo>
                <a:lnTo>
                  <a:pt x="210" y="1398"/>
                </a:lnTo>
                <a:lnTo>
                  <a:pt x="252" y="1368"/>
                </a:lnTo>
                <a:lnTo>
                  <a:pt x="276" y="1350"/>
                </a:lnTo>
                <a:lnTo>
                  <a:pt x="300" y="1338"/>
                </a:lnTo>
                <a:lnTo>
                  <a:pt x="294" y="1314"/>
                </a:lnTo>
                <a:lnTo>
                  <a:pt x="288" y="1308"/>
                </a:lnTo>
                <a:lnTo>
                  <a:pt x="300" y="1266"/>
                </a:lnTo>
                <a:lnTo>
                  <a:pt x="300" y="1242"/>
                </a:lnTo>
                <a:lnTo>
                  <a:pt x="300" y="1206"/>
                </a:lnTo>
                <a:lnTo>
                  <a:pt x="300" y="1164"/>
                </a:lnTo>
                <a:lnTo>
                  <a:pt x="294" y="1134"/>
                </a:lnTo>
                <a:lnTo>
                  <a:pt x="282" y="1086"/>
                </a:lnTo>
                <a:lnTo>
                  <a:pt x="276" y="1074"/>
                </a:lnTo>
                <a:lnTo>
                  <a:pt x="276" y="1056"/>
                </a:lnTo>
                <a:lnTo>
                  <a:pt x="270" y="1038"/>
                </a:lnTo>
                <a:lnTo>
                  <a:pt x="270" y="1020"/>
                </a:lnTo>
                <a:lnTo>
                  <a:pt x="282" y="1020"/>
                </a:lnTo>
                <a:lnTo>
                  <a:pt x="282" y="1014"/>
                </a:lnTo>
                <a:lnTo>
                  <a:pt x="288" y="1008"/>
                </a:lnTo>
                <a:lnTo>
                  <a:pt x="294" y="1002"/>
                </a:lnTo>
                <a:lnTo>
                  <a:pt x="306" y="996"/>
                </a:lnTo>
                <a:lnTo>
                  <a:pt x="312" y="990"/>
                </a:lnTo>
                <a:lnTo>
                  <a:pt x="318" y="990"/>
                </a:lnTo>
                <a:lnTo>
                  <a:pt x="324" y="984"/>
                </a:lnTo>
                <a:lnTo>
                  <a:pt x="324" y="978"/>
                </a:lnTo>
                <a:lnTo>
                  <a:pt x="324" y="972"/>
                </a:lnTo>
                <a:lnTo>
                  <a:pt x="324" y="954"/>
                </a:lnTo>
                <a:lnTo>
                  <a:pt x="336" y="948"/>
                </a:lnTo>
                <a:lnTo>
                  <a:pt x="342" y="936"/>
                </a:lnTo>
                <a:lnTo>
                  <a:pt x="348" y="924"/>
                </a:lnTo>
                <a:lnTo>
                  <a:pt x="354" y="924"/>
                </a:lnTo>
                <a:lnTo>
                  <a:pt x="372" y="924"/>
                </a:lnTo>
                <a:lnTo>
                  <a:pt x="372" y="930"/>
                </a:lnTo>
                <a:lnTo>
                  <a:pt x="378" y="930"/>
                </a:lnTo>
                <a:lnTo>
                  <a:pt x="378" y="936"/>
                </a:lnTo>
                <a:lnTo>
                  <a:pt x="384" y="936"/>
                </a:lnTo>
                <a:lnTo>
                  <a:pt x="384" y="942"/>
                </a:lnTo>
                <a:lnTo>
                  <a:pt x="402" y="942"/>
                </a:lnTo>
                <a:lnTo>
                  <a:pt x="402" y="996"/>
                </a:lnTo>
                <a:lnTo>
                  <a:pt x="414" y="996"/>
                </a:lnTo>
                <a:lnTo>
                  <a:pt x="420" y="996"/>
                </a:lnTo>
                <a:lnTo>
                  <a:pt x="426" y="996"/>
                </a:lnTo>
                <a:lnTo>
                  <a:pt x="432" y="996"/>
                </a:lnTo>
                <a:lnTo>
                  <a:pt x="438" y="996"/>
                </a:lnTo>
                <a:lnTo>
                  <a:pt x="438" y="942"/>
                </a:lnTo>
                <a:lnTo>
                  <a:pt x="444" y="930"/>
                </a:lnTo>
                <a:lnTo>
                  <a:pt x="444" y="924"/>
                </a:lnTo>
                <a:lnTo>
                  <a:pt x="444" y="918"/>
                </a:lnTo>
                <a:lnTo>
                  <a:pt x="462" y="918"/>
                </a:lnTo>
                <a:lnTo>
                  <a:pt x="474" y="906"/>
                </a:lnTo>
                <a:lnTo>
                  <a:pt x="480" y="900"/>
                </a:lnTo>
                <a:lnTo>
                  <a:pt x="486" y="888"/>
                </a:lnTo>
                <a:lnTo>
                  <a:pt x="492" y="876"/>
                </a:lnTo>
                <a:lnTo>
                  <a:pt x="492" y="858"/>
                </a:lnTo>
                <a:lnTo>
                  <a:pt x="480" y="858"/>
                </a:lnTo>
                <a:lnTo>
                  <a:pt x="474" y="840"/>
                </a:lnTo>
                <a:lnTo>
                  <a:pt x="450" y="834"/>
                </a:lnTo>
                <a:lnTo>
                  <a:pt x="438" y="816"/>
                </a:lnTo>
                <a:lnTo>
                  <a:pt x="432" y="792"/>
                </a:lnTo>
                <a:lnTo>
                  <a:pt x="432" y="786"/>
                </a:lnTo>
                <a:lnTo>
                  <a:pt x="432" y="774"/>
                </a:lnTo>
                <a:lnTo>
                  <a:pt x="432" y="762"/>
                </a:lnTo>
                <a:lnTo>
                  <a:pt x="438" y="750"/>
                </a:lnTo>
                <a:lnTo>
                  <a:pt x="438" y="738"/>
                </a:lnTo>
                <a:lnTo>
                  <a:pt x="444" y="732"/>
                </a:lnTo>
                <a:lnTo>
                  <a:pt x="450" y="732"/>
                </a:lnTo>
                <a:lnTo>
                  <a:pt x="456" y="732"/>
                </a:lnTo>
                <a:lnTo>
                  <a:pt x="456" y="726"/>
                </a:lnTo>
                <a:lnTo>
                  <a:pt x="456" y="714"/>
                </a:lnTo>
                <a:lnTo>
                  <a:pt x="450" y="702"/>
                </a:lnTo>
                <a:lnTo>
                  <a:pt x="450" y="696"/>
                </a:lnTo>
                <a:lnTo>
                  <a:pt x="444" y="684"/>
                </a:lnTo>
                <a:lnTo>
                  <a:pt x="438" y="666"/>
                </a:lnTo>
                <a:lnTo>
                  <a:pt x="426" y="666"/>
                </a:lnTo>
                <a:lnTo>
                  <a:pt x="432" y="666"/>
                </a:lnTo>
                <a:lnTo>
                  <a:pt x="420" y="666"/>
                </a:lnTo>
                <a:lnTo>
                  <a:pt x="414" y="660"/>
                </a:lnTo>
                <a:lnTo>
                  <a:pt x="396" y="654"/>
                </a:lnTo>
                <a:lnTo>
                  <a:pt x="384" y="642"/>
                </a:lnTo>
                <a:lnTo>
                  <a:pt x="366" y="624"/>
                </a:lnTo>
                <a:lnTo>
                  <a:pt x="354" y="606"/>
                </a:lnTo>
                <a:lnTo>
                  <a:pt x="342" y="588"/>
                </a:lnTo>
                <a:lnTo>
                  <a:pt x="342" y="582"/>
                </a:lnTo>
                <a:lnTo>
                  <a:pt x="360" y="564"/>
                </a:lnTo>
                <a:lnTo>
                  <a:pt x="372" y="540"/>
                </a:lnTo>
                <a:lnTo>
                  <a:pt x="366" y="528"/>
                </a:lnTo>
                <a:lnTo>
                  <a:pt x="366" y="522"/>
                </a:lnTo>
                <a:lnTo>
                  <a:pt x="372" y="516"/>
                </a:lnTo>
                <a:lnTo>
                  <a:pt x="384" y="504"/>
                </a:lnTo>
                <a:lnTo>
                  <a:pt x="378" y="492"/>
                </a:lnTo>
                <a:lnTo>
                  <a:pt x="378" y="486"/>
                </a:lnTo>
                <a:lnTo>
                  <a:pt x="378" y="480"/>
                </a:lnTo>
                <a:lnTo>
                  <a:pt x="378" y="474"/>
                </a:lnTo>
                <a:lnTo>
                  <a:pt x="378" y="468"/>
                </a:lnTo>
                <a:lnTo>
                  <a:pt x="366" y="468"/>
                </a:lnTo>
                <a:lnTo>
                  <a:pt x="360" y="474"/>
                </a:lnTo>
                <a:lnTo>
                  <a:pt x="354" y="480"/>
                </a:lnTo>
                <a:lnTo>
                  <a:pt x="348" y="486"/>
                </a:lnTo>
                <a:lnTo>
                  <a:pt x="348" y="492"/>
                </a:lnTo>
                <a:lnTo>
                  <a:pt x="336" y="510"/>
                </a:lnTo>
                <a:lnTo>
                  <a:pt x="300" y="516"/>
                </a:lnTo>
                <a:lnTo>
                  <a:pt x="300" y="510"/>
                </a:lnTo>
                <a:lnTo>
                  <a:pt x="282" y="504"/>
                </a:lnTo>
                <a:lnTo>
                  <a:pt x="282" y="498"/>
                </a:lnTo>
                <a:lnTo>
                  <a:pt x="264" y="486"/>
                </a:lnTo>
                <a:lnTo>
                  <a:pt x="258" y="492"/>
                </a:lnTo>
                <a:lnTo>
                  <a:pt x="234" y="492"/>
                </a:lnTo>
                <a:lnTo>
                  <a:pt x="222" y="486"/>
                </a:lnTo>
                <a:lnTo>
                  <a:pt x="204" y="480"/>
                </a:lnTo>
                <a:lnTo>
                  <a:pt x="198" y="474"/>
                </a:lnTo>
                <a:lnTo>
                  <a:pt x="192" y="474"/>
                </a:lnTo>
                <a:lnTo>
                  <a:pt x="192" y="462"/>
                </a:lnTo>
                <a:lnTo>
                  <a:pt x="186" y="462"/>
                </a:lnTo>
                <a:lnTo>
                  <a:pt x="180" y="468"/>
                </a:lnTo>
                <a:lnTo>
                  <a:pt x="150" y="450"/>
                </a:lnTo>
                <a:lnTo>
                  <a:pt x="144" y="438"/>
                </a:lnTo>
                <a:lnTo>
                  <a:pt x="138" y="438"/>
                </a:lnTo>
                <a:lnTo>
                  <a:pt x="132" y="432"/>
                </a:lnTo>
                <a:lnTo>
                  <a:pt x="126" y="432"/>
                </a:lnTo>
                <a:lnTo>
                  <a:pt x="120" y="432"/>
                </a:lnTo>
                <a:lnTo>
                  <a:pt x="102" y="426"/>
                </a:lnTo>
                <a:lnTo>
                  <a:pt x="96" y="420"/>
                </a:lnTo>
                <a:lnTo>
                  <a:pt x="90" y="414"/>
                </a:lnTo>
                <a:lnTo>
                  <a:pt x="84" y="414"/>
                </a:lnTo>
                <a:lnTo>
                  <a:pt x="72" y="414"/>
                </a:lnTo>
                <a:lnTo>
                  <a:pt x="60" y="414"/>
                </a:lnTo>
                <a:lnTo>
                  <a:pt x="30" y="414"/>
                </a:lnTo>
                <a:lnTo>
                  <a:pt x="24" y="414"/>
                </a:lnTo>
                <a:lnTo>
                  <a:pt x="12" y="414"/>
                </a:lnTo>
                <a:lnTo>
                  <a:pt x="0" y="420"/>
                </a:lnTo>
                <a:lnTo>
                  <a:pt x="0" y="360"/>
                </a:lnTo>
                <a:lnTo>
                  <a:pt x="0" y="354"/>
                </a:lnTo>
                <a:lnTo>
                  <a:pt x="0" y="336"/>
                </a:lnTo>
                <a:lnTo>
                  <a:pt x="0" y="288"/>
                </a:lnTo>
                <a:lnTo>
                  <a:pt x="0" y="282"/>
                </a:lnTo>
                <a:lnTo>
                  <a:pt x="0" y="276"/>
                </a:lnTo>
                <a:lnTo>
                  <a:pt x="0" y="270"/>
                </a:lnTo>
                <a:lnTo>
                  <a:pt x="30" y="270"/>
                </a:lnTo>
                <a:lnTo>
                  <a:pt x="42" y="270"/>
                </a:lnTo>
                <a:lnTo>
                  <a:pt x="54" y="264"/>
                </a:lnTo>
                <a:lnTo>
                  <a:pt x="78" y="240"/>
                </a:lnTo>
                <a:lnTo>
                  <a:pt x="102" y="216"/>
                </a:lnTo>
                <a:lnTo>
                  <a:pt x="114" y="210"/>
                </a:lnTo>
                <a:lnTo>
                  <a:pt x="120" y="204"/>
                </a:lnTo>
                <a:lnTo>
                  <a:pt x="126" y="198"/>
                </a:lnTo>
                <a:lnTo>
                  <a:pt x="138" y="186"/>
                </a:lnTo>
                <a:lnTo>
                  <a:pt x="174" y="156"/>
                </a:lnTo>
                <a:lnTo>
                  <a:pt x="180" y="150"/>
                </a:lnTo>
                <a:lnTo>
                  <a:pt x="192" y="138"/>
                </a:lnTo>
                <a:lnTo>
                  <a:pt x="210" y="126"/>
                </a:lnTo>
                <a:lnTo>
                  <a:pt x="216" y="120"/>
                </a:lnTo>
                <a:lnTo>
                  <a:pt x="222" y="120"/>
                </a:lnTo>
                <a:lnTo>
                  <a:pt x="258" y="114"/>
                </a:lnTo>
                <a:lnTo>
                  <a:pt x="270" y="108"/>
                </a:lnTo>
                <a:lnTo>
                  <a:pt x="282" y="108"/>
                </a:lnTo>
                <a:lnTo>
                  <a:pt x="288" y="108"/>
                </a:lnTo>
                <a:lnTo>
                  <a:pt x="294" y="108"/>
                </a:lnTo>
                <a:lnTo>
                  <a:pt x="300" y="102"/>
                </a:lnTo>
                <a:lnTo>
                  <a:pt x="312" y="102"/>
                </a:lnTo>
                <a:lnTo>
                  <a:pt x="318" y="102"/>
                </a:lnTo>
                <a:lnTo>
                  <a:pt x="348" y="96"/>
                </a:lnTo>
                <a:lnTo>
                  <a:pt x="366" y="90"/>
                </a:lnTo>
                <a:lnTo>
                  <a:pt x="384" y="90"/>
                </a:lnTo>
                <a:lnTo>
                  <a:pt x="390" y="90"/>
                </a:lnTo>
                <a:lnTo>
                  <a:pt x="396" y="84"/>
                </a:lnTo>
                <a:lnTo>
                  <a:pt x="408" y="84"/>
                </a:lnTo>
                <a:lnTo>
                  <a:pt x="420" y="84"/>
                </a:lnTo>
                <a:lnTo>
                  <a:pt x="462" y="72"/>
                </a:lnTo>
                <a:lnTo>
                  <a:pt x="474" y="72"/>
                </a:lnTo>
                <a:lnTo>
                  <a:pt x="474" y="78"/>
                </a:lnTo>
                <a:lnTo>
                  <a:pt x="492" y="90"/>
                </a:lnTo>
                <a:lnTo>
                  <a:pt x="498" y="90"/>
                </a:lnTo>
                <a:lnTo>
                  <a:pt x="522" y="96"/>
                </a:lnTo>
                <a:lnTo>
                  <a:pt x="540" y="96"/>
                </a:lnTo>
                <a:lnTo>
                  <a:pt x="546" y="96"/>
                </a:lnTo>
                <a:lnTo>
                  <a:pt x="558" y="96"/>
                </a:lnTo>
                <a:lnTo>
                  <a:pt x="564" y="96"/>
                </a:lnTo>
                <a:lnTo>
                  <a:pt x="576" y="96"/>
                </a:lnTo>
                <a:lnTo>
                  <a:pt x="588" y="96"/>
                </a:lnTo>
                <a:lnTo>
                  <a:pt x="612" y="90"/>
                </a:lnTo>
                <a:lnTo>
                  <a:pt x="624" y="90"/>
                </a:lnTo>
                <a:lnTo>
                  <a:pt x="636" y="90"/>
                </a:lnTo>
                <a:lnTo>
                  <a:pt x="642" y="90"/>
                </a:lnTo>
                <a:lnTo>
                  <a:pt x="648" y="96"/>
                </a:lnTo>
                <a:lnTo>
                  <a:pt x="660" y="96"/>
                </a:lnTo>
                <a:lnTo>
                  <a:pt x="666" y="96"/>
                </a:lnTo>
                <a:lnTo>
                  <a:pt x="672" y="96"/>
                </a:lnTo>
                <a:lnTo>
                  <a:pt x="684" y="96"/>
                </a:lnTo>
                <a:lnTo>
                  <a:pt x="708" y="96"/>
                </a:lnTo>
                <a:lnTo>
                  <a:pt x="714" y="96"/>
                </a:lnTo>
                <a:lnTo>
                  <a:pt x="726" y="96"/>
                </a:lnTo>
                <a:lnTo>
                  <a:pt x="738" y="84"/>
                </a:lnTo>
                <a:lnTo>
                  <a:pt x="744" y="78"/>
                </a:lnTo>
                <a:lnTo>
                  <a:pt x="756" y="66"/>
                </a:lnTo>
                <a:lnTo>
                  <a:pt x="774" y="42"/>
                </a:lnTo>
                <a:lnTo>
                  <a:pt x="780" y="30"/>
                </a:lnTo>
                <a:lnTo>
                  <a:pt x="816" y="24"/>
                </a:lnTo>
                <a:lnTo>
                  <a:pt x="840" y="18"/>
                </a:lnTo>
                <a:lnTo>
                  <a:pt x="840" y="12"/>
                </a:lnTo>
                <a:lnTo>
                  <a:pt x="846" y="12"/>
                </a:lnTo>
                <a:lnTo>
                  <a:pt x="852" y="12"/>
                </a:lnTo>
                <a:lnTo>
                  <a:pt x="864" y="6"/>
                </a:lnTo>
                <a:lnTo>
                  <a:pt x="870" y="6"/>
                </a:lnTo>
                <a:lnTo>
                  <a:pt x="894" y="0"/>
                </a:lnTo>
                <a:lnTo>
                  <a:pt x="900" y="6"/>
                </a:lnTo>
                <a:lnTo>
                  <a:pt x="930" y="18"/>
                </a:lnTo>
                <a:lnTo>
                  <a:pt x="942" y="24"/>
                </a:lnTo>
                <a:lnTo>
                  <a:pt x="954" y="30"/>
                </a:lnTo>
                <a:lnTo>
                  <a:pt x="1026" y="60"/>
                </a:lnTo>
                <a:lnTo>
                  <a:pt x="1032" y="60"/>
                </a:lnTo>
                <a:lnTo>
                  <a:pt x="1038" y="66"/>
                </a:lnTo>
                <a:lnTo>
                  <a:pt x="1068" y="72"/>
                </a:lnTo>
                <a:lnTo>
                  <a:pt x="1098" y="84"/>
                </a:lnTo>
                <a:lnTo>
                  <a:pt x="1122" y="90"/>
                </a:lnTo>
                <a:lnTo>
                  <a:pt x="1122" y="96"/>
                </a:lnTo>
                <a:lnTo>
                  <a:pt x="1140" y="102"/>
                </a:lnTo>
                <a:lnTo>
                  <a:pt x="1182" y="114"/>
                </a:lnTo>
                <a:lnTo>
                  <a:pt x="1188" y="114"/>
                </a:lnTo>
                <a:lnTo>
                  <a:pt x="1200" y="120"/>
                </a:lnTo>
                <a:lnTo>
                  <a:pt x="1212" y="126"/>
                </a:lnTo>
                <a:lnTo>
                  <a:pt x="1224" y="126"/>
                </a:lnTo>
                <a:lnTo>
                  <a:pt x="1248" y="138"/>
                </a:lnTo>
                <a:lnTo>
                  <a:pt x="1272" y="150"/>
                </a:lnTo>
                <a:lnTo>
                  <a:pt x="1284" y="156"/>
                </a:lnTo>
                <a:lnTo>
                  <a:pt x="1290" y="162"/>
                </a:lnTo>
                <a:lnTo>
                  <a:pt x="1296" y="162"/>
                </a:lnTo>
                <a:lnTo>
                  <a:pt x="1308" y="156"/>
                </a:lnTo>
                <a:lnTo>
                  <a:pt x="1320" y="150"/>
                </a:lnTo>
                <a:lnTo>
                  <a:pt x="1326" y="150"/>
                </a:lnTo>
                <a:lnTo>
                  <a:pt x="1338" y="144"/>
                </a:lnTo>
                <a:lnTo>
                  <a:pt x="1362" y="144"/>
                </a:lnTo>
                <a:lnTo>
                  <a:pt x="1368" y="144"/>
                </a:lnTo>
                <a:lnTo>
                  <a:pt x="1374" y="144"/>
                </a:lnTo>
                <a:lnTo>
                  <a:pt x="1386" y="150"/>
                </a:lnTo>
                <a:lnTo>
                  <a:pt x="1392" y="150"/>
                </a:lnTo>
                <a:lnTo>
                  <a:pt x="1398" y="150"/>
                </a:lnTo>
                <a:lnTo>
                  <a:pt x="1416" y="162"/>
                </a:lnTo>
                <a:lnTo>
                  <a:pt x="1458" y="186"/>
                </a:lnTo>
                <a:lnTo>
                  <a:pt x="1464" y="186"/>
                </a:lnTo>
                <a:lnTo>
                  <a:pt x="1470" y="192"/>
                </a:lnTo>
                <a:lnTo>
                  <a:pt x="1482" y="204"/>
                </a:lnTo>
                <a:lnTo>
                  <a:pt x="1512" y="234"/>
                </a:lnTo>
                <a:lnTo>
                  <a:pt x="1554" y="276"/>
                </a:lnTo>
                <a:lnTo>
                  <a:pt x="1560" y="276"/>
                </a:lnTo>
                <a:lnTo>
                  <a:pt x="1566" y="282"/>
                </a:lnTo>
                <a:lnTo>
                  <a:pt x="1578" y="294"/>
                </a:lnTo>
                <a:lnTo>
                  <a:pt x="1602" y="318"/>
                </a:lnTo>
                <a:lnTo>
                  <a:pt x="1614" y="330"/>
                </a:lnTo>
                <a:lnTo>
                  <a:pt x="1620" y="336"/>
                </a:lnTo>
                <a:lnTo>
                  <a:pt x="1626" y="342"/>
                </a:lnTo>
                <a:lnTo>
                  <a:pt x="1632" y="354"/>
                </a:lnTo>
                <a:lnTo>
                  <a:pt x="1644" y="366"/>
                </a:lnTo>
                <a:lnTo>
                  <a:pt x="1650" y="378"/>
                </a:lnTo>
                <a:lnTo>
                  <a:pt x="1650" y="384"/>
                </a:lnTo>
                <a:lnTo>
                  <a:pt x="1656" y="384"/>
                </a:lnTo>
                <a:lnTo>
                  <a:pt x="1662" y="402"/>
                </a:lnTo>
                <a:lnTo>
                  <a:pt x="1668" y="408"/>
                </a:lnTo>
                <a:lnTo>
                  <a:pt x="1674" y="426"/>
                </a:lnTo>
                <a:lnTo>
                  <a:pt x="1686" y="438"/>
                </a:lnTo>
                <a:lnTo>
                  <a:pt x="1698" y="462"/>
                </a:lnTo>
                <a:close/>
              </a:path>
            </a:pathLst>
          </a:custGeom>
          <a:solidFill>
            <a:srgbClr val="CD202C"/>
          </a:solidFill>
          <a:ln w="9525">
            <a:solidFill>
              <a:schemeClr val="bg1"/>
            </a:solidFill>
            <a:round/>
            <a:headEnd/>
            <a:tailEnd/>
          </a:ln>
        </p:spPr>
        <p:txBody>
          <a:bodyPr/>
          <a:lstStyle/>
          <a:p>
            <a:endParaRPr lang="en-GB"/>
          </a:p>
        </p:txBody>
      </p:sp>
      <p:sp>
        <p:nvSpPr>
          <p:cNvPr id="18472" name="Freeform 35"/>
          <p:cNvSpPr>
            <a:spLocks/>
          </p:cNvSpPr>
          <p:nvPr/>
        </p:nvSpPr>
        <p:spPr bwMode="gray">
          <a:xfrm>
            <a:off x="1836738" y="1836738"/>
            <a:ext cx="1282700" cy="1608137"/>
          </a:xfrm>
          <a:custGeom>
            <a:avLst/>
            <a:gdLst>
              <a:gd name="T0" fmla="*/ 3132 w 1638"/>
              <a:gd name="T1" fmla="*/ 89347 h 1998"/>
              <a:gd name="T2" fmla="*/ 4698 w 1638"/>
              <a:gd name="T3" fmla="*/ 70029 h 1998"/>
              <a:gd name="T4" fmla="*/ 7830 w 1638"/>
              <a:gd name="T5" fmla="*/ 64394 h 1998"/>
              <a:gd name="T6" fmla="*/ 7830 w 1638"/>
              <a:gd name="T7" fmla="*/ 57150 h 1998"/>
              <a:gd name="T8" fmla="*/ 7047 w 1638"/>
              <a:gd name="T9" fmla="*/ 45076 h 1998"/>
              <a:gd name="T10" fmla="*/ 6264 w 1638"/>
              <a:gd name="T11" fmla="*/ 32197 h 1998"/>
              <a:gd name="T12" fmla="*/ 15661 w 1638"/>
              <a:gd name="T13" fmla="*/ 24148 h 1998"/>
              <a:gd name="T14" fmla="*/ 23491 w 1638"/>
              <a:gd name="T15" fmla="*/ 15294 h 1998"/>
              <a:gd name="T16" fmla="*/ 27406 w 1638"/>
              <a:gd name="T17" fmla="*/ 1610 h 1998"/>
              <a:gd name="T18" fmla="*/ 36802 w 1638"/>
              <a:gd name="T19" fmla="*/ 1610 h 1998"/>
              <a:gd name="T20" fmla="*/ 43850 w 1638"/>
              <a:gd name="T21" fmla="*/ 5634 h 1998"/>
              <a:gd name="T22" fmla="*/ 52463 w 1638"/>
              <a:gd name="T23" fmla="*/ 4025 h 1998"/>
              <a:gd name="T24" fmla="*/ 50897 w 1638"/>
              <a:gd name="T25" fmla="*/ 12074 h 1998"/>
              <a:gd name="T26" fmla="*/ 57944 w 1638"/>
              <a:gd name="T27" fmla="*/ 19318 h 1998"/>
              <a:gd name="T28" fmla="*/ 57161 w 1638"/>
              <a:gd name="T29" fmla="*/ 26563 h 1998"/>
              <a:gd name="T30" fmla="*/ 57944 w 1638"/>
              <a:gd name="T31" fmla="*/ 35417 h 1998"/>
              <a:gd name="T32" fmla="*/ 53246 w 1638"/>
              <a:gd name="T33" fmla="*/ 36222 h 1998"/>
              <a:gd name="T34" fmla="*/ 49331 w 1638"/>
              <a:gd name="T35" fmla="*/ 40246 h 1998"/>
              <a:gd name="T36" fmla="*/ 47765 w 1638"/>
              <a:gd name="T37" fmla="*/ 49906 h 1998"/>
              <a:gd name="T38" fmla="*/ 41501 w 1638"/>
              <a:gd name="T39" fmla="*/ 69224 h 1998"/>
              <a:gd name="T40" fmla="*/ 46199 w 1638"/>
              <a:gd name="T41" fmla="*/ 72444 h 1998"/>
              <a:gd name="T42" fmla="*/ 50897 w 1638"/>
              <a:gd name="T43" fmla="*/ 69224 h 1998"/>
              <a:gd name="T44" fmla="*/ 57944 w 1638"/>
              <a:gd name="T45" fmla="*/ 67614 h 1998"/>
              <a:gd name="T46" fmla="*/ 61860 w 1638"/>
              <a:gd name="T47" fmla="*/ 68419 h 1998"/>
              <a:gd name="T48" fmla="*/ 65775 w 1638"/>
              <a:gd name="T49" fmla="*/ 67614 h 1998"/>
              <a:gd name="T50" fmla="*/ 71256 w 1638"/>
              <a:gd name="T51" fmla="*/ 67614 h 1998"/>
              <a:gd name="T52" fmla="*/ 73605 w 1638"/>
              <a:gd name="T53" fmla="*/ 65199 h 1998"/>
              <a:gd name="T54" fmla="*/ 78303 w 1638"/>
              <a:gd name="T55" fmla="*/ 65199 h 1998"/>
              <a:gd name="T56" fmla="*/ 79869 w 1638"/>
              <a:gd name="T57" fmla="*/ 67614 h 1998"/>
              <a:gd name="T58" fmla="*/ 84567 w 1638"/>
              <a:gd name="T59" fmla="*/ 68419 h 1998"/>
              <a:gd name="T60" fmla="*/ 88483 w 1638"/>
              <a:gd name="T61" fmla="*/ 70834 h 1998"/>
              <a:gd name="T62" fmla="*/ 90832 w 1638"/>
              <a:gd name="T63" fmla="*/ 70834 h 1998"/>
              <a:gd name="T64" fmla="*/ 96313 w 1638"/>
              <a:gd name="T65" fmla="*/ 70029 h 1998"/>
              <a:gd name="T66" fmla="*/ 100228 w 1638"/>
              <a:gd name="T67" fmla="*/ 69224 h 1998"/>
              <a:gd name="T68" fmla="*/ 103360 w 1638"/>
              <a:gd name="T69" fmla="*/ 72444 h 1998"/>
              <a:gd name="T70" fmla="*/ 108058 w 1638"/>
              <a:gd name="T71" fmla="*/ 77273 h 1998"/>
              <a:gd name="T72" fmla="*/ 108058 w 1638"/>
              <a:gd name="T73" fmla="*/ 88542 h 1998"/>
              <a:gd name="T74" fmla="*/ 107275 w 1638"/>
              <a:gd name="T75" fmla="*/ 94982 h 1998"/>
              <a:gd name="T76" fmla="*/ 104143 w 1638"/>
              <a:gd name="T77" fmla="*/ 99811 h 1998"/>
              <a:gd name="T78" fmla="*/ 95530 w 1638"/>
              <a:gd name="T79" fmla="*/ 100616 h 1998"/>
              <a:gd name="T80" fmla="*/ 90832 w 1638"/>
              <a:gd name="T81" fmla="*/ 102226 h 1998"/>
              <a:gd name="T82" fmla="*/ 84567 w 1638"/>
              <a:gd name="T83" fmla="*/ 99006 h 1998"/>
              <a:gd name="T84" fmla="*/ 85350 w 1638"/>
              <a:gd name="T85" fmla="*/ 95786 h 1998"/>
              <a:gd name="T86" fmla="*/ 81435 w 1638"/>
              <a:gd name="T87" fmla="*/ 83713 h 1998"/>
              <a:gd name="T88" fmla="*/ 73605 w 1638"/>
              <a:gd name="T89" fmla="*/ 84517 h 1998"/>
              <a:gd name="T90" fmla="*/ 68907 w 1638"/>
              <a:gd name="T91" fmla="*/ 87737 h 1998"/>
              <a:gd name="T92" fmla="*/ 59510 w 1638"/>
              <a:gd name="T93" fmla="*/ 86127 h 1998"/>
              <a:gd name="T94" fmla="*/ 56378 w 1638"/>
              <a:gd name="T95" fmla="*/ 91762 h 1998"/>
              <a:gd name="T96" fmla="*/ 67341 w 1638"/>
              <a:gd name="T97" fmla="*/ 97396 h 1998"/>
              <a:gd name="T98" fmla="*/ 68124 w 1638"/>
              <a:gd name="T99" fmla="*/ 103836 h 1998"/>
              <a:gd name="T100" fmla="*/ 67341 w 1638"/>
              <a:gd name="T101" fmla="*/ 110275 h 1998"/>
              <a:gd name="T102" fmla="*/ 61860 w 1638"/>
              <a:gd name="T103" fmla="*/ 113495 h 1998"/>
              <a:gd name="T104" fmla="*/ 57161 w 1638"/>
              <a:gd name="T105" fmla="*/ 115910 h 1998"/>
              <a:gd name="T106" fmla="*/ 56378 w 1638"/>
              <a:gd name="T107" fmla="*/ 132008 h 1998"/>
              <a:gd name="T108" fmla="*/ 53246 w 1638"/>
              <a:gd name="T109" fmla="*/ 138448 h 1998"/>
              <a:gd name="T110" fmla="*/ 46199 w 1638"/>
              <a:gd name="T111" fmla="*/ 132008 h 1998"/>
              <a:gd name="T112" fmla="*/ 50897 w 1638"/>
              <a:gd name="T113" fmla="*/ 117520 h 1998"/>
              <a:gd name="T114" fmla="*/ 54029 w 1638"/>
              <a:gd name="T115" fmla="*/ 107056 h 1998"/>
              <a:gd name="T116" fmla="*/ 47765 w 1638"/>
              <a:gd name="T117" fmla="*/ 105446 h 1998"/>
              <a:gd name="T118" fmla="*/ 33670 w 1638"/>
              <a:gd name="T119" fmla="*/ 100616 h 1998"/>
              <a:gd name="T120" fmla="*/ 18010 w 1638"/>
              <a:gd name="T121" fmla="*/ 100616 h 1998"/>
              <a:gd name="T122" fmla="*/ 13312 w 1638"/>
              <a:gd name="T123" fmla="*/ 97396 h 19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38"/>
              <a:gd name="T187" fmla="*/ 0 h 1998"/>
              <a:gd name="T188" fmla="*/ 1638 w 1638"/>
              <a:gd name="T189" fmla="*/ 1998 h 19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38" h="1998">
                <a:moveTo>
                  <a:pt x="144" y="1380"/>
                </a:moveTo>
                <a:lnTo>
                  <a:pt x="150" y="1368"/>
                </a:lnTo>
                <a:lnTo>
                  <a:pt x="150" y="1362"/>
                </a:lnTo>
                <a:lnTo>
                  <a:pt x="150" y="1356"/>
                </a:lnTo>
                <a:lnTo>
                  <a:pt x="144" y="1356"/>
                </a:lnTo>
                <a:lnTo>
                  <a:pt x="138" y="1356"/>
                </a:lnTo>
                <a:lnTo>
                  <a:pt x="126" y="1356"/>
                </a:lnTo>
                <a:lnTo>
                  <a:pt x="114" y="1344"/>
                </a:lnTo>
                <a:lnTo>
                  <a:pt x="84" y="1320"/>
                </a:lnTo>
                <a:lnTo>
                  <a:pt x="54" y="1296"/>
                </a:lnTo>
                <a:lnTo>
                  <a:pt x="48" y="1290"/>
                </a:lnTo>
                <a:lnTo>
                  <a:pt x="42" y="1278"/>
                </a:lnTo>
                <a:lnTo>
                  <a:pt x="30" y="1272"/>
                </a:lnTo>
                <a:lnTo>
                  <a:pt x="0" y="1248"/>
                </a:lnTo>
                <a:lnTo>
                  <a:pt x="6" y="1230"/>
                </a:lnTo>
                <a:lnTo>
                  <a:pt x="12" y="1194"/>
                </a:lnTo>
                <a:lnTo>
                  <a:pt x="18" y="1170"/>
                </a:lnTo>
                <a:lnTo>
                  <a:pt x="30" y="1134"/>
                </a:lnTo>
                <a:lnTo>
                  <a:pt x="36" y="1086"/>
                </a:lnTo>
                <a:lnTo>
                  <a:pt x="42" y="1050"/>
                </a:lnTo>
                <a:lnTo>
                  <a:pt x="48" y="1044"/>
                </a:lnTo>
                <a:lnTo>
                  <a:pt x="54" y="1026"/>
                </a:lnTo>
                <a:lnTo>
                  <a:pt x="60" y="1014"/>
                </a:lnTo>
                <a:lnTo>
                  <a:pt x="66" y="1002"/>
                </a:lnTo>
                <a:lnTo>
                  <a:pt x="66" y="996"/>
                </a:lnTo>
                <a:lnTo>
                  <a:pt x="72" y="996"/>
                </a:lnTo>
                <a:lnTo>
                  <a:pt x="72" y="990"/>
                </a:lnTo>
                <a:lnTo>
                  <a:pt x="78" y="990"/>
                </a:lnTo>
                <a:lnTo>
                  <a:pt x="90" y="978"/>
                </a:lnTo>
                <a:lnTo>
                  <a:pt x="96" y="966"/>
                </a:lnTo>
                <a:lnTo>
                  <a:pt x="102" y="966"/>
                </a:lnTo>
                <a:lnTo>
                  <a:pt x="114" y="954"/>
                </a:lnTo>
                <a:lnTo>
                  <a:pt x="120" y="954"/>
                </a:lnTo>
                <a:lnTo>
                  <a:pt x="120" y="948"/>
                </a:lnTo>
                <a:lnTo>
                  <a:pt x="114" y="930"/>
                </a:lnTo>
                <a:lnTo>
                  <a:pt x="114" y="924"/>
                </a:lnTo>
                <a:lnTo>
                  <a:pt x="108" y="918"/>
                </a:lnTo>
                <a:lnTo>
                  <a:pt x="102" y="912"/>
                </a:lnTo>
                <a:lnTo>
                  <a:pt x="90" y="906"/>
                </a:lnTo>
                <a:lnTo>
                  <a:pt x="84" y="900"/>
                </a:lnTo>
                <a:lnTo>
                  <a:pt x="84" y="888"/>
                </a:lnTo>
                <a:lnTo>
                  <a:pt x="84" y="882"/>
                </a:lnTo>
                <a:lnTo>
                  <a:pt x="78" y="858"/>
                </a:lnTo>
                <a:lnTo>
                  <a:pt x="78" y="852"/>
                </a:lnTo>
                <a:lnTo>
                  <a:pt x="84" y="846"/>
                </a:lnTo>
                <a:lnTo>
                  <a:pt x="84" y="840"/>
                </a:lnTo>
                <a:lnTo>
                  <a:pt x="96" y="828"/>
                </a:lnTo>
                <a:lnTo>
                  <a:pt x="114" y="816"/>
                </a:lnTo>
                <a:lnTo>
                  <a:pt x="114" y="810"/>
                </a:lnTo>
                <a:lnTo>
                  <a:pt x="114" y="804"/>
                </a:lnTo>
                <a:lnTo>
                  <a:pt x="108" y="780"/>
                </a:lnTo>
                <a:lnTo>
                  <a:pt x="96" y="756"/>
                </a:lnTo>
                <a:lnTo>
                  <a:pt x="96" y="750"/>
                </a:lnTo>
                <a:lnTo>
                  <a:pt x="90" y="720"/>
                </a:lnTo>
                <a:lnTo>
                  <a:pt x="90" y="708"/>
                </a:lnTo>
                <a:lnTo>
                  <a:pt x="90" y="690"/>
                </a:lnTo>
                <a:lnTo>
                  <a:pt x="96" y="672"/>
                </a:lnTo>
                <a:lnTo>
                  <a:pt x="90" y="666"/>
                </a:lnTo>
                <a:lnTo>
                  <a:pt x="96" y="666"/>
                </a:lnTo>
                <a:lnTo>
                  <a:pt x="102" y="642"/>
                </a:lnTo>
                <a:lnTo>
                  <a:pt x="108" y="624"/>
                </a:lnTo>
                <a:lnTo>
                  <a:pt x="102" y="618"/>
                </a:lnTo>
                <a:lnTo>
                  <a:pt x="102" y="588"/>
                </a:lnTo>
                <a:lnTo>
                  <a:pt x="102" y="564"/>
                </a:lnTo>
                <a:lnTo>
                  <a:pt x="102" y="546"/>
                </a:lnTo>
                <a:lnTo>
                  <a:pt x="102" y="522"/>
                </a:lnTo>
                <a:lnTo>
                  <a:pt x="96" y="522"/>
                </a:lnTo>
                <a:lnTo>
                  <a:pt x="96" y="510"/>
                </a:lnTo>
                <a:lnTo>
                  <a:pt x="96" y="498"/>
                </a:lnTo>
                <a:lnTo>
                  <a:pt x="96" y="486"/>
                </a:lnTo>
                <a:lnTo>
                  <a:pt x="96" y="474"/>
                </a:lnTo>
                <a:lnTo>
                  <a:pt x="96" y="462"/>
                </a:lnTo>
                <a:lnTo>
                  <a:pt x="114" y="450"/>
                </a:lnTo>
                <a:lnTo>
                  <a:pt x="126" y="438"/>
                </a:lnTo>
                <a:lnTo>
                  <a:pt x="132" y="432"/>
                </a:lnTo>
                <a:lnTo>
                  <a:pt x="144" y="426"/>
                </a:lnTo>
                <a:lnTo>
                  <a:pt x="144" y="420"/>
                </a:lnTo>
                <a:lnTo>
                  <a:pt x="156" y="414"/>
                </a:lnTo>
                <a:lnTo>
                  <a:pt x="162" y="408"/>
                </a:lnTo>
                <a:lnTo>
                  <a:pt x="180" y="396"/>
                </a:lnTo>
                <a:lnTo>
                  <a:pt x="210" y="372"/>
                </a:lnTo>
                <a:lnTo>
                  <a:pt x="210" y="366"/>
                </a:lnTo>
                <a:lnTo>
                  <a:pt x="216" y="360"/>
                </a:lnTo>
                <a:lnTo>
                  <a:pt x="234" y="348"/>
                </a:lnTo>
                <a:lnTo>
                  <a:pt x="240" y="348"/>
                </a:lnTo>
                <a:lnTo>
                  <a:pt x="246" y="342"/>
                </a:lnTo>
                <a:lnTo>
                  <a:pt x="276" y="318"/>
                </a:lnTo>
                <a:lnTo>
                  <a:pt x="282" y="312"/>
                </a:lnTo>
                <a:lnTo>
                  <a:pt x="288" y="306"/>
                </a:lnTo>
                <a:lnTo>
                  <a:pt x="300" y="288"/>
                </a:lnTo>
                <a:lnTo>
                  <a:pt x="306" y="276"/>
                </a:lnTo>
                <a:lnTo>
                  <a:pt x="324" y="246"/>
                </a:lnTo>
                <a:lnTo>
                  <a:pt x="330" y="240"/>
                </a:lnTo>
                <a:lnTo>
                  <a:pt x="336" y="234"/>
                </a:lnTo>
                <a:lnTo>
                  <a:pt x="342" y="228"/>
                </a:lnTo>
                <a:lnTo>
                  <a:pt x="342" y="216"/>
                </a:lnTo>
                <a:lnTo>
                  <a:pt x="354" y="204"/>
                </a:lnTo>
                <a:lnTo>
                  <a:pt x="360" y="204"/>
                </a:lnTo>
                <a:lnTo>
                  <a:pt x="366" y="186"/>
                </a:lnTo>
                <a:lnTo>
                  <a:pt x="384" y="162"/>
                </a:lnTo>
                <a:lnTo>
                  <a:pt x="390" y="144"/>
                </a:lnTo>
                <a:lnTo>
                  <a:pt x="396" y="114"/>
                </a:lnTo>
                <a:lnTo>
                  <a:pt x="396" y="102"/>
                </a:lnTo>
                <a:lnTo>
                  <a:pt x="402" y="90"/>
                </a:lnTo>
                <a:lnTo>
                  <a:pt x="408" y="66"/>
                </a:lnTo>
                <a:lnTo>
                  <a:pt x="408" y="60"/>
                </a:lnTo>
                <a:lnTo>
                  <a:pt x="408" y="36"/>
                </a:lnTo>
                <a:lnTo>
                  <a:pt x="408" y="24"/>
                </a:lnTo>
                <a:lnTo>
                  <a:pt x="408" y="6"/>
                </a:lnTo>
                <a:lnTo>
                  <a:pt x="420" y="0"/>
                </a:lnTo>
                <a:lnTo>
                  <a:pt x="432" y="0"/>
                </a:lnTo>
                <a:lnTo>
                  <a:pt x="438" y="0"/>
                </a:lnTo>
                <a:lnTo>
                  <a:pt x="468" y="0"/>
                </a:lnTo>
                <a:lnTo>
                  <a:pt x="480" y="0"/>
                </a:lnTo>
                <a:lnTo>
                  <a:pt x="492" y="0"/>
                </a:lnTo>
                <a:lnTo>
                  <a:pt x="498" y="0"/>
                </a:lnTo>
                <a:lnTo>
                  <a:pt x="504" y="6"/>
                </a:lnTo>
                <a:lnTo>
                  <a:pt x="510" y="12"/>
                </a:lnTo>
                <a:lnTo>
                  <a:pt x="528" y="18"/>
                </a:lnTo>
                <a:lnTo>
                  <a:pt x="534" y="18"/>
                </a:lnTo>
                <a:lnTo>
                  <a:pt x="540" y="18"/>
                </a:lnTo>
                <a:lnTo>
                  <a:pt x="546" y="24"/>
                </a:lnTo>
                <a:lnTo>
                  <a:pt x="552" y="24"/>
                </a:lnTo>
                <a:lnTo>
                  <a:pt x="558" y="36"/>
                </a:lnTo>
                <a:lnTo>
                  <a:pt x="588" y="54"/>
                </a:lnTo>
                <a:lnTo>
                  <a:pt x="594" y="48"/>
                </a:lnTo>
                <a:lnTo>
                  <a:pt x="600" y="48"/>
                </a:lnTo>
                <a:lnTo>
                  <a:pt x="600" y="60"/>
                </a:lnTo>
                <a:lnTo>
                  <a:pt x="606" y="60"/>
                </a:lnTo>
                <a:lnTo>
                  <a:pt x="612" y="66"/>
                </a:lnTo>
                <a:lnTo>
                  <a:pt x="630" y="72"/>
                </a:lnTo>
                <a:lnTo>
                  <a:pt x="642" y="78"/>
                </a:lnTo>
                <a:lnTo>
                  <a:pt x="666" y="78"/>
                </a:lnTo>
                <a:lnTo>
                  <a:pt x="672" y="72"/>
                </a:lnTo>
                <a:lnTo>
                  <a:pt x="690" y="84"/>
                </a:lnTo>
                <a:lnTo>
                  <a:pt x="690" y="90"/>
                </a:lnTo>
                <a:lnTo>
                  <a:pt x="708" y="96"/>
                </a:lnTo>
                <a:lnTo>
                  <a:pt x="708" y="102"/>
                </a:lnTo>
                <a:lnTo>
                  <a:pt x="744" y="96"/>
                </a:lnTo>
                <a:lnTo>
                  <a:pt x="756" y="78"/>
                </a:lnTo>
                <a:lnTo>
                  <a:pt x="756" y="72"/>
                </a:lnTo>
                <a:lnTo>
                  <a:pt x="762" y="66"/>
                </a:lnTo>
                <a:lnTo>
                  <a:pt x="768" y="60"/>
                </a:lnTo>
                <a:lnTo>
                  <a:pt x="774" y="54"/>
                </a:lnTo>
                <a:lnTo>
                  <a:pt x="786" y="54"/>
                </a:lnTo>
                <a:lnTo>
                  <a:pt x="786" y="60"/>
                </a:lnTo>
                <a:lnTo>
                  <a:pt x="786" y="66"/>
                </a:lnTo>
                <a:lnTo>
                  <a:pt x="786" y="72"/>
                </a:lnTo>
                <a:lnTo>
                  <a:pt x="786" y="78"/>
                </a:lnTo>
                <a:lnTo>
                  <a:pt x="792" y="90"/>
                </a:lnTo>
                <a:lnTo>
                  <a:pt x="780" y="102"/>
                </a:lnTo>
                <a:lnTo>
                  <a:pt x="774" y="108"/>
                </a:lnTo>
                <a:lnTo>
                  <a:pt x="774" y="114"/>
                </a:lnTo>
                <a:lnTo>
                  <a:pt x="780" y="126"/>
                </a:lnTo>
                <a:lnTo>
                  <a:pt x="768" y="150"/>
                </a:lnTo>
                <a:lnTo>
                  <a:pt x="750" y="168"/>
                </a:lnTo>
                <a:lnTo>
                  <a:pt x="750" y="174"/>
                </a:lnTo>
                <a:lnTo>
                  <a:pt x="762" y="192"/>
                </a:lnTo>
                <a:lnTo>
                  <a:pt x="774" y="210"/>
                </a:lnTo>
                <a:lnTo>
                  <a:pt x="792" y="228"/>
                </a:lnTo>
                <a:lnTo>
                  <a:pt x="804" y="240"/>
                </a:lnTo>
                <a:lnTo>
                  <a:pt x="822" y="246"/>
                </a:lnTo>
                <a:lnTo>
                  <a:pt x="828" y="252"/>
                </a:lnTo>
                <a:lnTo>
                  <a:pt x="840" y="252"/>
                </a:lnTo>
                <a:lnTo>
                  <a:pt x="834" y="252"/>
                </a:lnTo>
                <a:lnTo>
                  <a:pt x="846" y="252"/>
                </a:lnTo>
                <a:lnTo>
                  <a:pt x="852" y="270"/>
                </a:lnTo>
                <a:lnTo>
                  <a:pt x="858" y="282"/>
                </a:lnTo>
                <a:lnTo>
                  <a:pt x="858" y="288"/>
                </a:lnTo>
                <a:lnTo>
                  <a:pt x="864" y="300"/>
                </a:lnTo>
                <a:lnTo>
                  <a:pt x="864" y="312"/>
                </a:lnTo>
                <a:lnTo>
                  <a:pt x="864" y="318"/>
                </a:lnTo>
                <a:lnTo>
                  <a:pt x="858" y="318"/>
                </a:lnTo>
                <a:lnTo>
                  <a:pt x="852" y="318"/>
                </a:lnTo>
                <a:lnTo>
                  <a:pt x="846" y="324"/>
                </a:lnTo>
                <a:lnTo>
                  <a:pt x="846" y="336"/>
                </a:lnTo>
                <a:lnTo>
                  <a:pt x="840" y="348"/>
                </a:lnTo>
                <a:lnTo>
                  <a:pt x="840" y="360"/>
                </a:lnTo>
                <a:lnTo>
                  <a:pt x="840" y="372"/>
                </a:lnTo>
                <a:lnTo>
                  <a:pt x="840" y="378"/>
                </a:lnTo>
                <a:lnTo>
                  <a:pt x="846" y="402"/>
                </a:lnTo>
                <a:lnTo>
                  <a:pt x="858" y="420"/>
                </a:lnTo>
                <a:lnTo>
                  <a:pt x="882" y="426"/>
                </a:lnTo>
                <a:lnTo>
                  <a:pt x="888" y="444"/>
                </a:lnTo>
                <a:lnTo>
                  <a:pt x="900" y="444"/>
                </a:lnTo>
                <a:lnTo>
                  <a:pt x="900" y="462"/>
                </a:lnTo>
                <a:lnTo>
                  <a:pt x="894" y="474"/>
                </a:lnTo>
                <a:lnTo>
                  <a:pt x="888" y="486"/>
                </a:lnTo>
                <a:lnTo>
                  <a:pt x="882" y="492"/>
                </a:lnTo>
                <a:lnTo>
                  <a:pt x="870" y="504"/>
                </a:lnTo>
                <a:lnTo>
                  <a:pt x="852" y="504"/>
                </a:lnTo>
                <a:lnTo>
                  <a:pt x="852" y="510"/>
                </a:lnTo>
                <a:lnTo>
                  <a:pt x="852" y="516"/>
                </a:lnTo>
                <a:lnTo>
                  <a:pt x="846" y="528"/>
                </a:lnTo>
                <a:lnTo>
                  <a:pt x="846" y="582"/>
                </a:lnTo>
                <a:lnTo>
                  <a:pt x="840" y="582"/>
                </a:lnTo>
                <a:lnTo>
                  <a:pt x="834" y="582"/>
                </a:lnTo>
                <a:lnTo>
                  <a:pt x="828" y="582"/>
                </a:lnTo>
                <a:lnTo>
                  <a:pt x="822" y="582"/>
                </a:lnTo>
                <a:lnTo>
                  <a:pt x="810" y="582"/>
                </a:lnTo>
                <a:lnTo>
                  <a:pt x="810" y="528"/>
                </a:lnTo>
                <a:lnTo>
                  <a:pt x="792" y="528"/>
                </a:lnTo>
                <a:lnTo>
                  <a:pt x="792" y="522"/>
                </a:lnTo>
                <a:lnTo>
                  <a:pt x="786" y="522"/>
                </a:lnTo>
                <a:lnTo>
                  <a:pt x="786" y="516"/>
                </a:lnTo>
                <a:lnTo>
                  <a:pt x="780" y="516"/>
                </a:lnTo>
                <a:lnTo>
                  <a:pt x="780" y="510"/>
                </a:lnTo>
                <a:lnTo>
                  <a:pt x="762" y="510"/>
                </a:lnTo>
                <a:lnTo>
                  <a:pt x="756" y="510"/>
                </a:lnTo>
                <a:lnTo>
                  <a:pt x="750" y="522"/>
                </a:lnTo>
                <a:lnTo>
                  <a:pt x="744" y="534"/>
                </a:lnTo>
                <a:lnTo>
                  <a:pt x="732" y="540"/>
                </a:lnTo>
                <a:lnTo>
                  <a:pt x="732" y="558"/>
                </a:lnTo>
                <a:lnTo>
                  <a:pt x="732" y="564"/>
                </a:lnTo>
                <a:lnTo>
                  <a:pt x="732" y="570"/>
                </a:lnTo>
                <a:lnTo>
                  <a:pt x="726" y="576"/>
                </a:lnTo>
                <a:lnTo>
                  <a:pt x="720" y="576"/>
                </a:lnTo>
                <a:lnTo>
                  <a:pt x="714" y="582"/>
                </a:lnTo>
                <a:lnTo>
                  <a:pt x="702" y="588"/>
                </a:lnTo>
                <a:lnTo>
                  <a:pt x="696" y="594"/>
                </a:lnTo>
                <a:lnTo>
                  <a:pt x="690" y="600"/>
                </a:lnTo>
                <a:lnTo>
                  <a:pt x="690" y="606"/>
                </a:lnTo>
                <a:lnTo>
                  <a:pt x="678" y="606"/>
                </a:lnTo>
                <a:lnTo>
                  <a:pt x="678" y="624"/>
                </a:lnTo>
                <a:lnTo>
                  <a:pt x="684" y="642"/>
                </a:lnTo>
                <a:lnTo>
                  <a:pt x="684" y="660"/>
                </a:lnTo>
                <a:lnTo>
                  <a:pt x="690" y="672"/>
                </a:lnTo>
                <a:lnTo>
                  <a:pt x="702" y="720"/>
                </a:lnTo>
                <a:lnTo>
                  <a:pt x="708" y="750"/>
                </a:lnTo>
                <a:lnTo>
                  <a:pt x="708" y="792"/>
                </a:lnTo>
                <a:lnTo>
                  <a:pt x="708" y="828"/>
                </a:lnTo>
                <a:lnTo>
                  <a:pt x="708" y="852"/>
                </a:lnTo>
                <a:lnTo>
                  <a:pt x="696" y="894"/>
                </a:lnTo>
                <a:lnTo>
                  <a:pt x="702" y="900"/>
                </a:lnTo>
                <a:lnTo>
                  <a:pt x="708" y="924"/>
                </a:lnTo>
                <a:lnTo>
                  <a:pt x="684" y="936"/>
                </a:lnTo>
                <a:lnTo>
                  <a:pt x="660" y="954"/>
                </a:lnTo>
                <a:lnTo>
                  <a:pt x="618" y="984"/>
                </a:lnTo>
                <a:lnTo>
                  <a:pt x="618" y="990"/>
                </a:lnTo>
                <a:lnTo>
                  <a:pt x="612" y="996"/>
                </a:lnTo>
                <a:lnTo>
                  <a:pt x="606" y="1002"/>
                </a:lnTo>
                <a:lnTo>
                  <a:pt x="618" y="1008"/>
                </a:lnTo>
                <a:lnTo>
                  <a:pt x="618" y="1014"/>
                </a:lnTo>
                <a:lnTo>
                  <a:pt x="624" y="1026"/>
                </a:lnTo>
                <a:lnTo>
                  <a:pt x="630" y="1026"/>
                </a:lnTo>
                <a:lnTo>
                  <a:pt x="636" y="1032"/>
                </a:lnTo>
                <a:lnTo>
                  <a:pt x="642" y="1032"/>
                </a:lnTo>
                <a:lnTo>
                  <a:pt x="642" y="1038"/>
                </a:lnTo>
                <a:lnTo>
                  <a:pt x="648" y="1044"/>
                </a:lnTo>
                <a:lnTo>
                  <a:pt x="666" y="1050"/>
                </a:lnTo>
                <a:lnTo>
                  <a:pt x="678" y="1038"/>
                </a:lnTo>
                <a:lnTo>
                  <a:pt x="684" y="1038"/>
                </a:lnTo>
                <a:lnTo>
                  <a:pt x="684" y="1032"/>
                </a:lnTo>
                <a:lnTo>
                  <a:pt x="690" y="1032"/>
                </a:lnTo>
                <a:lnTo>
                  <a:pt x="690" y="1026"/>
                </a:lnTo>
                <a:lnTo>
                  <a:pt x="696" y="1020"/>
                </a:lnTo>
                <a:lnTo>
                  <a:pt x="708" y="1014"/>
                </a:lnTo>
                <a:lnTo>
                  <a:pt x="720" y="1020"/>
                </a:lnTo>
                <a:lnTo>
                  <a:pt x="720" y="1014"/>
                </a:lnTo>
                <a:lnTo>
                  <a:pt x="726" y="1008"/>
                </a:lnTo>
                <a:lnTo>
                  <a:pt x="732" y="1008"/>
                </a:lnTo>
                <a:lnTo>
                  <a:pt x="738" y="1008"/>
                </a:lnTo>
                <a:lnTo>
                  <a:pt x="744" y="1002"/>
                </a:lnTo>
                <a:lnTo>
                  <a:pt x="744" y="996"/>
                </a:lnTo>
                <a:lnTo>
                  <a:pt x="750" y="996"/>
                </a:lnTo>
                <a:lnTo>
                  <a:pt x="756" y="1002"/>
                </a:lnTo>
                <a:lnTo>
                  <a:pt x="762" y="1002"/>
                </a:lnTo>
                <a:lnTo>
                  <a:pt x="768" y="996"/>
                </a:lnTo>
                <a:lnTo>
                  <a:pt x="780" y="996"/>
                </a:lnTo>
                <a:lnTo>
                  <a:pt x="786" y="996"/>
                </a:lnTo>
                <a:lnTo>
                  <a:pt x="816" y="990"/>
                </a:lnTo>
                <a:lnTo>
                  <a:pt x="828" y="990"/>
                </a:lnTo>
                <a:lnTo>
                  <a:pt x="834" y="990"/>
                </a:lnTo>
                <a:lnTo>
                  <a:pt x="840" y="984"/>
                </a:lnTo>
                <a:lnTo>
                  <a:pt x="852" y="978"/>
                </a:lnTo>
                <a:lnTo>
                  <a:pt x="852" y="972"/>
                </a:lnTo>
                <a:lnTo>
                  <a:pt x="858" y="972"/>
                </a:lnTo>
                <a:lnTo>
                  <a:pt x="864" y="966"/>
                </a:lnTo>
                <a:lnTo>
                  <a:pt x="870" y="966"/>
                </a:lnTo>
                <a:lnTo>
                  <a:pt x="876" y="966"/>
                </a:lnTo>
                <a:lnTo>
                  <a:pt x="882" y="960"/>
                </a:lnTo>
                <a:lnTo>
                  <a:pt x="888" y="960"/>
                </a:lnTo>
                <a:lnTo>
                  <a:pt x="894" y="960"/>
                </a:lnTo>
                <a:lnTo>
                  <a:pt x="894" y="966"/>
                </a:lnTo>
                <a:lnTo>
                  <a:pt x="894" y="978"/>
                </a:lnTo>
                <a:lnTo>
                  <a:pt x="894" y="984"/>
                </a:lnTo>
                <a:lnTo>
                  <a:pt x="900" y="984"/>
                </a:lnTo>
                <a:lnTo>
                  <a:pt x="906" y="978"/>
                </a:lnTo>
                <a:lnTo>
                  <a:pt x="912" y="972"/>
                </a:lnTo>
                <a:lnTo>
                  <a:pt x="918" y="978"/>
                </a:lnTo>
                <a:lnTo>
                  <a:pt x="924" y="978"/>
                </a:lnTo>
                <a:lnTo>
                  <a:pt x="924" y="972"/>
                </a:lnTo>
                <a:lnTo>
                  <a:pt x="924" y="966"/>
                </a:lnTo>
                <a:lnTo>
                  <a:pt x="930" y="966"/>
                </a:lnTo>
                <a:lnTo>
                  <a:pt x="948" y="966"/>
                </a:lnTo>
                <a:lnTo>
                  <a:pt x="954" y="966"/>
                </a:lnTo>
                <a:lnTo>
                  <a:pt x="954" y="960"/>
                </a:lnTo>
                <a:lnTo>
                  <a:pt x="960" y="960"/>
                </a:lnTo>
                <a:lnTo>
                  <a:pt x="966" y="960"/>
                </a:lnTo>
                <a:lnTo>
                  <a:pt x="966" y="966"/>
                </a:lnTo>
                <a:lnTo>
                  <a:pt x="978" y="972"/>
                </a:lnTo>
                <a:lnTo>
                  <a:pt x="978" y="978"/>
                </a:lnTo>
                <a:lnTo>
                  <a:pt x="978" y="984"/>
                </a:lnTo>
                <a:lnTo>
                  <a:pt x="984" y="978"/>
                </a:lnTo>
                <a:lnTo>
                  <a:pt x="990" y="978"/>
                </a:lnTo>
                <a:lnTo>
                  <a:pt x="996" y="984"/>
                </a:lnTo>
                <a:lnTo>
                  <a:pt x="1002" y="990"/>
                </a:lnTo>
                <a:lnTo>
                  <a:pt x="1008" y="972"/>
                </a:lnTo>
                <a:lnTo>
                  <a:pt x="1026" y="972"/>
                </a:lnTo>
                <a:lnTo>
                  <a:pt x="1032" y="972"/>
                </a:lnTo>
                <a:lnTo>
                  <a:pt x="1038" y="972"/>
                </a:lnTo>
                <a:lnTo>
                  <a:pt x="1050" y="972"/>
                </a:lnTo>
                <a:lnTo>
                  <a:pt x="1056" y="972"/>
                </a:lnTo>
                <a:lnTo>
                  <a:pt x="1062" y="966"/>
                </a:lnTo>
                <a:lnTo>
                  <a:pt x="1074" y="966"/>
                </a:lnTo>
                <a:lnTo>
                  <a:pt x="1074" y="960"/>
                </a:lnTo>
                <a:lnTo>
                  <a:pt x="1080" y="954"/>
                </a:lnTo>
                <a:lnTo>
                  <a:pt x="1080" y="948"/>
                </a:lnTo>
                <a:lnTo>
                  <a:pt x="1074" y="948"/>
                </a:lnTo>
                <a:lnTo>
                  <a:pt x="1068" y="948"/>
                </a:lnTo>
                <a:lnTo>
                  <a:pt x="1062" y="942"/>
                </a:lnTo>
                <a:lnTo>
                  <a:pt x="1068" y="936"/>
                </a:lnTo>
                <a:lnTo>
                  <a:pt x="1074" y="936"/>
                </a:lnTo>
                <a:lnTo>
                  <a:pt x="1080" y="936"/>
                </a:lnTo>
                <a:lnTo>
                  <a:pt x="1086" y="942"/>
                </a:lnTo>
                <a:lnTo>
                  <a:pt x="1092" y="942"/>
                </a:lnTo>
                <a:lnTo>
                  <a:pt x="1098" y="948"/>
                </a:lnTo>
                <a:lnTo>
                  <a:pt x="1104" y="954"/>
                </a:lnTo>
                <a:lnTo>
                  <a:pt x="1110" y="954"/>
                </a:lnTo>
                <a:lnTo>
                  <a:pt x="1116" y="948"/>
                </a:lnTo>
                <a:lnTo>
                  <a:pt x="1122" y="942"/>
                </a:lnTo>
                <a:lnTo>
                  <a:pt x="1128" y="942"/>
                </a:lnTo>
                <a:lnTo>
                  <a:pt x="1134" y="942"/>
                </a:lnTo>
                <a:lnTo>
                  <a:pt x="1140" y="948"/>
                </a:lnTo>
                <a:lnTo>
                  <a:pt x="1146" y="942"/>
                </a:lnTo>
                <a:lnTo>
                  <a:pt x="1152" y="942"/>
                </a:lnTo>
                <a:lnTo>
                  <a:pt x="1152" y="930"/>
                </a:lnTo>
                <a:lnTo>
                  <a:pt x="1164" y="936"/>
                </a:lnTo>
                <a:lnTo>
                  <a:pt x="1158" y="942"/>
                </a:lnTo>
                <a:lnTo>
                  <a:pt x="1158" y="948"/>
                </a:lnTo>
                <a:lnTo>
                  <a:pt x="1146" y="954"/>
                </a:lnTo>
                <a:lnTo>
                  <a:pt x="1152" y="954"/>
                </a:lnTo>
                <a:lnTo>
                  <a:pt x="1158" y="954"/>
                </a:lnTo>
                <a:lnTo>
                  <a:pt x="1158" y="948"/>
                </a:lnTo>
                <a:lnTo>
                  <a:pt x="1164" y="948"/>
                </a:lnTo>
                <a:lnTo>
                  <a:pt x="1170" y="948"/>
                </a:lnTo>
                <a:lnTo>
                  <a:pt x="1176" y="954"/>
                </a:lnTo>
                <a:lnTo>
                  <a:pt x="1176" y="966"/>
                </a:lnTo>
                <a:lnTo>
                  <a:pt x="1182" y="972"/>
                </a:lnTo>
                <a:lnTo>
                  <a:pt x="1188" y="972"/>
                </a:lnTo>
                <a:lnTo>
                  <a:pt x="1182" y="984"/>
                </a:lnTo>
                <a:lnTo>
                  <a:pt x="1188" y="984"/>
                </a:lnTo>
                <a:lnTo>
                  <a:pt x="1194" y="984"/>
                </a:lnTo>
                <a:lnTo>
                  <a:pt x="1200" y="984"/>
                </a:lnTo>
                <a:lnTo>
                  <a:pt x="1212" y="984"/>
                </a:lnTo>
                <a:lnTo>
                  <a:pt x="1218" y="990"/>
                </a:lnTo>
                <a:lnTo>
                  <a:pt x="1224" y="990"/>
                </a:lnTo>
                <a:lnTo>
                  <a:pt x="1224" y="984"/>
                </a:lnTo>
                <a:lnTo>
                  <a:pt x="1230" y="990"/>
                </a:lnTo>
                <a:lnTo>
                  <a:pt x="1236" y="984"/>
                </a:lnTo>
                <a:lnTo>
                  <a:pt x="1242" y="984"/>
                </a:lnTo>
                <a:lnTo>
                  <a:pt x="1248" y="990"/>
                </a:lnTo>
                <a:lnTo>
                  <a:pt x="1254" y="990"/>
                </a:lnTo>
                <a:lnTo>
                  <a:pt x="1254" y="996"/>
                </a:lnTo>
                <a:lnTo>
                  <a:pt x="1254" y="1002"/>
                </a:lnTo>
                <a:lnTo>
                  <a:pt x="1254" y="1008"/>
                </a:lnTo>
                <a:lnTo>
                  <a:pt x="1260" y="1014"/>
                </a:lnTo>
                <a:lnTo>
                  <a:pt x="1266" y="1014"/>
                </a:lnTo>
                <a:lnTo>
                  <a:pt x="1272" y="1014"/>
                </a:lnTo>
                <a:lnTo>
                  <a:pt x="1278" y="1020"/>
                </a:lnTo>
                <a:lnTo>
                  <a:pt x="1284" y="1020"/>
                </a:lnTo>
                <a:lnTo>
                  <a:pt x="1290" y="1014"/>
                </a:lnTo>
                <a:lnTo>
                  <a:pt x="1290" y="1008"/>
                </a:lnTo>
                <a:lnTo>
                  <a:pt x="1296" y="1008"/>
                </a:lnTo>
                <a:lnTo>
                  <a:pt x="1302" y="1014"/>
                </a:lnTo>
                <a:lnTo>
                  <a:pt x="1308" y="1014"/>
                </a:lnTo>
                <a:lnTo>
                  <a:pt x="1314" y="1008"/>
                </a:lnTo>
                <a:lnTo>
                  <a:pt x="1320" y="1008"/>
                </a:lnTo>
                <a:lnTo>
                  <a:pt x="1320" y="1002"/>
                </a:lnTo>
                <a:lnTo>
                  <a:pt x="1320" y="996"/>
                </a:lnTo>
                <a:lnTo>
                  <a:pt x="1332" y="1002"/>
                </a:lnTo>
                <a:lnTo>
                  <a:pt x="1332" y="1008"/>
                </a:lnTo>
                <a:lnTo>
                  <a:pt x="1326" y="1014"/>
                </a:lnTo>
                <a:lnTo>
                  <a:pt x="1332" y="1014"/>
                </a:lnTo>
                <a:lnTo>
                  <a:pt x="1338" y="1014"/>
                </a:lnTo>
                <a:lnTo>
                  <a:pt x="1338" y="1008"/>
                </a:lnTo>
                <a:lnTo>
                  <a:pt x="1344" y="1008"/>
                </a:lnTo>
                <a:lnTo>
                  <a:pt x="1350" y="1008"/>
                </a:lnTo>
                <a:lnTo>
                  <a:pt x="1356" y="1014"/>
                </a:lnTo>
                <a:lnTo>
                  <a:pt x="1356" y="1008"/>
                </a:lnTo>
                <a:lnTo>
                  <a:pt x="1362" y="1014"/>
                </a:lnTo>
                <a:lnTo>
                  <a:pt x="1392" y="1014"/>
                </a:lnTo>
                <a:lnTo>
                  <a:pt x="1398" y="1014"/>
                </a:lnTo>
                <a:lnTo>
                  <a:pt x="1404" y="1008"/>
                </a:lnTo>
                <a:lnTo>
                  <a:pt x="1404" y="1014"/>
                </a:lnTo>
                <a:lnTo>
                  <a:pt x="1410" y="1008"/>
                </a:lnTo>
                <a:lnTo>
                  <a:pt x="1416" y="1008"/>
                </a:lnTo>
                <a:lnTo>
                  <a:pt x="1422" y="1002"/>
                </a:lnTo>
                <a:lnTo>
                  <a:pt x="1428" y="1002"/>
                </a:lnTo>
                <a:lnTo>
                  <a:pt x="1428" y="996"/>
                </a:lnTo>
                <a:lnTo>
                  <a:pt x="1428" y="990"/>
                </a:lnTo>
                <a:lnTo>
                  <a:pt x="1440" y="1002"/>
                </a:lnTo>
                <a:lnTo>
                  <a:pt x="1446" y="1002"/>
                </a:lnTo>
                <a:lnTo>
                  <a:pt x="1452" y="1002"/>
                </a:lnTo>
                <a:lnTo>
                  <a:pt x="1446" y="996"/>
                </a:lnTo>
                <a:lnTo>
                  <a:pt x="1452" y="996"/>
                </a:lnTo>
                <a:lnTo>
                  <a:pt x="1458" y="996"/>
                </a:lnTo>
                <a:lnTo>
                  <a:pt x="1464" y="996"/>
                </a:lnTo>
                <a:lnTo>
                  <a:pt x="1464" y="1002"/>
                </a:lnTo>
                <a:lnTo>
                  <a:pt x="1476" y="1014"/>
                </a:lnTo>
                <a:lnTo>
                  <a:pt x="1476" y="1008"/>
                </a:lnTo>
                <a:lnTo>
                  <a:pt x="1482" y="1008"/>
                </a:lnTo>
                <a:lnTo>
                  <a:pt x="1488" y="1020"/>
                </a:lnTo>
                <a:lnTo>
                  <a:pt x="1494" y="1020"/>
                </a:lnTo>
                <a:lnTo>
                  <a:pt x="1500" y="1014"/>
                </a:lnTo>
                <a:lnTo>
                  <a:pt x="1500" y="1020"/>
                </a:lnTo>
                <a:lnTo>
                  <a:pt x="1506" y="1026"/>
                </a:lnTo>
                <a:lnTo>
                  <a:pt x="1512" y="1032"/>
                </a:lnTo>
                <a:lnTo>
                  <a:pt x="1518" y="1032"/>
                </a:lnTo>
                <a:lnTo>
                  <a:pt x="1518" y="1038"/>
                </a:lnTo>
                <a:lnTo>
                  <a:pt x="1518" y="1044"/>
                </a:lnTo>
                <a:lnTo>
                  <a:pt x="1524" y="1044"/>
                </a:lnTo>
                <a:lnTo>
                  <a:pt x="1524" y="1050"/>
                </a:lnTo>
                <a:lnTo>
                  <a:pt x="1530" y="1056"/>
                </a:lnTo>
                <a:lnTo>
                  <a:pt x="1548" y="1062"/>
                </a:lnTo>
                <a:lnTo>
                  <a:pt x="1560" y="1074"/>
                </a:lnTo>
                <a:lnTo>
                  <a:pt x="1560" y="1080"/>
                </a:lnTo>
                <a:lnTo>
                  <a:pt x="1560" y="1086"/>
                </a:lnTo>
                <a:lnTo>
                  <a:pt x="1566" y="1086"/>
                </a:lnTo>
                <a:lnTo>
                  <a:pt x="1572" y="1098"/>
                </a:lnTo>
                <a:lnTo>
                  <a:pt x="1572" y="1104"/>
                </a:lnTo>
                <a:lnTo>
                  <a:pt x="1584" y="1110"/>
                </a:lnTo>
                <a:lnTo>
                  <a:pt x="1590" y="1116"/>
                </a:lnTo>
                <a:lnTo>
                  <a:pt x="1596" y="1116"/>
                </a:lnTo>
                <a:lnTo>
                  <a:pt x="1608" y="1122"/>
                </a:lnTo>
                <a:lnTo>
                  <a:pt x="1620" y="1140"/>
                </a:lnTo>
                <a:lnTo>
                  <a:pt x="1626" y="1158"/>
                </a:lnTo>
                <a:lnTo>
                  <a:pt x="1638" y="1200"/>
                </a:lnTo>
                <a:lnTo>
                  <a:pt x="1638" y="1218"/>
                </a:lnTo>
                <a:lnTo>
                  <a:pt x="1620" y="1230"/>
                </a:lnTo>
                <a:lnTo>
                  <a:pt x="1554" y="1230"/>
                </a:lnTo>
                <a:lnTo>
                  <a:pt x="1560" y="1248"/>
                </a:lnTo>
                <a:lnTo>
                  <a:pt x="1584" y="1260"/>
                </a:lnTo>
                <a:lnTo>
                  <a:pt x="1584" y="1266"/>
                </a:lnTo>
                <a:lnTo>
                  <a:pt x="1578" y="1272"/>
                </a:lnTo>
                <a:lnTo>
                  <a:pt x="1572" y="1272"/>
                </a:lnTo>
                <a:lnTo>
                  <a:pt x="1566" y="1278"/>
                </a:lnTo>
                <a:lnTo>
                  <a:pt x="1566" y="1284"/>
                </a:lnTo>
                <a:lnTo>
                  <a:pt x="1560" y="1290"/>
                </a:lnTo>
                <a:lnTo>
                  <a:pt x="1554" y="1290"/>
                </a:lnTo>
                <a:lnTo>
                  <a:pt x="1554" y="1296"/>
                </a:lnTo>
                <a:lnTo>
                  <a:pt x="1554" y="1302"/>
                </a:lnTo>
                <a:lnTo>
                  <a:pt x="1560" y="1332"/>
                </a:lnTo>
                <a:lnTo>
                  <a:pt x="1566" y="1356"/>
                </a:lnTo>
                <a:lnTo>
                  <a:pt x="1572" y="1356"/>
                </a:lnTo>
                <a:lnTo>
                  <a:pt x="1572" y="1362"/>
                </a:lnTo>
                <a:lnTo>
                  <a:pt x="1578" y="1362"/>
                </a:lnTo>
                <a:lnTo>
                  <a:pt x="1560" y="1374"/>
                </a:lnTo>
                <a:lnTo>
                  <a:pt x="1560" y="1380"/>
                </a:lnTo>
                <a:lnTo>
                  <a:pt x="1548" y="1380"/>
                </a:lnTo>
                <a:lnTo>
                  <a:pt x="1548" y="1386"/>
                </a:lnTo>
                <a:lnTo>
                  <a:pt x="1548" y="1392"/>
                </a:lnTo>
                <a:lnTo>
                  <a:pt x="1542" y="1410"/>
                </a:lnTo>
                <a:lnTo>
                  <a:pt x="1536" y="1422"/>
                </a:lnTo>
                <a:lnTo>
                  <a:pt x="1536" y="1428"/>
                </a:lnTo>
                <a:lnTo>
                  <a:pt x="1530" y="1440"/>
                </a:lnTo>
                <a:lnTo>
                  <a:pt x="1524" y="1434"/>
                </a:lnTo>
                <a:lnTo>
                  <a:pt x="1524" y="1428"/>
                </a:lnTo>
                <a:lnTo>
                  <a:pt x="1524" y="1422"/>
                </a:lnTo>
                <a:lnTo>
                  <a:pt x="1512" y="1410"/>
                </a:lnTo>
                <a:lnTo>
                  <a:pt x="1506" y="1404"/>
                </a:lnTo>
                <a:lnTo>
                  <a:pt x="1506" y="1398"/>
                </a:lnTo>
                <a:lnTo>
                  <a:pt x="1494" y="1392"/>
                </a:lnTo>
                <a:lnTo>
                  <a:pt x="1476" y="1404"/>
                </a:lnTo>
                <a:lnTo>
                  <a:pt x="1464" y="1416"/>
                </a:lnTo>
                <a:lnTo>
                  <a:pt x="1458" y="1428"/>
                </a:lnTo>
                <a:lnTo>
                  <a:pt x="1446" y="1434"/>
                </a:lnTo>
                <a:lnTo>
                  <a:pt x="1410" y="1440"/>
                </a:lnTo>
                <a:lnTo>
                  <a:pt x="1398" y="1440"/>
                </a:lnTo>
                <a:lnTo>
                  <a:pt x="1398" y="1446"/>
                </a:lnTo>
                <a:lnTo>
                  <a:pt x="1386" y="1446"/>
                </a:lnTo>
                <a:lnTo>
                  <a:pt x="1380" y="1440"/>
                </a:lnTo>
                <a:lnTo>
                  <a:pt x="1368" y="1440"/>
                </a:lnTo>
                <a:lnTo>
                  <a:pt x="1368" y="1446"/>
                </a:lnTo>
                <a:lnTo>
                  <a:pt x="1356" y="1446"/>
                </a:lnTo>
                <a:lnTo>
                  <a:pt x="1350" y="1452"/>
                </a:lnTo>
                <a:lnTo>
                  <a:pt x="1338" y="1452"/>
                </a:lnTo>
                <a:lnTo>
                  <a:pt x="1338" y="1458"/>
                </a:lnTo>
                <a:lnTo>
                  <a:pt x="1332" y="1458"/>
                </a:lnTo>
                <a:lnTo>
                  <a:pt x="1332" y="1464"/>
                </a:lnTo>
                <a:lnTo>
                  <a:pt x="1332" y="1470"/>
                </a:lnTo>
                <a:lnTo>
                  <a:pt x="1326" y="1470"/>
                </a:lnTo>
                <a:lnTo>
                  <a:pt x="1320" y="1470"/>
                </a:lnTo>
                <a:lnTo>
                  <a:pt x="1314" y="1470"/>
                </a:lnTo>
                <a:lnTo>
                  <a:pt x="1314" y="1464"/>
                </a:lnTo>
                <a:lnTo>
                  <a:pt x="1308" y="1464"/>
                </a:lnTo>
                <a:lnTo>
                  <a:pt x="1308" y="1452"/>
                </a:lnTo>
                <a:lnTo>
                  <a:pt x="1284" y="1458"/>
                </a:lnTo>
                <a:lnTo>
                  <a:pt x="1272" y="1458"/>
                </a:lnTo>
                <a:lnTo>
                  <a:pt x="1272" y="1464"/>
                </a:lnTo>
                <a:lnTo>
                  <a:pt x="1260" y="1464"/>
                </a:lnTo>
                <a:lnTo>
                  <a:pt x="1254" y="1464"/>
                </a:lnTo>
                <a:lnTo>
                  <a:pt x="1242" y="1422"/>
                </a:lnTo>
                <a:lnTo>
                  <a:pt x="1242" y="1416"/>
                </a:lnTo>
                <a:lnTo>
                  <a:pt x="1242" y="1410"/>
                </a:lnTo>
                <a:lnTo>
                  <a:pt x="1248" y="1410"/>
                </a:lnTo>
                <a:lnTo>
                  <a:pt x="1242" y="1410"/>
                </a:lnTo>
                <a:lnTo>
                  <a:pt x="1242" y="1404"/>
                </a:lnTo>
                <a:lnTo>
                  <a:pt x="1242" y="1398"/>
                </a:lnTo>
                <a:lnTo>
                  <a:pt x="1248" y="1392"/>
                </a:lnTo>
                <a:lnTo>
                  <a:pt x="1248" y="1386"/>
                </a:lnTo>
                <a:lnTo>
                  <a:pt x="1242" y="1380"/>
                </a:lnTo>
                <a:lnTo>
                  <a:pt x="1248" y="1380"/>
                </a:lnTo>
                <a:lnTo>
                  <a:pt x="1248" y="1374"/>
                </a:lnTo>
                <a:lnTo>
                  <a:pt x="1248" y="1368"/>
                </a:lnTo>
                <a:lnTo>
                  <a:pt x="1254" y="1368"/>
                </a:lnTo>
                <a:lnTo>
                  <a:pt x="1254" y="1362"/>
                </a:lnTo>
                <a:lnTo>
                  <a:pt x="1248" y="1356"/>
                </a:lnTo>
                <a:lnTo>
                  <a:pt x="1254" y="1356"/>
                </a:lnTo>
                <a:lnTo>
                  <a:pt x="1254" y="1344"/>
                </a:lnTo>
                <a:lnTo>
                  <a:pt x="1242" y="1338"/>
                </a:lnTo>
                <a:lnTo>
                  <a:pt x="1242" y="1326"/>
                </a:lnTo>
                <a:lnTo>
                  <a:pt x="1230" y="1326"/>
                </a:lnTo>
                <a:lnTo>
                  <a:pt x="1230" y="1314"/>
                </a:lnTo>
                <a:lnTo>
                  <a:pt x="1218" y="1314"/>
                </a:lnTo>
                <a:lnTo>
                  <a:pt x="1200" y="1272"/>
                </a:lnTo>
                <a:lnTo>
                  <a:pt x="1194" y="1242"/>
                </a:lnTo>
                <a:lnTo>
                  <a:pt x="1194" y="1206"/>
                </a:lnTo>
                <a:lnTo>
                  <a:pt x="1182" y="1200"/>
                </a:lnTo>
                <a:lnTo>
                  <a:pt x="1164" y="1206"/>
                </a:lnTo>
                <a:lnTo>
                  <a:pt x="1146" y="1212"/>
                </a:lnTo>
                <a:lnTo>
                  <a:pt x="1146" y="1218"/>
                </a:lnTo>
                <a:lnTo>
                  <a:pt x="1134" y="1224"/>
                </a:lnTo>
                <a:lnTo>
                  <a:pt x="1140" y="1260"/>
                </a:lnTo>
                <a:lnTo>
                  <a:pt x="1134" y="1266"/>
                </a:lnTo>
                <a:lnTo>
                  <a:pt x="1122" y="1266"/>
                </a:lnTo>
                <a:lnTo>
                  <a:pt x="1110" y="1236"/>
                </a:lnTo>
                <a:lnTo>
                  <a:pt x="1110" y="1224"/>
                </a:lnTo>
                <a:lnTo>
                  <a:pt x="1086" y="1224"/>
                </a:lnTo>
                <a:lnTo>
                  <a:pt x="1086" y="1212"/>
                </a:lnTo>
                <a:lnTo>
                  <a:pt x="1074" y="1212"/>
                </a:lnTo>
                <a:lnTo>
                  <a:pt x="1050" y="1212"/>
                </a:lnTo>
                <a:lnTo>
                  <a:pt x="1056" y="1218"/>
                </a:lnTo>
                <a:lnTo>
                  <a:pt x="1050" y="1272"/>
                </a:lnTo>
                <a:lnTo>
                  <a:pt x="1044" y="1272"/>
                </a:lnTo>
                <a:lnTo>
                  <a:pt x="1038" y="1284"/>
                </a:lnTo>
                <a:lnTo>
                  <a:pt x="1032" y="1302"/>
                </a:lnTo>
                <a:lnTo>
                  <a:pt x="1014" y="1302"/>
                </a:lnTo>
                <a:lnTo>
                  <a:pt x="1020" y="1284"/>
                </a:lnTo>
                <a:lnTo>
                  <a:pt x="1026" y="1278"/>
                </a:lnTo>
                <a:lnTo>
                  <a:pt x="1026" y="1266"/>
                </a:lnTo>
                <a:lnTo>
                  <a:pt x="1014" y="1260"/>
                </a:lnTo>
                <a:lnTo>
                  <a:pt x="1014" y="1272"/>
                </a:lnTo>
                <a:lnTo>
                  <a:pt x="990" y="1278"/>
                </a:lnTo>
                <a:lnTo>
                  <a:pt x="990" y="1254"/>
                </a:lnTo>
                <a:lnTo>
                  <a:pt x="984" y="1254"/>
                </a:lnTo>
                <a:lnTo>
                  <a:pt x="978" y="1242"/>
                </a:lnTo>
                <a:lnTo>
                  <a:pt x="972" y="1236"/>
                </a:lnTo>
                <a:lnTo>
                  <a:pt x="960" y="1206"/>
                </a:lnTo>
                <a:lnTo>
                  <a:pt x="942" y="1206"/>
                </a:lnTo>
                <a:lnTo>
                  <a:pt x="936" y="1200"/>
                </a:lnTo>
                <a:lnTo>
                  <a:pt x="906" y="1212"/>
                </a:lnTo>
                <a:lnTo>
                  <a:pt x="888" y="1230"/>
                </a:lnTo>
                <a:lnTo>
                  <a:pt x="876" y="1230"/>
                </a:lnTo>
                <a:lnTo>
                  <a:pt x="864" y="1236"/>
                </a:lnTo>
                <a:lnTo>
                  <a:pt x="858" y="1236"/>
                </a:lnTo>
                <a:lnTo>
                  <a:pt x="852" y="1254"/>
                </a:lnTo>
                <a:lnTo>
                  <a:pt x="858" y="1254"/>
                </a:lnTo>
                <a:lnTo>
                  <a:pt x="840" y="1266"/>
                </a:lnTo>
                <a:lnTo>
                  <a:pt x="828" y="1272"/>
                </a:lnTo>
                <a:lnTo>
                  <a:pt x="828" y="1284"/>
                </a:lnTo>
                <a:lnTo>
                  <a:pt x="822" y="1284"/>
                </a:lnTo>
                <a:lnTo>
                  <a:pt x="804" y="1296"/>
                </a:lnTo>
                <a:lnTo>
                  <a:pt x="804" y="1308"/>
                </a:lnTo>
                <a:lnTo>
                  <a:pt x="816" y="1320"/>
                </a:lnTo>
                <a:lnTo>
                  <a:pt x="828" y="1320"/>
                </a:lnTo>
                <a:lnTo>
                  <a:pt x="822" y="1338"/>
                </a:lnTo>
                <a:lnTo>
                  <a:pt x="852" y="1344"/>
                </a:lnTo>
                <a:lnTo>
                  <a:pt x="864" y="1350"/>
                </a:lnTo>
                <a:lnTo>
                  <a:pt x="864" y="1356"/>
                </a:lnTo>
                <a:lnTo>
                  <a:pt x="882" y="1356"/>
                </a:lnTo>
                <a:lnTo>
                  <a:pt x="894" y="1356"/>
                </a:lnTo>
                <a:lnTo>
                  <a:pt x="912" y="1368"/>
                </a:lnTo>
                <a:lnTo>
                  <a:pt x="918" y="1380"/>
                </a:lnTo>
                <a:lnTo>
                  <a:pt x="936" y="1380"/>
                </a:lnTo>
                <a:lnTo>
                  <a:pt x="960" y="1386"/>
                </a:lnTo>
                <a:lnTo>
                  <a:pt x="990" y="1386"/>
                </a:lnTo>
                <a:lnTo>
                  <a:pt x="990" y="1392"/>
                </a:lnTo>
                <a:lnTo>
                  <a:pt x="1020" y="1398"/>
                </a:lnTo>
                <a:lnTo>
                  <a:pt x="1014" y="1404"/>
                </a:lnTo>
                <a:lnTo>
                  <a:pt x="1008" y="1404"/>
                </a:lnTo>
                <a:lnTo>
                  <a:pt x="1014" y="1440"/>
                </a:lnTo>
                <a:lnTo>
                  <a:pt x="1020" y="1458"/>
                </a:lnTo>
                <a:lnTo>
                  <a:pt x="1026" y="1476"/>
                </a:lnTo>
                <a:lnTo>
                  <a:pt x="1020" y="1476"/>
                </a:lnTo>
                <a:lnTo>
                  <a:pt x="1014" y="1476"/>
                </a:lnTo>
                <a:lnTo>
                  <a:pt x="1014" y="1482"/>
                </a:lnTo>
                <a:lnTo>
                  <a:pt x="1014" y="1488"/>
                </a:lnTo>
                <a:lnTo>
                  <a:pt x="1002" y="1488"/>
                </a:lnTo>
                <a:lnTo>
                  <a:pt x="1002" y="1494"/>
                </a:lnTo>
                <a:lnTo>
                  <a:pt x="996" y="1494"/>
                </a:lnTo>
                <a:lnTo>
                  <a:pt x="996" y="1518"/>
                </a:lnTo>
                <a:lnTo>
                  <a:pt x="1002" y="1524"/>
                </a:lnTo>
                <a:lnTo>
                  <a:pt x="1020" y="1530"/>
                </a:lnTo>
                <a:lnTo>
                  <a:pt x="1026" y="1542"/>
                </a:lnTo>
                <a:lnTo>
                  <a:pt x="1032" y="1566"/>
                </a:lnTo>
                <a:lnTo>
                  <a:pt x="1038" y="1578"/>
                </a:lnTo>
                <a:lnTo>
                  <a:pt x="1032" y="1584"/>
                </a:lnTo>
                <a:lnTo>
                  <a:pt x="1020" y="1584"/>
                </a:lnTo>
                <a:lnTo>
                  <a:pt x="1014" y="1584"/>
                </a:lnTo>
                <a:lnTo>
                  <a:pt x="1008" y="1596"/>
                </a:lnTo>
                <a:lnTo>
                  <a:pt x="990" y="1584"/>
                </a:lnTo>
                <a:lnTo>
                  <a:pt x="984" y="1602"/>
                </a:lnTo>
                <a:lnTo>
                  <a:pt x="978" y="1608"/>
                </a:lnTo>
                <a:lnTo>
                  <a:pt x="966" y="1608"/>
                </a:lnTo>
                <a:lnTo>
                  <a:pt x="960" y="1614"/>
                </a:lnTo>
                <a:lnTo>
                  <a:pt x="954" y="1614"/>
                </a:lnTo>
                <a:lnTo>
                  <a:pt x="942" y="1620"/>
                </a:lnTo>
                <a:lnTo>
                  <a:pt x="936" y="1620"/>
                </a:lnTo>
                <a:lnTo>
                  <a:pt x="930" y="1620"/>
                </a:lnTo>
                <a:lnTo>
                  <a:pt x="930" y="1626"/>
                </a:lnTo>
                <a:lnTo>
                  <a:pt x="930" y="1632"/>
                </a:lnTo>
                <a:lnTo>
                  <a:pt x="918" y="1632"/>
                </a:lnTo>
                <a:lnTo>
                  <a:pt x="912" y="1632"/>
                </a:lnTo>
                <a:lnTo>
                  <a:pt x="906" y="1632"/>
                </a:lnTo>
                <a:lnTo>
                  <a:pt x="900" y="1632"/>
                </a:lnTo>
                <a:lnTo>
                  <a:pt x="894" y="1626"/>
                </a:lnTo>
                <a:lnTo>
                  <a:pt x="894" y="1614"/>
                </a:lnTo>
                <a:lnTo>
                  <a:pt x="840" y="1614"/>
                </a:lnTo>
                <a:lnTo>
                  <a:pt x="840" y="1626"/>
                </a:lnTo>
                <a:lnTo>
                  <a:pt x="834" y="1626"/>
                </a:lnTo>
                <a:lnTo>
                  <a:pt x="828" y="1632"/>
                </a:lnTo>
                <a:lnTo>
                  <a:pt x="822" y="1638"/>
                </a:lnTo>
                <a:lnTo>
                  <a:pt x="822" y="1644"/>
                </a:lnTo>
                <a:lnTo>
                  <a:pt x="834" y="1650"/>
                </a:lnTo>
                <a:lnTo>
                  <a:pt x="840" y="1662"/>
                </a:lnTo>
                <a:lnTo>
                  <a:pt x="840" y="1668"/>
                </a:lnTo>
                <a:lnTo>
                  <a:pt x="858" y="1680"/>
                </a:lnTo>
                <a:lnTo>
                  <a:pt x="858" y="1752"/>
                </a:lnTo>
                <a:lnTo>
                  <a:pt x="864" y="1782"/>
                </a:lnTo>
                <a:lnTo>
                  <a:pt x="876" y="1788"/>
                </a:lnTo>
                <a:lnTo>
                  <a:pt x="870" y="1854"/>
                </a:lnTo>
                <a:lnTo>
                  <a:pt x="870" y="1884"/>
                </a:lnTo>
                <a:lnTo>
                  <a:pt x="864" y="1884"/>
                </a:lnTo>
                <a:lnTo>
                  <a:pt x="846" y="1896"/>
                </a:lnTo>
                <a:lnTo>
                  <a:pt x="840" y="1896"/>
                </a:lnTo>
                <a:lnTo>
                  <a:pt x="834" y="1896"/>
                </a:lnTo>
                <a:lnTo>
                  <a:pt x="828" y="1890"/>
                </a:lnTo>
                <a:lnTo>
                  <a:pt x="822" y="1890"/>
                </a:lnTo>
                <a:lnTo>
                  <a:pt x="816" y="1896"/>
                </a:lnTo>
                <a:lnTo>
                  <a:pt x="804" y="1896"/>
                </a:lnTo>
                <a:lnTo>
                  <a:pt x="804" y="1890"/>
                </a:lnTo>
                <a:lnTo>
                  <a:pt x="780" y="1896"/>
                </a:lnTo>
                <a:lnTo>
                  <a:pt x="780" y="1902"/>
                </a:lnTo>
                <a:lnTo>
                  <a:pt x="774" y="1914"/>
                </a:lnTo>
                <a:lnTo>
                  <a:pt x="762" y="1926"/>
                </a:lnTo>
                <a:lnTo>
                  <a:pt x="762" y="1950"/>
                </a:lnTo>
                <a:lnTo>
                  <a:pt x="762" y="1962"/>
                </a:lnTo>
                <a:lnTo>
                  <a:pt x="780" y="1974"/>
                </a:lnTo>
                <a:lnTo>
                  <a:pt x="780" y="1986"/>
                </a:lnTo>
                <a:lnTo>
                  <a:pt x="780" y="1998"/>
                </a:lnTo>
                <a:lnTo>
                  <a:pt x="756" y="1998"/>
                </a:lnTo>
                <a:lnTo>
                  <a:pt x="720" y="1992"/>
                </a:lnTo>
                <a:lnTo>
                  <a:pt x="666" y="1998"/>
                </a:lnTo>
                <a:lnTo>
                  <a:pt x="654" y="1998"/>
                </a:lnTo>
                <a:lnTo>
                  <a:pt x="660" y="1974"/>
                </a:lnTo>
                <a:lnTo>
                  <a:pt x="666" y="1962"/>
                </a:lnTo>
                <a:lnTo>
                  <a:pt x="678" y="1950"/>
                </a:lnTo>
                <a:lnTo>
                  <a:pt x="696" y="1932"/>
                </a:lnTo>
                <a:lnTo>
                  <a:pt x="696" y="1920"/>
                </a:lnTo>
                <a:lnTo>
                  <a:pt x="696" y="1896"/>
                </a:lnTo>
                <a:lnTo>
                  <a:pt x="678" y="1896"/>
                </a:lnTo>
                <a:lnTo>
                  <a:pt x="672" y="1884"/>
                </a:lnTo>
                <a:lnTo>
                  <a:pt x="672" y="1776"/>
                </a:lnTo>
                <a:lnTo>
                  <a:pt x="678" y="1758"/>
                </a:lnTo>
                <a:lnTo>
                  <a:pt x="678" y="1740"/>
                </a:lnTo>
                <a:lnTo>
                  <a:pt x="684" y="1728"/>
                </a:lnTo>
                <a:lnTo>
                  <a:pt x="690" y="1722"/>
                </a:lnTo>
                <a:lnTo>
                  <a:pt x="702" y="1722"/>
                </a:lnTo>
                <a:lnTo>
                  <a:pt x="708" y="1716"/>
                </a:lnTo>
                <a:lnTo>
                  <a:pt x="714" y="1710"/>
                </a:lnTo>
                <a:lnTo>
                  <a:pt x="720" y="1698"/>
                </a:lnTo>
                <a:lnTo>
                  <a:pt x="732" y="1692"/>
                </a:lnTo>
                <a:lnTo>
                  <a:pt x="744" y="1686"/>
                </a:lnTo>
                <a:lnTo>
                  <a:pt x="756" y="1680"/>
                </a:lnTo>
                <a:lnTo>
                  <a:pt x="768" y="1668"/>
                </a:lnTo>
                <a:lnTo>
                  <a:pt x="768" y="1650"/>
                </a:lnTo>
                <a:lnTo>
                  <a:pt x="774" y="1632"/>
                </a:lnTo>
                <a:lnTo>
                  <a:pt x="768" y="1620"/>
                </a:lnTo>
                <a:lnTo>
                  <a:pt x="774" y="1608"/>
                </a:lnTo>
                <a:lnTo>
                  <a:pt x="774" y="1578"/>
                </a:lnTo>
                <a:lnTo>
                  <a:pt x="774" y="1572"/>
                </a:lnTo>
                <a:lnTo>
                  <a:pt x="780" y="1560"/>
                </a:lnTo>
                <a:lnTo>
                  <a:pt x="780" y="1554"/>
                </a:lnTo>
                <a:lnTo>
                  <a:pt x="786" y="1542"/>
                </a:lnTo>
                <a:lnTo>
                  <a:pt x="792" y="1530"/>
                </a:lnTo>
                <a:lnTo>
                  <a:pt x="792" y="1518"/>
                </a:lnTo>
                <a:lnTo>
                  <a:pt x="792" y="1506"/>
                </a:lnTo>
                <a:lnTo>
                  <a:pt x="786" y="1500"/>
                </a:lnTo>
                <a:lnTo>
                  <a:pt x="774" y="1488"/>
                </a:lnTo>
                <a:lnTo>
                  <a:pt x="774" y="1482"/>
                </a:lnTo>
                <a:lnTo>
                  <a:pt x="762" y="1488"/>
                </a:lnTo>
                <a:lnTo>
                  <a:pt x="756" y="1494"/>
                </a:lnTo>
                <a:lnTo>
                  <a:pt x="744" y="1500"/>
                </a:lnTo>
                <a:lnTo>
                  <a:pt x="732" y="1506"/>
                </a:lnTo>
                <a:lnTo>
                  <a:pt x="726" y="1506"/>
                </a:lnTo>
                <a:lnTo>
                  <a:pt x="720" y="1506"/>
                </a:lnTo>
                <a:lnTo>
                  <a:pt x="702" y="1506"/>
                </a:lnTo>
                <a:lnTo>
                  <a:pt x="690" y="1500"/>
                </a:lnTo>
                <a:lnTo>
                  <a:pt x="678" y="1500"/>
                </a:lnTo>
                <a:lnTo>
                  <a:pt x="672" y="1500"/>
                </a:lnTo>
                <a:lnTo>
                  <a:pt x="660" y="1506"/>
                </a:lnTo>
                <a:lnTo>
                  <a:pt x="654" y="1506"/>
                </a:lnTo>
                <a:lnTo>
                  <a:pt x="648" y="1512"/>
                </a:lnTo>
                <a:lnTo>
                  <a:pt x="648" y="1518"/>
                </a:lnTo>
                <a:lnTo>
                  <a:pt x="618" y="1518"/>
                </a:lnTo>
                <a:lnTo>
                  <a:pt x="534" y="1494"/>
                </a:lnTo>
                <a:lnTo>
                  <a:pt x="528" y="1458"/>
                </a:lnTo>
                <a:lnTo>
                  <a:pt x="510" y="1458"/>
                </a:lnTo>
                <a:lnTo>
                  <a:pt x="492" y="1440"/>
                </a:lnTo>
                <a:lnTo>
                  <a:pt x="462" y="1440"/>
                </a:lnTo>
                <a:lnTo>
                  <a:pt x="456" y="1428"/>
                </a:lnTo>
                <a:lnTo>
                  <a:pt x="420" y="1428"/>
                </a:lnTo>
                <a:lnTo>
                  <a:pt x="390" y="1446"/>
                </a:lnTo>
                <a:lnTo>
                  <a:pt x="312" y="1452"/>
                </a:lnTo>
                <a:lnTo>
                  <a:pt x="300" y="1446"/>
                </a:lnTo>
                <a:lnTo>
                  <a:pt x="294" y="1446"/>
                </a:lnTo>
                <a:lnTo>
                  <a:pt x="288" y="1446"/>
                </a:lnTo>
                <a:lnTo>
                  <a:pt x="282" y="1440"/>
                </a:lnTo>
                <a:lnTo>
                  <a:pt x="276" y="1440"/>
                </a:lnTo>
                <a:lnTo>
                  <a:pt x="270" y="1440"/>
                </a:lnTo>
                <a:lnTo>
                  <a:pt x="264" y="1440"/>
                </a:lnTo>
                <a:lnTo>
                  <a:pt x="258" y="1434"/>
                </a:lnTo>
                <a:lnTo>
                  <a:pt x="252" y="1434"/>
                </a:lnTo>
                <a:lnTo>
                  <a:pt x="246" y="1428"/>
                </a:lnTo>
                <a:lnTo>
                  <a:pt x="240" y="1416"/>
                </a:lnTo>
                <a:lnTo>
                  <a:pt x="234" y="1404"/>
                </a:lnTo>
                <a:lnTo>
                  <a:pt x="228" y="1398"/>
                </a:lnTo>
                <a:lnTo>
                  <a:pt x="222" y="1398"/>
                </a:lnTo>
                <a:lnTo>
                  <a:pt x="216" y="1404"/>
                </a:lnTo>
                <a:lnTo>
                  <a:pt x="210" y="1404"/>
                </a:lnTo>
                <a:lnTo>
                  <a:pt x="204" y="1404"/>
                </a:lnTo>
                <a:lnTo>
                  <a:pt x="204" y="1398"/>
                </a:lnTo>
                <a:lnTo>
                  <a:pt x="198" y="1392"/>
                </a:lnTo>
                <a:lnTo>
                  <a:pt x="192" y="1386"/>
                </a:lnTo>
                <a:lnTo>
                  <a:pt x="168" y="1374"/>
                </a:lnTo>
                <a:lnTo>
                  <a:pt x="144" y="138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8473" name="Freeform 36"/>
          <p:cNvSpPr>
            <a:spLocks/>
          </p:cNvSpPr>
          <p:nvPr/>
        </p:nvSpPr>
        <p:spPr bwMode="gray">
          <a:xfrm>
            <a:off x="2576513" y="1874838"/>
            <a:ext cx="1128712" cy="1190625"/>
          </a:xfrm>
          <a:custGeom>
            <a:avLst/>
            <a:gdLst>
              <a:gd name="T0" fmla="*/ 79964 w 1440"/>
              <a:gd name="T1" fmla="*/ 83835 h 1476"/>
              <a:gd name="T2" fmla="*/ 77612 w 1440"/>
              <a:gd name="T3" fmla="*/ 87059 h 1476"/>
              <a:gd name="T4" fmla="*/ 76828 w 1440"/>
              <a:gd name="T5" fmla="*/ 90284 h 1476"/>
              <a:gd name="T6" fmla="*/ 75260 w 1440"/>
              <a:gd name="T7" fmla="*/ 93508 h 1476"/>
              <a:gd name="T8" fmla="*/ 71341 w 1440"/>
              <a:gd name="T9" fmla="*/ 95120 h 1476"/>
              <a:gd name="T10" fmla="*/ 68205 w 1440"/>
              <a:gd name="T11" fmla="*/ 96733 h 1476"/>
              <a:gd name="T12" fmla="*/ 58797 w 1440"/>
              <a:gd name="T13" fmla="*/ 96733 h 1476"/>
              <a:gd name="T14" fmla="*/ 56445 w 1440"/>
              <a:gd name="T15" fmla="*/ 99151 h 1476"/>
              <a:gd name="T16" fmla="*/ 54093 w 1440"/>
              <a:gd name="T17" fmla="*/ 103182 h 1476"/>
              <a:gd name="T18" fmla="*/ 52525 w 1440"/>
              <a:gd name="T19" fmla="*/ 102375 h 1476"/>
              <a:gd name="T20" fmla="*/ 51741 w 1440"/>
              <a:gd name="T21" fmla="*/ 99151 h 1476"/>
              <a:gd name="T22" fmla="*/ 49390 w 1440"/>
              <a:gd name="T23" fmla="*/ 95927 h 1476"/>
              <a:gd name="T24" fmla="*/ 42334 w 1440"/>
              <a:gd name="T25" fmla="*/ 91896 h 1476"/>
              <a:gd name="T26" fmla="*/ 43118 w 1440"/>
              <a:gd name="T27" fmla="*/ 85447 h 1476"/>
              <a:gd name="T28" fmla="*/ 47038 w 1440"/>
              <a:gd name="T29" fmla="*/ 80611 h 1476"/>
              <a:gd name="T30" fmla="*/ 43118 w 1440"/>
              <a:gd name="T31" fmla="*/ 73356 h 1476"/>
              <a:gd name="T32" fmla="*/ 39982 w 1440"/>
              <a:gd name="T33" fmla="*/ 69325 h 1476"/>
              <a:gd name="T34" fmla="*/ 36846 w 1440"/>
              <a:gd name="T35" fmla="*/ 68519 h 1476"/>
              <a:gd name="T36" fmla="*/ 34494 w 1440"/>
              <a:gd name="T37" fmla="*/ 66101 h 1476"/>
              <a:gd name="T38" fmla="*/ 32142 w 1440"/>
              <a:gd name="T39" fmla="*/ 66907 h 1476"/>
              <a:gd name="T40" fmla="*/ 28223 w 1440"/>
              <a:gd name="T41" fmla="*/ 66907 h 1476"/>
              <a:gd name="T42" fmla="*/ 25871 w 1440"/>
              <a:gd name="T43" fmla="*/ 66907 h 1476"/>
              <a:gd name="T44" fmla="*/ 23519 w 1440"/>
              <a:gd name="T45" fmla="*/ 66907 h 1476"/>
              <a:gd name="T46" fmla="*/ 21167 w 1440"/>
              <a:gd name="T47" fmla="*/ 66907 h 1476"/>
              <a:gd name="T48" fmla="*/ 18815 w 1440"/>
              <a:gd name="T49" fmla="*/ 66101 h 1476"/>
              <a:gd name="T50" fmla="*/ 16463 w 1440"/>
              <a:gd name="T51" fmla="*/ 64488 h 1476"/>
              <a:gd name="T52" fmla="*/ 14111 w 1440"/>
              <a:gd name="T53" fmla="*/ 63682 h 1476"/>
              <a:gd name="T54" fmla="*/ 13327 w 1440"/>
              <a:gd name="T55" fmla="*/ 62876 h 1476"/>
              <a:gd name="T56" fmla="*/ 9408 w 1440"/>
              <a:gd name="T57" fmla="*/ 62876 h 1476"/>
              <a:gd name="T58" fmla="*/ 9408 w 1440"/>
              <a:gd name="T59" fmla="*/ 62876 h 1476"/>
              <a:gd name="T60" fmla="*/ 5488 w 1440"/>
              <a:gd name="T61" fmla="*/ 64488 h 1476"/>
              <a:gd name="T62" fmla="*/ 2352 w 1440"/>
              <a:gd name="T63" fmla="*/ 65295 h 1476"/>
              <a:gd name="T64" fmla="*/ 0 w 1440"/>
              <a:gd name="T65" fmla="*/ 61264 h 1476"/>
              <a:gd name="T66" fmla="*/ 784 w 1440"/>
              <a:gd name="T67" fmla="*/ 40305 h 1476"/>
              <a:gd name="T68" fmla="*/ 6272 w 1440"/>
              <a:gd name="T69" fmla="*/ 38693 h 1476"/>
              <a:gd name="T70" fmla="*/ 15679 w 1440"/>
              <a:gd name="T71" fmla="*/ 39499 h 1476"/>
              <a:gd name="T72" fmla="*/ 20383 w 1440"/>
              <a:gd name="T73" fmla="*/ 40305 h 1476"/>
              <a:gd name="T74" fmla="*/ 34494 w 1440"/>
              <a:gd name="T75" fmla="*/ 37887 h 1476"/>
              <a:gd name="T76" fmla="*/ 32142 w 1440"/>
              <a:gd name="T77" fmla="*/ 19347 h 1476"/>
              <a:gd name="T78" fmla="*/ 34494 w 1440"/>
              <a:gd name="T79" fmla="*/ 16122 h 1476"/>
              <a:gd name="T80" fmla="*/ 36846 w 1440"/>
              <a:gd name="T81" fmla="*/ 14510 h 1476"/>
              <a:gd name="T82" fmla="*/ 42334 w 1440"/>
              <a:gd name="T83" fmla="*/ 16928 h 1476"/>
              <a:gd name="T84" fmla="*/ 47822 w 1440"/>
              <a:gd name="T85" fmla="*/ 18540 h 1476"/>
              <a:gd name="T86" fmla="*/ 46254 w 1440"/>
              <a:gd name="T87" fmla="*/ 11285 h 1476"/>
              <a:gd name="T88" fmla="*/ 47822 w 1440"/>
              <a:gd name="T89" fmla="*/ 6449 h 1476"/>
              <a:gd name="T90" fmla="*/ 55661 w 1440"/>
              <a:gd name="T91" fmla="*/ 5643 h 1476"/>
              <a:gd name="T92" fmla="*/ 58797 w 1440"/>
              <a:gd name="T93" fmla="*/ 0 h 1476"/>
              <a:gd name="T94" fmla="*/ 64285 w 1440"/>
              <a:gd name="T95" fmla="*/ 2418 h 1476"/>
              <a:gd name="T96" fmla="*/ 72908 w 1440"/>
              <a:gd name="T97" fmla="*/ 4031 h 1476"/>
              <a:gd name="T98" fmla="*/ 78396 w 1440"/>
              <a:gd name="T99" fmla="*/ 806 h 1476"/>
              <a:gd name="T100" fmla="*/ 81532 w 1440"/>
              <a:gd name="T101" fmla="*/ 3224 h 1476"/>
              <a:gd name="T102" fmla="*/ 86236 w 1440"/>
              <a:gd name="T103" fmla="*/ 8061 h 1476"/>
              <a:gd name="T104" fmla="*/ 90156 w 1440"/>
              <a:gd name="T105" fmla="*/ 18540 h 1476"/>
              <a:gd name="T106" fmla="*/ 91724 w 1440"/>
              <a:gd name="T107" fmla="*/ 33856 h 1476"/>
              <a:gd name="T108" fmla="*/ 94859 w 1440"/>
              <a:gd name="T109" fmla="*/ 41917 h 1476"/>
              <a:gd name="T110" fmla="*/ 92507 w 1440"/>
              <a:gd name="T111" fmla="*/ 49979 h 1476"/>
              <a:gd name="T112" fmla="*/ 97211 w 1440"/>
              <a:gd name="T113" fmla="*/ 53203 h 1476"/>
              <a:gd name="T114" fmla="*/ 94859 w 1440"/>
              <a:gd name="T115" fmla="*/ 57234 h 1476"/>
              <a:gd name="T116" fmla="*/ 90156 w 1440"/>
              <a:gd name="T117" fmla="*/ 61264 h 1476"/>
              <a:gd name="T118" fmla="*/ 85452 w 1440"/>
              <a:gd name="T119" fmla="*/ 61264 h 1476"/>
              <a:gd name="T120" fmla="*/ 82316 w 1440"/>
              <a:gd name="T121" fmla="*/ 69325 h 1476"/>
              <a:gd name="T122" fmla="*/ 83884 w 1440"/>
              <a:gd name="T123" fmla="*/ 78192 h 14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0"/>
              <a:gd name="T187" fmla="*/ 0 h 1476"/>
              <a:gd name="T188" fmla="*/ 1440 w 1440"/>
              <a:gd name="T189" fmla="*/ 1476 h 147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0" h="1476">
                <a:moveTo>
                  <a:pt x="1212" y="1164"/>
                </a:moveTo>
                <a:lnTo>
                  <a:pt x="1206" y="1170"/>
                </a:lnTo>
                <a:lnTo>
                  <a:pt x="1200" y="1176"/>
                </a:lnTo>
                <a:lnTo>
                  <a:pt x="1194" y="1176"/>
                </a:lnTo>
                <a:lnTo>
                  <a:pt x="1188" y="1188"/>
                </a:lnTo>
                <a:lnTo>
                  <a:pt x="1182" y="1194"/>
                </a:lnTo>
                <a:lnTo>
                  <a:pt x="1176" y="1194"/>
                </a:lnTo>
                <a:lnTo>
                  <a:pt x="1170" y="1194"/>
                </a:lnTo>
                <a:lnTo>
                  <a:pt x="1170" y="1200"/>
                </a:lnTo>
                <a:lnTo>
                  <a:pt x="1164" y="1206"/>
                </a:lnTo>
                <a:lnTo>
                  <a:pt x="1158" y="1206"/>
                </a:lnTo>
                <a:lnTo>
                  <a:pt x="1152" y="1212"/>
                </a:lnTo>
                <a:lnTo>
                  <a:pt x="1146" y="1212"/>
                </a:lnTo>
                <a:lnTo>
                  <a:pt x="1140" y="1224"/>
                </a:lnTo>
                <a:lnTo>
                  <a:pt x="1134" y="1230"/>
                </a:lnTo>
                <a:lnTo>
                  <a:pt x="1128" y="1236"/>
                </a:lnTo>
                <a:lnTo>
                  <a:pt x="1128" y="1242"/>
                </a:lnTo>
                <a:lnTo>
                  <a:pt x="1128" y="1254"/>
                </a:lnTo>
                <a:lnTo>
                  <a:pt x="1128" y="1260"/>
                </a:lnTo>
                <a:lnTo>
                  <a:pt x="1122" y="1260"/>
                </a:lnTo>
                <a:lnTo>
                  <a:pt x="1122" y="1266"/>
                </a:lnTo>
                <a:lnTo>
                  <a:pt x="1128" y="1278"/>
                </a:lnTo>
                <a:lnTo>
                  <a:pt x="1122" y="1278"/>
                </a:lnTo>
                <a:lnTo>
                  <a:pt x="1122" y="1284"/>
                </a:lnTo>
                <a:lnTo>
                  <a:pt x="1128" y="1290"/>
                </a:lnTo>
                <a:lnTo>
                  <a:pt x="1122" y="1296"/>
                </a:lnTo>
                <a:lnTo>
                  <a:pt x="1122" y="1302"/>
                </a:lnTo>
                <a:lnTo>
                  <a:pt x="1116" y="1302"/>
                </a:lnTo>
                <a:lnTo>
                  <a:pt x="1110" y="1314"/>
                </a:lnTo>
                <a:lnTo>
                  <a:pt x="1110" y="1320"/>
                </a:lnTo>
                <a:lnTo>
                  <a:pt x="1110" y="1326"/>
                </a:lnTo>
                <a:lnTo>
                  <a:pt x="1098" y="1332"/>
                </a:lnTo>
                <a:lnTo>
                  <a:pt x="1092" y="1338"/>
                </a:lnTo>
                <a:lnTo>
                  <a:pt x="1092" y="1344"/>
                </a:lnTo>
                <a:lnTo>
                  <a:pt x="1086" y="1350"/>
                </a:lnTo>
                <a:lnTo>
                  <a:pt x="1080" y="1350"/>
                </a:lnTo>
                <a:lnTo>
                  <a:pt x="1074" y="1350"/>
                </a:lnTo>
                <a:lnTo>
                  <a:pt x="1068" y="1356"/>
                </a:lnTo>
                <a:lnTo>
                  <a:pt x="1062" y="1356"/>
                </a:lnTo>
                <a:lnTo>
                  <a:pt x="1044" y="1356"/>
                </a:lnTo>
                <a:lnTo>
                  <a:pt x="1038" y="1362"/>
                </a:lnTo>
                <a:lnTo>
                  <a:pt x="1032" y="1368"/>
                </a:lnTo>
                <a:lnTo>
                  <a:pt x="1026" y="1368"/>
                </a:lnTo>
                <a:lnTo>
                  <a:pt x="1020" y="1374"/>
                </a:lnTo>
                <a:lnTo>
                  <a:pt x="1008" y="1374"/>
                </a:lnTo>
                <a:lnTo>
                  <a:pt x="1002" y="1374"/>
                </a:lnTo>
                <a:lnTo>
                  <a:pt x="996" y="1368"/>
                </a:lnTo>
                <a:lnTo>
                  <a:pt x="990" y="1374"/>
                </a:lnTo>
                <a:lnTo>
                  <a:pt x="978" y="1380"/>
                </a:lnTo>
                <a:lnTo>
                  <a:pt x="972" y="1380"/>
                </a:lnTo>
                <a:lnTo>
                  <a:pt x="954" y="1368"/>
                </a:lnTo>
                <a:lnTo>
                  <a:pt x="930" y="1368"/>
                </a:lnTo>
                <a:lnTo>
                  <a:pt x="918" y="1368"/>
                </a:lnTo>
                <a:lnTo>
                  <a:pt x="906" y="1368"/>
                </a:lnTo>
                <a:lnTo>
                  <a:pt x="894" y="1368"/>
                </a:lnTo>
                <a:lnTo>
                  <a:pt x="864" y="1374"/>
                </a:lnTo>
                <a:lnTo>
                  <a:pt x="852" y="1374"/>
                </a:lnTo>
                <a:lnTo>
                  <a:pt x="846" y="1386"/>
                </a:lnTo>
                <a:lnTo>
                  <a:pt x="846" y="1392"/>
                </a:lnTo>
                <a:lnTo>
                  <a:pt x="840" y="1398"/>
                </a:lnTo>
                <a:lnTo>
                  <a:pt x="840" y="1404"/>
                </a:lnTo>
                <a:lnTo>
                  <a:pt x="834" y="1416"/>
                </a:lnTo>
                <a:lnTo>
                  <a:pt x="828" y="1416"/>
                </a:lnTo>
                <a:lnTo>
                  <a:pt x="828" y="1410"/>
                </a:lnTo>
                <a:lnTo>
                  <a:pt x="822" y="1416"/>
                </a:lnTo>
                <a:lnTo>
                  <a:pt x="816" y="1422"/>
                </a:lnTo>
                <a:lnTo>
                  <a:pt x="804" y="1428"/>
                </a:lnTo>
                <a:lnTo>
                  <a:pt x="804" y="1434"/>
                </a:lnTo>
                <a:lnTo>
                  <a:pt x="804" y="1440"/>
                </a:lnTo>
                <a:lnTo>
                  <a:pt x="798" y="1446"/>
                </a:lnTo>
                <a:lnTo>
                  <a:pt x="798" y="1458"/>
                </a:lnTo>
                <a:lnTo>
                  <a:pt x="792" y="1464"/>
                </a:lnTo>
                <a:lnTo>
                  <a:pt x="786" y="1476"/>
                </a:lnTo>
                <a:lnTo>
                  <a:pt x="780" y="1470"/>
                </a:lnTo>
                <a:lnTo>
                  <a:pt x="774" y="1470"/>
                </a:lnTo>
                <a:lnTo>
                  <a:pt x="768" y="1470"/>
                </a:lnTo>
                <a:lnTo>
                  <a:pt x="762" y="1476"/>
                </a:lnTo>
                <a:lnTo>
                  <a:pt x="762" y="1470"/>
                </a:lnTo>
                <a:lnTo>
                  <a:pt x="762" y="1464"/>
                </a:lnTo>
                <a:lnTo>
                  <a:pt x="762" y="1458"/>
                </a:lnTo>
                <a:lnTo>
                  <a:pt x="756" y="1458"/>
                </a:lnTo>
                <a:lnTo>
                  <a:pt x="756" y="1452"/>
                </a:lnTo>
                <a:lnTo>
                  <a:pt x="756" y="1446"/>
                </a:lnTo>
                <a:lnTo>
                  <a:pt x="756" y="1440"/>
                </a:lnTo>
                <a:lnTo>
                  <a:pt x="750" y="1434"/>
                </a:lnTo>
                <a:lnTo>
                  <a:pt x="750" y="1428"/>
                </a:lnTo>
                <a:lnTo>
                  <a:pt x="750" y="1422"/>
                </a:lnTo>
                <a:lnTo>
                  <a:pt x="750" y="1416"/>
                </a:lnTo>
                <a:lnTo>
                  <a:pt x="744" y="1416"/>
                </a:lnTo>
                <a:lnTo>
                  <a:pt x="744" y="1410"/>
                </a:lnTo>
                <a:lnTo>
                  <a:pt x="738" y="1404"/>
                </a:lnTo>
                <a:lnTo>
                  <a:pt x="732" y="1398"/>
                </a:lnTo>
                <a:lnTo>
                  <a:pt x="732" y="1392"/>
                </a:lnTo>
                <a:lnTo>
                  <a:pt x="726" y="1386"/>
                </a:lnTo>
                <a:lnTo>
                  <a:pt x="726" y="1380"/>
                </a:lnTo>
                <a:lnTo>
                  <a:pt x="714" y="1368"/>
                </a:lnTo>
                <a:lnTo>
                  <a:pt x="708" y="1368"/>
                </a:lnTo>
                <a:lnTo>
                  <a:pt x="684" y="1332"/>
                </a:lnTo>
                <a:lnTo>
                  <a:pt x="666" y="1320"/>
                </a:lnTo>
                <a:lnTo>
                  <a:pt x="648" y="1302"/>
                </a:lnTo>
                <a:lnTo>
                  <a:pt x="630" y="1314"/>
                </a:lnTo>
                <a:lnTo>
                  <a:pt x="624" y="1314"/>
                </a:lnTo>
                <a:lnTo>
                  <a:pt x="624" y="1308"/>
                </a:lnTo>
                <a:lnTo>
                  <a:pt x="618" y="1308"/>
                </a:lnTo>
                <a:lnTo>
                  <a:pt x="612" y="1284"/>
                </a:lnTo>
                <a:lnTo>
                  <a:pt x="606" y="1254"/>
                </a:lnTo>
                <a:lnTo>
                  <a:pt x="606" y="1248"/>
                </a:lnTo>
                <a:lnTo>
                  <a:pt x="606" y="1242"/>
                </a:lnTo>
                <a:lnTo>
                  <a:pt x="612" y="1242"/>
                </a:lnTo>
                <a:lnTo>
                  <a:pt x="618" y="1236"/>
                </a:lnTo>
                <a:lnTo>
                  <a:pt x="618" y="1230"/>
                </a:lnTo>
                <a:lnTo>
                  <a:pt x="624" y="1224"/>
                </a:lnTo>
                <a:lnTo>
                  <a:pt x="630" y="1224"/>
                </a:lnTo>
                <a:lnTo>
                  <a:pt x="636" y="1218"/>
                </a:lnTo>
                <a:lnTo>
                  <a:pt x="636" y="1212"/>
                </a:lnTo>
                <a:lnTo>
                  <a:pt x="612" y="1200"/>
                </a:lnTo>
                <a:lnTo>
                  <a:pt x="606" y="1182"/>
                </a:lnTo>
                <a:lnTo>
                  <a:pt x="672" y="1182"/>
                </a:lnTo>
                <a:lnTo>
                  <a:pt x="690" y="1170"/>
                </a:lnTo>
                <a:lnTo>
                  <a:pt x="690" y="1152"/>
                </a:lnTo>
                <a:lnTo>
                  <a:pt x="678" y="1110"/>
                </a:lnTo>
                <a:lnTo>
                  <a:pt x="672" y="1092"/>
                </a:lnTo>
                <a:lnTo>
                  <a:pt x="660" y="1074"/>
                </a:lnTo>
                <a:lnTo>
                  <a:pt x="648" y="1068"/>
                </a:lnTo>
                <a:lnTo>
                  <a:pt x="642" y="1068"/>
                </a:lnTo>
                <a:lnTo>
                  <a:pt x="636" y="1062"/>
                </a:lnTo>
                <a:lnTo>
                  <a:pt x="624" y="1056"/>
                </a:lnTo>
                <a:lnTo>
                  <a:pt x="624" y="1050"/>
                </a:lnTo>
                <a:lnTo>
                  <a:pt x="618" y="1038"/>
                </a:lnTo>
                <a:lnTo>
                  <a:pt x="612" y="1038"/>
                </a:lnTo>
                <a:lnTo>
                  <a:pt x="612" y="1032"/>
                </a:lnTo>
                <a:lnTo>
                  <a:pt x="612" y="1026"/>
                </a:lnTo>
                <a:lnTo>
                  <a:pt x="600" y="1014"/>
                </a:lnTo>
                <a:lnTo>
                  <a:pt x="582" y="1008"/>
                </a:lnTo>
                <a:lnTo>
                  <a:pt x="576" y="1002"/>
                </a:lnTo>
                <a:lnTo>
                  <a:pt x="576" y="996"/>
                </a:lnTo>
                <a:lnTo>
                  <a:pt x="570" y="996"/>
                </a:lnTo>
                <a:lnTo>
                  <a:pt x="570" y="990"/>
                </a:lnTo>
                <a:lnTo>
                  <a:pt x="570" y="984"/>
                </a:lnTo>
                <a:lnTo>
                  <a:pt x="564" y="984"/>
                </a:lnTo>
                <a:lnTo>
                  <a:pt x="558" y="978"/>
                </a:lnTo>
                <a:lnTo>
                  <a:pt x="552" y="972"/>
                </a:lnTo>
                <a:lnTo>
                  <a:pt x="552" y="966"/>
                </a:lnTo>
                <a:lnTo>
                  <a:pt x="546" y="972"/>
                </a:lnTo>
                <a:lnTo>
                  <a:pt x="540" y="972"/>
                </a:lnTo>
                <a:lnTo>
                  <a:pt x="534" y="960"/>
                </a:lnTo>
                <a:lnTo>
                  <a:pt x="528" y="960"/>
                </a:lnTo>
                <a:lnTo>
                  <a:pt x="528" y="966"/>
                </a:lnTo>
                <a:lnTo>
                  <a:pt x="516" y="954"/>
                </a:lnTo>
                <a:lnTo>
                  <a:pt x="516" y="948"/>
                </a:lnTo>
                <a:lnTo>
                  <a:pt x="510" y="948"/>
                </a:lnTo>
                <a:lnTo>
                  <a:pt x="504" y="948"/>
                </a:lnTo>
                <a:lnTo>
                  <a:pt x="498" y="948"/>
                </a:lnTo>
                <a:lnTo>
                  <a:pt x="504" y="954"/>
                </a:lnTo>
                <a:lnTo>
                  <a:pt x="498" y="954"/>
                </a:lnTo>
                <a:lnTo>
                  <a:pt x="492" y="954"/>
                </a:lnTo>
                <a:lnTo>
                  <a:pt x="480" y="942"/>
                </a:lnTo>
                <a:lnTo>
                  <a:pt x="480" y="948"/>
                </a:lnTo>
                <a:lnTo>
                  <a:pt x="480" y="954"/>
                </a:lnTo>
                <a:lnTo>
                  <a:pt x="474" y="954"/>
                </a:lnTo>
                <a:lnTo>
                  <a:pt x="468" y="960"/>
                </a:lnTo>
                <a:lnTo>
                  <a:pt x="462" y="960"/>
                </a:lnTo>
                <a:lnTo>
                  <a:pt x="456" y="966"/>
                </a:lnTo>
                <a:lnTo>
                  <a:pt x="456" y="960"/>
                </a:lnTo>
                <a:lnTo>
                  <a:pt x="450" y="966"/>
                </a:lnTo>
                <a:lnTo>
                  <a:pt x="444" y="966"/>
                </a:lnTo>
                <a:lnTo>
                  <a:pt x="414" y="966"/>
                </a:lnTo>
                <a:lnTo>
                  <a:pt x="408" y="960"/>
                </a:lnTo>
                <a:lnTo>
                  <a:pt x="408" y="966"/>
                </a:lnTo>
                <a:lnTo>
                  <a:pt x="402" y="960"/>
                </a:lnTo>
                <a:lnTo>
                  <a:pt x="396" y="960"/>
                </a:lnTo>
                <a:lnTo>
                  <a:pt x="390" y="960"/>
                </a:lnTo>
                <a:lnTo>
                  <a:pt x="390" y="966"/>
                </a:lnTo>
                <a:lnTo>
                  <a:pt x="384" y="966"/>
                </a:lnTo>
                <a:lnTo>
                  <a:pt x="378" y="966"/>
                </a:lnTo>
                <a:lnTo>
                  <a:pt x="384" y="960"/>
                </a:lnTo>
                <a:lnTo>
                  <a:pt x="384" y="954"/>
                </a:lnTo>
                <a:lnTo>
                  <a:pt x="372" y="948"/>
                </a:lnTo>
                <a:lnTo>
                  <a:pt x="372" y="954"/>
                </a:lnTo>
                <a:lnTo>
                  <a:pt x="372" y="960"/>
                </a:lnTo>
                <a:lnTo>
                  <a:pt x="366" y="960"/>
                </a:lnTo>
                <a:lnTo>
                  <a:pt x="360" y="966"/>
                </a:lnTo>
                <a:lnTo>
                  <a:pt x="354" y="966"/>
                </a:lnTo>
                <a:lnTo>
                  <a:pt x="348" y="960"/>
                </a:lnTo>
                <a:lnTo>
                  <a:pt x="342" y="960"/>
                </a:lnTo>
                <a:lnTo>
                  <a:pt x="342" y="966"/>
                </a:lnTo>
                <a:lnTo>
                  <a:pt x="336" y="972"/>
                </a:lnTo>
                <a:lnTo>
                  <a:pt x="330" y="972"/>
                </a:lnTo>
                <a:lnTo>
                  <a:pt x="324" y="966"/>
                </a:lnTo>
                <a:lnTo>
                  <a:pt x="318" y="966"/>
                </a:lnTo>
                <a:lnTo>
                  <a:pt x="312" y="966"/>
                </a:lnTo>
                <a:lnTo>
                  <a:pt x="306" y="960"/>
                </a:lnTo>
                <a:lnTo>
                  <a:pt x="306" y="954"/>
                </a:lnTo>
                <a:lnTo>
                  <a:pt x="306" y="948"/>
                </a:lnTo>
                <a:lnTo>
                  <a:pt x="306" y="942"/>
                </a:lnTo>
                <a:lnTo>
                  <a:pt x="300" y="942"/>
                </a:lnTo>
                <a:lnTo>
                  <a:pt x="294" y="936"/>
                </a:lnTo>
                <a:lnTo>
                  <a:pt x="288" y="936"/>
                </a:lnTo>
                <a:lnTo>
                  <a:pt x="282" y="942"/>
                </a:lnTo>
                <a:lnTo>
                  <a:pt x="276" y="936"/>
                </a:lnTo>
                <a:lnTo>
                  <a:pt x="276" y="942"/>
                </a:lnTo>
                <a:lnTo>
                  <a:pt x="270" y="942"/>
                </a:lnTo>
                <a:lnTo>
                  <a:pt x="264" y="936"/>
                </a:lnTo>
                <a:lnTo>
                  <a:pt x="252" y="936"/>
                </a:lnTo>
                <a:lnTo>
                  <a:pt x="246" y="936"/>
                </a:lnTo>
                <a:lnTo>
                  <a:pt x="240" y="936"/>
                </a:lnTo>
                <a:lnTo>
                  <a:pt x="234" y="936"/>
                </a:lnTo>
                <a:lnTo>
                  <a:pt x="240" y="924"/>
                </a:lnTo>
                <a:lnTo>
                  <a:pt x="234" y="924"/>
                </a:lnTo>
                <a:lnTo>
                  <a:pt x="228" y="918"/>
                </a:lnTo>
                <a:lnTo>
                  <a:pt x="228" y="906"/>
                </a:lnTo>
                <a:lnTo>
                  <a:pt x="222" y="900"/>
                </a:lnTo>
                <a:lnTo>
                  <a:pt x="216" y="900"/>
                </a:lnTo>
                <a:lnTo>
                  <a:pt x="210" y="900"/>
                </a:lnTo>
                <a:lnTo>
                  <a:pt x="210" y="906"/>
                </a:lnTo>
                <a:lnTo>
                  <a:pt x="204" y="906"/>
                </a:lnTo>
                <a:lnTo>
                  <a:pt x="198" y="906"/>
                </a:lnTo>
                <a:lnTo>
                  <a:pt x="210" y="900"/>
                </a:lnTo>
                <a:lnTo>
                  <a:pt x="210" y="894"/>
                </a:lnTo>
                <a:lnTo>
                  <a:pt x="216" y="888"/>
                </a:lnTo>
                <a:lnTo>
                  <a:pt x="204" y="882"/>
                </a:lnTo>
                <a:lnTo>
                  <a:pt x="204" y="894"/>
                </a:lnTo>
                <a:lnTo>
                  <a:pt x="198" y="894"/>
                </a:lnTo>
                <a:lnTo>
                  <a:pt x="192" y="900"/>
                </a:lnTo>
                <a:lnTo>
                  <a:pt x="186" y="894"/>
                </a:lnTo>
                <a:lnTo>
                  <a:pt x="180" y="894"/>
                </a:lnTo>
                <a:lnTo>
                  <a:pt x="174" y="894"/>
                </a:lnTo>
                <a:lnTo>
                  <a:pt x="168" y="900"/>
                </a:lnTo>
                <a:lnTo>
                  <a:pt x="162" y="906"/>
                </a:lnTo>
                <a:lnTo>
                  <a:pt x="156" y="906"/>
                </a:lnTo>
                <a:lnTo>
                  <a:pt x="150" y="900"/>
                </a:lnTo>
                <a:lnTo>
                  <a:pt x="144" y="894"/>
                </a:lnTo>
                <a:lnTo>
                  <a:pt x="138" y="894"/>
                </a:lnTo>
                <a:lnTo>
                  <a:pt x="132" y="888"/>
                </a:lnTo>
                <a:lnTo>
                  <a:pt x="126" y="888"/>
                </a:lnTo>
                <a:lnTo>
                  <a:pt x="120" y="888"/>
                </a:lnTo>
                <a:lnTo>
                  <a:pt x="114" y="894"/>
                </a:lnTo>
                <a:lnTo>
                  <a:pt x="120" y="900"/>
                </a:lnTo>
                <a:lnTo>
                  <a:pt x="126" y="900"/>
                </a:lnTo>
                <a:lnTo>
                  <a:pt x="132" y="900"/>
                </a:lnTo>
                <a:lnTo>
                  <a:pt x="132" y="906"/>
                </a:lnTo>
                <a:lnTo>
                  <a:pt x="126" y="912"/>
                </a:lnTo>
                <a:lnTo>
                  <a:pt x="126" y="918"/>
                </a:lnTo>
                <a:lnTo>
                  <a:pt x="114" y="918"/>
                </a:lnTo>
                <a:lnTo>
                  <a:pt x="108" y="924"/>
                </a:lnTo>
                <a:lnTo>
                  <a:pt x="102" y="924"/>
                </a:lnTo>
                <a:lnTo>
                  <a:pt x="90" y="924"/>
                </a:lnTo>
                <a:lnTo>
                  <a:pt x="84" y="924"/>
                </a:lnTo>
                <a:lnTo>
                  <a:pt x="78" y="924"/>
                </a:lnTo>
                <a:lnTo>
                  <a:pt x="60" y="924"/>
                </a:lnTo>
                <a:lnTo>
                  <a:pt x="54" y="942"/>
                </a:lnTo>
                <a:lnTo>
                  <a:pt x="48" y="936"/>
                </a:lnTo>
                <a:lnTo>
                  <a:pt x="42" y="930"/>
                </a:lnTo>
                <a:lnTo>
                  <a:pt x="36" y="930"/>
                </a:lnTo>
                <a:lnTo>
                  <a:pt x="30" y="936"/>
                </a:lnTo>
                <a:lnTo>
                  <a:pt x="30" y="930"/>
                </a:lnTo>
                <a:lnTo>
                  <a:pt x="30" y="924"/>
                </a:lnTo>
                <a:lnTo>
                  <a:pt x="18" y="918"/>
                </a:lnTo>
                <a:lnTo>
                  <a:pt x="18" y="912"/>
                </a:lnTo>
                <a:lnTo>
                  <a:pt x="12" y="912"/>
                </a:lnTo>
                <a:lnTo>
                  <a:pt x="6" y="912"/>
                </a:lnTo>
                <a:lnTo>
                  <a:pt x="6" y="900"/>
                </a:lnTo>
                <a:lnTo>
                  <a:pt x="6" y="894"/>
                </a:lnTo>
                <a:lnTo>
                  <a:pt x="0" y="870"/>
                </a:lnTo>
                <a:lnTo>
                  <a:pt x="6" y="846"/>
                </a:lnTo>
                <a:lnTo>
                  <a:pt x="6" y="810"/>
                </a:lnTo>
                <a:lnTo>
                  <a:pt x="12" y="774"/>
                </a:lnTo>
                <a:lnTo>
                  <a:pt x="12" y="756"/>
                </a:lnTo>
                <a:lnTo>
                  <a:pt x="18" y="744"/>
                </a:lnTo>
                <a:lnTo>
                  <a:pt x="18" y="732"/>
                </a:lnTo>
                <a:lnTo>
                  <a:pt x="12" y="576"/>
                </a:lnTo>
                <a:lnTo>
                  <a:pt x="12" y="570"/>
                </a:lnTo>
                <a:lnTo>
                  <a:pt x="18" y="564"/>
                </a:lnTo>
                <a:lnTo>
                  <a:pt x="24" y="558"/>
                </a:lnTo>
                <a:lnTo>
                  <a:pt x="30" y="552"/>
                </a:lnTo>
                <a:lnTo>
                  <a:pt x="36" y="552"/>
                </a:lnTo>
                <a:lnTo>
                  <a:pt x="42" y="552"/>
                </a:lnTo>
                <a:lnTo>
                  <a:pt x="66" y="552"/>
                </a:lnTo>
                <a:lnTo>
                  <a:pt x="78" y="558"/>
                </a:lnTo>
                <a:lnTo>
                  <a:pt x="90" y="558"/>
                </a:lnTo>
                <a:lnTo>
                  <a:pt x="108" y="558"/>
                </a:lnTo>
                <a:lnTo>
                  <a:pt x="144" y="558"/>
                </a:lnTo>
                <a:lnTo>
                  <a:pt x="204" y="552"/>
                </a:lnTo>
                <a:lnTo>
                  <a:pt x="210" y="558"/>
                </a:lnTo>
                <a:lnTo>
                  <a:pt x="216" y="558"/>
                </a:lnTo>
                <a:lnTo>
                  <a:pt x="210" y="564"/>
                </a:lnTo>
                <a:lnTo>
                  <a:pt x="216" y="564"/>
                </a:lnTo>
                <a:lnTo>
                  <a:pt x="222" y="564"/>
                </a:lnTo>
                <a:lnTo>
                  <a:pt x="240" y="564"/>
                </a:lnTo>
                <a:lnTo>
                  <a:pt x="258" y="564"/>
                </a:lnTo>
                <a:lnTo>
                  <a:pt x="264" y="570"/>
                </a:lnTo>
                <a:lnTo>
                  <a:pt x="276" y="570"/>
                </a:lnTo>
                <a:lnTo>
                  <a:pt x="282" y="564"/>
                </a:lnTo>
                <a:lnTo>
                  <a:pt x="294" y="564"/>
                </a:lnTo>
                <a:lnTo>
                  <a:pt x="294" y="570"/>
                </a:lnTo>
                <a:lnTo>
                  <a:pt x="300" y="570"/>
                </a:lnTo>
                <a:lnTo>
                  <a:pt x="378" y="564"/>
                </a:lnTo>
                <a:lnTo>
                  <a:pt x="408" y="558"/>
                </a:lnTo>
                <a:lnTo>
                  <a:pt x="432" y="552"/>
                </a:lnTo>
                <a:lnTo>
                  <a:pt x="450" y="546"/>
                </a:lnTo>
                <a:lnTo>
                  <a:pt x="468" y="546"/>
                </a:lnTo>
                <a:lnTo>
                  <a:pt x="468" y="552"/>
                </a:lnTo>
                <a:lnTo>
                  <a:pt x="504" y="552"/>
                </a:lnTo>
                <a:lnTo>
                  <a:pt x="510" y="534"/>
                </a:lnTo>
                <a:lnTo>
                  <a:pt x="516" y="510"/>
                </a:lnTo>
                <a:lnTo>
                  <a:pt x="522" y="510"/>
                </a:lnTo>
                <a:lnTo>
                  <a:pt x="528" y="420"/>
                </a:lnTo>
                <a:lnTo>
                  <a:pt x="522" y="414"/>
                </a:lnTo>
                <a:lnTo>
                  <a:pt x="516" y="396"/>
                </a:lnTo>
                <a:lnTo>
                  <a:pt x="510" y="372"/>
                </a:lnTo>
                <a:lnTo>
                  <a:pt x="498" y="348"/>
                </a:lnTo>
                <a:lnTo>
                  <a:pt x="474" y="282"/>
                </a:lnTo>
                <a:lnTo>
                  <a:pt x="474" y="270"/>
                </a:lnTo>
                <a:lnTo>
                  <a:pt x="480" y="258"/>
                </a:lnTo>
                <a:lnTo>
                  <a:pt x="486" y="258"/>
                </a:lnTo>
                <a:lnTo>
                  <a:pt x="492" y="252"/>
                </a:lnTo>
                <a:lnTo>
                  <a:pt x="486" y="246"/>
                </a:lnTo>
                <a:lnTo>
                  <a:pt x="492" y="246"/>
                </a:lnTo>
                <a:lnTo>
                  <a:pt x="504" y="234"/>
                </a:lnTo>
                <a:lnTo>
                  <a:pt x="510" y="228"/>
                </a:lnTo>
                <a:lnTo>
                  <a:pt x="516" y="228"/>
                </a:lnTo>
                <a:lnTo>
                  <a:pt x="516" y="222"/>
                </a:lnTo>
                <a:lnTo>
                  <a:pt x="516" y="216"/>
                </a:lnTo>
                <a:lnTo>
                  <a:pt x="522" y="216"/>
                </a:lnTo>
                <a:lnTo>
                  <a:pt x="528" y="210"/>
                </a:lnTo>
                <a:lnTo>
                  <a:pt x="534" y="210"/>
                </a:lnTo>
                <a:lnTo>
                  <a:pt x="540" y="210"/>
                </a:lnTo>
                <a:lnTo>
                  <a:pt x="546" y="210"/>
                </a:lnTo>
                <a:lnTo>
                  <a:pt x="552" y="210"/>
                </a:lnTo>
                <a:lnTo>
                  <a:pt x="564" y="210"/>
                </a:lnTo>
                <a:lnTo>
                  <a:pt x="570" y="216"/>
                </a:lnTo>
                <a:lnTo>
                  <a:pt x="576" y="216"/>
                </a:lnTo>
                <a:lnTo>
                  <a:pt x="588" y="228"/>
                </a:lnTo>
                <a:lnTo>
                  <a:pt x="594" y="234"/>
                </a:lnTo>
                <a:lnTo>
                  <a:pt x="600" y="240"/>
                </a:lnTo>
                <a:lnTo>
                  <a:pt x="618" y="246"/>
                </a:lnTo>
                <a:lnTo>
                  <a:pt x="624" y="246"/>
                </a:lnTo>
                <a:lnTo>
                  <a:pt x="636" y="252"/>
                </a:lnTo>
                <a:lnTo>
                  <a:pt x="654" y="252"/>
                </a:lnTo>
                <a:lnTo>
                  <a:pt x="654" y="258"/>
                </a:lnTo>
                <a:lnTo>
                  <a:pt x="666" y="264"/>
                </a:lnTo>
                <a:lnTo>
                  <a:pt x="672" y="264"/>
                </a:lnTo>
                <a:lnTo>
                  <a:pt x="678" y="264"/>
                </a:lnTo>
                <a:lnTo>
                  <a:pt x="696" y="258"/>
                </a:lnTo>
                <a:lnTo>
                  <a:pt x="696" y="252"/>
                </a:lnTo>
                <a:lnTo>
                  <a:pt x="696" y="246"/>
                </a:lnTo>
                <a:lnTo>
                  <a:pt x="690" y="234"/>
                </a:lnTo>
                <a:lnTo>
                  <a:pt x="684" y="210"/>
                </a:lnTo>
                <a:lnTo>
                  <a:pt x="678" y="192"/>
                </a:lnTo>
                <a:lnTo>
                  <a:pt x="672" y="174"/>
                </a:lnTo>
                <a:lnTo>
                  <a:pt x="672" y="168"/>
                </a:lnTo>
                <a:lnTo>
                  <a:pt x="672" y="162"/>
                </a:lnTo>
                <a:lnTo>
                  <a:pt x="672" y="156"/>
                </a:lnTo>
                <a:lnTo>
                  <a:pt x="684" y="132"/>
                </a:lnTo>
                <a:lnTo>
                  <a:pt x="684" y="120"/>
                </a:lnTo>
                <a:lnTo>
                  <a:pt x="684" y="108"/>
                </a:lnTo>
                <a:lnTo>
                  <a:pt x="678" y="102"/>
                </a:lnTo>
                <a:lnTo>
                  <a:pt x="678" y="96"/>
                </a:lnTo>
                <a:lnTo>
                  <a:pt x="684" y="96"/>
                </a:lnTo>
                <a:lnTo>
                  <a:pt x="696" y="90"/>
                </a:lnTo>
                <a:lnTo>
                  <a:pt x="702" y="84"/>
                </a:lnTo>
                <a:lnTo>
                  <a:pt x="720" y="72"/>
                </a:lnTo>
                <a:lnTo>
                  <a:pt x="738" y="66"/>
                </a:lnTo>
                <a:lnTo>
                  <a:pt x="756" y="60"/>
                </a:lnTo>
                <a:lnTo>
                  <a:pt x="768" y="60"/>
                </a:lnTo>
                <a:lnTo>
                  <a:pt x="798" y="72"/>
                </a:lnTo>
                <a:lnTo>
                  <a:pt x="804" y="78"/>
                </a:lnTo>
                <a:lnTo>
                  <a:pt x="816" y="84"/>
                </a:lnTo>
                <a:lnTo>
                  <a:pt x="822" y="84"/>
                </a:lnTo>
                <a:lnTo>
                  <a:pt x="828" y="72"/>
                </a:lnTo>
                <a:lnTo>
                  <a:pt x="828" y="60"/>
                </a:lnTo>
                <a:lnTo>
                  <a:pt x="828" y="36"/>
                </a:lnTo>
                <a:lnTo>
                  <a:pt x="828" y="24"/>
                </a:lnTo>
                <a:lnTo>
                  <a:pt x="828" y="12"/>
                </a:lnTo>
                <a:lnTo>
                  <a:pt x="834" y="12"/>
                </a:lnTo>
                <a:lnTo>
                  <a:pt x="852" y="6"/>
                </a:lnTo>
                <a:lnTo>
                  <a:pt x="876" y="6"/>
                </a:lnTo>
                <a:lnTo>
                  <a:pt x="894" y="6"/>
                </a:lnTo>
                <a:lnTo>
                  <a:pt x="906" y="12"/>
                </a:lnTo>
                <a:lnTo>
                  <a:pt x="912" y="24"/>
                </a:lnTo>
                <a:lnTo>
                  <a:pt x="924" y="24"/>
                </a:lnTo>
                <a:lnTo>
                  <a:pt x="930" y="30"/>
                </a:lnTo>
                <a:lnTo>
                  <a:pt x="936" y="30"/>
                </a:lnTo>
                <a:lnTo>
                  <a:pt x="936" y="36"/>
                </a:lnTo>
                <a:lnTo>
                  <a:pt x="942" y="36"/>
                </a:lnTo>
                <a:lnTo>
                  <a:pt x="948" y="42"/>
                </a:lnTo>
                <a:lnTo>
                  <a:pt x="960" y="48"/>
                </a:lnTo>
                <a:lnTo>
                  <a:pt x="966" y="48"/>
                </a:lnTo>
                <a:lnTo>
                  <a:pt x="1026" y="60"/>
                </a:lnTo>
                <a:lnTo>
                  <a:pt x="1050" y="60"/>
                </a:lnTo>
                <a:lnTo>
                  <a:pt x="1050" y="54"/>
                </a:lnTo>
                <a:lnTo>
                  <a:pt x="1062" y="54"/>
                </a:lnTo>
                <a:lnTo>
                  <a:pt x="1074" y="48"/>
                </a:lnTo>
                <a:lnTo>
                  <a:pt x="1086" y="42"/>
                </a:lnTo>
                <a:lnTo>
                  <a:pt x="1104" y="36"/>
                </a:lnTo>
                <a:lnTo>
                  <a:pt x="1116" y="30"/>
                </a:lnTo>
                <a:lnTo>
                  <a:pt x="1122" y="24"/>
                </a:lnTo>
                <a:lnTo>
                  <a:pt x="1128" y="18"/>
                </a:lnTo>
                <a:lnTo>
                  <a:pt x="1134" y="18"/>
                </a:lnTo>
                <a:lnTo>
                  <a:pt x="1140" y="12"/>
                </a:lnTo>
                <a:lnTo>
                  <a:pt x="1146" y="6"/>
                </a:lnTo>
                <a:lnTo>
                  <a:pt x="1158" y="0"/>
                </a:lnTo>
                <a:lnTo>
                  <a:pt x="1158" y="6"/>
                </a:lnTo>
                <a:lnTo>
                  <a:pt x="1164" y="6"/>
                </a:lnTo>
                <a:lnTo>
                  <a:pt x="1164" y="12"/>
                </a:lnTo>
                <a:lnTo>
                  <a:pt x="1170" y="24"/>
                </a:lnTo>
                <a:lnTo>
                  <a:pt x="1176" y="36"/>
                </a:lnTo>
                <a:lnTo>
                  <a:pt x="1188" y="42"/>
                </a:lnTo>
                <a:lnTo>
                  <a:pt x="1200" y="54"/>
                </a:lnTo>
                <a:lnTo>
                  <a:pt x="1224" y="84"/>
                </a:lnTo>
                <a:lnTo>
                  <a:pt x="1224" y="90"/>
                </a:lnTo>
                <a:lnTo>
                  <a:pt x="1236" y="96"/>
                </a:lnTo>
                <a:lnTo>
                  <a:pt x="1236" y="108"/>
                </a:lnTo>
                <a:lnTo>
                  <a:pt x="1248" y="114"/>
                </a:lnTo>
                <a:lnTo>
                  <a:pt x="1254" y="114"/>
                </a:lnTo>
                <a:lnTo>
                  <a:pt x="1260" y="114"/>
                </a:lnTo>
                <a:lnTo>
                  <a:pt x="1296" y="114"/>
                </a:lnTo>
                <a:lnTo>
                  <a:pt x="1302" y="114"/>
                </a:lnTo>
                <a:lnTo>
                  <a:pt x="1320" y="108"/>
                </a:lnTo>
                <a:lnTo>
                  <a:pt x="1326" y="108"/>
                </a:lnTo>
                <a:lnTo>
                  <a:pt x="1326" y="138"/>
                </a:lnTo>
                <a:lnTo>
                  <a:pt x="1326" y="210"/>
                </a:lnTo>
                <a:lnTo>
                  <a:pt x="1320" y="252"/>
                </a:lnTo>
                <a:lnTo>
                  <a:pt x="1320" y="270"/>
                </a:lnTo>
                <a:lnTo>
                  <a:pt x="1320" y="288"/>
                </a:lnTo>
                <a:lnTo>
                  <a:pt x="1320" y="318"/>
                </a:lnTo>
                <a:lnTo>
                  <a:pt x="1326" y="354"/>
                </a:lnTo>
                <a:lnTo>
                  <a:pt x="1326" y="372"/>
                </a:lnTo>
                <a:lnTo>
                  <a:pt x="1332" y="420"/>
                </a:lnTo>
                <a:lnTo>
                  <a:pt x="1332" y="450"/>
                </a:lnTo>
                <a:lnTo>
                  <a:pt x="1338" y="480"/>
                </a:lnTo>
                <a:lnTo>
                  <a:pt x="1344" y="486"/>
                </a:lnTo>
                <a:lnTo>
                  <a:pt x="1338" y="492"/>
                </a:lnTo>
                <a:lnTo>
                  <a:pt x="1344" y="492"/>
                </a:lnTo>
                <a:lnTo>
                  <a:pt x="1344" y="498"/>
                </a:lnTo>
                <a:lnTo>
                  <a:pt x="1350" y="498"/>
                </a:lnTo>
                <a:lnTo>
                  <a:pt x="1350" y="522"/>
                </a:lnTo>
                <a:lnTo>
                  <a:pt x="1362" y="564"/>
                </a:lnTo>
                <a:lnTo>
                  <a:pt x="1368" y="582"/>
                </a:lnTo>
                <a:lnTo>
                  <a:pt x="1380" y="600"/>
                </a:lnTo>
                <a:lnTo>
                  <a:pt x="1386" y="636"/>
                </a:lnTo>
                <a:lnTo>
                  <a:pt x="1380" y="660"/>
                </a:lnTo>
                <a:lnTo>
                  <a:pt x="1380" y="678"/>
                </a:lnTo>
                <a:lnTo>
                  <a:pt x="1380" y="684"/>
                </a:lnTo>
                <a:lnTo>
                  <a:pt x="1374" y="684"/>
                </a:lnTo>
                <a:lnTo>
                  <a:pt x="1368" y="690"/>
                </a:lnTo>
                <a:lnTo>
                  <a:pt x="1356" y="702"/>
                </a:lnTo>
                <a:lnTo>
                  <a:pt x="1350" y="708"/>
                </a:lnTo>
                <a:lnTo>
                  <a:pt x="1356" y="714"/>
                </a:lnTo>
                <a:lnTo>
                  <a:pt x="1368" y="726"/>
                </a:lnTo>
                <a:lnTo>
                  <a:pt x="1380" y="738"/>
                </a:lnTo>
                <a:lnTo>
                  <a:pt x="1386" y="744"/>
                </a:lnTo>
                <a:lnTo>
                  <a:pt x="1392" y="744"/>
                </a:lnTo>
                <a:lnTo>
                  <a:pt x="1410" y="750"/>
                </a:lnTo>
                <a:lnTo>
                  <a:pt x="1416" y="756"/>
                </a:lnTo>
                <a:lnTo>
                  <a:pt x="1422" y="756"/>
                </a:lnTo>
                <a:lnTo>
                  <a:pt x="1422" y="762"/>
                </a:lnTo>
                <a:lnTo>
                  <a:pt x="1428" y="774"/>
                </a:lnTo>
                <a:lnTo>
                  <a:pt x="1428" y="780"/>
                </a:lnTo>
                <a:lnTo>
                  <a:pt x="1434" y="780"/>
                </a:lnTo>
                <a:lnTo>
                  <a:pt x="1440" y="798"/>
                </a:lnTo>
                <a:lnTo>
                  <a:pt x="1422" y="816"/>
                </a:lnTo>
                <a:lnTo>
                  <a:pt x="1386" y="810"/>
                </a:lnTo>
                <a:lnTo>
                  <a:pt x="1380" y="816"/>
                </a:lnTo>
                <a:lnTo>
                  <a:pt x="1374" y="840"/>
                </a:lnTo>
                <a:lnTo>
                  <a:pt x="1350" y="852"/>
                </a:lnTo>
                <a:lnTo>
                  <a:pt x="1350" y="858"/>
                </a:lnTo>
                <a:lnTo>
                  <a:pt x="1350" y="864"/>
                </a:lnTo>
                <a:lnTo>
                  <a:pt x="1344" y="864"/>
                </a:lnTo>
                <a:lnTo>
                  <a:pt x="1338" y="870"/>
                </a:lnTo>
                <a:lnTo>
                  <a:pt x="1332" y="876"/>
                </a:lnTo>
                <a:lnTo>
                  <a:pt x="1314" y="876"/>
                </a:lnTo>
                <a:lnTo>
                  <a:pt x="1314" y="870"/>
                </a:lnTo>
                <a:lnTo>
                  <a:pt x="1308" y="870"/>
                </a:lnTo>
                <a:lnTo>
                  <a:pt x="1302" y="864"/>
                </a:lnTo>
                <a:lnTo>
                  <a:pt x="1296" y="864"/>
                </a:lnTo>
                <a:lnTo>
                  <a:pt x="1284" y="870"/>
                </a:lnTo>
                <a:lnTo>
                  <a:pt x="1266" y="870"/>
                </a:lnTo>
                <a:lnTo>
                  <a:pt x="1260" y="870"/>
                </a:lnTo>
                <a:lnTo>
                  <a:pt x="1248" y="876"/>
                </a:lnTo>
                <a:lnTo>
                  <a:pt x="1236" y="876"/>
                </a:lnTo>
                <a:lnTo>
                  <a:pt x="1230" y="882"/>
                </a:lnTo>
                <a:lnTo>
                  <a:pt x="1224" y="894"/>
                </a:lnTo>
                <a:lnTo>
                  <a:pt x="1218" y="918"/>
                </a:lnTo>
                <a:lnTo>
                  <a:pt x="1218" y="930"/>
                </a:lnTo>
                <a:lnTo>
                  <a:pt x="1218" y="942"/>
                </a:lnTo>
                <a:lnTo>
                  <a:pt x="1212" y="948"/>
                </a:lnTo>
                <a:lnTo>
                  <a:pt x="1200" y="984"/>
                </a:lnTo>
                <a:lnTo>
                  <a:pt x="1194" y="1008"/>
                </a:lnTo>
                <a:lnTo>
                  <a:pt x="1218" y="1038"/>
                </a:lnTo>
                <a:lnTo>
                  <a:pt x="1224" y="1044"/>
                </a:lnTo>
                <a:lnTo>
                  <a:pt x="1224" y="1062"/>
                </a:lnTo>
                <a:lnTo>
                  <a:pt x="1236" y="1080"/>
                </a:lnTo>
                <a:lnTo>
                  <a:pt x="1236" y="1086"/>
                </a:lnTo>
                <a:lnTo>
                  <a:pt x="1230" y="1092"/>
                </a:lnTo>
                <a:lnTo>
                  <a:pt x="1224" y="1110"/>
                </a:lnTo>
                <a:lnTo>
                  <a:pt x="1218" y="1122"/>
                </a:lnTo>
                <a:lnTo>
                  <a:pt x="1224" y="1140"/>
                </a:lnTo>
                <a:lnTo>
                  <a:pt x="1218" y="1146"/>
                </a:lnTo>
                <a:lnTo>
                  <a:pt x="1218" y="1152"/>
                </a:lnTo>
                <a:lnTo>
                  <a:pt x="1212" y="116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8474" name="Freeform 37"/>
          <p:cNvSpPr>
            <a:spLocks/>
          </p:cNvSpPr>
          <p:nvPr/>
        </p:nvSpPr>
        <p:spPr bwMode="gray">
          <a:xfrm>
            <a:off x="3513138" y="1787525"/>
            <a:ext cx="1093787" cy="1149350"/>
          </a:xfrm>
          <a:custGeom>
            <a:avLst/>
            <a:gdLst>
              <a:gd name="T0" fmla="*/ 58668 w 1398"/>
              <a:gd name="T1" fmla="*/ 38648 h 1428"/>
              <a:gd name="T2" fmla="*/ 53192 w 1398"/>
              <a:gd name="T3" fmla="*/ 43479 h 1428"/>
              <a:gd name="T4" fmla="*/ 44588 w 1398"/>
              <a:gd name="T5" fmla="*/ 47505 h 1428"/>
              <a:gd name="T6" fmla="*/ 43023 w 1398"/>
              <a:gd name="T7" fmla="*/ 54752 h 1428"/>
              <a:gd name="T8" fmla="*/ 43023 w 1398"/>
              <a:gd name="T9" fmla="*/ 61998 h 1428"/>
              <a:gd name="T10" fmla="*/ 44588 w 1398"/>
              <a:gd name="T11" fmla="*/ 65219 h 1428"/>
              <a:gd name="T12" fmla="*/ 43805 w 1398"/>
              <a:gd name="T13" fmla="*/ 69245 h 1428"/>
              <a:gd name="T14" fmla="*/ 44588 w 1398"/>
              <a:gd name="T15" fmla="*/ 71660 h 1428"/>
              <a:gd name="T16" fmla="*/ 45370 w 1398"/>
              <a:gd name="T17" fmla="*/ 74076 h 1428"/>
              <a:gd name="T18" fmla="*/ 45370 w 1398"/>
              <a:gd name="T19" fmla="*/ 77297 h 1428"/>
              <a:gd name="T20" fmla="*/ 38330 w 1398"/>
              <a:gd name="T21" fmla="*/ 80517 h 1428"/>
              <a:gd name="T22" fmla="*/ 36765 w 1398"/>
              <a:gd name="T23" fmla="*/ 86959 h 1428"/>
              <a:gd name="T24" fmla="*/ 37548 w 1398"/>
              <a:gd name="T25" fmla="*/ 90985 h 1428"/>
              <a:gd name="T26" fmla="*/ 33636 w 1398"/>
              <a:gd name="T27" fmla="*/ 91790 h 1428"/>
              <a:gd name="T28" fmla="*/ 30507 w 1398"/>
              <a:gd name="T29" fmla="*/ 90985 h 1428"/>
              <a:gd name="T30" fmla="*/ 25814 w 1398"/>
              <a:gd name="T31" fmla="*/ 87764 h 1428"/>
              <a:gd name="T32" fmla="*/ 22685 w 1398"/>
              <a:gd name="T33" fmla="*/ 91790 h 1428"/>
              <a:gd name="T34" fmla="*/ 17209 w 1398"/>
              <a:gd name="T35" fmla="*/ 92595 h 1428"/>
              <a:gd name="T36" fmla="*/ 16427 w 1398"/>
              <a:gd name="T37" fmla="*/ 97426 h 1428"/>
              <a:gd name="T38" fmla="*/ 9387 w 1398"/>
              <a:gd name="T39" fmla="*/ 95816 h 1428"/>
              <a:gd name="T40" fmla="*/ 7040 w 1398"/>
              <a:gd name="T41" fmla="*/ 90985 h 1428"/>
              <a:gd name="T42" fmla="*/ 1564 w 1398"/>
              <a:gd name="T43" fmla="*/ 87764 h 1428"/>
              <a:gd name="T44" fmla="*/ 3129 w 1398"/>
              <a:gd name="T45" fmla="*/ 82933 h 1428"/>
              <a:gd name="T46" fmla="*/ 1564 w 1398"/>
              <a:gd name="T47" fmla="*/ 73271 h 1428"/>
              <a:gd name="T48" fmla="*/ 4693 w 1398"/>
              <a:gd name="T49" fmla="*/ 68440 h 1428"/>
              <a:gd name="T50" fmla="*/ 7822 w 1398"/>
              <a:gd name="T51" fmla="*/ 68440 h 1428"/>
              <a:gd name="T52" fmla="*/ 11734 w 1398"/>
              <a:gd name="T53" fmla="*/ 66024 h 1428"/>
              <a:gd name="T54" fmla="*/ 15645 w 1398"/>
              <a:gd name="T55" fmla="*/ 61998 h 1428"/>
              <a:gd name="T56" fmla="*/ 12516 w 1398"/>
              <a:gd name="T57" fmla="*/ 58778 h 1428"/>
              <a:gd name="T58" fmla="*/ 12516 w 1398"/>
              <a:gd name="T59" fmla="*/ 55557 h 1428"/>
              <a:gd name="T60" fmla="*/ 10951 w 1398"/>
              <a:gd name="T61" fmla="*/ 43479 h 1428"/>
              <a:gd name="T62" fmla="*/ 9387 w 1398"/>
              <a:gd name="T63" fmla="*/ 38648 h 1428"/>
              <a:gd name="T64" fmla="*/ 8605 w 1398"/>
              <a:gd name="T65" fmla="*/ 24960 h 1428"/>
              <a:gd name="T66" fmla="*/ 10951 w 1398"/>
              <a:gd name="T67" fmla="*/ 14493 h 1428"/>
              <a:gd name="T68" fmla="*/ 14863 w 1398"/>
              <a:gd name="T69" fmla="*/ 12078 h 1428"/>
              <a:gd name="T70" fmla="*/ 20338 w 1398"/>
              <a:gd name="T71" fmla="*/ 10467 h 1428"/>
              <a:gd name="T72" fmla="*/ 26596 w 1398"/>
              <a:gd name="T73" fmla="*/ 9662 h 1428"/>
              <a:gd name="T74" fmla="*/ 30507 w 1398"/>
              <a:gd name="T75" fmla="*/ 7247 h 1428"/>
              <a:gd name="T76" fmla="*/ 33636 w 1398"/>
              <a:gd name="T77" fmla="*/ 5636 h 1428"/>
              <a:gd name="T78" fmla="*/ 37548 w 1398"/>
              <a:gd name="T79" fmla="*/ 2416 h 1428"/>
              <a:gd name="T80" fmla="*/ 42241 w 1398"/>
              <a:gd name="T81" fmla="*/ 0 h 1428"/>
              <a:gd name="T82" fmla="*/ 45370 w 1398"/>
              <a:gd name="T83" fmla="*/ 0 h 1428"/>
              <a:gd name="T84" fmla="*/ 51628 w 1398"/>
              <a:gd name="T85" fmla="*/ 1610 h 1428"/>
              <a:gd name="T86" fmla="*/ 54757 w 1398"/>
              <a:gd name="T87" fmla="*/ 2416 h 1428"/>
              <a:gd name="T88" fmla="*/ 58668 w 1398"/>
              <a:gd name="T89" fmla="*/ 4831 h 1428"/>
              <a:gd name="T90" fmla="*/ 62579 w 1398"/>
              <a:gd name="T91" fmla="*/ 7247 h 1428"/>
              <a:gd name="T92" fmla="*/ 64926 w 1398"/>
              <a:gd name="T93" fmla="*/ 9662 h 1428"/>
              <a:gd name="T94" fmla="*/ 68055 w 1398"/>
              <a:gd name="T95" fmla="*/ 12078 h 1428"/>
              <a:gd name="T96" fmla="*/ 73531 w 1398"/>
              <a:gd name="T97" fmla="*/ 12078 h 1428"/>
              <a:gd name="T98" fmla="*/ 77442 w 1398"/>
              <a:gd name="T99" fmla="*/ 16909 h 1428"/>
              <a:gd name="T100" fmla="*/ 80571 w 1398"/>
              <a:gd name="T101" fmla="*/ 18519 h 1428"/>
              <a:gd name="T102" fmla="*/ 86046 w 1398"/>
              <a:gd name="T103" fmla="*/ 20934 h 1428"/>
              <a:gd name="T104" fmla="*/ 90740 w 1398"/>
              <a:gd name="T105" fmla="*/ 21740 h 1428"/>
              <a:gd name="T106" fmla="*/ 93869 w 1398"/>
              <a:gd name="T107" fmla="*/ 21740 h 1428"/>
              <a:gd name="T108" fmla="*/ 90740 w 1398"/>
              <a:gd name="T109" fmla="*/ 28181 h 1428"/>
              <a:gd name="T110" fmla="*/ 81353 w 1398"/>
              <a:gd name="T111" fmla="*/ 29791 h 1428"/>
              <a:gd name="T112" fmla="*/ 75877 w 1398"/>
              <a:gd name="T113" fmla="*/ 27376 h 1428"/>
              <a:gd name="T114" fmla="*/ 71184 w 1398"/>
              <a:gd name="T115" fmla="*/ 23350 h 1428"/>
              <a:gd name="T116" fmla="*/ 58668 w 1398"/>
              <a:gd name="T117" fmla="*/ 23350 h 1428"/>
              <a:gd name="T118" fmla="*/ 56321 w 1398"/>
              <a:gd name="T119" fmla="*/ 31402 h 1428"/>
              <a:gd name="T120" fmla="*/ 62579 w 1398"/>
              <a:gd name="T121" fmla="*/ 33012 h 14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98"/>
              <a:gd name="T184" fmla="*/ 0 h 1428"/>
              <a:gd name="T185" fmla="*/ 1398 w 1398"/>
              <a:gd name="T186" fmla="*/ 1428 h 142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98" h="1428">
                <a:moveTo>
                  <a:pt x="924" y="474"/>
                </a:moveTo>
                <a:lnTo>
                  <a:pt x="900" y="480"/>
                </a:lnTo>
                <a:lnTo>
                  <a:pt x="864" y="486"/>
                </a:lnTo>
                <a:lnTo>
                  <a:pt x="864" y="504"/>
                </a:lnTo>
                <a:lnTo>
                  <a:pt x="858" y="522"/>
                </a:lnTo>
                <a:lnTo>
                  <a:pt x="864" y="528"/>
                </a:lnTo>
                <a:lnTo>
                  <a:pt x="864" y="552"/>
                </a:lnTo>
                <a:lnTo>
                  <a:pt x="852" y="552"/>
                </a:lnTo>
                <a:lnTo>
                  <a:pt x="846" y="564"/>
                </a:lnTo>
                <a:lnTo>
                  <a:pt x="840" y="582"/>
                </a:lnTo>
                <a:lnTo>
                  <a:pt x="834" y="594"/>
                </a:lnTo>
                <a:lnTo>
                  <a:pt x="828" y="606"/>
                </a:lnTo>
                <a:lnTo>
                  <a:pt x="828" y="618"/>
                </a:lnTo>
                <a:lnTo>
                  <a:pt x="786" y="630"/>
                </a:lnTo>
                <a:lnTo>
                  <a:pt x="774" y="636"/>
                </a:lnTo>
                <a:lnTo>
                  <a:pt x="762" y="642"/>
                </a:lnTo>
                <a:lnTo>
                  <a:pt x="744" y="648"/>
                </a:lnTo>
                <a:lnTo>
                  <a:pt x="714" y="660"/>
                </a:lnTo>
                <a:lnTo>
                  <a:pt x="696" y="666"/>
                </a:lnTo>
                <a:lnTo>
                  <a:pt x="666" y="672"/>
                </a:lnTo>
                <a:lnTo>
                  <a:pt x="654" y="684"/>
                </a:lnTo>
                <a:lnTo>
                  <a:pt x="648" y="684"/>
                </a:lnTo>
                <a:lnTo>
                  <a:pt x="642" y="696"/>
                </a:lnTo>
                <a:lnTo>
                  <a:pt x="636" y="696"/>
                </a:lnTo>
                <a:lnTo>
                  <a:pt x="630" y="714"/>
                </a:lnTo>
                <a:lnTo>
                  <a:pt x="624" y="738"/>
                </a:lnTo>
                <a:lnTo>
                  <a:pt x="624" y="762"/>
                </a:lnTo>
                <a:lnTo>
                  <a:pt x="630" y="780"/>
                </a:lnTo>
                <a:lnTo>
                  <a:pt x="636" y="804"/>
                </a:lnTo>
                <a:lnTo>
                  <a:pt x="642" y="822"/>
                </a:lnTo>
                <a:lnTo>
                  <a:pt x="642" y="828"/>
                </a:lnTo>
                <a:lnTo>
                  <a:pt x="636" y="828"/>
                </a:lnTo>
                <a:lnTo>
                  <a:pt x="636" y="834"/>
                </a:lnTo>
                <a:lnTo>
                  <a:pt x="636" y="870"/>
                </a:lnTo>
                <a:lnTo>
                  <a:pt x="636" y="882"/>
                </a:lnTo>
                <a:lnTo>
                  <a:pt x="636" y="906"/>
                </a:lnTo>
                <a:lnTo>
                  <a:pt x="630" y="906"/>
                </a:lnTo>
                <a:lnTo>
                  <a:pt x="636" y="918"/>
                </a:lnTo>
                <a:lnTo>
                  <a:pt x="642" y="918"/>
                </a:lnTo>
                <a:lnTo>
                  <a:pt x="642" y="930"/>
                </a:lnTo>
                <a:lnTo>
                  <a:pt x="648" y="936"/>
                </a:lnTo>
                <a:lnTo>
                  <a:pt x="654" y="936"/>
                </a:lnTo>
                <a:lnTo>
                  <a:pt x="654" y="942"/>
                </a:lnTo>
                <a:lnTo>
                  <a:pt x="654" y="948"/>
                </a:lnTo>
                <a:lnTo>
                  <a:pt x="648" y="954"/>
                </a:lnTo>
                <a:lnTo>
                  <a:pt x="648" y="960"/>
                </a:lnTo>
                <a:lnTo>
                  <a:pt x="648" y="966"/>
                </a:lnTo>
                <a:lnTo>
                  <a:pt x="648" y="972"/>
                </a:lnTo>
                <a:lnTo>
                  <a:pt x="648" y="990"/>
                </a:lnTo>
                <a:lnTo>
                  <a:pt x="654" y="996"/>
                </a:lnTo>
                <a:lnTo>
                  <a:pt x="648" y="1002"/>
                </a:lnTo>
                <a:lnTo>
                  <a:pt x="648" y="1008"/>
                </a:lnTo>
                <a:lnTo>
                  <a:pt x="654" y="1014"/>
                </a:lnTo>
                <a:lnTo>
                  <a:pt x="654" y="1020"/>
                </a:lnTo>
                <a:lnTo>
                  <a:pt x="654" y="1026"/>
                </a:lnTo>
                <a:lnTo>
                  <a:pt x="660" y="1026"/>
                </a:lnTo>
                <a:lnTo>
                  <a:pt x="660" y="1032"/>
                </a:lnTo>
                <a:lnTo>
                  <a:pt x="660" y="1038"/>
                </a:lnTo>
                <a:lnTo>
                  <a:pt x="666" y="1044"/>
                </a:lnTo>
                <a:lnTo>
                  <a:pt x="672" y="1050"/>
                </a:lnTo>
                <a:lnTo>
                  <a:pt x="672" y="1056"/>
                </a:lnTo>
                <a:lnTo>
                  <a:pt x="672" y="1062"/>
                </a:lnTo>
                <a:lnTo>
                  <a:pt x="672" y="1068"/>
                </a:lnTo>
                <a:lnTo>
                  <a:pt x="672" y="1074"/>
                </a:lnTo>
                <a:lnTo>
                  <a:pt x="678" y="1074"/>
                </a:lnTo>
                <a:lnTo>
                  <a:pt x="678" y="1080"/>
                </a:lnTo>
                <a:lnTo>
                  <a:pt x="678" y="1086"/>
                </a:lnTo>
                <a:lnTo>
                  <a:pt x="672" y="1092"/>
                </a:lnTo>
                <a:lnTo>
                  <a:pt x="672" y="1098"/>
                </a:lnTo>
                <a:lnTo>
                  <a:pt x="672" y="1104"/>
                </a:lnTo>
                <a:lnTo>
                  <a:pt x="666" y="1116"/>
                </a:lnTo>
                <a:lnTo>
                  <a:pt x="624" y="1122"/>
                </a:lnTo>
                <a:lnTo>
                  <a:pt x="576" y="1134"/>
                </a:lnTo>
                <a:lnTo>
                  <a:pt x="570" y="1140"/>
                </a:lnTo>
                <a:lnTo>
                  <a:pt x="570" y="1146"/>
                </a:lnTo>
                <a:lnTo>
                  <a:pt x="564" y="1146"/>
                </a:lnTo>
                <a:lnTo>
                  <a:pt x="564" y="1152"/>
                </a:lnTo>
                <a:lnTo>
                  <a:pt x="564" y="1164"/>
                </a:lnTo>
                <a:lnTo>
                  <a:pt x="564" y="1170"/>
                </a:lnTo>
                <a:lnTo>
                  <a:pt x="564" y="1176"/>
                </a:lnTo>
                <a:lnTo>
                  <a:pt x="546" y="1176"/>
                </a:lnTo>
                <a:lnTo>
                  <a:pt x="540" y="1212"/>
                </a:lnTo>
                <a:lnTo>
                  <a:pt x="540" y="1230"/>
                </a:lnTo>
                <a:lnTo>
                  <a:pt x="546" y="1242"/>
                </a:lnTo>
                <a:lnTo>
                  <a:pt x="546" y="1254"/>
                </a:lnTo>
                <a:lnTo>
                  <a:pt x="558" y="1266"/>
                </a:lnTo>
                <a:lnTo>
                  <a:pt x="576" y="1272"/>
                </a:lnTo>
                <a:lnTo>
                  <a:pt x="570" y="1278"/>
                </a:lnTo>
                <a:lnTo>
                  <a:pt x="576" y="1284"/>
                </a:lnTo>
                <a:lnTo>
                  <a:pt x="570" y="1296"/>
                </a:lnTo>
                <a:lnTo>
                  <a:pt x="558" y="1302"/>
                </a:lnTo>
                <a:lnTo>
                  <a:pt x="540" y="1308"/>
                </a:lnTo>
                <a:lnTo>
                  <a:pt x="522" y="1314"/>
                </a:lnTo>
                <a:lnTo>
                  <a:pt x="516" y="1314"/>
                </a:lnTo>
                <a:lnTo>
                  <a:pt x="510" y="1314"/>
                </a:lnTo>
                <a:lnTo>
                  <a:pt x="504" y="1314"/>
                </a:lnTo>
                <a:lnTo>
                  <a:pt x="498" y="1320"/>
                </a:lnTo>
                <a:lnTo>
                  <a:pt x="492" y="1320"/>
                </a:lnTo>
                <a:lnTo>
                  <a:pt x="492" y="1326"/>
                </a:lnTo>
                <a:lnTo>
                  <a:pt x="486" y="1326"/>
                </a:lnTo>
                <a:lnTo>
                  <a:pt x="480" y="1326"/>
                </a:lnTo>
                <a:lnTo>
                  <a:pt x="480" y="1320"/>
                </a:lnTo>
                <a:lnTo>
                  <a:pt x="468" y="1314"/>
                </a:lnTo>
                <a:lnTo>
                  <a:pt x="462" y="1308"/>
                </a:lnTo>
                <a:lnTo>
                  <a:pt x="456" y="1302"/>
                </a:lnTo>
                <a:lnTo>
                  <a:pt x="444" y="1296"/>
                </a:lnTo>
                <a:lnTo>
                  <a:pt x="420" y="1290"/>
                </a:lnTo>
                <a:lnTo>
                  <a:pt x="414" y="1278"/>
                </a:lnTo>
                <a:lnTo>
                  <a:pt x="408" y="1278"/>
                </a:lnTo>
                <a:lnTo>
                  <a:pt x="408" y="1266"/>
                </a:lnTo>
                <a:lnTo>
                  <a:pt x="402" y="1260"/>
                </a:lnTo>
                <a:lnTo>
                  <a:pt x="384" y="1260"/>
                </a:lnTo>
                <a:lnTo>
                  <a:pt x="372" y="1266"/>
                </a:lnTo>
                <a:lnTo>
                  <a:pt x="360" y="1272"/>
                </a:lnTo>
                <a:lnTo>
                  <a:pt x="348" y="1272"/>
                </a:lnTo>
                <a:lnTo>
                  <a:pt x="342" y="1284"/>
                </a:lnTo>
                <a:lnTo>
                  <a:pt x="336" y="1290"/>
                </a:lnTo>
                <a:lnTo>
                  <a:pt x="336" y="1308"/>
                </a:lnTo>
                <a:lnTo>
                  <a:pt x="336" y="1314"/>
                </a:lnTo>
                <a:lnTo>
                  <a:pt x="336" y="1320"/>
                </a:lnTo>
                <a:lnTo>
                  <a:pt x="330" y="1326"/>
                </a:lnTo>
                <a:lnTo>
                  <a:pt x="330" y="1332"/>
                </a:lnTo>
                <a:lnTo>
                  <a:pt x="330" y="1338"/>
                </a:lnTo>
                <a:lnTo>
                  <a:pt x="300" y="1338"/>
                </a:lnTo>
                <a:lnTo>
                  <a:pt x="288" y="1338"/>
                </a:lnTo>
                <a:lnTo>
                  <a:pt x="258" y="1326"/>
                </a:lnTo>
                <a:lnTo>
                  <a:pt x="246" y="1332"/>
                </a:lnTo>
                <a:lnTo>
                  <a:pt x="240" y="1338"/>
                </a:lnTo>
                <a:lnTo>
                  <a:pt x="234" y="1338"/>
                </a:lnTo>
                <a:lnTo>
                  <a:pt x="228" y="1350"/>
                </a:lnTo>
                <a:lnTo>
                  <a:pt x="228" y="1374"/>
                </a:lnTo>
                <a:lnTo>
                  <a:pt x="234" y="1392"/>
                </a:lnTo>
                <a:lnTo>
                  <a:pt x="246" y="1398"/>
                </a:lnTo>
                <a:lnTo>
                  <a:pt x="246" y="1410"/>
                </a:lnTo>
                <a:lnTo>
                  <a:pt x="216" y="1428"/>
                </a:lnTo>
                <a:lnTo>
                  <a:pt x="198" y="1428"/>
                </a:lnTo>
                <a:lnTo>
                  <a:pt x="192" y="1422"/>
                </a:lnTo>
                <a:lnTo>
                  <a:pt x="174" y="1410"/>
                </a:lnTo>
                <a:lnTo>
                  <a:pt x="156" y="1386"/>
                </a:lnTo>
                <a:lnTo>
                  <a:pt x="132" y="1374"/>
                </a:lnTo>
                <a:lnTo>
                  <a:pt x="108" y="1368"/>
                </a:lnTo>
                <a:lnTo>
                  <a:pt x="84" y="1368"/>
                </a:lnTo>
                <a:lnTo>
                  <a:pt x="96" y="1356"/>
                </a:lnTo>
                <a:lnTo>
                  <a:pt x="102" y="1344"/>
                </a:lnTo>
                <a:lnTo>
                  <a:pt x="102" y="1332"/>
                </a:lnTo>
                <a:lnTo>
                  <a:pt x="108" y="1320"/>
                </a:lnTo>
                <a:lnTo>
                  <a:pt x="108" y="1302"/>
                </a:lnTo>
                <a:lnTo>
                  <a:pt x="96" y="1278"/>
                </a:lnTo>
                <a:lnTo>
                  <a:pt x="66" y="1284"/>
                </a:lnTo>
                <a:lnTo>
                  <a:pt x="54" y="1278"/>
                </a:lnTo>
                <a:lnTo>
                  <a:pt x="36" y="1278"/>
                </a:lnTo>
                <a:lnTo>
                  <a:pt x="18" y="1284"/>
                </a:lnTo>
                <a:lnTo>
                  <a:pt x="18" y="1272"/>
                </a:lnTo>
                <a:lnTo>
                  <a:pt x="24" y="1260"/>
                </a:lnTo>
                <a:lnTo>
                  <a:pt x="24" y="1254"/>
                </a:lnTo>
                <a:lnTo>
                  <a:pt x="30" y="1248"/>
                </a:lnTo>
                <a:lnTo>
                  <a:pt x="24" y="1230"/>
                </a:lnTo>
                <a:lnTo>
                  <a:pt x="30" y="1218"/>
                </a:lnTo>
                <a:lnTo>
                  <a:pt x="36" y="1200"/>
                </a:lnTo>
                <a:lnTo>
                  <a:pt x="42" y="1194"/>
                </a:lnTo>
                <a:lnTo>
                  <a:pt x="42" y="1188"/>
                </a:lnTo>
                <a:lnTo>
                  <a:pt x="30" y="1170"/>
                </a:lnTo>
                <a:lnTo>
                  <a:pt x="30" y="1152"/>
                </a:lnTo>
                <a:lnTo>
                  <a:pt x="24" y="1146"/>
                </a:lnTo>
                <a:lnTo>
                  <a:pt x="0" y="1116"/>
                </a:lnTo>
                <a:lnTo>
                  <a:pt x="6" y="1092"/>
                </a:lnTo>
                <a:lnTo>
                  <a:pt x="18" y="1056"/>
                </a:lnTo>
                <a:lnTo>
                  <a:pt x="24" y="1050"/>
                </a:lnTo>
                <a:lnTo>
                  <a:pt x="24" y="1038"/>
                </a:lnTo>
                <a:lnTo>
                  <a:pt x="24" y="1026"/>
                </a:lnTo>
                <a:lnTo>
                  <a:pt x="30" y="1002"/>
                </a:lnTo>
                <a:lnTo>
                  <a:pt x="36" y="990"/>
                </a:lnTo>
                <a:lnTo>
                  <a:pt x="42" y="984"/>
                </a:lnTo>
                <a:lnTo>
                  <a:pt x="54" y="984"/>
                </a:lnTo>
                <a:lnTo>
                  <a:pt x="66" y="978"/>
                </a:lnTo>
                <a:lnTo>
                  <a:pt x="72" y="978"/>
                </a:lnTo>
                <a:lnTo>
                  <a:pt x="90" y="978"/>
                </a:lnTo>
                <a:lnTo>
                  <a:pt x="102" y="972"/>
                </a:lnTo>
                <a:lnTo>
                  <a:pt x="108" y="972"/>
                </a:lnTo>
                <a:lnTo>
                  <a:pt x="114" y="978"/>
                </a:lnTo>
                <a:lnTo>
                  <a:pt x="120" y="978"/>
                </a:lnTo>
                <a:lnTo>
                  <a:pt x="120" y="984"/>
                </a:lnTo>
                <a:lnTo>
                  <a:pt x="138" y="984"/>
                </a:lnTo>
                <a:lnTo>
                  <a:pt x="144" y="978"/>
                </a:lnTo>
                <a:lnTo>
                  <a:pt x="150" y="972"/>
                </a:lnTo>
                <a:lnTo>
                  <a:pt x="156" y="972"/>
                </a:lnTo>
                <a:lnTo>
                  <a:pt x="156" y="966"/>
                </a:lnTo>
                <a:lnTo>
                  <a:pt x="156" y="960"/>
                </a:lnTo>
                <a:lnTo>
                  <a:pt x="180" y="948"/>
                </a:lnTo>
                <a:lnTo>
                  <a:pt x="186" y="924"/>
                </a:lnTo>
                <a:lnTo>
                  <a:pt x="192" y="918"/>
                </a:lnTo>
                <a:lnTo>
                  <a:pt x="228" y="924"/>
                </a:lnTo>
                <a:lnTo>
                  <a:pt x="246" y="906"/>
                </a:lnTo>
                <a:lnTo>
                  <a:pt x="240" y="888"/>
                </a:lnTo>
                <a:lnTo>
                  <a:pt x="234" y="888"/>
                </a:lnTo>
                <a:lnTo>
                  <a:pt x="234" y="882"/>
                </a:lnTo>
                <a:lnTo>
                  <a:pt x="228" y="870"/>
                </a:lnTo>
                <a:lnTo>
                  <a:pt x="228" y="864"/>
                </a:lnTo>
                <a:lnTo>
                  <a:pt x="222" y="864"/>
                </a:lnTo>
                <a:lnTo>
                  <a:pt x="216" y="858"/>
                </a:lnTo>
                <a:lnTo>
                  <a:pt x="198" y="852"/>
                </a:lnTo>
                <a:lnTo>
                  <a:pt x="192" y="852"/>
                </a:lnTo>
                <a:lnTo>
                  <a:pt x="186" y="846"/>
                </a:lnTo>
                <a:lnTo>
                  <a:pt x="174" y="834"/>
                </a:lnTo>
                <a:lnTo>
                  <a:pt x="162" y="822"/>
                </a:lnTo>
                <a:lnTo>
                  <a:pt x="156" y="816"/>
                </a:lnTo>
                <a:lnTo>
                  <a:pt x="162" y="810"/>
                </a:lnTo>
                <a:lnTo>
                  <a:pt x="174" y="798"/>
                </a:lnTo>
                <a:lnTo>
                  <a:pt x="180" y="792"/>
                </a:lnTo>
                <a:lnTo>
                  <a:pt x="186" y="792"/>
                </a:lnTo>
                <a:lnTo>
                  <a:pt x="186" y="786"/>
                </a:lnTo>
                <a:lnTo>
                  <a:pt x="186" y="768"/>
                </a:lnTo>
                <a:lnTo>
                  <a:pt x="192" y="744"/>
                </a:lnTo>
                <a:lnTo>
                  <a:pt x="186" y="708"/>
                </a:lnTo>
                <a:lnTo>
                  <a:pt x="174" y="690"/>
                </a:lnTo>
                <a:lnTo>
                  <a:pt x="168" y="672"/>
                </a:lnTo>
                <a:lnTo>
                  <a:pt x="156" y="630"/>
                </a:lnTo>
                <a:lnTo>
                  <a:pt x="156" y="606"/>
                </a:lnTo>
                <a:lnTo>
                  <a:pt x="150" y="606"/>
                </a:lnTo>
                <a:lnTo>
                  <a:pt x="150" y="600"/>
                </a:lnTo>
                <a:lnTo>
                  <a:pt x="144" y="600"/>
                </a:lnTo>
                <a:lnTo>
                  <a:pt x="150" y="594"/>
                </a:lnTo>
                <a:lnTo>
                  <a:pt x="144" y="588"/>
                </a:lnTo>
                <a:lnTo>
                  <a:pt x="138" y="558"/>
                </a:lnTo>
                <a:lnTo>
                  <a:pt x="138" y="528"/>
                </a:lnTo>
                <a:lnTo>
                  <a:pt x="132" y="480"/>
                </a:lnTo>
                <a:lnTo>
                  <a:pt x="132" y="462"/>
                </a:lnTo>
                <a:lnTo>
                  <a:pt x="126" y="426"/>
                </a:lnTo>
                <a:lnTo>
                  <a:pt x="126" y="396"/>
                </a:lnTo>
                <a:lnTo>
                  <a:pt x="126" y="378"/>
                </a:lnTo>
                <a:lnTo>
                  <a:pt x="126" y="360"/>
                </a:lnTo>
                <a:lnTo>
                  <a:pt x="132" y="318"/>
                </a:lnTo>
                <a:lnTo>
                  <a:pt x="132" y="246"/>
                </a:lnTo>
                <a:lnTo>
                  <a:pt x="132" y="216"/>
                </a:lnTo>
                <a:lnTo>
                  <a:pt x="138" y="216"/>
                </a:lnTo>
                <a:lnTo>
                  <a:pt x="144" y="216"/>
                </a:lnTo>
                <a:lnTo>
                  <a:pt x="156" y="210"/>
                </a:lnTo>
                <a:lnTo>
                  <a:pt x="162" y="210"/>
                </a:lnTo>
                <a:lnTo>
                  <a:pt x="180" y="204"/>
                </a:lnTo>
                <a:lnTo>
                  <a:pt x="186" y="204"/>
                </a:lnTo>
                <a:lnTo>
                  <a:pt x="192" y="198"/>
                </a:lnTo>
                <a:lnTo>
                  <a:pt x="198" y="198"/>
                </a:lnTo>
                <a:lnTo>
                  <a:pt x="216" y="180"/>
                </a:lnTo>
                <a:lnTo>
                  <a:pt x="222" y="174"/>
                </a:lnTo>
                <a:lnTo>
                  <a:pt x="222" y="168"/>
                </a:lnTo>
                <a:lnTo>
                  <a:pt x="228" y="168"/>
                </a:lnTo>
                <a:lnTo>
                  <a:pt x="234" y="156"/>
                </a:lnTo>
                <a:lnTo>
                  <a:pt x="240" y="150"/>
                </a:lnTo>
                <a:lnTo>
                  <a:pt x="246" y="144"/>
                </a:lnTo>
                <a:lnTo>
                  <a:pt x="258" y="144"/>
                </a:lnTo>
                <a:lnTo>
                  <a:pt x="276" y="150"/>
                </a:lnTo>
                <a:lnTo>
                  <a:pt x="300" y="150"/>
                </a:lnTo>
                <a:lnTo>
                  <a:pt x="312" y="150"/>
                </a:lnTo>
                <a:lnTo>
                  <a:pt x="330" y="156"/>
                </a:lnTo>
                <a:lnTo>
                  <a:pt x="336" y="156"/>
                </a:lnTo>
                <a:lnTo>
                  <a:pt x="348" y="156"/>
                </a:lnTo>
                <a:lnTo>
                  <a:pt x="354" y="150"/>
                </a:lnTo>
                <a:lnTo>
                  <a:pt x="372" y="144"/>
                </a:lnTo>
                <a:lnTo>
                  <a:pt x="390" y="138"/>
                </a:lnTo>
                <a:lnTo>
                  <a:pt x="402" y="126"/>
                </a:lnTo>
                <a:lnTo>
                  <a:pt x="408" y="126"/>
                </a:lnTo>
                <a:lnTo>
                  <a:pt x="414" y="120"/>
                </a:lnTo>
                <a:lnTo>
                  <a:pt x="420" y="120"/>
                </a:lnTo>
                <a:lnTo>
                  <a:pt x="426" y="120"/>
                </a:lnTo>
                <a:lnTo>
                  <a:pt x="432" y="114"/>
                </a:lnTo>
                <a:lnTo>
                  <a:pt x="450" y="102"/>
                </a:lnTo>
                <a:lnTo>
                  <a:pt x="456" y="96"/>
                </a:lnTo>
                <a:lnTo>
                  <a:pt x="468" y="90"/>
                </a:lnTo>
                <a:lnTo>
                  <a:pt x="474" y="90"/>
                </a:lnTo>
                <a:lnTo>
                  <a:pt x="480" y="84"/>
                </a:lnTo>
                <a:lnTo>
                  <a:pt x="486" y="84"/>
                </a:lnTo>
                <a:lnTo>
                  <a:pt x="492" y="78"/>
                </a:lnTo>
                <a:lnTo>
                  <a:pt x="498" y="78"/>
                </a:lnTo>
                <a:lnTo>
                  <a:pt x="498" y="72"/>
                </a:lnTo>
                <a:lnTo>
                  <a:pt x="504" y="72"/>
                </a:lnTo>
                <a:lnTo>
                  <a:pt x="510" y="66"/>
                </a:lnTo>
                <a:lnTo>
                  <a:pt x="516" y="66"/>
                </a:lnTo>
                <a:lnTo>
                  <a:pt x="522" y="60"/>
                </a:lnTo>
                <a:lnTo>
                  <a:pt x="552" y="42"/>
                </a:lnTo>
                <a:lnTo>
                  <a:pt x="558" y="36"/>
                </a:lnTo>
                <a:lnTo>
                  <a:pt x="576" y="30"/>
                </a:lnTo>
                <a:lnTo>
                  <a:pt x="576" y="24"/>
                </a:lnTo>
                <a:lnTo>
                  <a:pt x="582" y="24"/>
                </a:lnTo>
                <a:lnTo>
                  <a:pt x="594" y="18"/>
                </a:lnTo>
                <a:lnTo>
                  <a:pt x="600" y="12"/>
                </a:lnTo>
                <a:lnTo>
                  <a:pt x="612" y="6"/>
                </a:lnTo>
                <a:lnTo>
                  <a:pt x="624" y="0"/>
                </a:lnTo>
                <a:lnTo>
                  <a:pt x="630" y="0"/>
                </a:lnTo>
                <a:lnTo>
                  <a:pt x="636" y="0"/>
                </a:lnTo>
                <a:lnTo>
                  <a:pt x="642" y="6"/>
                </a:lnTo>
                <a:lnTo>
                  <a:pt x="648" y="6"/>
                </a:lnTo>
                <a:lnTo>
                  <a:pt x="660" y="6"/>
                </a:lnTo>
                <a:lnTo>
                  <a:pt x="666" y="6"/>
                </a:lnTo>
                <a:lnTo>
                  <a:pt x="672" y="6"/>
                </a:lnTo>
                <a:lnTo>
                  <a:pt x="678" y="6"/>
                </a:lnTo>
                <a:lnTo>
                  <a:pt x="684" y="6"/>
                </a:lnTo>
                <a:lnTo>
                  <a:pt x="708" y="12"/>
                </a:lnTo>
                <a:lnTo>
                  <a:pt x="732" y="12"/>
                </a:lnTo>
                <a:lnTo>
                  <a:pt x="738" y="18"/>
                </a:lnTo>
                <a:lnTo>
                  <a:pt x="744" y="18"/>
                </a:lnTo>
                <a:lnTo>
                  <a:pt x="756" y="18"/>
                </a:lnTo>
                <a:lnTo>
                  <a:pt x="762" y="18"/>
                </a:lnTo>
                <a:lnTo>
                  <a:pt x="762" y="24"/>
                </a:lnTo>
                <a:lnTo>
                  <a:pt x="768" y="24"/>
                </a:lnTo>
                <a:lnTo>
                  <a:pt x="780" y="24"/>
                </a:lnTo>
                <a:lnTo>
                  <a:pt x="792" y="24"/>
                </a:lnTo>
                <a:lnTo>
                  <a:pt x="792" y="30"/>
                </a:lnTo>
                <a:lnTo>
                  <a:pt x="810" y="30"/>
                </a:lnTo>
                <a:lnTo>
                  <a:pt x="822" y="36"/>
                </a:lnTo>
                <a:lnTo>
                  <a:pt x="834" y="42"/>
                </a:lnTo>
                <a:lnTo>
                  <a:pt x="840" y="48"/>
                </a:lnTo>
                <a:lnTo>
                  <a:pt x="846" y="54"/>
                </a:lnTo>
                <a:lnTo>
                  <a:pt x="852" y="60"/>
                </a:lnTo>
                <a:lnTo>
                  <a:pt x="858" y="66"/>
                </a:lnTo>
                <a:lnTo>
                  <a:pt x="864" y="66"/>
                </a:lnTo>
                <a:lnTo>
                  <a:pt x="864" y="72"/>
                </a:lnTo>
                <a:lnTo>
                  <a:pt x="876" y="78"/>
                </a:lnTo>
                <a:lnTo>
                  <a:pt x="900" y="84"/>
                </a:lnTo>
                <a:lnTo>
                  <a:pt x="906" y="90"/>
                </a:lnTo>
                <a:lnTo>
                  <a:pt x="912" y="90"/>
                </a:lnTo>
                <a:lnTo>
                  <a:pt x="912" y="96"/>
                </a:lnTo>
                <a:lnTo>
                  <a:pt x="924" y="108"/>
                </a:lnTo>
                <a:lnTo>
                  <a:pt x="930" y="108"/>
                </a:lnTo>
                <a:lnTo>
                  <a:pt x="936" y="114"/>
                </a:lnTo>
                <a:lnTo>
                  <a:pt x="936" y="120"/>
                </a:lnTo>
                <a:lnTo>
                  <a:pt x="942" y="120"/>
                </a:lnTo>
                <a:lnTo>
                  <a:pt x="942" y="126"/>
                </a:lnTo>
                <a:lnTo>
                  <a:pt x="948" y="132"/>
                </a:lnTo>
                <a:lnTo>
                  <a:pt x="960" y="138"/>
                </a:lnTo>
                <a:lnTo>
                  <a:pt x="966" y="144"/>
                </a:lnTo>
                <a:lnTo>
                  <a:pt x="972" y="156"/>
                </a:lnTo>
                <a:lnTo>
                  <a:pt x="978" y="162"/>
                </a:lnTo>
                <a:lnTo>
                  <a:pt x="984" y="162"/>
                </a:lnTo>
                <a:lnTo>
                  <a:pt x="990" y="168"/>
                </a:lnTo>
                <a:lnTo>
                  <a:pt x="996" y="174"/>
                </a:lnTo>
                <a:lnTo>
                  <a:pt x="1002" y="180"/>
                </a:lnTo>
                <a:lnTo>
                  <a:pt x="1008" y="180"/>
                </a:lnTo>
                <a:lnTo>
                  <a:pt x="1020" y="180"/>
                </a:lnTo>
                <a:lnTo>
                  <a:pt x="1038" y="174"/>
                </a:lnTo>
                <a:lnTo>
                  <a:pt x="1050" y="174"/>
                </a:lnTo>
                <a:lnTo>
                  <a:pt x="1056" y="174"/>
                </a:lnTo>
                <a:lnTo>
                  <a:pt x="1068" y="180"/>
                </a:lnTo>
                <a:lnTo>
                  <a:pt x="1080" y="180"/>
                </a:lnTo>
                <a:lnTo>
                  <a:pt x="1086" y="186"/>
                </a:lnTo>
                <a:lnTo>
                  <a:pt x="1098" y="192"/>
                </a:lnTo>
                <a:lnTo>
                  <a:pt x="1116" y="204"/>
                </a:lnTo>
                <a:lnTo>
                  <a:pt x="1122" y="210"/>
                </a:lnTo>
                <a:lnTo>
                  <a:pt x="1134" y="222"/>
                </a:lnTo>
                <a:lnTo>
                  <a:pt x="1146" y="234"/>
                </a:lnTo>
                <a:lnTo>
                  <a:pt x="1146" y="240"/>
                </a:lnTo>
                <a:lnTo>
                  <a:pt x="1152" y="246"/>
                </a:lnTo>
                <a:lnTo>
                  <a:pt x="1152" y="252"/>
                </a:lnTo>
                <a:lnTo>
                  <a:pt x="1152" y="258"/>
                </a:lnTo>
                <a:lnTo>
                  <a:pt x="1164" y="258"/>
                </a:lnTo>
                <a:lnTo>
                  <a:pt x="1170" y="264"/>
                </a:lnTo>
                <a:lnTo>
                  <a:pt x="1182" y="270"/>
                </a:lnTo>
                <a:lnTo>
                  <a:pt x="1188" y="270"/>
                </a:lnTo>
                <a:lnTo>
                  <a:pt x="1194" y="270"/>
                </a:lnTo>
                <a:lnTo>
                  <a:pt x="1206" y="276"/>
                </a:lnTo>
                <a:lnTo>
                  <a:pt x="1224" y="282"/>
                </a:lnTo>
                <a:lnTo>
                  <a:pt x="1236" y="282"/>
                </a:lnTo>
                <a:lnTo>
                  <a:pt x="1242" y="288"/>
                </a:lnTo>
                <a:lnTo>
                  <a:pt x="1254" y="288"/>
                </a:lnTo>
                <a:lnTo>
                  <a:pt x="1266" y="294"/>
                </a:lnTo>
                <a:lnTo>
                  <a:pt x="1272" y="294"/>
                </a:lnTo>
                <a:lnTo>
                  <a:pt x="1284" y="300"/>
                </a:lnTo>
                <a:lnTo>
                  <a:pt x="1290" y="300"/>
                </a:lnTo>
                <a:lnTo>
                  <a:pt x="1296" y="300"/>
                </a:lnTo>
                <a:lnTo>
                  <a:pt x="1302" y="306"/>
                </a:lnTo>
                <a:lnTo>
                  <a:pt x="1326" y="312"/>
                </a:lnTo>
                <a:lnTo>
                  <a:pt x="1338" y="312"/>
                </a:lnTo>
                <a:lnTo>
                  <a:pt x="1338" y="318"/>
                </a:lnTo>
                <a:lnTo>
                  <a:pt x="1344" y="318"/>
                </a:lnTo>
                <a:lnTo>
                  <a:pt x="1350" y="318"/>
                </a:lnTo>
                <a:lnTo>
                  <a:pt x="1362" y="324"/>
                </a:lnTo>
                <a:lnTo>
                  <a:pt x="1368" y="318"/>
                </a:lnTo>
                <a:lnTo>
                  <a:pt x="1374" y="318"/>
                </a:lnTo>
                <a:lnTo>
                  <a:pt x="1386" y="318"/>
                </a:lnTo>
                <a:lnTo>
                  <a:pt x="1398" y="324"/>
                </a:lnTo>
                <a:lnTo>
                  <a:pt x="1398" y="342"/>
                </a:lnTo>
                <a:lnTo>
                  <a:pt x="1356" y="342"/>
                </a:lnTo>
                <a:lnTo>
                  <a:pt x="1350" y="348"/>
                </a:lnTo>
                <a:lnTo>
                  <a:pt x="1350" y="372"/>
                </a:lnTo>
                <a:lnTo>
                  <a:pt x="1338" y="384"/>
                </a:lnTo>
                <a:lnTo>
                  <a:pt x="1332" y="408"/>
                </a:lnTo>
                <a:lnTo>
                  <a:pt x="1320" y="420"/>
                </a:lnTo>
                <a:lnTo>
                  <a:pt x="1254" y="426"/>
                </a:lnTo>
                <a:lnTo>
                  <a:pt x="1248" y="432"/>
                </a:lnTo>
                <a:lnTo>
                  <a:pt x="1230" y="432"/>
                </a:lnTo>
                <a:lnTo>
                  <a:pt x="1212" y="432"/>
                </a:lnTo>
                <a:lnTo>
                  <a:pt x="1212" y="426"/>
                </a:lnTo>
                <a:lnTo>
                  <a:pt x="1200" y="426"/>
                </a:lnTo>
                <a:lnTo>
                  <a:pt x="1182" y="414"/>
                </a:lnTo>
                <a:lnTo>
                  <a:pt x="1182" y="420"/>
                </a:lnTo>
                <a:lnTo>
                  <a:pt x="1164" y="420"/>
                </a:lnTo>
                <a:lnTo>
                  <a:pt x="1158" y="414"/>
                </a:lnTo>
                <a:lnTo>
                  <a:pt x="1152" y="408"/>
                </a:lnTo>
                <a:lnTo>
                  <a:pt x="1146" y="402"/>
                </a:lnTo>
                <a:lnTo>
                  <a:pt x="1122" y="396"/>
                </a:lnTo>
                <a:lnTo>
                  <a:pt x="1116" y="366"/>
                </a:lnTo>
                <a:lnTo>
                  <a:pt x="1116" y="348"/>
                </a:lnTo>
                <a:lnTo>
                  <a:pt x="1110" y="342"/>
                </a:lnTo>
                <a:lnTo>
                  <a:pt x="1104" y="336"/>
                </a:lnTo>
                <a:lnTo>
                  <a:pt x="1092" y="330"/>
                </a:lnTo>
                <a:lnTo>
                  <a:pt x="1074" y="330"/>
                </a:lnTo>
                <a:lnTo>
                  <a:pt x="1044" y="330"/>
                </a:lnTo>
                <a:lnTo>
                  <a:pt x="1014" y="336"/>
                </a:lnTo>
                <a:lnTo>
                  <a:pt x="984" y="342"/>
                </a:lnTo>
                <a:lnTo>
                  <a:pt x="978" y="330"/>
                </a:lnTo>
                <a:lnTo>
                  <a:pt x="966" y="324"/>
                </a:lnTo>
                <a:lnTo>
                  <a:pt x="888" y="336"/>
                </a:lnTo>
                <a:lnTo>
                  <a:pt x="888" y="330"/>
                </a:lnTo>
                <a:lnTo>
                  <a:pt x="870" y="336"/>
                </a:lnTo>
                <a:lnTo>
                  <a:pt x="858" y="336"/>
                </a:lnTo>
                <a:lnTo>
                  <a:pt x="852" y="354"/>
                </a:lnTo>
                <a:lnTo>
                  <a:pt x="852" y="402"/>
                </a:lnTo>
                <a:lnTo>
                  <a:pt x="840" y="414"/>
                </a:lnTo>
                <a:lnTo>
                  <a:pt x="834" y="420"/>
                </a:lnTo>
                <a:lnTo>
                  <a:pt x="834" y="444"/>
                </a:lnTo>
                <a:lnTo>
                  <a:pt x="834" y="450"/>
                </a:lnTo>
                <a:lnTo>
                  <a:pt x="852" y="456"/>
                </a:lnTo>
                <a:lnTo>
                  <a:pt x="864" y="462"/>
                </a:lnTo>
                <a:lnTo>
                  <a:pt x="894" y="456"/>
                </a:lnTo>
                <a:lnTo>
                  <a:pt x="900" y="468"/>
                </a:lnTo>
                <a:lnTo>
                  <a:pt x="918" y="462"/>
                </a:lnTo>
                <a:lnTo>
                  <a:pt x="924" y="468"/>
                </a:lnTo>
                <a:lnTo>
                  <a:pt x="924" y="47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8475" name="Freeform 38"/>
          <p:cNvSpPr>
            <a:spLocks/>
          </p:cNvSpPr>
          <p:nvPr/>
        </p:nvSpPr>
        <p:spPr bwMode="gray">
          <a:xfrm>
            <a:off x="3935413" y="2168525"/>
            <a:ext cx="835025" cy="1039813"/>
          </a:xfrm>
          <a:custGeom>
            <a:avLst/>
            <a:gdLst>
              <a:gd name="T0" fmla="*/ 61812 w 1068"/>
              <a:gd name="T1" fmla="*/ 58082 h 1290"/>
              <a:gd name="T2" fmla="*/ 58682 w 1068"/>
              <a:gd name="T3" fmla="*/ 58888 h 1290"/>
              <a:gd name="T4" fmla="*/ 56335 w 1068"/>
              <a:gd name="T5" fmla="*/ 61308 h 1290"/>
              <a:gd name="T6" fmla="*/ 54770 w 1068"/>
              <a:gd name="T7" fmla="*/ 62922 h 1290"/>
              <a:gd name="T8" fmla="*/ 52423 w 1068"/>
              <a:gd name="T9" fmla="*/ 66149 h 1290"/>
              <a:gd name="T10" fmla="*/ 47728 w 1068"/>
              <a:gd name="T11" fmla="*/ 69375 h 1290"/>
              <a:gd name="T12" fmla="*/ 46946 w 1068"/>
              <a:gd name="T13" fmla="*/ 75022 h 1290"/>
              <a:gd name="T14" fmla="*/ 46163 w 1068"/>
              <a:gd name="T15" fmla="*/ 78249 h 1290"/>
              <a:gd name="T16" fmla="*/ 47728 w 1068"/>
              <a:gd name="T17" fmla="*/ 81476 h 1290"/>
              <a:gd name="T18" fmla="*/ 49293 w 1068"/>
              <a:gd name="T19" fmla="*/ 83896 h 1290"/>
              <a:gd name="T20" fmla="*/ 48511 w 1068"/>
              <a:gd name="T21" fmla="*/ 87123 h 1290"/>
              <a:gd name="T22" fmla="*/ 46946 w 1068"/>
              <a:gd name="T23" fmla="*/ 89543 h 1290"/>
              <a:gd name="T24" fmla="*/ 43816 w 1068"/>
              <a:gd name="T25" fmla="*/ 89543 h 1290"/>
              <a:gd name="T26" fmla="*/ 41469 w 1068"/>
              <a:gd name="T27" fmla="*/ 88736 h 1290"/>
              <a:gd name="T28" fmla="*/ 39122 w 1068"/>
              <a:gd name="T29" fmla="*/ 87929 h 1290"/>
              <a:gd name="T30" fmla="*/ 36774 w 1068"/>
              <a:gd name="T31" fmla="*/ 88736 h 1290"/>
              <a:gd name="T32" fmla="*/ 39904 w 1068"/>
              <a:gd name="T33" fmla="*/ 83896 h 1290"/>
              <a:gd name="T34" fmla="*/ 39122 w 1068"/>
              <a:gd name="T35" fmla="*/ 76636 h 1290"/>
              <a:gd name="T36" fmla="*/ 39904 w 1068"/>
              <a:gd name="T37" fmla="*/ 72602 h 1290"/>
              <a:gd name="T38" fmla="*/ 36774 w 1068"/>
              <a:gd name="T39" fmla="*/ 67762 h 1290"/>
              <a:gd name="T40" fmla="*/ 32862 w 1068"/>
              <a:gd name="T41" fmla="*/ 62922 h 1290"/>
              <a:gd name="T42" fmla="*/ 25820 w 1068"/>
              <a:gd name="T43" fmla="*/ 58888 h 1290"/>
              <a:gd name="T44" fmla="*/ 20343 w 1068"/>
              <a:gd name="T45" fmla="*/ 54855 h 1290"/>
              <a:gd name="T46" fmla="*/ 17213 w 1068"/>
              <a:gd name="T47" fmla="*/ 50821 h 1290"/>
              <a:gd name="T48" fmla="*/ 8607 w 1068"/>
              <a:gd name="T49" fmla="*/ 54048 h 1290"/>
              <a:gd name="T50" fmla="*/ 0 w 1068"/>
              <a:gd name="T51" fmla="*/ 54855 h 1290"/>
              <a:gd name="T52" fmla="*/ 1565 w 1068"/>
              <a:gd name="T53" fmla="*/ 47595 h 1290"/>
              <a:gd name="T54" fmla="*/ 9389 w 1068"/>
              <a:gd name="T55" fmla="*/ 44368 h 1290"/>
              <a:gd name="T56" fmla="*/ 9389 w 1068"/>
              <a:gd name="T57" fmla="*/ 41141 h 1290"/>
              <a:gd name="T58" fmla="*/ 7824 w 1068"/>
              <a:gd name="T59" fmla="*/ 37914 h 1290"/>
              <a:gd name="T60" fmla="*/ 7042 w 1068"/>
              <a:gd name="T61" fmla="*/ 33881 h 1290"/>
              <a:gd name="T62" fmla="*/ 6259 w 1068"/>
              <a:gd name="T63" fmla="*/ 30654 h 1290"/>
              <a:gd name="T64" fmla="*/ 6259 w 1068"/>
              <a:gd name="T65" fmla="*/ 23394 h 1290"/>
              <a:gd name="T66" fmla="*/ 7824 w 1068"/>
              <a:gd name="T67" fmla="*/ 14520 h 1290"/>
              <a:gd name="T68" fmla="*/ 19561 w 1068"/>
              <a:gd name="T69" fmla="*/ 9680 h 1290"/>
              <a:gd name="T70" fmla="*/ 21126 w 1068"/>
              <a:gd name="T71" fmla="*/ 3227 h 1290"/>
              <a:gd name="T72" fmla="*/ 27385 w 1068"/>
              <a:gd name="T73" fmla="*/ 4840 h 1290"/>
              <a:gd name="T74" fmla="*/ 30515 w 1068"/>
              <a:gd name="T75" fmla="*/ 6454 h 1290"/>
              <a:gd name="T76" fmla="*/ 32080 w 1068"/>
              <a:gd name="T77" fmla="*/ 2420 h 1290"/>
              <a:gd name="T78" fmla="*/ 35209 w 1068"/>
              <a:gd name="T79" fmla="*/ 0 h 1290"/>
              <a:gd name="T80" fmla="*/ 39904 w 1068"/>
              <a:gd name="T81" fmla="*/ 0 h 1290"/>
              <a:gd name="T82" fmla="*/ 43816 w 1068"/>
              <a:gd name="T83" fmla="*/ 3227 h 1290"/>
              <a:gd name="T84" fmla="*/ 48511 w 1068"/>
              <a:gd name="T85" fmla="*/ 9680 h 1290"/>
              <a:gd name="T86" fmla="*/ 45381 w 1068"/>
              <a:gd name="T87" fmla="*/ 13714 h 1290"/>
              <a:gd name="T88" fmla="*/ 46946 w 1068"/>
              <a:gd name="T89" fmla="*/ 14520 h 1290"/>
              <a:gd name="T90" fmla="*/ 50076 w 1068"/>
              <a:gd name="T91" fmla="*/ 12907 h 1290"/>
              <a:gd name="T92" fmla="*/ 53205 w 1068"/>
              <a:gd name="T93" fmla="*/ 14520 h 1290"/>
              <a:gd name="T94" fmla="*/ 55553 w 1068"/>
              <a:gd name="T95" fmla="*/ 21781 h 1290"/>
              <a:gd name="T96" fmla="*/ 57900 w 1068"/>
              <a:gd name="T97" fmla="*/ 24201 h 1290"/>
              <a:gd name="T98" fmla="*/ 64159 w 1068"/>
              <a:gd name="T99" fmla="*/ 24201 h 1290"/>
              <a:gd name="T100" fmla="*/ 68072 w 1068"/>
              <a:gd name="T101" fmla="*/ 28234 h 1290"/>
              <a:gd name="T102" fmla="*/ 66507 w 1068"/>
              <a:gd name="T103" fmla="*/ 33881 h 1290"/>
              <a:gd name="T104" fmla="*/ 63377 w 1068"/>
              <a:gd name="T105" fmla="*/ 37108 h 1290"/>
              <a:gd name="T106" fmla="*/ 67289 w 1068"/>
              <a:gd name="T107" fmla="*/ 40334 h 1290"/>
              <a:gd name="T108" fmla="*/ 69636 w 1068"/>
              <a:gd name="T109" fmla="*/ 46788 h 1290"/>
              <a:gd name="T110" fmla="*/ 71984 w 1068"/>
              <a:gd name="T111" fmla="*/ 49208 h 1290"/>
              <a:gd name="T112" fmla="*/ 67289 w 1068"/>
              <a:gd name="T113" fmla="*/ 53242 h 1290"/>
              <a:gd name="T114" fmla="*/ 66507 w 1068"/>
              <a:gd name="T115" fmla="*/ 56468 h 129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68"/>
              <a:gd name="T175" fmla="*/ 0 h 1290"/>
              <a:gd name="T176" fmla="*/ 1068 w 1068"/>
              <a:gd name="T177" fmla="*/ 1290 h 129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68" h="1290">
                <a:moveTo>
                  <a:pt x="978" y="804"/>
                </a:moveTo>
                <a:lnTo>
                  <a:pt x="972" y="810"/>
                </a:lnTo>
                <a:lnTo>
                  <a:pt x="966" y="810"/>
                </a:lnTo>
                <a:lnTo>
                  <a:pt x="966" y="816"/>
                </a:lnTo>
                <a:lnTo>
                  <a:pt x="936" y="828"/>
                </a:lnTo>
                <a:lnTo>
                  <a:pt x="924" y="822"/>
                </a:lnTo>
                <a:lnTo>
                  <a:pt x="912" y="822"/>
                </a:lnTo>
                <a:lnTo>
                  <a:pt x="906" y="828"/>
                </a:lnTo>
                <a:lnTo>
                  <a:pt x="900" y="828"/>
                </a:lnTo>
                <a:lnTo>
                  <a:pt x="900" y="822"/>
                </a:lnTo>
                <a:lnTo>
                  <a:pt x="894" y="822"/>
                </a:lnTo>
                <a:lnTo>
                  <a:pt x="888" y="828"/>
                </a:lnTo>
                <a:lnTo>
                  <a:pt x="882" y="834"/>
                </a:lnTo>
                <a:lnTo>
                  <a:pt x="876" y="834"/>
                </a:lnTo>
                <a:lnTo>
                  <a:pt x="870" y="840"/>
                </a:lnTo>
                <a:lnTo>
                  <a:pt x="864" y="840"/>
                </a:lnTo>
                <a:lnTo>
                  <a:pt x="864" y="846"/>
                </a:lnTo>
                <a:lnTo>
                  <a:pt x="858" y="846"/>
                </a:lnTo>
                <a:lnTo>
                  <a:pt x="852" y="846"/>
                </a:lnTo>
                <a:lnTo>
                  <a:pt x="852" y="858"/>
                </a:lnTo>
                <a:lnTo>
                  <a:pt x="846" y="864"/>
                </a:lnTo>
                <a:lnTo>
                  <a:pt x="840" y="870"/>
                </a:lnTo>
                <a:lnTo>
                  <a:pt x="834" y="870"/>
                </a:lnTo>
                <a:lnTo>
                  <a:pt x="834" y="876"/>
                </a:lnTo>
                <a:lnTo>
                  <a:pt x="834" y="882"/>
                </a:lnTo>
                <a:lnTo>
                  <a:pt x="834" y="876"/>
                </a:lnTo>
                <a:lnTo>
                  <a:pt x="828" y="882"/>
                </a:lnTo>
                <a:lnTo>
                  <a:pt x="822" y="888"/>
                </a:lnTo>
                <a:lnTo>
                  <a:pt x="816" y="888"/>
                </a:lnTo>
                <a:lnTo>
                  <a:pt x="816" y="894"/>
                </a:lnTo>
                <a:lnTo>
                  <a:pt x="810" y="894"/>
                </a:lnTo>
                <a:lnTo>
                  <a:pt x="810" y="900"/>
                </a:lnTo>
                <a:lnTo>
                  <a:pt x="804" y="900"/>
                </a:lnTo>
                <a:lnTo>
                  <a:pt x="798" y="900"/>
                </a:lnTo>
                <a:lnTo>
                  <a:pt x="798" y="906"/>
                </a:lnTo>
                <a:lnTo>
                  <a:pt x="792" y="906"/>
                </a:lnTo>
                <a:lnTo>
                  <a:pt x="792" y="912"/>
                </a:lnTo>
                <a:lnTo>
                  <a:pt x="792" y="924"/>
                </a:lnTo>
                <a:lnTo>
                  <a:pt x="786" y="930"/>
                </a:lnTo>
                <a:lnTo>
                  <a:pt x="774" y="942"/>
                </a:lnTo>
                <a:lnTo>
                  <a:pt x="774" y="948"/>
                </a:lnTo>
                <a:lnTo>
                  <a:pt x="768" y="954"/>
                </a:lnTo>
                <a:lnTo>
                  <a:pt x="762" y="954"/>
                </a:lnTo>
                <a:lnTo>
                  <a:pt x="750" y="972"/>
                </a:lnTo>
                <a:lnTo>
                  <a:pt x="720" y="978"/>
                </a:lnTo>
                <a:lnTo>
                  <a:pt x="714" y="978"/>
                </a:lnTo>
                <a:lnTo>
                  <a:pt x="708" y="978"/>
                </a:lnTo>
                <a:lnTo>
                  <a:pt x="702" y="990"/>
                </a:lnTo>
                <a:lnTo>
                  <a:pt x="696" y="990"/>
                </a:lnTo>
                <a:lnTo>
                  <a:pt x="696" y="1008"/>
                </a:lnTo>
                <a:lnTo>
                  <a:pt x="690" y="1008"/>
                </a:lnTo>
                <a:lnTo>
                  <a:pt x="690" y="1014"/>
                </a:lnTo>
                <a:lnTo>
                  <a:pt x="684" y="1032"/>
                </a:lnTo>
                <a:lnTo>
                  <a:pt x="690" y="1050"/>
                </a:lnTo>
                <a:lnTo>
                  <a:pt x="690" y="1062"/>
                </a:lnTo>
                <a:lnTo>
                  <a:pt x="690" y="1068"/>
                </a:lnTo>
                <a:lnTo>
                  <a:pt x="690" y="1074"/>
                </a:lnTo>
                <a:lnTo>
                  <a:pt x="684" y="1074"/>
                </a:lnTo>
                <a:lnTo>
                  <a:pt x="684" y="1080"/>
                </a:lnTo>
                <a:lnTo>
                  <a:pt x="678" y="1086"/>
                </a:lnTo>
                <a:lnTo>
                  <a:pt x="678" y="1104"/>
                </a:lnTo>
                <a:lnTo>
                  <a:pt x="678" y="1110"/>
                </a:lnTo>
                <a:lnTo>
                  <a:pt x="678" y="1116"/>
                </a:lnTo>
                <a:lnTo>
                  <a:pt x="684" y="1116"/>
                </a:lnTo>
                <a:lnTo>
                  <a:pt x="678" y="1128"/>
                </a:lnTo>
                <a:lnTo>
                  <a:pt x="684" y="1128"/>
                </a:lnTo>
                <a:lnTo>
                  <a:pt x="690" y="1134"/>
                </a:lnTo>
                <a:lnTo>
                  <a:pt x="690" y="1140"/>
                </a:lnTo>
                <a:lnTo>
                  <a:pt x="696" y="1140"/>
                </a:lnTo>
                <a:lnTo>
                  <a:pt x="696" y="1146"/>
                </a:lnTo>
                <a:lnTo>
                  <a:pt x="696" y="1152"/>
                </a:lnTo>
                <a:lnTo>
                  <a:pt x="702" y="1152"/>
                </a:lnTo>
                <a:lnTo>
                  <a:pt x="708" y="1152"/>
                </a:lnTo>
                <a:lnTo>
                  <a:pt x="714" y="1158"/>
                </a:lnTo>
                <a:lnTo>
                  <a:pt x="714" y="1164"/>
                </a:lnTo>
                <a:lnTo>
                  <a:pt x="720" y="1170"/>
                </a:lnTo>
                <a:lnTo>
                  <a:pt x="720" y="1176"/>
                </a:lnTo>
                <a:lnTo>
                  <a:pt x="720" y="1182"/>
                </a:lnTo>
                <a:lnTo>
                  <a:pt x="726" y="1188"/>
                </a:lnTo>
                <a:lnTo>
                  <a:pt x="726" y="1194"/>
                </a:lnTo>
                <a:lnTo>
                  <a:pt x="732" y="1194"/>
                </a:lnTo>
                <a:lnTo>
                  <a:pt x="732" y="1200"/>
                </a:lnTo>
                <a:lnTo>
                  <a:pt x="738" y="1212"/>
                </a:lnTo>
                <a:lnTo>
                  <a:pt x="732" y="1218"/>
                </a:lnTo>
                <a:lnTo>
                  <a:pt x="732" y="1224"/>
                </a:lnTo>
                <a:lnTo>
                  <a:pt x="726" y="1230"/>
                </a:lnTo>
                <a:lnTo>
                  <a:pt x="720" y="1230"/>
                </a:lnTo>
                <a:lnTo>
                  <a:pt x="720" y="1236"/>
                </a:lnTo>
                <a:lnTo>
                  <a:pt x="720" y="1242"/>
                </a:lnTo>
                <a:lnTo>
                  <a:pt x="720" y="1248"/>
                </a:lnTo>
                <a:lnTo>
                  <a:pt x="714" y="1248"/>
                </a:lnTo>
                <a:lnTo>
                  <a:pt x="714" y="1254"/>
                </a:lnTo>
                <a:lnTo>
                  <a:pt x="708" y="1260"/>
                </a:lnTo>
                <a:lnTo>
                  <a:pt x="702" y="1272"/>
                </a:lnTo>
                <a:lnTo>
                  <a:pt x="696" y="1272"/>
                </a:lnTo>
                <a:lnTo>
                  <a:pt x="696" y="1278"/>
                </a:lnTo>
                <a:lnTo>
                  <a:pt x="690" y="1284"/>
                </a:lnTo>
                <a:lnTo>
                  <a:pt x="690" y="1290"/>
                </a:lnTo>
                <a:lnTo>
                  <a:pt x="684" y="1290"/>
                </a:lnTo>
                <a:lnTo>
                  <a:pt x="660" y="1284"/>
                </a:lnTo>
                <a:lnTo>
                  <a:pt x="660" y="1278"/>
                </a:lnTo>
                <a:lnTo>
                  <a:pt x="654" y="1272"/>
                </a:lnTo>
                <a:lnTo>
                  <a:pt x="648" y="1272"/>
                </a:lnTo>
                <a:lnTo>
                  <a:pt x="642" y="1272"/>
                </a:lnTo>
                <a:lnTo>
                  <a:pt x="642" y="1266"/>
                </a:lnTo>
                <a:lnTo>
                  <a:pt x="636" y="1266"/>
                </a:lnTo>
                <a:lnTo>
                  <a:pt x="630" y="1266"/>
                </a:lnTo>
                <a:lnTo>
                  <a:pt x="624" y="1266"/>
                </a:lnTo>
                <a:lnTo>
                  <a:pt x="624" y="1260"/>
                </a:lnTo>
                <a:lnTo>
                  <a:pt x="618" y="1260"/>
                </a:lnTo>
                <a:lnTo>
                  <a:pt x="612" y="1260"/>
                </a:lnTo>
                <a:lnTo>
                  <a:pt x="606" y="1260"/>
                </a:lnTo>
                <a:lnTo>
                  <a:pt x="600" y="1260"/>
                </a:lnTo>
                <a:lnTo>
                  <a:pt x="600" y="1254"/>
                </a:lnTo>
                <a:lnTo>
                  <a:pt x="594" y="1254"/>
                </a:lnTo>
                <a:lnTo>
                  <a:pt x="588" y="1248"/>
                </a:lnTo>
                <a:lnTo>
                  <a:pt x="588" y="1254"/>
                </a:lnTo>
                <a:lnTo>
                  <a:pt x="582" y="1254"/>
                </a:lnTo>
                <a:lnTo>
                  <a:pt x="582" y="1248"/>
                </a:lnTo>
                <a:lnTo>
                  <a:pt x="576" y="1248"/>
                </a:lnTo>
                <a:lnTo>
                  <a:pt x="576" y="1254"/>
                </a:lnTo>
                <a:lnTo>
                  <a:pt x="570" y="1248"/>
                </a:lnTo>
                <a:lnTo>
                  <a:pt x="564" y="1248"/>
                </a:lnTo>
                <a:lnTo>
                  <a:pt x="564" y="1254"/>
                </a:lnTo>
                <a:lnTo>
                  <a:pt x="558" y="1254"/>
                </a:lnTo>
                <a:lnTo>
                  <a:pt x="552" y="1254"/>
                </a:lnTo>
                <a:lnTo>
                  <a:pt x="552" y="1260"/>
                </a:lnTo>
                <a:lnTo>
                  <a:pt x="546" y="1260"/>
                </a:lnTo>
                <a:lnTo>
                  <a:pt x="540" y="1260"/>
                </a:lnTo>
                <a:lnTo>
                  <a:pt x="540" y="1254"/>
                </a:lnTo>
                <a:lnTo>
                  <a:pt x="534" y="1254"/>
                </a:lnTo>
                <a:lnTo>
                  <a:pt x="528" y="1224"/>
                </a:lnTo>
                <a:lnTo>
                  <a:pt x="534" y="1212"/>
                </a:lnTo>
                <a:lnTo>
                  <a:pt x="546" y="1206"/>
                </a:lnTo>
                <a:lnTo>
                  <a:pt x="582" y="1206"/>
                </a:lnTo>
                <a:lnTo>
                  <a:pt x="588" y="1188"/>
                </a:lnTo>
                <a:lnTo>
                  <a:pt x="582" y="1188"/>
                </a:lnTo>
                <a:lnTo>
                  <a:pt x="582" y="1182"/>
                </a:lnTo>
                <a:lnTo>
                  <a:pt x="576" y="1176"/>
                </a:lnTo>
                <a:lnTo>
                  <a:pt x="558" y="1128"/>
                </a:lnTo>
                <a:lnTo>
                  <a:pt x="558" y="1122"/>
                </a:lnTo>
                <a:lnTo>
                  <a:pt x="576" y="1098"/>
                </a:lnTo>
                <a:lnTo>
                  <a:pt x="576" y="1092"/>
                </a:lnTo>
                <a:lnTo>
                  <a:pt x="582" y="1092"/>
                </a:lnTo>
                <a:lnTo>
                  <a:pt x="582" y="1086"/>
                </a:lnTo>
                <a:lnTo>
                  <a:pt x="582" y="1080"/>
                </a:lnTo>
                <a:lnTo>
                  <a:pt x="582" y="1074"/>
                </a:lnTo>
                <a:lnTo>
                  <a:pt x="588" y="1074"/>
                </a:lnTo>
                <a:lnTo>
                  <a:pt x="588" y="1062"/>
                </a:lnTo>
                <a:lnTo>
                  <a:pt x="588" y="1056"/>
                </a:lnTo>
                <a:lnTo>
                  <a:pt x="588" y="1044"/>
                </a:lnTo>
                <a:lnTo>
                  <a:pt x="588" y="1038"/>
                </a:lnTo>
                <a:lnTo>
                  <a:pt x="588" y="1032"/>
                </a:lnTo>
                <a:lnTo>
                  <a:pt x="582" y="1026"/>
                </a:lnTo>
                <a:lnTo>
                  <a:pt x="582" y="1020"/>
                </a:lnTo>
                <a:lnTo>
                  <a:pt x="582" y="1008"/>
                </a:lnTo>
                <a:lnTo>
                  <a:pt x="576" y="990"/>
                </a:lnTo>
                <a:lnTo>
                  <a:pt x="570" y="972"/>
                </a:lnTo>
                <a:lnTo>
                  <a:pt x="552" y="972"/>
                </a:lnTo>
                <a:lnTo>
                  <a:pt x="540" y="960"/>
                </a:lnTo>
                <a:lnTo>
                  <a:pt x="534" y="954"/>
                </a:lnTo>
                <a:lnTo>
                  <a:pt x="534" y="948"/>
                </a:lnTo>
                <a:lnTo>
                  <a:pt x="516" y="948"/>
                </a:lnTo>
                <a:lnTo>
                  <a:pt x="522" y="936"/>
                </a:lnTo>
                <a:lnTo>
                  <a:pt x="522" y="930"/>
                </a:lnTo>
                <a:lnTo>
                  <a:pt x="504" y="918"/>
                </a:lnTo>
                <a:lnTo>
                  <a:pt x="492" y="906"/>
                </a:lnTo>
                <a:lnTo>
                  <a:pt x="486" y="894"/>
                </a:lnTo>
                <a:lnTo>
                  <a:pt x="468" y="876"/>
                </a:lnTo>
                <a:lnTo>
                  <a:pt x="450" y="876"/>
                </a:lnTo>
                <a:lnTo>
                  <a:pt x="414" y="882"/>
                </a:lnTo>
                <a:lnTo>
                  <a:pt x="402" y="870"/>
                </a:lnTo>
                <a:lnTo>
                  <a:pt x="390" y="864"/>
                </a:lnTo>
                <a:lnTo>
                  <a:pt x="384" y="852"/>
                </a:lnTo>
                <a:lnTo>
                  <a:pt x="378" y="840"/>
                </a:lnTo>
                <a:lnTo>
                  <a:pt x="378" y="834"/>
                </a:lnTo>
                <a:lnTo>
                  <a:pt x="360" y="822"/>
                </a:lnTo>
                <a:lnTo>
                  <a:pt x="342" y="828"/>
                </a:lnTo>
                <a:lnTo>
                  <a:pt x="324" y="816"/>
                </a:lnTo>
                <a:lnTo>
                  <a:pt x="318" y="816"/>
                </a:lnTo>
                <a:lnTo>
                  <a:pt x="306" y="810"/>
                </a:lnTo>
                <a:lnTo>
                  <a:pt x="306" y="804"/>
                </a:lnTo>
                <a:lnTo>
                  <a:pt x="300" y="804"/>
                </a:lnTo>
                <a:lnTo>
                  <a:pt x="300" y="780"/>
                </a:lnTo>
                <a:lnTo>
                  <a:pt x="300" y="774"/>
                </a:lnTo>
                <a:lnTo>
                  <a:pt x="306" y="774"/>
                </a:lnTo>
                <a:lnTo>
                  <a:pt x="312" y="756"/>
                </a:lnTo>
                <a:lnTo>
                  <a:pt x="312" y="732"/>
                </a:lnTo>
                <a:lnTo>
                  <a:pt x="300" y="720"/>
                </a:lnTo>
                <a:lnTo>
                  <a:pt x="288" y="702"/>
                </a:lnTo>
                <a:lnTo>
                  <a:pt x="276" y="702"/>
                </a:lnTo>
                <a:lnTo>
                  <a:pt x="258" y="714"/>
                </a:lnTo>
                <a:lnTo>
                  <a:pt x="246" y="726"/>
                </a:lnTo>
                <a:lnTo>
                  <a:pt x="222" y="726"/>
                </a:lnTo>
                <a:lnTo>
                  <a:pt x="192" y="726"/>
                </a:lnTo>
                <a:lnTo>
                  <a:pt x="174" y="738"/>
                </a:lnTo>
                <a:lnTo>
                  <a:pt x="162" y="750"/>
                </a:lnTo>
                <a:lnTo>
                  <a:pt x="144" y="762"/>
                </a:lnTo>
                <a:lnTo>
                  <a:pt x="138" y="768"/>
                </a:lnTo>
                <a:lnTo>
                  <a:pt x="126" y="774"/>
                </a:lnTo>
                <a:lnTo>
                  <a:pt x="114" y="780"/>
                </a:lnTo>
                <a:lnTo>
                  <a:pt x="108" y="786"/>
                </a:lnTo>
                <a:lnTo>
                  <a:pt x="102" y="786"/>
                </a:lnTo>
                <a:lnTo>
                  <a:pt x="54" y="786"/>
                </a:lnTo>
                <a:lnTo>
                  <a:pt x="48" y="792"/>
                </a:lnTo>
                <a:lnTo>
                  <a:pt x="36" y="798"/>
                </a:lnTo>
                <a:lnTo>
                  <a:pt x="18" y="792"/>
                </a:lnTo>
                <a:lnTo>
                  <a:pt x="6" y="780"/>
                </a:lnTo>
                <a:lnTo>
                  <a:pt x="6" y="768"/>
                </a:lnTo>
                <a:lnTo>
                  <a:pt x="0" y="756"/>
                </a:lnTo>
                <a:lnTo>
                  <a:pt x="0" y="738"/>
                </a:lnTo>
                <a:lnTo>
                  <a:pt x="6" y="702"/>
                </a:lnTo>
                <a:lnTo>
                  <a:pt x="24" y="702"/>
                </a:lnTo>
                <a:lnTo>
                  <a:pt x="24" y="696"/>
                </a:lnTo>
                <a:lnTo>
                  <a:pt x="24" y="690"/>
                </a:lnTo>
                <a:lnTo>
                  <a:pt x="24" y="678"/>
                </a:lnTo>
                <a:lnTo>
                  <a:pt x="24" y="672"/>
                </a:lnTo>
                <a:lnTo>
                  <a:pt x="30" y="672"/>
                </a:lnTo>
                <a:lnTo>
                  <a:pt x="30" y="666"/>
                </a:lnTo>
                <a:lnTo>
                  <a:pt x="36" y="660"/>
                </a:lnTo>
                <a:lnTo>
                  <a:pt x="84" y="648"/>
                </a:lnTo>
                <a:lnTo>
                  <a:pt x="126" y="642"/>
                </a:lnTo>
                <a:lnTo>
                  <a:pt x="132" y="630"/>
                </a:lnTo>
                <a:lnTo>
                  <a:pt x="132" y="624"/>
                </a:lnTo>
                <a:lnTo>
                  <a:pt x="132" y="618"/>
                </a:lnTo>
                <a:lnTo>
                  <a:pt x="138" y="612"/>
                </a:lnTo>
                <a:lnTo>
                  <a:pt x="138" y="606"/>
                </a:lnTo>
                <a:lnTo>
                  <a:pt x="138" y="600"/>
                </a:lnTo>
                <a:lnTo>
                  <a:pt x="132" y="600"/>
                </a:lnTo>
                <a:lnTo>
                  <a:pt x="132" y="594"/>
                </a:lnTo>
                <a:lnTo>
                  <a:pt x="132" y="588"/>
                </a:lnTo>
                <a:lnTo>
                  <a:pt x="132" y="582"/>
                </a:lnTo>
                <a:lnTo>
                  <a:pt x="132" y="576"/>
                </a:lnTo>
                <a:lnTo>
                  <a:pt x="126" y="570"/>
                </a:lnTo>
                <a:lnTo>
                  <a:pt x="120" y="564"/>
                </a:lnTo>
                <a:lnTo>
                  <a:pt x="120" y="558"/>
                </a:lnTo>
                <a:lnTo>
                  <a:pt x="120" y="552"/>
                </a:lnTo>
                <a:lnTo>
                  <a:pt x="114" y="552"/>
                </a:lnTo>
                <a:lnTo>
                  <a:pt x="114" y="546"/>
                </a:lnTo>
                <a:lnTo>
                  <a:pt x="114" y="540"/>
                </a:lnTo>
                <a:lnTo>
                  <a:pt x="108" y="534"/>
                </a:lnTo>
                <a:lnTo>
                  <a:pt x="108" y="528"/>
                </a:lnTo>
                <a:lnTo>
                  <a:pt x="114" y="522"/>
                </a:lnTo>
                <a:lnTo>
                  <a:pt x="108" y="516"/>
                </a:lnTo>
                <a:lnTo>
                  <a:pt x="108" y="498"/>
                </a:lnTo>
                <a:lnTo>
                  <a:pt x="108" y="492"/>
                </a:lnTo>
                <a:lnTo>
                  <a:pt x="108" y="486"/>
                </a:lnTo>
                <a:lnTo>
                  <a:pt x="108" y="480"/>
                </a:lnTo>
                <a:lnTo>
                  <a:pt x="114" y="474"/>
                </a:lnTo>
                <a:lnTo>
                  <a:pt x="114" y="468"/>
                </a:lnTo>
                <a:lnTo>
                  <a:pt x="114" y="462"/>
                </a:lnTo>
                <a:lnTo>
                  <a:pt x="108" y="462"/>
                </a:lnTo>
                <a:lnTo>
                  <a:pt x="102" y="456"/>
                </a:lnTo>
                <a:lnTo>
                  <a:pt x="102" y="444"/>
                </a:lnTo>
                <a:lnTo>
                  <a:pt x="96" y="444"/>
                </a:lnTo>
                <a:lnTo>
                  <a:pt x="90" y="432"/>
                </a:lnTo>
                <a:lnTo>
                  <a:pt x="96" y="432"/>
                </a:lnTo>
                <a:lnTo>
                  <a:pt x="96" y="408"/>
                </a:lnTo>
                <a:lnTo>
                  <a:pt x="96" y="396"/>
                </a:lnTo>
                <a:lnTo>
                  <a:pt x="96" y="360"/>
                </a:lnTo>
                <a:lnTo>
                  <a:pt x="96" y="354"/>
                </a:lnTo>
                <a:lnTo>
                  <a:pt x="102" y="354"/>
                </a:lnTo>
                <a:lnTo>
                  <a:pt x="102" y="348"/>
                </a:lnTo>
                <a:lnTo>
                  <a:pt x="96" y="330"/>
                </a:lnTo>
                <a:lnTo>
                  <a:pt x="90" y="306"/>
                </a:lnTo>
                <a:lnTo>
                  <a:pt x="84" y="288"/>
                </a:lnTo>
                <a:lnTo>
                  <a:pt x="84" y="264"/>
                </a:lnTo>
                <a:lnTo>
                  <a:pt x="90" y="240"/>
                </a:lnTo>
                <a:lnTo>
                  <a:pt x="96" y="222"/>
                </a:lnTo>
                <a:lnTo>
                  <a:pt x="102" y="222"/>
                </a:lnTo>
                <a:lnTo>
                  <a:pt x="108" y="210"/>
                </a:lnTo>
                <a:lnTo>
                  <a:pt x="114" y="210"/>
                </a:lnTo>
                <a:lnTo>
                  <a:pt x="126" y="198"/>
                </a:lnTo>
                <a:lnTo>
                  <a:pt x="156" y="192"/>
                </a:lnTo>
                <a:lnTo>
                  <a:pt x="174" y="186"/>
                </a:lnTo>
                <a:lnTo>
                  <a:pt x="204" y="174"/>
                </a:lnTo>
                <a:lnTo>
                  <a:pt x="222" y="168"/>
                </a:lnTo>
                <a:lnTo>
                  <a:pt x="234" y="162"/>
                </a:lnTo>
                <a:lnTo>
                  <a:pt x="246" y="156"/>
                </a:lnTo>
                <a:lnTo>
                  <a:pt x="288" y="144"/>
                </a:lnTo>
                <a:lnTo>
                  <a:pt x="288" y="132"/>
                </a:lnTo>
                <a:lnTo>
                  <a:pt x="294" y="120"/>
                </a:lnTo>
                <a:lnTo>
                  <a:pt x="300" y="108"/>
                </a:lnTo>
                <a:lnTo>
                  <a:pt x="306" y="90"/>
                </a:lnTo>
                <a:lnTo>
                  <a:pt x="312" y="78"/>
                </a:lnTo>
                <a:lnTo>
                  <a:pt x="324" y="78"/>
                </a:lnTo>
                <a:lnTo>
                  <a:pt x="324" y="54"/>
                </a:lnTo>
                <a:lnTo>
                  <a:pt x="318" y="48"/>
                </a:lnTo>
                <a:lnTo>
                  <a:pt x="324" y="30"/>
                </a:lnTo>
                <a:lnTo>
                  <a:pt x="324" y="12"/>
                </a:lnTo>
                <a:lnTo>
                  <a:pt x="360" y="6"/>
                </a:lnTo>
                <a:lnTo>
                  <a:pt x="384" y="0"/>
                </a:lnTo>
                <a:lnTo>
                  <a:pt x="390" y="6"/>
                </a:lnTo>
                <a:lnTo>
                  <a:pt x="390" y="18"/>
                </a:lnTo>
                <a:lnTo>
                  <a:pt x="390" y="54"/>
                </a:lnTo>
                <a:lnTo>
                  <a:pt x="396" y="66"/>
                </a:lnTo>
                <a:lnTo>
                  <a:pt x="414" y="84"/>
                </a:lnTo>
                <a:lnTo>
                  <a:pt x="426" y="90"/>
                </a:lnTo>
                <a:lnTo>
                  <a:pt x="432" y="96"/>
                </a:lnTo>
                <a:lnTo>
                  <a:pt x="426" y="102"/>
                </a:lnTo>
                <a:lnTo>
                  <a:pt x="438" y="102"/>
                </a:lnTo>
                <a:lnTo>
                  <a:pt x="444" y="108"/>
                </a:lnTo>
                <a:lnTo>
                  <a:pt x="444" y="102"/>
                </a:lnTo>
                <a:lnTo>
                  <a:pt x="450" y="90"/>
                </a:lnTo>
                <a:lnTo>
                  <a:pt x="450" y="84"/>
                </a:lnTo>
                <a:lnTo>
                  <a:pt x="450" y="78"/>
                </a:lnTo>
                <a:lnTo>
                  <a:pt x="456" y="72"/>
                </a:lnTo>
                <a:lnTo>
                  <a:pt x="462" y="66"/>
                </a:lnTo>
                <a:lnTo>
                  <a:pt x="462" y="60"/>
                </a:lnTo>
                <a:lnTo>
                  <a:pt x="462" y="54"/>
                </a:lnTo>
                <a:lnTo>
                  <a:pt x="462" y="42"/>
                </a:lnTo>
                <a:lnTo>
                  <a:pt x="468" y="36"/>
                </a:lnTo>
                <a:lnTo>
                  <a:pt x="474" y="24"/>
                </a:lnTo>
                <a:lnTo>
                  <a:pt x="480" y="18"/>
                </a:lnTo>
                <a:lnTo>
                  <a:pt x="486" y="12"/>
                </a:lnTo>
                <a:lnTo>
                  <a:pt x="492" y="12"/>
                </a:lnTo>
                <a:lnTo>
                  <a:pt x="498" y="6"/>
                </a:lnTo>
                <a:lnTo>
                  <a:pt x="504" y="6"/>
                </a:lnTo>
                <a:lnTo>
                  <a:pt x="510" y="12"/>
                </a:lnTo>
                <a:lnTo>
                  <a:pt x="522" y="6"/>
                </a:lnTo>
                <a:lnTo>
                  <a:pt x="534" y="6"/>
                </a:lnTo>
                <a:lnTo>
                  <a:pt x="540" y="6"/>
                </a:lnTo>
                <a:lnTo>
                  <a:pt x="546" y="6"/>
                </a:lnTo>
                <a:lnTo>
                  <a:pt x="564" y="0"/>
                </a:lnTo>
                <a:lnTo>
                  <a:pt x="570" y="0"/>
                </a:lnTo>
                <a:lnTo>
                  <a:pt x="576" y="6"/>
                </a:lnTo>
                <a:lnTo>
                  <a:pt x="582" y="6"/>
                </a:lnTo>
                <a:lnTo>
                  <a:pt x="594" y="6"/>
                </a:lnTo>
                <a:lnTo>
                  <a:pt x="600" y="6"/>
                </a:lnTo>
                <a:lnTo>
                  <a:pt x="606" y="6"/>
                </a:lnTo>
                <a:lnTo>
                  <a:pt x="624" y="0"/>
                </a:lnTo>
                <a:lnTo>
                  <a:pt x="636" y="0"/>
                </a:lnTo>
                <a:lnTo>
                  <a:pt x="636" y="6"/>
                </a:lnTo>
                <a:lnTo>
                  <a:pt x="654" y="18"/>
                </a:lnTo>
                <a:lnTo>
                  <a:pt x="654" y="30"/>
                </a:lnTo>
                <a:lnTo>
                  <a:pt x="642" y="42"/>
                </a:lnTo>
                <a:lnTo>
                  <a:pt x="630" y="66"/>
                </a:lnTo>
                <a:lnTo>
                  <a:pt x="636" y="84"/>
                </a:lnTo>
                <a:lnTo>
                  <a:pt x="636" y="96"/>
                </a:lnTo>
                <a:lnTo>
                  <a:pt x="648" y="102"/>
                </a:lnTo>
                <a:lnTo>
                  <a:pt x="672" y="114"/>
                </a:lnTo>
                <a:lnTo>
                  <a:pt x="702" y="120"/>
                </a:lnTo>
                <a:lnTo>
                  <a:pt x="714" y="126"/>
                </a:lnTo>
                <a:lnTo>
                  <a:pt x="720" y="144"/>
                </a:lnTo>
                <a:lnTo>
                  <a:pt x="720" y="156"/>
                </a:lnTo>
                <a:lnTo>
                  <a:pt x="708" y="156"/>
                </a:lnTo>
                <a:lnTo>
                  <a:pt x="702" y="162"/>
                </a:lnTo>
                <a:lnTo>
                  <a:pt x="702" y="174"/>
                </a:lnTo>
                <a:lnTo>
                  <a:pt x="696" y="174"/>
                </a:lnTo>
                <a:lnTo>
                  <a:pt x="690" y="180"/>
                </a:lnTo>
                <a:lnTo>
                  <a:pt x="678" y="186"/>
                </a:lnTo>
                <a:lnTo>
                  <a:pt x="672" y="192"/>
                </a:lnTo>
                <a:lnTo>
                  <a:pt x="654" y="210"/>
                </a:lnTo>
                <a:lnTo>
                  <a:pt x="654" y="216"/>
                </a:lnTo>
                <a:lnTo>
                  <a:pt x="648" y="246"/>
                </a:lnTo>
                <a:lnTo>
                  <a:pt x="660" y="246"/>
                </a:lnTo>
                <a:lnTo>
                  <a:pt x="666" y="234"/>
                </a:lnTo>
                <a:lnTo>
                  <a:pt x="678" y="240"/>
                </a:lnTo>
                <a:lnTo>
                  <a:pt x="684" y="228"/>
                </a:lnTo>
                <a:lnTo>
                  <a:pt x="690" y="210"/>
                </a:lnTo>
                <a:lnTo>
                  <a:pt x="696" y="204"/>
                </a:lnTo>
                <a:lnTo>
                  <a:pt x="702" y="204"/>
                </a:lnTo>
                <a:lnTo>
                  <a:pt x="708" y="192"/>
                </a:lnTo>
                <a:lnTo>
                  <a:pt x="714" y="192"/>
                </a:lnTo>
                <a:lnTo>
                  <a:pt x="714" y="186"/>
                </a:lnTo>
                <a:lnTo>
                  <a:pt x="726" y="186"/>
                </a:lnTo>
                <a:lnTo>
                  <a:pt x="732" y="186"/>
                </a:lnTo>
                <a:lnTo>
                  <a:pt x="738" y="186"/>
                </a:lnTo>
                <a:lnTo>
                  <a:pt x="744" y="216"/>
                </a:lnTo>
                <a:lnTo>
                  <a:pt x="750" y="210"/>
                </a:lnTo>
                <a:lnTo>
                  <a:pt x="750" y="204"/>
                </a:lnTo>
                <a:lnTo>
                  <a:pt x="756" y="192"/>
                </a:lnTo>
                <a:lnTo>
                  <a:pt x="762" y="192"/>
                </a:lnTo>
                <a:lnTo>
                  <a:pt x="768" y="192"/>
                </a:lnTo>
                <a:lnTo>
                  <a:pt x="780" y="186"/>
                </a:lnTo>
                <a:lnTo>
                  <a:pt x="786" y="204"/>
                </a:lnTo>
                <a:lnTo>
                  <a:pt x="774" y="210"/>
                </a:lnTo>
                <a:lnTo>
                  <a:pt x="774" y="234"/>
                </a:lnTo>
                <a:lnTo>
                  <a:pt x="780" y="246"/>
                </a:lnTo>
                <a:lnTo>
                  <a:pt x="804" y="264"/>
                </a:lnTo>
                <a:lnTo>
                  <a:pt x="816" y="276"/>
                </a:lnTo>
                <a:lnTo>
                  <a:pt x="822" y="288"/>
                </a:lnTo>
                <a:lnTo>
                  <a:pt x="822" y="312"/>
                </a:lnTo>
                <a:lnTo>
                  <a:pt x="816" y="312"/>
                </a:lnTo>
                <a:lnTo>
                  <a:pt x="810" y="318"/>
                </a:lnTo>
                <a:lnTo>
                  <a:pt x="810" y="348"/>
                </a:lnTo>
                <a:lnTo>
                  <a:pt x="816" y="348"/>
                </a:lnTo>
                <a:lnTo>
                  <a:pt x="816" y="342"/>
                </a:lnTo>
                <a:lnTo>
                  <a:pt x="834" y="342"/>
                </a:lnTo>
                <a:lnTo>
                  <a:pt x="834" y="348"/>
                </a:lnTo>
                <a:lnTo>
                  <a:pt x="846" y="348"/>
                </a:lnTo>
                <a:lnTo>
                  <a:pt x="846" y="342"/>
                </a:lnTo>
                <a:lnTo>
                  <a:pt x="882" y="342"/>
                </a:lnTo>
                <a:lnTo>
                  <a:pt x="894" y="366"/>
                </a:lnTo>
                <a:lnTo>
                  <a:pt x="900" y="372"/>
                </a:lnTo>
                <a:lnTo>
                  <a:pt x="906" y="384"/>
                </a:lnTo>
                <a:lnTo>
                  <a:pt x="924" y="384"/>
                </a:lnTo>
                <a:lnTo>
                  <a:pt x="930" y="372"/>
                </a:lnTo>
                <a:lnTo>
                  <a:pt x="936" y="372"/>
                </a:lnTo>
                <a:lnTo>
                  <a:pt x="942" y="348"/>
                </a:lnTo>
                <a:lnTo>
                  <a:pt x="954" y="348"/>
                </a:lnTo>
                <a:lnTo>
                  <a:pt x="954" y="342"/>
                </a:lnTo>
                <a:lnTo>
                  <a:pt x="984" y="342"/>
                </a:lnTo>
                <a:lnTo>
                  <a:pt x="978" y="390"/>
                </a:lnTo>
                <a:lnTo>
                  <a:pt x="984" y="390"/>
                </a:lnTo>
                <a:lnTo>
                  <a:pt x="990" y="396"/>
                </a:lnTo>
                <a:lnTo>
                  <a:pt x="996" y="396"/>
                </a:lnTo>
                <a:lnTo>
                  <a:pt x="1002" y="396"/>
                </a:lnTo>
                <a:lnTo>
                  <a:pt x="1002" y="408"/>
                </a:lnTo>
                <a:lnTo>
                  <a:pt x="990" y="414"/>
                </a:lnTo>
                <a:lnTo>
                  <a:pt x="984" y="426"/>
                </a:lnTo>
                <a:lnTo>
                  <a:pt x="990" y="444"/>
                </a:lnTo>
                <a:lnTo>
                  <a:pt x="996" y="450"/>
                </a:lnTo>
                <a:lnTo>
                  <a:pt x="990" y="462"/>
                </a:lnTo>
                <a:lnTo>
                  <a:pt x="990" y="468"/>
                </a:lnTo>
                <a:lnTo>
                  <a:pt x="984" y="480"/>
                </a:lnTo>
                <a:lnTo>
                  <a:pt x="978" y="486"/>
                </a:lnTo>
                <a:lnTo>
                  <a:pt x="972" y="486"/>
                </a:lnTo>
                <a:lnTo>
                  <a:pt x="966" y="492"/>
                </a:lnTo>
                <a:lnTo>
                  <a:pt x="966" y="498"/>
                </a:lnTo>
                <a:lnTo>
                  <a:pt x="954" y="510"/>
                </a:lnTo>
                <a:lnTo>
                  <a:pt x="948" y="510"/>
                </a:lnTo>
                <a:lnTo>
                  <a:pt x="942" y="516"/>
                </a:lnTo>
                <a:lnTo>
                  <a:pt x="936" y="528"/>
                </a:lnTo>
                <a:lnTo>
                  <a:pt x="936" y="534"/>
                </a:lnTo>
                <a:lnTo>
                  <a:pt x="936" y="546"/>
                </a:lnTo>
                <a:lnTo>
                  <a:pt x="936" y="558"/>
                </a:lnTo>
                <a:lnTo>
                  <a:pt x="948" y="558"/>
                </a:lnTo>
                <a:lnTo>
                  <a:pt x="954" y="558"/>
                </a:lnTo>
                <a:lnTo>
                  <a:pt x="996" y="558"/>
                </a:lnTo>
                <a:lnTo>
                  <a:pt x="1002" y="570"/>
                </a:lnTo>
                <a:lnTo>
                  <a:pt x="996" y="576"/>
                </a:lnTo>
                <a:lnTo>
                  <a:pt x="996" y="588"/>
                </a:lnTo>
                <a:lnTo>
                  <a:pt x="984" y="588"/>
                </a:lnTo>
                <a:lnTo>
                  <a:pt x="990" y="612"/>
                </a:lnTo>
                <a:lnTo>
                  <a:pt x="1014" y="606"/>
                </a:lnTo>
                <a:lnTo>
                  <a:pt x="1014" y="636"/>
                </a:lnTo>
                <a:lnTo>
                  <a:pt x="1014" y="648"/>
                </a:lnTo>
                <a:lnTo>
                  <a:pt x="1020" y="648"/>
                </a:lnTo>
                <a:lnTo>
                  <a:pt x="1026" y="660"/>
                </a:lnTo>
                <a:lnTo>
                  <a:pt x="1038" y="654"/>
                </a:lnTo>
                <a:lnTo>
                  <a:pt x="1050" y="654"/>
                </a:lnTo>
                <a:lnTo>
                  <a:pt x="1062" y="654"/>
                </a:lnTo>
                <a:lnTo>
                  <a:pt x="1068" y="660"/>
                </a:lnTo>
                <a:lnTo>
                  <a:pt x="1068" y="678"/>
                </a:lnTo>
                <a:lnTo>
                  <a:pt x="1068" y="684"/>
                </a:lnTo>
                <a:lnTo>
                  <a:pt x="1062" y="690"/>
                </a:lnTo>
                <a:lnTo>
                  <a:pt x="1056" y="696"/>
                </a:lnTo>
                <a:lnTo>
                  <a:pt x="1056" y="702"/>
                </a:lnTo>
                <a:lnTo>
                  <a:pt x="1038" y="714"/>
                </a:lnTo>
                <a:lnTo>
                  <a:pt x="1026" y="720"/>
                </a:lnTo>
                <a:lnTo>
                  <a:pt x="1008" y="726"/>
                </a:lnTo>
                <a:lnTo>
                  <a:pt x="1008" y="732"/>
                </a:lnTo>
                <a:lnTo>
                  <a:pt x="990" y="732"/>
                </a:lnTo>
                <a:lnTo>
                  <a:pt x="984" y="744"/>
                </a:lnTo>
                <a:lnTo>
                  <a:pt x="990" y="750"/>
                </a:lnTo>
                <a:lnTo>
                  <a:pt x="984" y="762"/>
                </a:lnTo>
                <a:lnTo>
                  <a:pt x="984" y="768"/>
                </a:lnTo>
                <a:lnTo>
                  <a:pt x="984" y="774"/>
                </a:lnTo>
                <a:lnTo>
                  <a:pt x="984" y="780"/>
                </a:lnTo>
                <a:lnTo>
                  <a:pt x="984" y="786"/>
                </a:lnTo>
                <a:lnTo>
                  <a:pt x="984" y="792"/>
                </a:lnTo>
                <a:lnTo>
                  <a:pt x="978" y="798"/>
                </a:lnTo>
                <a:lnTo>
                  <a:pt x="978" y="80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8476" name="Freeform 39"/>
          <p:cNvSpPr>
            <a:spLocks/>
          </p:cNvSpPr>
          <p:nvPr/>
        </p:nvSpPr>
        <p:spPr bwMode="gray">
          <a:xfrm>
            <a:off x="4918075" y="1768475"/>
            <a:ext cx="1411288" cy="1454150"/>
          </a:xfrm>
          <a:custGeom>
            <a:avLst/>
            <a:gdLst>
              <a:gd name="T0" fmla="*/ 82068 w 1806"/>
              <a:gd name="T1" fmla="*/ 124912 h 1806"/>
              <a:gd name="T2" fmla="*/ 80505 w 1806"/>
              <a:gd name="T3" fmla="*/ 124912 h 1806"/>
              <a:gd name="T4" fmla="*/ 80505 w 1806"/>
              <a:gd name="T5" fmla="*/ 120883 h 1806"/>
              <a:gd name="T6" fmla="*/ 81287 w 1806"/>
              <a:gd name="T7" fmla="*/ 113630 h 1806"/>
              <a:gd name="T8" fmla="*/ 81287 w 1806"/>
              <a:gd name="T9" fmla="*/ 109600 h 1806"/>
              <a:gd name="T10" fmla="*/ 78160 w 1806"/>
              <a:gd name="T11" fmla="*/ 105571 h 1806"/>
              <a:gd name="T12" fmla="*/ 75034 w 1806"/>
              <a:gd name="T13" fmla="*/ 102347 h 1806"/>
              <a:gd name="T14" fmla="*/ 71126 w 1806"/>
              <a:gd name="T15" fmla="*/ 97512 h 1806"/>
              <a:gd name="T16" fmla="*/ 67999 w 1806"/>
              <a:gd name="T17" fmla="*/ 96706 h 1806"/>
              <a:gd name="T18" fmla="*/ 63310 w 1806"/>
              <a:gd name="T19" fmla="*/ 94288 h 1806"/>
              <a:gd name="T20" fmla="*/ 50804 w 1806"/>
              <a:gd name="T21" fmla="*/ 91065 h 1806"/>
              <a:gd name="T22" fmla="*/ 53931 w 1806"/>
              <a:gd name="T23" fmla="*/ 84618 h 1806"/>
              <a:gd name="T24" fmla="*/ 51586 w 1806"/>
              <a:gd name="T25" fmla="*/ 71724 h 1806"/>
              <a:gd name="T26" fmla="*/ 49241 w 1806"/>
              <a:gd name="T27" fmla="*/ 67694 h 1806"/>
              <a:gd name="T28" fmla="*/ 48459 w 1806"/>
              <a:gd name="T29" fmla="*/ 59635 h 1806"/>
              <a:gd name="T30" fmla="*/ 45333 w 1806"/>
              <a:gd name="T31" fmla="*/ 41906 h 1806"/>
              <a:gd name="T32" fmla="*/ 41425 w 1806"/>
              <a:gd name="T33" fmla="*/ 39488 h 1806"/>
              <a:gd name="T34" fmla="*/ 39862 w 1806"/>
              <a:gd name="T35" fmla="*/ 29012 h 1806"/>
              <a:gd name="T36" fmla="*/ 33609 w 1806"/>
              <a:gd name="T37" fmla="*/ 25788 h 1806"/>
              <a:gd name="T38" fmla="*/ 25793 w 1806"/>
              <a:gd name="T39" fmla="*/ 24177 h 1806"/>
              <a:gd name="T40" fmla="*/ 23448 w 1806"/>
              <a:gd name="T41" fmla="*/ 16924 h 1806"/>
              <a:gd name="T42" fmla="*/ 13287 w 1806"/>
              <a:gd name="T43" fmla="*/ 20147 h 1806"/>
              <a:gd name="T44" fmla="*/ 3126 w 1806"/>
              <a:gd name="T45" fmla="*/ 26594 h 1806"/>
              <a:gd name="T46" fmla="*/ 5471 w 1806"/>
              <a:gd name="T47" fmla="*/ 20953 h 1806"/>
              <a:gd name="T48" fmla="*/ 8598 w 1806"/>
              <a:gd name="T49" fmla="*/ 16118 h 1806"/>
              <a:gd name="T50" fmla="*/ 14069 w 1806"/>
              <a:gd name="T51" fmla="*/ 9671 h 1806"/>
              <a:gd name="T52" fmla="*/ 20322 w 1806"/>
              <a:gd name="T53" fmla="*/ 6447 h 1806"/>
              <a:gd name="T54" fmla="*/ 27356 w 1806"/>
              <a:gd name="T55" fmla="*/ 4835 h 1806"/>
              <a:gd name="T56" fmla="*/ 34390 w 1806"/>
              <a:gd name="T57" fmla="*/ 4029 h 1806"/>
              <a:gd name="T58" fmla="*/ 42207 w 1806"/>
              <a:gd name="T59" fmla="*/ 1612 h 1806"/>
              <a:gd name="T60" fmla="*/ 50804 w 1806"/>
              <a:gd name="T61" fmla="*/ 0 h 1806"/>
              <a:gd name="T62" fmla="*/ 59402 w 1806"/>
              <a:gd name="T63" fmla="*/ 0 h 1806"/>
              <a:gd name="T64" fmla="*/ 66436 w 1806"/>
              <a:gd name="T65" fmla="*/ 0 h 1806"/>
              <a:gd name="T66" fmla="*/ 75815 w 1806"/>
              <a:gd name="T67" fmla="*/ 0 h 1806"/>
              <a:gd name="T68" fmla="*/ 84413 w 1806"/>
              <a:gd name="T69" fmla="*/ 2418 h 1806"/>
              <a:gd name="T70" fmla="*/ 89884 w 1806"/>
              <a:gd name="T71" fmla="*/ 4029 h 1806"/>
              <a:gd name="T72" fmla="*/ 96137 w 1806"/>
              <a:gd name="T73" fmla="*/ 5641 h 1806"/>
              <a:gd name="T74" fmla="*/ 103953 w 1806"/>
              <a:gd name="T75" fmla="*/ 11282 h 1806"/>
              <a:gd name="T76" fmla="*/ 107861 w 1806"/>
              <a:gd name="T77" fmla="*/ 12894 h 1806"/>
              <a:gd name="T78" fmla="*/ 109424 w 1806"/>
              <a:gd name="T79" fmla="*/ 11282 h 1806"/>
              <a:gd name="T80" fmla="*/ 113332 w 1806"/>
              <a:gd name="T81" fmla="*/ 12894 h 1806"/>
              <a:gd name="T82" fmla="*/ 114895 w 1806"/>
              <a:gd name="T83" fmla="*/ 12894 h 1806"/>
              <a:gd name="T84" fmla="*/ 117240 w 1806"/>
              <a:gd name="T85" fmla="*/ 13700 h 1806"/>
              <a:gd name="T86" fmla="*/ 118804 w 1806"/>
              <a:gd name="T87" fmla="*/ 14506 h 1806"/>
              <a:gd name="T88" fmla="*/ 121148 w 1806"/>
              <a:gd name="T89" fmla="*/ 29818 h 1806"/>
              <a:gd name="T90" fmla="*/ 114114 w 1806"/>
              <a:gd name="T91" fmla="*/ 53188 h 1806"/>
              <a:gd name="T92" fmla="*/ 111769 w 1806"/>
              <a:gd name="T93" fmla="*/ 70918 h 1806"/>
              <a:gd name="T94" fmla="*/ 112551 w 1806"/>
              <a:gd name="T95" fmla="*/ 78977 h 1806"/>
              <a:gd name="T96" fmla="*/ 107079 w 1806"/>
              <a:gd name="T97" fmla="*/ 95094 h 1806"/>
              <a:gd name="T98" fmla="*/ 103171 w 1806"/>
              <a:gd name="T99" fmla="*/ 103959 h 1806"/>
              <a:gd name="T100" fmla="*/ 96919 w 1806"/>
              <a:gd name="T101" fmla="*/ 108794 h 1806"/>
              <a:gd name="T102" fmla="*/ 93011 w 1806"/>
              <a:gd name="T103" fmla="*/ 109600 h 1806"/>
              <a:gd name="T104" fmla="*/ 90666 w 1806"/>
              <a:gd name="T105" fmla="*/ 110406 h 1806"/>
              <a:gd name="T106" fmla="*/ 87539 w 1806"/>
              <a:gd name="T107" fmla="*/ 112018 h 1806"/>
              <a:gd name="T108" fmla="*/ 87539 w 1806"/>
              <a:gd name="T109" fmla="*/ 113630 h 1806"/>
              <a:gd name="T110" fmla="*/ 90666 w 1806"/>
              <a:gd name="T111" fmla="*/ 117659 h 1806"/>
              <a:gd name="T112" fmla="*/ 90666 w 1806"/>
              <a:gd name="T113" fmla="*/ 121689 h 1806"/>
              <a:gd name="T114" fmla="*/ 88321 w 1806"/>
              <a:gd name="T115" fmla="*/ 123300 h 18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06"/>
              <a:gd name="T175" fmla="*/ 0 h 1806"/>
              <a:gd name="T176" fmla="*/ 1806 w 1806"/>
              <a:gd name="T177" fmla="*/ 1806 h 18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06" h="1806">
                <a:moveTo>
                  <a:pt x="1260" y="1776"/>
                </a:moveTo>
                <a:lnTo>
                  <a:pt x="1254" y="1776"/>
                </a:lnTo>
                <a:lnTo>
                  <a:pt x="1248" y="1776"/>
                </a:lnTo>
                <a:lnTo>
                  <a:pt x="1242" y="1782"/>
                </a:lnTo>
                <a:lnTo>
                  <a:pt x="1236" y="1782"/>
                </a:lnTo>
                <a:lnTo>
                  <a:pt x="1230" y="1788"/>
                </a:lnTo>
                <a:lnTo>
                  <a:pt x="1224" y="1782"/>
                </a:lnTo>
                <a:lnTo>
                  <a:pt x="1218" y="1782"/>
                </a:lnTo>
                <a:lnTo>
                  <a:pt x="1218" y="1788"/>
                </a:lnTo>
                <a:lnTo>
                  <a:pt x="1212" y="1788"/>
                </a:lnTo>
                <a:lnTo>
                  <a:pt x="1206" y="1788"/>
                </a:lnTo>
                <a:lnTo>
                  <a:pt x="1206" y="1794"/>
                </a:lnTo>
                <a:lnTo>
                  <a:pt x="1200" y="1806"/>
                </a:lnTo>
                <a:lnTo>
                  <a:pt x="1194" y="1800"/>
                </a:lnTo>
                <a:lnTo>
                  <a:pt x="1194" y="1794"/>
                </a:lnTo>
                <a:lnTo>
                  <a:pt x="1194" y="1788"/>
                </a:lnTo>
                <a:lnTo>
                  <a:pt x="1188" y="1788"/>
                </a:lnTo>
                <a:lnTo>
                  <a:pt x="1188" y="1782"/>
                </a:lnTo>
                <a:lnTo>
                  <a:pt x="1188" y="1776"/>
                </a:lnTo>
                <a:lnTo>
                  <a:pt x="1194" y="1770"/>
                </a:lnTo>
                <a:lnTo>
                  <a:pt x="1194" y="1764"/>
                </a:lnTo>
                <a:lnTo>
                  <a:pt x="1194" y="1758"/>
                </a:lnTo>
                <a:lnTo>
                  <a:pt x="1194" y="1752"/>
                </a:lnTo>
                <a:lnTo>
                  <a:pt x="1200" y="1746"/>
                </a:lnTo>
                <a:lnTo>
                  <a:pt x="1200" y="1740"/>
                </a:lnTo>
                <a:lnTo>
                  <a:pt x="1200" y="1734"/>
                </a:lnTo>
                <a:lnTo>
                  <a:pt x="1188" y="1722"/>
                </a:lnTo>
                <a:lnTo>
                  <a:pt x="1188" y="1716"/>
                </a:lnTo>
                <a:lnTo>
                  <a:pt x="1194" y="1704"/>
                </a:lnTo>
                <a:lnTo>
                  <a:pt x="1194" y="1692"/>
                </a:lnTo>
                <a:lnTo>
                  <a:pt x="1200" y="1680"/>
                </a:lnTo>
                <a:lnTo>
                  <a:pt x="1200" y="1662"/>
                </a:lnTo>
                <a:lnTo>
                  <a:pt x="1200" y="1650"/>
                </a:lnTo>
                <a:lnTo>
                  <a:pt x="1206" y="1644"/>
                </a:lnTo>
                <a:lnTo>
                  <a:pt x="1206" y="1638"/>
                </a:lnTo>
                <a:lnTo>
                  <a:pt x="1206" y="1626"/>
                </a:lnTo>
                <a:lnTo>
                  <a:pt x="1206" y="1620"/>
                </a:lnTo>
                <a:lnTo>
                  <a:pt x="1206" y="1614"/>
                </a:lnTo>
                <a:lnTo>
                  <a:pt x="1200" y="1608"/>
                </a:lnTo>
                <a:lnTo>
                  <a:pt x="1200" y="1602"/>
                </a:lnTo>
                <a:lnTo>
                  <a:pt x="1200" y="1596"/>
                </a:lnTo>
                <a:lnTo>
                  <a:pt x="1200" y="1590"/>
                </a:lnTo>
                <a:lnTo>
                  <a:pt x="1200" y="1572"/>
                </a:lnTo>
                <a:lnTo>
                  <a:pt x="1200" y="1566"/>
                </a:lnTo>
                <a:lnTo>
                  <a:pt x="1200" y="1560"/>
                </a:lnTo>
                <a:lnTo>
                  <a:pt x="1194" y="1554"/>
                </a:lnTo>
                <a:lnTo>
                  <a:pt x="1188" y="1548"/>
                </a:lnTo>
                <a:lnTo>
                  <a:pt x="1188" y="1542"/>
                </a:lnTo>
                <a:lnTo>
                  <a:pt x="1176" y="1536"/>
                </a:lnTo>
                <a:lnTo>
                  <a:pt x="1176" y="1530"/>
                </a:lnTo>
                <a:lnTo>
                  <a:pt x="1170" y="1524"/>
                </a:lnTo>
                <a:lnTo>
                  <a:pt x="1170" y="1518"/>
                </a:lnTo>
                <a:lnTo>
                  <a:pt x="1164" y="1512"/>
                </a:lnTo>
                <a:lnTo>
                  <a:pt x="1158" y="1506"/>
                </a:lnTo>
                <a:lnTo>
                  <a:pt x="1152" y="1500"/>
                </a:lnTo>
                <a:lnTo>
                  <a:pt x="1146" y="1494"/>
                </a:lnTo>
                <a:lnTo>
                  <a:pt x="1140" y="1488"/>
                </a:lnTo>
                <a:lnTo>
                  <a:pt x="1134" y="1482"/>
                </a:lnTo>
                <a:lnTo>
                  <a:pt x="1128" y="1476"/>
                </a:lnTo>
                <a:lnTo>
                  <a:pt x="1122" y="1470"/>
                </a:lnTo>
                <a:lnTo>
                  <a:pt x="1116" y="1464"/>
                </a:lnTo>
                <a:lnTo>
                  <a:pt x="1110" y="1464"/>
                </a:lnTo>
                <a:lnTo>
                  <a:pt x="1104" y="1458"/>
                </a:lnTo>
                <a:lnTo>
                  <a:pt x="1098" y="1464"/>
                </a:lnTo>
                <a:lnTo>
                  <a:pt x="1092" y="1464"/>
                </a:lnTo>
                <a:lnTo>
                  <a:pt x="1086" y="1446"/>
                </a:lnTo>
                <a:lnTo>
                  <a:pt x="1086" y="1440"/>
                </a:lnTo>
                <a:lnTo>
                  <a:pt x="1080" y="1416"/>
                </a:lnTo>
                <a:lnTo>
                  <a:pt x="1068" y="1404"/>
                </a:lnTo>
                <a:lnTo>
                  <a:pt x="1062" y="1398"/>
                </a:lnTo>
                <a:lnTo>
                  <a:pt x="1056" y="1398"/>
                </a:lnTo>
                <a:lnTo>
                  <a:pt x="1050" y="1398"/>
                </a:lnTo>
                <a:lnTo>
                  <a:pt x="1044" y="1398"/>
                </a:lnTo>
                <a:lnTo>
                  <a:pt x="1044" y="1392"/>
                </a:lnTo>
                <a:lnTo>
                  <a:pt x="1038" y="1392"/>
                </a:lnTo>
                <a:lnTo>
                  <a:pt x="1032" y="1392"/>
                </a:lnTo>
                <a:lnTo>
                  <a:pt x="1020" y="1386"/>
                </a:lnTo>
                <a:lnTo>
                  <a:pt x="1014" y="1386"/>
                </a:lnTo>
                <a:lnTo>
                  <a:pt x="1014" y="1380"/>
                </a:lnTo>
                <a:lnTo>
                  <a:pt x="1008" y="1380"/>
                </a:lnTo>
                <a:lnTo>
                  <a:pt x="1002" y="1374"/>
                </a:lnTo>
                <a:lnTo>
                  <a:pt x="996" y="1368"/>
                </a:lnTo>
                <a:lnTo>
                  <a:pt x="990" y="1362"/>
                </a:lnTo>
                <a:lnTo>
                  <a:pt x="984" y="1356"/>
                </a:lnTo>
                <a:lnTo>
                  <a:pt x="978" y="1356"/>
                </a:lnTo>
                <a:lnTo>
                  <a:pt x="972" y="1356"/>
                </a:lnTo>
                <a:lnTo>
                  <a:pt x="966" y="1356"/>
                </a:lnTo>
                <a:lnTo>
                  <a:pt x="966" y="1350"/>
                </a:lnTo>
                <a:lnTo>
                  <a:pt x="948" y="1350"/>
                </a:lnTo>
                <a:lnTo>
                  <a:pt x="936" y="1344"/>
                </a:lnTo>
                <a:lnTo>
                  <a:pt x="930" y="1338"/>
                </a:lnTo>
                <a:lnTo>
                  <a:pt x="918" y="1332"/>
                </a:lnTo>
                <a:lnTo>
                  <a:pt x="900" y="1326"/>
                </a:lnTo>
                <a:lnTo>
                  <a:pt x="864" y="1332"/>
                </a:lnTo>
                <a:lnTo>
                  <a:pt x="828" y="1332"/>
                </a:lnTo>
                <a:lnTo>
                  <a:pt x="792" y="1314"/>
                </a:lnTo>
                <a:lnTo>
                  <a:pt x="780" y="1314"/>
                </a:lnTo>
                <a:lnTo>
                  <a:pt x="780" y="1308"/>
                </a:lnTo>
                <a:lnTo>
                  <a:pt x="756" y="1296"/>
                </a:lnTo>
                <a:lnTo>
                  <a:pt x="756" y="1278"/>
                </a:lnTo>
                <a:lnTo>
                  <a:pt x="768" y="1278"/>
                </a:lnTo>
                <a:lnTo>
                  <a:pt x="774" y="1272"/>
                </a:lnTo>
                <a:lnTo>
                  <a:pt x="780" y="1266"/>
                </a:lnTo>
                <a:lnTo>
                  <a:pt x="786" y="1260"/>
                </a:lnTo>
                <a:lnTo>
                  <a:pt x="792" y="1254"/>
                </a:lnTo>
                <a:lnTo>
                  <a:pt x="798" y="1242"/>
                </a:lnTo>
                <a:lnTo>
                  <a:pt x="804" y="1242"/>
                </a:lnTo>
                <a:lnTo>
                  <a:pt x="804" y="1206"/>
                </a:lnTo>
                <a:lnTo>
                  <a:pt x="804" y="1182"/>
                </a:lnTo>
                <a:lnTo>
                  <a:pt x="804" y="1158"/>
                </a:lnTo>
                <a:lnTo>
                  <a:pt x="804" y="1134"/>
                </a:lnTo>
                <a:lnTo>
                  <a:pt x="798" y="1116"/>
                </a:lnTo>
                <a:lnTo>
                  <a:pt x="792" y="1092"/>
                </a:lnTo>
                <a:lnTo>
                  <a:pt x="786" y="1062"/>
                </a:lnTo>
                <a:lnTo>
                  <a:pt x="768" y="1032"/>
                </a:lnTo>
                <a:lnTo>
                  <a:pt x="762" y="1032"/>
                </a:lnTo>
                <a:lnTo>
                  <a:pt x="762" y="1020"/>
                </a:lnTo>
                <a:lnTo>
                  <a:pt x="762" y="1014"/>
                </a:lnTo>
                <a:lnTo>
                  <a:pt x="756" y="1008"/>
                </a:lnTo>
                <a:lnTo>
                  <a:pt x="750" y="1002"/>
                </a:lnTo>
                <a:lnTo>
                  <a:pt x="738" y="1002"/>
                </a:lnTo>
                <a:lnTo>
                  <a:pt x="738" y="990"/>
                </a:lnTo>
                <a:lnTo>
                  <a:pt x="726" y="990"/>
                </a:lnTo>
                <a:lnTo>
                  <a:pt x="726" y="978"/>
                </a:lnTo>
                <a:lnTo>
                  <a:pt x="732" y="972"/>
                </a:lnTo>
                <a:lnTo>
                  <a:pt x="732" y="966"/>
                </a:lnTo>
                <a:lnTo>
                  <a:pt x="726" y="966"/>
                </a:lnTo>
                <a:lnTo>
                  <a:pt x="732" y="948"/>
                </a:lnTo>
                <a:lnTo>
                  <a:pt x="726" y="942"/>
                </a:lnTo>
                <a:lnTo>
                  <a:pt x="726" y="930"/>
                </a:lnTo>
                <a:lnTo>
                  <a:pt x="720" y="924"/>
                </a:lnTo>
                <a:lnTo>
                  <a:pt x="714" y="912"/>
                </a:lnTo>
                <a:lnTo>
                  <a:pt x="714" y="882"/>
                </a:lnTo>
                <a:lnTo>
                  <a:pt x="714" y="870"/>
                </a:lnTo>
                <a:lnTo>
                  <a:pt x="714" y="858"/>
                </a:lnTo>
                <a:lnTo>
                  <a:pt x="714" y="846"/>
                </a:lnTo>
                <a:lnTo>
                  <a:pt x="708" y="822"/>
                </a:lnTo>
                <a:lnTo>
                  <a:pt x="702" y="798"/>
                </a:lnTo>
                <a:lnTo>
                  <a:pt x="696" y="792"/>
                </a:lnTo>
                <a:lnTo>
                  <a:pt x="684" y="726"/>
                </a:lnTo>
                <a:lnTo>
                  <a:pt x="678" y="666"/>
                </a:lnTo>
                <a:lnTo>
                  <a:pt x="678" y="606"/>
                </a:lnTo>
                <a:lnTo>
                  <a:pt x="666" y="606"/>
                </a:lnTo>
                <a:lnTo>
                  <a:pt x="666" y="600"/>
                </a:lnTo>
                <a:lnTo>
                  <a:pt x="660" y="594"/>
                </a:lnTo>
                <a:lnTo>
                  <a:pt x="654" y="594"/>
                </a:lnTo>
                <a:lnTo>
                  <a:pt x="636" y="582"/>
                </a:lnTo>
                <a:lnTo>
                  <a:pt x="630" y="576"/>
                </a:lnTo>
                <a:lnTo>
                  <a:pt x="624" y="576"/>
                </a:lnTo>
                <a:lnTo>
                  <a:pt x="618" y="570"/>
                </a:lnTo>
                <a:lnTo>
                  <a:pt x="612" y="564"/>
                </a:lnTo>
                <a:lnTo>
                  <a:pt x="606" y="558"/>
                </a:lnTo>
                <a:lnTo>
                  <a:pt x="606" y="564"/>
                </a:lnTo>
                <a:lnTo>
                  <a:pt x="600" y="564"/>
                </a:lnTo>
                <a:lnTo>
                  <a:pt x="594" y="558"/>
                </a:lnTo>
                <a:lnTo>
                  <a:pt x="594" y="540"/>
                </a:lnTo>
                <a:lnTo>
                  <a:pt x="594" y="528"/>
                </a:lnTo>
                <a:lnTo>
                  <a:pt x="594" y="516"/>
                </a:lnTo>
                <a:lnTo>
                  <a:pt x="594" y="510"/>
                </a:lnTo>
                <a:lnTo>
                  <a:pt x="594" y="492"/>
                </a:lnTo>
                <a:lnTo>
                  <a:pt x="594" y="456"/>
                </a:lnTo>
                <a:lnTo>
                  <a:pt x="588" y="414"/>
                </a:lnTo>
                <a:lnTo>
                  <a:pt x="588" y="408"/>
                </a:lnTo>
                <a:lnTo>
                  <a:pt x="582" y="396"/>
                </a:lnTo>
                <a:lnTo>
                  <a:pt x="582" y="384"/>
                </a:lnTo>
                <a:lnTo>
                  <a:pt x="582" y="372"/>
                </a:lnTo>
                <a:lnTo>
                  <a:pt x="564" y="372"/>
                </a:lnTo>
                <a:lnTo>
                  <a:pt x="552" y="366"/>
                </a:lnTo>
                <a:lnTo>
                  <a:pt x="552" y="372"/>
                </a:lnTo>
                <a:lnTo>
                  <a:pt x="498" y="372"/>
                </a:lnTo>
                <a:lnTo>
                  <a:pt x="498" y="366"/>
                </a:lnTo>
                <a:lnTo>
                  <a:pt x="474" y="360"/>
                </a:lnTo>
                <a:lnTo>
                  <a:pt x="456" y="354"/>
                </a:lnTo>
                <a:lnTo>
                  <a:pt x="438" y="348"/>
                </a:lnTo>
                <a:lnTo>
                  <a:pt x="426" y="354"/>
                </a:lnTo>
                <a:lnTo>
                  <a:pt x="408" y="360"/>
                </a:lnTo>
                <a:lnTo>
                  <a:pt x="378" y="360"/>
                </a:lnTo>
                <a:lnTo>
                  <a:pt x="378" y="354"/>
                </a:lnTo>
                <a:lnTo>
                  <a:pt x="378" y="348"/>
                </a:lnTo>
                <a:lnTo>
                  <a:pt x="378" y="342"/>
                </a:lnTo>
                <a:lnTo>
                  <a:pt x="390" y="330"/>
                </a:lnTo>
                <a:lnTo>
                  <a:pt x="396" y="312"/>
                </a:lnTo>
                <a:lnTo>
                  <a:pt x="396" y="282"/>
                </a:lnTo>
                <a:lnTo>
                  <a:pt x="390" y="276"/>
                </a:lnTo>
                <a:lnTo>
                  <a:pt x="384" y="264"/>
                </a:lnTo>
                <a:lnTo>
                  <a:pt x="378" y="258"/>
                </a:lnTo>
                <a:lnTo>
                  <a:pt x="372" y="234"/>
                </a:lnTo>
                <a:lnTo>
                  <a:pt x="354" y="234"/>
                </a:lnTo>
                <a:lnTo>
                  <a:pt x="342" y="246"/>
                </a:lnTo>
                <a:lnTo>
                  <a:pt x="330" y="252"/>
                </a:lnTo>
                <a:lnTo>
                  <a:pt x="318" y="252"/>
                </a:lnTo>
                <a:lnTo>
                  <a:pt x="276" y="258"/>
                </a:lnTo>
                <a:lnTo>
                  <a:pt x="276" y="264"/>
                </a:lnTo>
                <a:lnTo>
                  <a:pt x="252" y="270"/>
                </a:lnTo>
                <a:lnTo>
                  <a:pt x="240" y="270"/>
                </a:lnTo>
                <a:lnTo>
                  <a:pt x="228" y="276"/>
                </a:lnTo>
                <a:lnTo>
                  <a:pt x="210" y="282"/>
                </a:lnTo>
                <a:lnTo>
                  <a:pt x="198" y="288"/>
                </a:lnTo>
                <a:lnTo>
                  <a:pt x="186" y="294"/>
                </a:lnTo>
                <a:lnTo>
                  <a:pt x="174" y="330"/>
                </a:lnTo>
                <a:lnTo>
                  <a:pt x="162" y="342"/>
                </a:lnTo>
                <a:lnTo>
                  <a:pt x="156" y="354"/>
                </a:lnTo>
                <a:lnTo>
                  <a:pt x="150" y="360"/>
                </a:lnTo>
                <a:lnTo>
                  <a:pt x="150" y="366"/>
                </a:lnTo>
                <a:lnTo>
                  <a:pt x="108" y="372"/>
                </a:lnTo>
                <a:lnTo>
                  <a:pt x="60" y="378"/>
                </a:lnTo>
                <a:lnTo>
                  <a:pt x="42" y="378"/>
                </a:lnTo>
                <a:lnTo>
                  <a:pt x="12" y="378"/>
                </a:lnTo>
                <a:lnTo>
                  <a:pt x="6" y="378"/>
                </a:lnTo>
                <a:lnTo>
                  <a:pt x="0" y="366"/>
                </a:lnTo>
                <a:lnTo>
                  <a:pt x="12" y="360"/>
                </a:lnTo>
                <a:lnTo>
                  <a:pt x="24" y="348"/>
                </a:lnTo>
                <a:lnTo>
                  <a:pt x="30" y="342"/>
                </a:lnTo>
                <a:lnTo>
                  <a:pt x="36" y="330"/>
                </a:lnTo>
                <a:lnTo>
                  <a:pt x="72" y="300"/>
                </a:lnTo>
                <a:lnTo>
                  <a:pt x="78" y="294"/>
                </a:lnTo>
                <a:lnTo>
                  <a:pt x="78" y="288"/>
                </a:lnTo>
                <a:lnTo>
                  <a:pt x="90" y="282"/>
                </a:lnTo>
                <a:lnTo>
                  <a:pt x="90" y="276"/>
                </a:lnTo>
                <a:lnTo>
                  <a:pt x="96" y="270"/>
                </a:lnTo>
                <a:lnTo>
                  <a:pt x="102" y="264"/>
                </a:lnTo>
                <a:lnTo>
                  <a:pt x="108" y="258"/>
                </a:lnTo>
                <a:lnTo>
                  <a:pt x="114" y="246"/>
                </a:lnTo>
                <a:lnTo>
                  <a:pt x="120" y="240"/>
                </a:lnTo>
                <a:lnTo>
                  <a:pt x="126" y="234"/>
                </a:lnTo>
                <a:lnTo>
                  <a:pt x="138" y="216"/>
                </a:lnTo>
                <a:lnTo>
                  <a:pt x="144" y="216"/>
                </a:lnTo>
                <a:lnTo>
                  <a:pt x="150" y="210"/>
                </a:lnTo>
                <a:lnTo>
                  <a:pt x="162" y="204"/>
                </a:lnTo>
                <a:lnTo>
                  <a:pt x="162" y="198"/>
                </a:lnTo>
                <a:lnTo>
                  <a:pt x="168" y="198"/>
                </a:lnTo>
                <a:lnTo>
                  <a:pt x="186" y="174"/>
                </a:lnTo>
                <a:lnTo>
                  <a:pt x="210" y="150"/>
                </a:lnTo>
                <a:lnTo>
                  <a:pt x="210" y="144"/>
                </a:lnTo>
                <a:lnTo>
                  <a:pt x="216" y="144"/>
                </a:lnTo>
                <a:lnTo>
                  <a:pt x="222" y="138"/>
                </a:lnTo>
                <a:lnTo>
                  <a:pt x="234" y="132"/>
                </a:lnTo>
                <a:lnTo>
                  <a:pt x="246" y="126"/>
                </a:lnTo>
                <a:lnTo>
                  <a:pt x="246" y="120"/>
                </a:lnTo>
                <a:lnTo>
                  <a:pt x="258" y="114"/>
                </a:lnTo>
                <a:lnTo>
                  <a:pt x="264" y="114"/>
                </a:lnTo>
                <a:lnTo>
                  <a:pt x="288" y="102"/>
                </a:lnTo>
                <a:lnTo>
                  <a:pt x="300" y="96"/>
                </a:lnTo>
                <a:lnTo>
                  <a:pt x="306" y="90"/>
                </a:lnTo>
                <a:lnTo>
                  <a:pt x="318" y="90"/>
                </a:lnTo>
                <a:lnTo>
                  <a:pt x="324" y="84"/>
                </a:lnTo>
                <a:lnTo>
                  <a:pt x="348" y="72"/>
                </a:lnTo>
                <a:lnTo>
                  <a:pt x="354" y="72"/>
                </a:lnTo>
                <a:lnTo>
                  <a:pt x="384" y="66"/>
                </a:lnTo>
                <a:lnTo>
                  <a:pt x="390" y="66"/>
                </a:lnTo>
                <a:lnTo>
                  <a:pt x="396" y="66"/>
                </a:lnTo>
                <a:lnTo>
                  <a:pt x="408" y="66"/>
                </a:lnTo>
                <a:lnTo>
                  <a:pt x="414" y="66"/>
                </a:lnTo>
                <a:lnTo>
                  <a:pt x="432" y="66"/>
                </a:lnTo>
                <a:lnTo>
                  <a:pt x="438" y="66"/>
                </a:lnTo>
                <a:lnTo>
                  <a:pt x="468" y="66"/>
                </a:lnTo>
                <a:lnTo>
                  <a:pt x="480" y="66"/>
                </a:lnTo>
                <a:lnTo>
                  <a:pt x="486" y="66"/>
                </a:lnTo>
                <a:lnTo>
                  <a:pt x="498" y="60"/>
                </a:lnTo>
                <a:lnTo>
                  <a:pt x="504" y="60"/>
                </a:lnTo>
                <a:lnTo>
                  <a:pt x="510" y="60"/>
                </a:lnTo>
                <a:lnTo>
                  <a:pt x="522" y="60"/>
                </a:lnTo>
                <a:lnTo>
                  <a:pt x="534" y="54"/>
                </a:lnTo>
                <a:lnTo>
                  <a:pt x="564" y="42"/>
                </a:lnTo>
                <a:lnTo>
                  <a:pt x="570" y="42"/>
                </a:lnTo>
                <a:lnTo>
                  <a:pt x="582" y="36"/>
                </a:lnTo>
                <a:lnTo>
                  <a:pt x="588" y="36"/>
                </a:lnTo>
                <a:lnTo>
                  <a:pt x="600" y="30"/>
                </a:lnTo>
                <a:lnTo>
                  <a:pt x="606" y="30"/>
                </a:lnTo>
                <a:lnTo>
                  <a:pt x="618" y="24"/>
                </a:lnTo>
                <a:lnTo>
                  <a:pt x="642" y="18"/>
                </a:lnTo>
                <a:lnTo>
                  <a:pt x="648" y="12"/>
                </a:lnTo>
                <a:lnTo>
                  <a:pt x="654" y="12"/>
                </a:lnTo>
                <a:lnTo>
                  <a:pt x="660" y="12"/>
                </a:lnTo>
                <a:lnTo>
                  <a:pt x="672" y="12"/>
                </a:lnTo>
                <a:lnTo>
                  <a:pt x="696" y="12"/>
                </a:lnTo>
                <a:lnTo>
                  <a:pt x="708" y="12"/>
                </a:lnTo>
                <a:lnTo>
                  <a:pt x="732" y="12"/>
                </a:lnTo>
                <a:lnTo>
                  <a:pt x="750" y="6"/>
                </a:lnTo>
                <a:lnTo>
                  <a:pt x="768" y="6"/>
                </a:lnTo>
                <a:lnTo>
                  <a:pt x="774" y="6"/>
                </a:lnTo>
                <a:lnTo>
                  <a:pt x="786" y="6"/>
                </a:lnTo>
                <a:lnTo>
                  <a:pt x="798" y="6"/>
                </a:lnTo>
                <a:lnTo>
                  <a:pt x="804" y="6"/>
                </a:lnTo>
                <a:lnTo>
                  <a:pt x="816" y="6"/>
                </a:lnTo>
                <a:lnTo>
                  <a:pt x="846" y="6"/>
                </a:lnTo>
                <a:lnTo>
                  <a:pt x="852" y="0"/>
                </a:lnTo>
                <a:lnTo>
                  <a:pt x="876" y="0"/>
                </a:lnTo>
                <a:lnTo>
                  <a:pt x="876" y="6"/>
                </a:lnTo>
                <a:lnTo>
                  <a:pt x="888" y="0"/>
                </a:lnTo>
                <a:lnTo>
                  <a:pt x="900" y="0"/>
                </a:lnTo>
                <a:lnTo>
                  <a:pt x="906" y="0"/>
                </a:lnTo>
                <a:lnTo>
                  <a:pt x="912" y="0"/>
                </a:lnTo>
                <a:lnTo>
                  <a:pt x="948" y="0"/>
                </a:lnTo>
                <a:lnTo>
                  <a:pt x="954" y="0"/>
                </a:lnTo>
                <a:lnTo>
                  <a:pt x="972" y="0"/>
                </a:lnTo>
                <a:lnTo>
                  <a:pt x="978" y="0"/>
                </a:lnTo>
                <a:lnTo>
                  <a:pt x="996" y="0"/>
                </a:lnTo>
                <a:lnTo>
                  <a:pt x="1032" y="0"/>
                </a:lnTo>
                <a:lnTo>
                  <a:pt x="1044" y="0"/>
                </a:lnTo>
                <a:lnTo>
                  <a:pt x="1050" y="0"/>
                </a:lnTo>
                <a:lnTo>
                  <a:pt x="1056" y="6"/>
                </a:lnTo>
                <a:lnTo>
                  <a:pt x="1056" y="0"/>
                </a:lnTo>
                <a:lnTo>
                  <a:pt x="1074" y="0"/>
                </a:lnTo>
                <a:lnTo>
                  <a:pt x="1098" y="6"/>
                </a:lnTo>
                <a:lnTo>
                  <a:pt x="1116" y="6"/>
                </a:lnTo>
                <a:lnTo>
                  <a:pt x="1140" y="12"/>
                </a:lnTo>
                <a:lnTo>
                  <a:pt x="1152" y="12"/>
                </a:lnTo>
                <a:lnTo>
                  <a:pt x="1158" y="12"/>
                </a:lnTo>
                <a:lnTo>
                  <a:pt x="1164" y="12"/>
                </a:lnTo>
                <a:lnTo>
                  <a:pt x="1170" y="12"/>
                </a:lnTo>
                <a:lnTo>
                  <a:pt x="1176" y="12"/>
                </a:lnTo>
                <a:lnTo>
                  <a:pt x="1194" y="18"/>
                </a:lnTo>
                <a:lnTo>
                  <a:pt x="1206" y="18"/>
                </a:lnTo>
                <a:lnTo>
                  <a:pt x="1242" y="36"/>
                </a:lnTo>
                <a:lnTo>
                  <a:pt x="1248" y="36"/>
                </a:lnTo>
                <a:lnTo>
                  <a:pt x="1254" y="36"/>
                </a:lnTo>
                <a:lnTo>
                  <a:pt x="1260" y="42"/>
                </a:lnTo>
                <a:lnTo>
                  <a:pt x="1272" y="48"/>
                </a:lnTo>
                <a:lnTo>
                  <a:pt x="1278" y="48"/>
                </a:lnTo>
                <a:lnTo>
                  <a:pt x="1284" y="48"/>
                </a:lnTo>
                <a:lnTo>
                  <a:pt x="1290" y="54"/>
                </a:lnTo>
                <a:lnTo>
                  <a:pt x="1308" y="60"/>
                </a:lnTo>
                <a:lnTo>
                  <a:pt x="1326" y="60"/>
                </a:lnTo>
                <a:lnTo>
                  <a:pt x="1338" y="66"/>
                </a:lnTo>
                <a:lnTo>
                  <a:pt x="1344" y="66"/>
                </a:lnTo>
                <a:lnTo>
                  <a:pt x="1350" y="66"/>
                </a:lnTo>
                <a:lnTo>
                  <a:pt x="1356" y="66"/>
                </a:lnTo>
                <a:lnTo>
                  <a:pt x="1362" y="72"/>
                </a:lnTo>
                <a:lnTo>
                  <a:pt x="1368" y="72"/>
                </a:lnTo>
                <a:lnTo>
                  <a:pt x="1380" y="72"/>
                </a:lnTo>
                <a:lnTo>
                  <a:pt x="1386" y="72"/>
                </a:lnTo>
                <a:lnTo>
                  <a:pt x="1422" y="84"/>
                </a:lnTo>
                <a:lnTo>
                  <a:pt x="1428" y="84"/>
                </a:lnTo>
                <a:lnTo>
                  <a:pt x="1446" y="90"/>
                </a:lnTo>
                <a:lnTo>
                  <a:pt x="1458" y="102"/>
                </a:lnTo>
                <a:lnTo>
                  <a:pt x="1494" y="126"/>
                </a:lnTo>
                <a:lnTo>
                  <a:pt x="1500" y="132"/>
                </a:lnTo>
                <a:lnTo>
                  <a:pt x="1512" y="138"/>
                </a:lnTo>
                <a:lnTo>
                  <a:pt x="1512" y="144"/>
                </a:lnTo>
                <a:lnTo>
                  <a:pt x="1518" y="150"/>
                </a:lnTo>
                <a:lnTo>
                  <a:pt x="1530" y="156"/>
                </a:lnTo>
                <a:lnTo>
                  <a:pt x="1530" y="162"/>
                </a:lnTo>
                <a:lnTo>
                  <a:pt x="1548" y="168"/>
                </a:lnTo>
                <a:lnTo>
                  <a:pt x="1566" y="180"/>
                </a:lnTo>
                <a:lnTo>
                  <a:pt x="1578" y="186"/>
                </a:lnTo>
                <a:lnTo>
                  <a:pt x="1578" y="180"/>
                </a:lnTo>
                <a:lnTo>
                  <a:pt x="1584" y="186"/>
                </a:lnTo>
                <a:lnTo>
                  <a:pt x="1584" y="174"/>
                </a:lnTo>
                <a:lnTo>
                  <a:pt x="1590" y="174"/>
                </a:lnTo>
                <a:lnTo>
                  <a:pt x="1590" y="180"/>
                </a:lnTo>
                <a:lnTo>
                  <a:pt x="1596" y="180"/>
                </a:lnTo>
                <a:lnTo>
                  <a:pt x="1596" y="174"/>
                </a:lnTo>
                <a:lnTo>
                  <a:pt x="1602" y="174"/>
                </a:lnTo>
                <a:lnTo>
                  <a:pt x="1608" y="174"/>
                </a:lnTo>
                <a:lnTo>
                  <a:pt x="1614" y="180"/>
                </a:lnTo>
                <a:lnTo>
                  <a:pt x="1620" y="174"/>
                </a:lnTo>
                <a:lnTo>
                  <a:pt x="1614" y="168"/>
                </a:lnTo>
                <a:lnTo>
                  <a:pt x="1614" y="162"/>
                </a:lnTo>
                <a:lnTo>
                  <a:pt x="1620" y="162"/>
                </a:lnTo>
                <a:lnTo>
                  <a:pt x="1626" y="162"/>
                </a:lnTo>
                <a:lnTo>
                  <a:pt x="1632" y="162"/>
                </a:lnTo>
                <a:lnTo>
                  <a:pt x="1638" y="168"/>
                </a:lnTo>
                <a:lnTo>
                  <a:pt x="1644" y="168"/>
                </a:lnTo>
                <a:lnTo>
                  <a:pt x="1650" y="174"/>
                </a:lnTo>
                <a:lnTo>
                  <a:pt x="1656" y="168"/>
                </a:lnTo>
                <a:lnTo>
                  <a:pt x="1668" y="168"/>
                </a:lnTo>
                <a:lnTo>
                  <a:pt x="1674" y="174"/>
                </a:lnTo>
                <a:lnTo>
                  <a:pt x="1674" y="180"/>
                </a:lnTo>
                <a:lnTo>
                  <a:pt x="1674" y="186"/>
                </a:lnTo>
                <a:lnTo>
                  <a:pt x="1680" y="186"/>
                </a:lnTo>
                <a:lnTo>
                  <a:pt x="1680" y="192"/>
                </a:lnTo>
                <a:lnTo>
                  <a:pt x="1686" y="192"/>
                </a:lnTo>
                <a:lnTo>
                  <a:pt x="1686" y="186"/>
                </a:lnTo>
                <a:lnTo>
                  <a:pt x="1680" y="186"/>
                </a:lnTo>
                <a:lnTo>
                  <a:pt x="1686" y="180"/>
                </a:lnTo>
                <a:lnTo>
                  <a:pt x="1692" y="180"/>
                </a:lnTo>
                <a:lnTo>
                  <a:pt x="1698" y="180"/>
                </a:lnTo>
                <a:lnTo>
                  <a:pt x="1704" y="180"/>
                </a:lnTo>
                <a:lnTo>
                  <a:pt x="1704" y="186"/>
                </a:lnTo>
                <a:lnTo>
                  <a:pt x="1710" y="186"/>
                </a:lnTo>
                <a:lnTo>
                  <a:pt x="1716" y="186"/>
                </a:lnTo>
                <a:lnTo>
                  <a:pt x="1716" y="192"/>
                </a:lnTo>
                <a:lnTo>
                  <a:pt x="1716" y="198"/>
                </a:lnTo>
                <a:lnTo>
                  <a:pt x="1722" y="192"/>
                </a:lnTo>
                <a:lnTo>
                  <a:pt x="1722" y="186"/>
                </a:lnTo>
                <a:lnTo>
                  <a:pt x="1728" y="192"/>
                </a:lnTo>
                <a:lnTo>
                  <a:pt x="1734" y="192"/>
                </a:lnTo>
                <a:lnTo>
                  <a:pt x="1734" y="186"/>
                </a:lnTo>
                <a:lnTo>
                  <a:pt x="1740" y="186"/>
                </a:lnTo>
                <a:lnTo>
                  <a:pt x="1740" y="192"/>
                </a:lnTo>
                <a:lnTo>
                  <a:pt x="1746" y="192"/>
                </a:lnTo>
                <a:lnTo>
                  <a:pt x="1758" y="192"/>
                </a:lnTo>
                <a:lnTo>
                  <a:pt x="1764" y="192"/>
                </a:lnTo>
                <a:lnTo>
                  <a:pt x="1764" y="198"/>
                </a:lnTo>
                <a:lnTo>
                  <a:pt x="1758" y="204"/>
                </a:lnTo>
                <a:lnTo>
                  <a:pt x="1752" y="210"/>
                </a:lnTo>
                <a:lnTo>
                  <a:pt x="1746" y="216"/>
                </a:lnTo>
                <a:lnTo>
                  <a:pt x="1746" y="222"/>
                </a:lnTo>
                <a:lnTo>
                  <a:pt x="1734" y="228"/>
                </a:lnTo>
                <a:lnTo>
                  <a:pt x="1734" y="234"/>
                </a:lnTo>
                <a:lnTo>
                  <a:pt x="1734" y="258"/>
                </a:lnTo>
                <a:lnTo>
                  <a:pt x="1740" y="330"/>
                </a:lnTo>
                <a:lnTo>
                  <a:pt x="1746" y="372"/>
                </a:lnTo>
                <a:lnTo>
                  <a:pt x="1788" y="426"/>
                </a:lnTo>
                <a:lnTo>
                  <a:pt x="1806" y="438"/>
                </a:lnTo>
                <a:lnTo>
                  <a:pt x="1794" y="480"/>
                </a:lnTo>
                <a:lnTo>
                  <a:pt x="1770" y="516"/>
                </a:lnTo>
                <a:lnTo>
                  <a:pt x="1746" y="546"/>
                </a:lnTo>
                <a:lnTo>
                  <a:pt x="1716" y="570"/>
                </a:lnTo>
                <a:lnTo>
                  <a:pt x="1680" y="594"/>
                </a:lnTo>
                <a:lnTo>
                  <a:pt x="1668" y="630"/>
                </a:lnTo>
                <a:lnTo>
                  <a:pt x="1680" y="684"/>
                </a:lnTo>
                <a:lnTo>
                  <a:pt x="1686" y="756"/>
                </a:lnTo>
                <a:lnTo>
                  <a:pt x="1662" y="870"/>
                </a:lnTo>
                <a:lnTo>
                  <a:pt x="1656" y="888"/>
                </a:lnTo>
                <a:lnTo>
                  <a:pt x="1650" y="972"/>
                </a:lnTo>
                <a:lnTo>
                  <a:pt x="1656" y="978"/>
                </a:lnTo>
                <a:lnTo>
                  <a:pt x="1650" y="984"/>
                </a:lnTo>
                <a:lnTo>
                  <a:pt x="1650" y="990"/>
                </a:lnTo>
                <a:lnTo>
                  <a:pt x="1650" y="1002"/>
                </a:lnTo>
                <a:lnTo>
                  <a:pt x="1656" y="1008"/>
                </a:lnTo>
                <a:lnTo>
                  <a:pt x="1656" y="1014"/>
                </a:lnTo>
                <a:lnTo>
                  <a:pt x="1662" y="1026"/>
                </a:lnTo>
                <a:lnTo>
                  <a:pt x="1650" y="1032"/>
                </a:lnTo>
                <a:lnTo>
                  <a:pt x="1638" y="1044"/>
                </a:lnTo>
                <a:lnTo>
                  <a:pt x="1626" y="1080"/>
                </a:lnTo>
                <a:lnTo>
                  <a:pt x="1614" y="1116"/>
                </a:lnTo>
                <a:lnTo>
                  <a:pt x="1614" y="1128"/>
                </a:lnTo>
                <a:lnTo>
                  <a:pt x="1626" y="1134"/>
                </a:lnTo>
                <a:lnTo>
                  <a:pt x="1644" y="1134"/>
                </a:lnTo>
                <a:lnTo>
                  <a:pt x="1662" y="1134"/>
                </a:lnTo>
                <a:lnTo>
                  <a:pt x="1680" y="1140"/>
                </a:lnTo>
                <a:lnTo>
                  <a:pt x="1698" y="1170"/>
                </a:lnTo>
                <a:lnTo>
                  <a:pt x="1704" y="1194"/>
                </a:lnTo>
                <a:lnTo>
                  <a:pt x="1692" y="1206"/>
                </a:lnTo>
                <a:lnTo>
                  <a:pt x="1662" y="1242"/>
                </a:lnTo>
                <a:lnTo>
                  <a:pt x="1632" y="1266"/>
                </a:lnTo>
                <a:lnTo>
                  <a:pt x="1620" y="1314"/>
                </a:lnTo>
                <a:lnTo>
                  <a:pt x="1584" y="1356"/>
                </a:lnTo>
                <a:lnTo>
                  <a:pt x="1578" y="1356"/>
                </a:lnTo>
                <a:lnTo>
                  <a:pt x="1578" y="1362"/>
                </a:lnTo>
                <a:lnTo>
                  <a:pt x="1572" y="1410"/>
                </a:lnTo>
                <a:lnTo>
                  <a:pt x="1584" y="1452"/>
                </a:lnTo>
                <a:lnTo>
                  <a:pt x="1608" y="1476"/>
                </a:lnTo>
                <a:lnTo>
                  <a:pt x="1596" y="1476"/>
                </a:lnTo>
                <a:lnTo>
                  <a:pt x="1584" y="1482"/>
                </a:lnTo>
                <a:lnTo>
                  <a:pt x="1560" y="1482"/>
                </a:lnTo>
                <a:lnTo>
                  <a:pt x="1536" y="1482"/>
                </a:lnTo>
                <a:lnTo>
                  <a:pt x="1524" y="1482"/>
                </a:lnTo>
                <a:lnTo>
                  <a:pt x="1506" y="1500"/>
                </a:lnTo>
                <a:lnTo>
                  <a:pt x="1482" y="1530"/>
                </a:lnTo>
                <a:lnTo>
                  <a:pt x="1452" y="1542"/>
                </a:lnTo>
                <a:lnTo>
                  <a:pt x="1446" y="1542"/>
                </a:lnTo>
                <a:lnTo>
                  <a:pt x="1440" y="1542"/>
                </a:lnTo>
                <a:lnTo>
                  <a:pt x="1440" y="1548"/>
                </a:lnTo>
                <a:lnTo>
                  <a:pt x="1434" y="1548"/>
                </a:lnTo>
                <a:lnTo>
                  <a:pt x="1428" y="1548"/>
                </a:lnTo>
                <a:lnTo>
                  <a:pt x="1428" y="1554"/>
                </a:lnTo>
                <a:lnTo>
                  <a:pt x="1422" y="1560"/>
                </a:lnTo>
                <a:lnTo>
                  <a:pt x="1416" y="1560"/>
                </a:lnTo>
                <a:lnTo>
                  <a:pt x="1410" y="1566"/>
                </a:lnTo>
                <a:lnTo>
                  <a:pt x="1410" y="1560"/>
                </a:lnTo>
                <a:lnTo>
                  <a:pt x="1404" y="1560"/>
                </a:lnTo>
                <a:lnTo>
                  <a:pt x="1392" y="1560"/>
                </a:lnTo>
                <a:lnTo>
                  <a:pt x="1386" y="1560"/>
                </a:lnTo>
                <a:lnTo>
                  <a:pt x="1380" y="1566"/>
                </a:lnTo>
                <a:lnTo>
                  <a:pt x="1374" y="1560"/>
                </a:lnTo>
                <a:lnTo>
                  <a:pt x="1368" y="1566"/>
                </a:lnTo>
                <a:lnTo>
                  <a:pt x="1362" y="1566"/>
                </a:lnTo>
                <a:lnTo>
                  <a:pt x="1362" y="1572"/>
                </a:lnTo>
                <a:lnTo>
                  <a:pt x="1356" y="1572"/>
                </a:lnTo>
                <a:lnTo>
                  <a:pt x="1356" y="1578"/>
                </a:lnTo>
                <a:lnTo>
                  <a:pt x="1350" y="1578"/>
                </a:lnTo>
                <a:lnTo>
                  <a:pt x="1350" y="1572"/>
                </a:lnTo>
                <a:lnTo>
                  <a:pt x="1344" y="1578"/>
                </a:lnTo>
                <a:lnTo>
                  <a:pt x="1338" y="1578"/>
                </a:lnTo>
                <a:lnTo>
                  <a:pt x="1344" y="1578"/>
                </a:lnTo>
                <a:lnTo>
                  <a:pt x="1338" y="1578"/>
                </a:lnTo>
                <a:lnTo>
                  <a:pt x="1332" y="1584"/>
                </a:lnTo>
                <a:lnTo>
                  <a:pt x="1326" y="1590"/>
                </a:lnTo>
                <a:lnTo>
                  <a:pt x="1320" y="1584"/>
                </a:lnTo>
                <a:lnTo>
                  <a:pt x="1314" y="1590"/>
                </a:lnTo>
                <a:lnTo>
                  <a:pt x="1308" y="1596"/>
                </a:lnTo>
                <a:lnTo>
                  <a:pt x="1302" y="1596"/>
                </a:lnTo>
                <a:lnTo>
                  <a:pt x="1296" y="1596"/>
                </a:lnTo>
                <a:lnTo>
                  <a:pt x="1290" y="1596"/>
                </a:lnTo>
                <a:lnTo>
                  <a:pt x="1284" y="1596"/>
                </a:lnTo>
                <a:lnTo>
                  <a:pt x="1278" y="1602"/>
                </a:lnTo>
                <a:lnTo>
                  <a:pt x="1266" y="1602"/>
                </a:lnTo>
                <a:lnTo>
                  <a:pt x="1272" y="1608"/>
                </a:lnTo>
                <a:lnTo>
                  <a:pt x="1278" y="1608"/>
                </a:lnTo>
                <a:lnTo>
                  <a:pt x="1284" y="1608"/>
                </a:lnTo>
                <a:lnTo>
                  <a:pt x="1290" y="1614"/>
                </a:lnTo>
                <a:lnTo>
                  <a:pt x="1296" y="1620"/>
                </a:lnTo>
                <a:lnTo>
                  <a:pt x="1302" y="1626"/>
                </a:lnTo>
                <a:lnTo>
                  <a:pt x="1308" y="1632"/>
                </a:lnTo>
                <a:lnTo>
                  <a:pt x="1314" y="1638"/>
                </a:lnTo>
                <a:lnTo>
                  <a:pt x="1314" y="1644"/>
                </a:lnTo>
                <a:lnTo>
                  <a:pt x="1320" y="1644"/>
                </a:lnTo>
                <a:lnTo>
                  <a:pt x="1320" y="1650"/>
                </a:lnTo>
                <a:lnTo>
                  <a:pt x="1326" y="1656"/>
                </a:lnTo>
                <a:lnTo>
                  <a:pt x="1332" y="1668"/>
                </a:lnTo>
                <a:lnTo>
                  <a:pt x="1338" y="1680"/>
                </a:lnTo>
                <a:lnTo>
                  <a:pt x="1338" y="1698"/>
                </a:lnTo>
                <a:lnTo>
                  <a:pt x="1350" y="1710"/>
                </a:lnTo>
                <a:lnTo>
                  <a:pt x="1350" y="1716"/>
                </a:lnTo>
                <a:lnTo>
                  <a:pt x="1350" y="1722"/>
                </a:lnTo>
                <a:lnTo>
                  <a:pt x="1350" y="1728"/>
                </a:lnTo>
                <a:lnTo>
                  <a:pt x="1356" y="1728"/>
                </a:lnTo>
                <a:lnTo>
                  <a:pt x="1356" y="1734"/>
                </a:lnTo>
                <a:lnTo>
                  <a:pt x="1350" y="1734"/>
                </a:lnTo>
                <a:lnTo>
                  <a:pt x="1344" y="1740"/>
                </a:lnTo>
                <a:lnTo>
                  <a:pt x="1338" y="1740"/>
                </a:lnTo>
                <a:lnTo>
                  <a:pt x="1332" y="1746"/>
                </a:lnTo>
                <a:lnTo>
                  <a:pt x="1326" y="1746"/>
                </a:lnTo>
                <a:lnTo>
                  <a:pt x="1326" y="1752"/>
                </a:lnTo>
                <a:lnTo>
                  <a:pt x="1320" y="1752"/>
                </a:lnTo>
                <a:lnTo>
                  <a:pt x="1320" y="1758"/>
                </a:lnTo>
                <a:lnTo>
                  <a:pt x="1314" y="1758"/>
                </a:lnTo>
                <a:lnTo>
                  <a:pt x="1308" y="1758"/>
                </a:lnTo>
                <a:lnTo>
                  <a:pt x="1302" y="1758"/>
                </a:lnTo>
                <a:lnTo>
                  <a:pt x="1296" y="1758"/>
                </a:lnTo>
                <a:lnTo>
                  <a:pt x="1290" y="1764"/>
                </a:lnTo>
                <a:lnTo>
                  <a:pt x="1284" y="1770"/>
                </a:lnTo>
                <a:lnTo>
                  <a:pt x="1278" y="1770"/>
                </a:lnTo>
                <a:lnTo>
                  <a:pt x="1272" y="1770"/>
                </a:lnTo>
                <a:lnTo>
                  <a:pt x="1266" y="1770"/>
                </a:lnTo>
                <a:lnTo>
                  <a:pt x="1266" y="1776"/>
                </a:lnTo>
                <a:lnTo>
                  <a:pt x="1260" y="1776"/>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8477" name="Freeform 40"/>
          <p:cNvSpPr>
            <a:spLocks/>
          </p:cNvSpPr>
          <p:nvPr/>
        </p:nvSpPr>
        <p:spPr bwMode="gray">
          <a:xfrm>
            <a:off x="4167188" y="1957388"/>
            <a:ext cx="1212850" cy="1062037"/>
          </a:xfrm>
          <a:custGeom>
            <a:avLst/>
            <a:gdLst>
              <a:gd name="T0" fmla="*/ 46861 w 1554"/>
              <a:gd name="T1" fmla="*/ 69221 h 1320"/>
              <a:gd name="T2" fmla="*/ 51547 w 1554"/>
              <a:gd name="T3" fmla="*/ 64392 h 1320"/>
              <a:gd name="T4" fmla="*/ 47642 w 1554"/>
              <a:gd name="T5" fmla="*/ 58757 h 1320"/>
              <a:gd name="T6" fmla="*/ 44518 w 1554"/>
              <a:gd name="T7" fmla="*/ 53928 h 1320"/>
              <a:gd name="T8" fmla="*/ 46861 w 1554"/>
              <a:gd name="T9" fmla="*/ 47489 h 1320"/>
              <a:gd name="T10" fmla="*/ 43737 w 1554"/>
              <a:gd name="T11" fmla="*/ 44269 h 1320"/>
              <a:gd name="T12" fmla="*/ 35146 w 1554"/>
              <a:gd name="T13" fmla="*/ 42659 h 1320"/>
              <a:gd name="T14" fmla="*/ 32803 w 1554"/>
              <a:gd name="T15" fmla="*/ 33001 h 1320"/>
              <a:gd name="T16" fmla="*/ 28898 w 1554"/>
              <a:gd name="T17" fmla="*/ 31391 h 1320"/>
              <a:gd name="T18" fmla="*/ 24212 w 1554"/>
              <a:gd name="T19" fmla="*/ 35415 h 1320"/>
              <a:gd name="T20" fmla="*/ 28898 w 1554"/>
              <a:gd name="T21" fmla="*/ 28171 h 1320"/>
              <a:gd name="T22" fmla="*/ 23431 w 1554"/>
              <a:gd name="T23" fmla="*/ 18513 h 1320"/>
              <a:gd name="T24" fmla="*/ 16401 w 1554"/>
              <a:gd name="T25" fmla="*/ 18513 h 1320"/>
              <a:gd name="T26" fmla="*/ 11715 w 1554"/>
              <a:gd name="T27" fmla="*/ 21732 h 1320"/>
              <a:gd name="T28" fmla="*/ 8591 w 1554"/>
              <a:gd name="T29" fmla="*/ 25757 h 1320"/>
              <a:gd name="T30" fmla="*/ 4686 w 1554"/>
              <a:gd name="T31" fmla="*/ 17708 h 1320"/>
              <a:gd name="T32" fmla="*/ 2343 w 1554"/>
              <a:gd name="T33" fmla="*/ 8854 h 1320"/>
              <a:gd name="T34" fmla="*/ 18744 w 1554"/>
              <a:gd name="T35" fmla="*/ 9659 h 1320"/>
              <a:gd name="T36" fmla="*/ 25774 w 1554"/>
              <a:gd name="T37" fmla="*/ 15293 h 1320"/>
              <a:gd name="T38" fmla="*/ 38270 w 1554"/>
              <a:gd name="T39" fmla="*/ 9659 h 1320"/>
              <a:gd name="T40" fmla="*/ 45299 w 1554"/>
              <a:gd name="T41" fmla="*/ 8049 h 1320"/>
              <a:gd name="T42" fmla="*/ 53109 w 1554"/>
              <a:gd name="T43" fmla="*/ 8854 h 1320"/>
              <a:gd name="T44" fmla="*/ 61701 w 1554"/>
              <a:gd name="T45" fmla="*/ 9659 h 1320"/>
              <a:gd name="T46" fmla="*/ 74978 w 1554"/>
              <a:gd name="T47" fmla="*/ 8854 h 1320"/>
              <a:gd name="T48" fmla="*/ 83569 w 1554"/>
              <a:gd name="T49" fmla="*/ 1610 h 1320"/>
              <a:gd name="T50" fmla="*/ 91379 w 1554"/>
              <a:gd name="T51" fmla="*/ 6439 h 1320"/>
              <a:gd name="T52" fmla="*/ 98409 w 1554"/>
              <a:gd name="T53" fmla="*/ 9659 h 1320"/>
              <a:gd name="T54" fmla="*/ 104657 w 1554"/>
              <a:gd name="T55" fmla="*/ 19317 h 1320"/>
              <a:gd name="T56" fmla="*/ 103876 w 1554"/>
              <a:gd name="T57" fmla="*/ 23342 h 1320"/>
              <a:gd name="T58" fmla="*/ 100752 w 1554"/>
              <a:gd name="T59" fmla="*/ 24952 h 1320"/>
              <a:gd name="T60" fmla="*/ 97627 w 1554"/>
              <a:gd name="T61" fmla="*/ 25757 h 1320"/>
              <a:gd name="T62" fmla="*/ 89817 w 1554"/>
              <a:gd name="T63" fmla="*/ 27366 h 1320"/>
              <a:gd name="T64" fmla="*/ 88255 w 1554"/>
              <a:gd name="T65" fmla="*/ 35415 h 1320"/>
              <a:gd name="T66" fmla="*/ 86693 w 1554"/>
              <a:gd name="T67" fmla="*/ 43464 h 1320"/>
              <a:gd name="T68" fmla="*/ 83569 w 1554"/>
              <a:gd name="T69" fmla="*/ 45074 h 1320"/>
              <a:gd name="T70" fmla="*/ 79664 w 1554"/>
              <a:gd name="T71" fmla="*/ 46684 h 1320"/>
              <a:gd name="T72" fmla="*/ 77321 w 1554"/>
              <a:gd name="T73" fmla="*/ 48294 h 1320"/>
              <a:gd name="T74" fmla="*/ 72635 w 1554"/>
              <a:gd name="T75" fmla="*/ 49903 h 1320"/>
              <a:gd name="T76" fmla="*/ 67949 w 1554"/>
              <a:gd name="T77" fmla="*/ 51513 h 1320"/>
              <a:gd name="T78" fmla="*/ 65606 w 1554"/>
              <a:gd name="T79" fmla="*/ 52318 h 1320"/>
              <a:gd name="T80" fmla="*/ 63263 w 1554"/>
              <a:gd name="T81" fmla="*/ 55538 h 1320"/>
              <a:gd name="T82" fmla="*/ 64825 w 1554"/>
              <a:gd name="T83" fmla="*/ 57952 h 1320"/>
              <a:gd name="T84" fmla="*/ 71854 w 1554"/>
              <a:gd name="T85" fmla="*/ 58757 h 1320"/>
              <a:gd name="T86" fmla="*/ 72635 w 1554"/>
              <a:gd name="T87" fmla="*/ 70026 h 1320"/>
              <a:gd name="T88" fmla="*/ 81226 w 1554"/>
              <a:gd name="T89" fmla="*/ 78880 h 1320"/>
              <a:gd name="T90" fmla="*/ 84350 w 1554"/>
              <a:gd name="T91" fmla="*/ 78880 h 1320"/>
              <a:gd name="T92" fmla="*/ 87474 w 1554"/>
              <a:gd name="T93" fmla="*/ 80489 h 1320"/>
              <a:gd name="T94" fmla="*/ 92160 w 1554"/>
              <a:gd name="T95" fmla="*/ 80489 h 1320"/>
              <a:gd name="T96" fmla="*/ 95284 w 1554"/>
              <a:gd name="T97" fmla="*/ 82099 h 1320"/>
              <a:gd name="T98" fmla="*/ 92160 w 1554"/>
              <a:gd name="T99" fmla="*/ 84514 h 1320"/>
              <a:gd name="T100" fmla="*/ 89036 w 1554"/>
              <a:gd name="T101" fmla="*/ 86124 h 1320"/>
              <a:gd name="T102" fmla="*/ 88255 w 1554"/>
              <a:gd name="T103" fmla="*/ 90953 h 1320"/>
              <a:gd name="T104" fmla="*/ 81226 w 1554"/>
              <a:gd name="T105" fmla="*/ 90953 h 1320"/>
              <a:gd name="T106" fmla="*/ 72635 w 1554"/>
              <a:gd name="T107" fmla="*/ 87734 h 1320"/>
              <a:gd name="T108" fmla="*/ 74978 w 1554"/>
              <a:gd name="T109" fmla="*/ 82904 h 1320"/>
              <a:gd name="T110" fmla="*/ 74197 w 1554"/>
              <a:gd name="T111" fmla="*/ 78075 h 1320"/>
              <a:gd name="T112" fmla="*/ 67949 w 1554"/>
              <a:gd name="T113" fmla="*/ 78880 h 1320"/>
              <a:gd name="T114" fmla="*/ 63263 w 1554"/>
              <a:gd name="T115" fmla="*/ 78880 h 1320"/>
              <a:gd name="T116" fmla="*/ 60920 w 1554"/>
              <a:gd name="T117" fmla="*/ 74855 h 1320"/>
              <a:gd name="T118" fmla="*/ 50766 w 1554"/>
              <a:gd name="T119" fmla="*/ 74050 h 1320"/>
              <a:gd name="T120" fmla="*/ 46080 w 1554"/>
              <a:gd name="T121" fmla="*/ 74050 h 13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54"/>
              <a:gd name="T184" fmla="*/ 0 h 1320"/>
              <a:gd name="T185" fmla="*/ 1554 w 1554"/>
              <a:gd name="T186" fmla="*/ 1320 h 13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54" h="1320">
                <a:moveTo>
                  <a:pt x="684" y="1068"/>
                </a:moveTo>
                <a:lnTo>
                  <a:pt x="684" y="1062"/>
                </a:lnTo>
                <a:lnTo>
                  <a:pt x="690" y="1056"/>
                </a:lnTo>
                <a:lnTo>
                  <a:pt x="690" y="1050"/>
                </a:lnTo>
                <a:lnTo>
                  <a:pt x="690" y="1044"/>
                </a:lnTo>
                <a:lnTo>
                  <a:pt x="690" y="1038"/>
                </a:lnTo>
                <a:lnTo>
                  <a:pt x="690" y="1032"/>
                </a:lnTo>
                <a:lnTo>
                  <a:pt x="690" y="1026"/>
                </a:lnTo>
                <a:lnTo>
                  <a:pt x="696" y="1014"/>
                </a:lnTo>
                <a:lnTo>
                  <a:pt x="690" y="1008"/>
                </a:lnTo>
                <a:lnTo>
                  <a:pt x="696" y="996"/>
                </a:lnTo>
                <a:lnTo>
                  <a:pt x="714" y="996"/>
                </a:lnTo>
                <a:lnTo>
                  <a:pt x="714" y="990"/>
                </a:lnTo>
                <a:lnTo>
                  <a:pt x="732" y="984"/>
                </a:lnTo>
                <a:lnTo>
                  <a:pt x="744" y="978"/>
                </a:lnTo>
                <a:lnTo>
                  <a:pt x="762" y="966"/>
                </a:lnTo>
                <a:lnTo>
                  <a:pt x="762" y="960"/>
                </a:lnTo>
                <a:lnTo>
                  <a:pt x="768" y="954"/>
                </a:lnTo>
                <a:lnTo>
                  <a:pt x="774" y="948"/>
                </a:lnTo>
                <a:lnTo>
                  <a:pt x="774" y="942"/>
                </a:lnTo>
                <a:lnTo>
                  <a:pt x="774" y="924"/>
                </a:lnTo>
                <a:lnTo>
                  <a:pt x="768" y="918"/>
                </a:lnTo>
                <a:lnTo>
                  <a:pt x="756" y="918"/>
                </a:lnTo>
                <a:lnTo>
                  <a:pt x="744" y="918"/>
                </a:lnTo>
                <a:lnTo>
                  <a:pt x="732" y="924"/>
                </a:lnTo>
                <a:lnTo>
                  <a:pt x="726" y="912"/>
                </a:lnTo>
                <a:lnTo>
                  <a:pt x="720" y="912"/>
                </a:lnTo>
                <a:lnTo>
                  <a:pt x="720" y="900"/>
                </a:lnTo>
                <a:lnTo>
                  <a:pt x="720" y="870"/>
                </a:lnTo>
                <a:lnTo>
                  <a:pt x="696" y="876"/>
                </a:lnTo>
                <a:lnTo>
                  <a:pt x="690" y="852"/>
                </a:lnTo>
                <a:lnTo>
                  <a:pt x="702" y="852"/>
                </a:lnTo>
                <a:lnTo>
                  <a:pt x="702" y="840"/>
                </a:lnTo>
                <a:lnTo>
                  <a:pt x="708" y="834"/>
                </a:lnTo>
                <a:lnTo>
                  <a:pt x="702" y="822"/>
                </a:lnTo>
                <a:lnTo>
                  <a:pt x="660" y="822"/>
                </a:lnTo>
                <a:lnTo>
                  <a:pt x="654" y="822"/>
                </a:lnTo>
                <a:lnTo>
                  <a:pt x="642" y="822"/>
                </a:lnTo>
                <a:lnTo>
                  <a:pt x="642" y="810"/>
                </a:lnTo>
                <a:lnTo>
                  <a:pt x="642" y="798"/>
                </a:lnTo>
                <a:lnTo>
                  <a:pt x="642" y="792"/>
                </a:lnTo>
                <a:lnTo>
                  <a:pt x="648" y="780"/>
                </a:lnTo>
                <a:lnTo>
                  <a:pt x="654" y="774"/>
                </a:lnTo>
                <a:lnTo>
                  <a:pt x="660" y="774"/>
                </a:lnTo>
                <a:lnTo>
                  <a:pt x="672" y="762"/>
                </a:lnTo>
                <a:lnTo>
                  <a:pt x="672" y="756"/>
                </a:lnTo>
                <a:lnTo>
                  <a:pt x="678" y="750"/>
                </a:lnTo>
                <a:lnTo>
                  <a:pt x="684" y="750"/>
                </a:lnTo>
                <a:lnTo>
                  <a:pt x="690" y="744"/>
                </a:lnTo>
                <a:lnTo>
                  <a:pt x="696" y="732"/>
                </a:lnTo>
                <a:lnTo>
                  <a:pt x="696" y="726"/>
                </a:lnTo>
                <a:lnTo>
                  <a:pt x="702" y="714"/>
                </a:lnTo>
                <a:lnTo>
                  <a:pt x="696" y="708"/>
                </a:lnTo>
                <a:lnTo>
                  <a:pt x="690" y="690"/>
                </a:lnTo>
                <a:lnTo>
                  <a:pt x="696" y="678"/>
                </a:lnTo>
                <a:lnTo>
                  <a:pt x="708" y="672"/>
                </a:lnTo>
                <a:lnTo>
                  <a:pt x="708" y="660"/>
                </a:lnTo>
                <a:lnTo>
                  <a:pt x="702" y="660"/>
                </a:lnTo>
                <a:lnTo>
                  <a:pt x="696" y="660"/>
                </a:lnTo>
                <a:lnTo>
                  <a:pt x="690" y="654"/>
                </a:lnTo>
                <a:lnTo>
                  <a:pt x="684" y="654"/>
                </a:lnTo>
                <a:lnTo>
                  <a:pt x="690" y="606"/>
                </a:lnTo>
                <a:lnTo>
                  <a:pt x="660" y="606"/>
                </a:lnTo>
                <a:lnTo>
                  <a:pt x="660" y="612"/>
                </a:lnTo>
                <a:lnTo>
                  <a:pt x="648" y="612"/>
                </a:lnTo>
                <a:lnTo>
                  <a:pt x="642" y="636"/>
                </a:lnTo>
                <a:lnTo>
                  <a:pt x="636" y="636"/>
                </a:lnTo>
                <a:lnTo>
                  <a:pt x="630" y="648"/>
                </a:lnTo>
                <a:lnTo>
                  <a:pt x="612" y="648"/>
                </a:lnTo>
                <a:lnTo>
                  <a:pt x="606" y="636"/>
                </a:lnTo>
                <a:lnTo>
                  <a:pt x="600" y="630"/>
                </a:lnTo>
                <a:lnTo>
                  <a:pt x="588" y="606"/>
                </a:lnTo>
                <a:lnTo>
                  <a:pt x="552" y="606"/>
                </a:lnTo>
                <a:lnTo>
                  <a:pt x="552" y="612"/>
                </a:lnTo>
                <a:lnTo>
                  <a:pt x="540" y="612"/>
                </a:lnTo>
                <a:lnTo>
                  <a:pt x="540" y="606"/>
                </a:lnTo>
                <a:lnTo>
                  <a:pt x="522" y="606"/>
                </a:lnTo>
                <a:lnTo>
                  <a:pt x="522" y="612"/>
                </a:lnTo>
                <a:lnTo>
                  <a:pt x="516" y="612"/>
                </a:lnTo>
                <a:lnTo>
                  <a:pt x="516" y="582"/>
                </a:lnTo>
                <a:lnTo>
                  <a:pt x="522" y="576"/>
                </a:lnTo>
                <a:lnTo>
                  <a:pt x="528" y="576"/>
                </a:lnTo>
                <a:lnTo>
                  <a:pt x="528" y="552"/>
                </a:lnTo>
                <a:lnTo>
                  <a:pt x="522" y="540"/>
                </a:lnTo>
                <a:lnTo>
                  <a:pt x="510" y="528"/>
                </a:lnTo>
                <a:lnTo>
                  <a:pt x="486" y="510"/>
                </a:lnTo>
                <a:lnTo>
                  <a:pt x="480" y="498"/>
                </a:lnTo>
                <a:lnTo>
                  <a:pt x="480" y="474"/>
                </a:lnTo>
                <a:lnTo>
                  <a:pt x="492" y="468"/>
                </a:lnTo>
                <a:lnTo>
                  <a:pt x="486" y="450"/>
                </a:lnTo>
                <a:lnTo>
                  <a:pt x="474" y="456"/>
                </a:lnTo>
                <a:lnTo>
                  <a:pt x="468" y="456"/>
                </a:lnTo>
                <a:lnTo>
                  <a:pt x="462" y="456"/>
                </a:lnTo>
                <a:lnTo>
                  <a:pt x="456" y="468"/>
                </a:lnTo>
                <a:lnTo>
                  <a:pt x="456" y="474"/>
                </a:lnTo>
                <a:lnTo>
                  <a:pt x="450" y="480"/>
                </a:lnTo>
                <a:lnTo>
                  <a:pt x="444" y="450"/>
                </a:lnTo>
                <a:lnTo>
                  <a:pt x="438" y="450"/>
                </a:lnTo>
                <a:lnTo>
                  <a:pt x="432" y="450"/>
                </a:lnTo>
                <a:lnTo>
                  <a:pt x="420" y="450"/>
                </a:lnTo>
                <a:lnTo>
                  <a:pt x="420" y="456"/>
                </a:lnTo>
                <a:lnTo>
                  <a:pt x="414" y="456"/>
                </a:lnTo>
                <a:lnTo>
                  <a:pt x="408" y="468"/>
                </a:lnTo>
                <a:lnTo>
                  <a:pt x="402" y="468"/>
                </a:lnTo>
                <a:lnTo>
                  <a:pt x="396" y="474"/>
                </a:lnTo>
                <a:lnTo>
                  <a:pt x="390" y="492"/>
                </a:lnTo>
                <a:lnTo>
                  <a:pt x="384" y="504"/>
                </a:lnTo>
                <a:lnTo>
                  <a:pt x="372" y="498"/>
                </a:lnTo>
                <a:lnTo>
                  <a:pt x="366" y="510"/>
                </a:lnTo>
                <a:lnTo>
                  <a:pt x="354" y="510"/>
                </a:lnTo>
                <a:lnTo>
                  <a:pt x="360" y="480"/>
                </a:lnTo>
                <a:lnTo>
                  <a:pt x="360" y="474"/>
                </a:lnTo>
                <a:lnTo>
                  <a:pt x="378" y="456"/>
                </a:lnTo>
                <a:lnTo>
                  <a:pt x="384" y="450"/>
                </a:lnTo>
                <a:lnTo>
                  <a:pt x="396" y="444"/>
                </a:lnTo>
                <a:lnTo>
                  <a:pt x="402" y="438"/>
                </a:lnTo>
                <a:lnTo>
                  <a:pt x="408" y="438"/>
                </a:lnTo>
                <a:lnTo>
                  <a:pt x="408" y="426"/>
                </a:lnTo>
                <a:lnTo>
                  <a:pt x="414" y="420"/>
                </a:lnTo>
                <a:lnTo>
                  <a:pt x="426" y="420"/>
                </a:lnTo>
                <a:lnTo>
                  <a:pt x="426" y="408"/>
                </a:lnTo>
                <a:lnTo>
                  <a:pt x="420" y="390"/>
                </a:lnTo>
                <a:lnTo>
                  <a:pt x="408" y="384"/>
                </a:lnTo>
                <a:lnTo>
                  <a:pt x="378" y="378"/>
                </a:lnTo>
                <a:lnTo>
                  <a:pt x="354" y="366"/>
                </a:lnTo>
                <a:lnTo>
                  <a:pt x="342" y="360"/>
                </a:lnTo>
                <a:lnTo>
                  <a:pt x="342" y="348"/>
                </a:lnTo>
                <a:lnTo>
                  <a:pt x="336" y="330"/>
                </a:lnTo>
                <a:lnTo>
                  <a:pt x="348" y="306"/>
                </a:lnTo>
                <a:lnTo>
                  <a:pt x="360" y="294"/>
                </a:lnTo>
                <a:lnTo>
                  <a:pt x="360" y="282"/>
                </a:lnTo>
                <a:lnTo>
                  <a:pt x="342" y="270"/>
                </a:lnTo>
                <a:lnTo>
                  <a:pt x="342" y="264"/>
                </a:lnTo>
                <a:lnTo>
                  <a:pt x="330" y="264"/>
                </a:lnTo>
                <a:lnTo>
                  <a:pt x="312" y="270"/>
                </a:lnTo>
                <a:lnTo>
                  <a:pt x="306" y="270"/>
                </a:lnTo>
                <a:lnTo>
                  <a:pt x="300" y="270"/>
                </a:lnTo>
                <a:lnTo>
                  <a:pt x="288" y="270"/>
                </a:lnTo>
                <a:lnTo>
                  <a:pt x="282" y="270"/>
                </a:lnTo>
                <a:lnTo>
                  <a:pt x="276" y="264"/>
                </a:lnTo>
                <a:lnTo>
                  <a:pt x="270" y="264"/>
                </a:lnTo>
                <a:lnTo>
                  <a:pt x="252" y="270"/>
                </a:lnTo>
                <a:lnTo>
                  <a:pt x="246" y="270"/>
                </a:lnTo>
                <a:lnTo>
                  <a:pt x="240" y="270"/>
                </a:lnTo>
                <a:lnTo>
                  <a:pt x="228" y="270"/>
                </a:lnTo>
                <a:lnTo>
                  <a:pt x="216" y="276"/>
                </a:lnTo>
                <a:lnTo>
                  <a:pt x="210" y="270"/>
                </a:lnTo>
                <a:lnTo>
                  <a:pt x="204" y="270"/>
                </a:lnTo>
                <a:lnTo>
                  <a:pt x="198" y="276"/>
                </a:lnTo>
                <a:lnTo>
                  <a:pt x="192" y="276"/>
                </a:lnTo>
                <a:lnTo>
                  <a:pt x="186" y="282"/>
                </a:lnTo>
                <a:lnTo>
                  <a:pt x="180" y="288"/>
                </a:lnTo>
                <a:lnTo>
                  <a:pt x="174" y="300"/>
                </a:lnTo>
                <a:lnTo>
                  <a:pt x="168" y="306"/>
                </a:lnTo>
                <a:lnTo>
                  <a:pt x="168" y="318"/>
                </a:lnTo>
                <a:lnTo>
                  <a:pt x="168" y="324"/>
                </a:lnTo>
                <a:lnTo>
                  <a:pt x="168" y="330"/>
                </a:lnTo>
                <a:lnTo>
                  <a:pt x="162" y="336"/>
                </a:lnTo>
                <a:lnTo>
                  <a:pt x="156" y="342"/>
                </a:lnTo>
                <a:lnTo>
                  <a:pt x="156" y="348"/>
                </a:lnTo>
                <a:lnTo>
                  <a:pt x="156" y="354"/>
                </a:lnTo>
                <a:lnTo>
                  <a:pt x="150" y="366"/>
                </a:lnTo>
                <a:lnTo>
                  <a:pt x="150" y="372"/>
                </a:lnTo>
                <a:lnTo>
                  <a:pt x="144" y="366"/>
                </a:lnTo>
                <a:lnTo>
                  <a:pt x="132" y="366"/>
                </a:lnTo>
                <a:lnTo>
                  <a:pt x="138" y="360"/>
                </a:lnTo>
                <a:lnTo>
                  <a:pt x="132" y="354"/>
                </a:lnTo>
                <a:lnTo>
                  <a:pt x="120" y="348"/>
                </a:lnTo>
                <a:lnTo>
                  <a:pt x="102" y="330"/>
                </a:lnTo>
                <a:lnTo>
                  <a:pt x="96" y="318"/>
                </a:lnTo>
                <a:lnTo>
                  <a:pt x="96" y="282"/>
                </a:lnTo>
                <a:lnTo>
                  <a:pt x="96" y="270"/>
                </a:lnTo>
                <a:lnTo>
                  <a:pt x="90" y="264"/>
                </a:lnTo>
                <a:lnTo>
                  <a:pt x="90" y="258"/>
                </a:lnTo>
                <a:lnTo>
                  <a:pt x="84" y="252"/>
                </a:lnTo>
                <a:lnTo>
                  <a:pt x="66" y="258"/>
                </a:lnTo>
                <a:lnTo>
                  <a:pt x="60" y="246"/>
                </a:lnTo>
                <a:lnTo>
                  <a:pt x="30" y="252"/>
                </a:lnTo>
                <a:lnTo>
                  <a:pt x="18" y="246"/>
                </a:lnTo>
                <a:lnTo>
                  <a:pt x="0" y="240"/>
                </a:lnTo>
                <a:lnTo>
                  <a:pt x="0" y="234"/>
                </a:lnTo>
                <a:lnTo>
                  <a:pt x="0" y="210"/>
                </a:lnTo>
                <a:lnTo>
                  <a:pt x="6" y="204"/>
                </a:lnTo>
                <a:lnTo>
                  <a:pt x="18" y="192"/>
                </a:lnTo>
                <a:lnTo>
                  <a:pt x="18" y="144"/>
                </a:lnTo>
                <a:lnTo>
                  <a:pt x="24" y="126"/>
                </a:lnTo>
                <a:lnTo>
                  <a:pt x="36" y="126"/>
                </a:lnTo>
                <a:lnTo>
                  <a:pt x="54" y="120"/>
                </a:lnTo>
                <a:lnTo>
                  <a:pt x="54" y="126"/>
                </a:lnTo>
                <a:lnTo>
                  <a:pt x="132" y="114"/>
                </a:lnTo>
                <a:lnTo>
                  <a:pt x="144" y="120"/>
                </a:lnTo>
                <a:lnTo>
                  <a:pt x="150" y="132"/>
                </a:lnTo>
                <a:lnTo>
                  <a:pt x="180" y="126"/>
                </a:lnTo>
                <a:lnTo>
                  <a:pt x="210" y="120"/>
                </a:lnTo>
                <a:lnTo>
                  <a:pt x="240" y="120"/>
                </a:lnTo>
                <a:lnTo>
                  <a:pt x="258" y="120"/>
                </a:lnTo>
                <a:lnTo>
                  <a:pt x="270" y="126"/>
                </a:lnTo>
                <a:lnTo>
                  <a:pt x="276" y="132"/>
                </a:lnTo>
                <a:lnTo>
                  <a:pt x="282" y="138"/>
                </a:lnTo>
                <a:lnTo>
                  <a:pt x="282" y="156"/>
                </a:lnTo>
                <a:lnTo>
                  <a:pt x="288" y="186"/>
                </a:lnTo>
                <a:lnTo>
                  <a:pt x="312" y="192"/>
                </a:lnTo>
                <a:lnTo>
                  <a:pt x="318" y="198"/>
                </a:lnTo>
                <a:lnTo>
                  <a:pt x="324" y="204"/>
                </a:lnTo>
                <a:lnTo>
                  <a:pt x="330" y="210"/>
                </a:lnTo>
                <a:lnTo>
                  <a:pt x="348" y="210"/>
                </a:lnTo>
                <a:lnTo>
                  <a:pt x="348" y="204"/>
                </a:lnTo>
                <a:lnTo>
                  <a:pt x="366" y="216"/>
                </a:lnTo>
                <a:lnTo>
                  <a:pt x="378" y="216"/>
                </a:lnTo>
                <a:lnTo>
                  <a:pt x="378" y="222"/>
                </a:lnTo>
                <a:lnTo>
                  <a:pt x="396" y="222"/>
                </a:lnTo>
                <a:lnTo>
                  <a:pt x="414" y="222"/>
                </a:lnTo>
                <a:lnTo>
                  <a:pt x="420" y="216"/>
                </a:lnTo>
                <a:lnTo>
                  <a:pt x="486" y="210"/>
                </a:lnTo>
                <a:lnTo>
                  <a:pt x="498" y="198"/>
                </a:lnTo>
                <a:lnTo>
                  <a:pt x="504" y="174"/>
                </a:lnTo>
                <a:lnTo>
                  <a:pt x="516" y="162"/>
                </a:lnTo>
                <a:lnTo>
                  <a:pt x="516" y="138"/>
                </a:lnTo>
                <a:lnTo>
                  <a:pt x="522" y="132"/>
                </a:lnTo>
                <a:lnTo>
                  <a:pt x="564" y="132"/>
                </a:lnTo>
                <a:lnTo>
                  <a:pt x="564" y="114"/>
                </a:lnTo>
                <a:lnTo>
                  <a:pt x="582" y="114"/>
                </a:lnTo>
                <a:lnTo>
                  <a:pt x="594" y="114"/>
                </a:lnTo>
                <a:lnTo>
                  <a:pt x="606" y="114"/>
                </a:lnTo>
                <a:lnTo>
                  <a:pt x="612" y="114"/>
                </a:lnTo>
                <a:lnTo>
                  <a:pt x="630" y="114"/>
                </a:lnTo>
                <a:lnTo>
                  <a:pt x="636" y="114"/>
                </a:lnTo>
                <a:lnTo>
                  <a:pt x="648" y="114"/>
                </a:lnTo>
                <a:lnTo>
                  <a:pt x="654" y="114"/>
                </a:lnTo>
                <a:lnTo>
                  <a:pt x="660" y="120"/>
                </a:lnTo>
                <a:lnTo>
                  <a:pt x="672" y="120"/>
                </a:lnTo>
                <a:lnTo>
                  <a:pt x="684" y="120"/>
                </a:lnTo>
                <a:lnTo>
                  <a:pt x="690" y="120"/>
                </a:lnTo>
                <a:lnTo>
                  <a:pt x="702" y="120"/>
                </a:lnTo>
                <a:lnTo>
                  <a:pt x="708" y="120"/>
                </a:lnTo>
                <a:lnTo>
                  <a:pt x="726" y="126"/>
                </a:lnTo>
                <a:lnTo>
                  <a:pt x="732" y="126"/>
                </a:lnTo>
                <a:lnTo>
                  <a:pt x="738" y="126"/>
                </a:lnTo>
                <a:lnTo>
                  <a:pt x="750" y="126"/>
                </a:lnTo>
                <a:lnTo>
                  <a:pt x="756" y="126"/>
                </a:lnTo>
                <a:lnTo>
                  <a:pt x="768" y="126"/>
                </a:lnTo>
                <a:lnTo>
                  <a:pt x="780" y="126"/>
                </a:lnTo>
                <a:lnTo>
                  <a:pt x="786" y="120"/>
                </a:lnTo>
                <a:lnTo>
                  <a:pt x="792" y="120"/>
                </a:lnTo>
                <a:lnTo>
                  <a:pt x="810" y="120"/>
                </a:lnTo>
                <a:lnTo>
                  <a:pt x="822" y="120"/>
                </a:lnTo>
                <a:lnTo>
                  <a:pt x="846" y="126"/>
                </a:lnTo>
                <a:lnTo>
                  <a:pt x="858" y="126"/>
                </a:lnTo>
                <a:lnTo>
                  <a:pt x="870" y="132"/>
                </a:lnTo>
                <a:lnTo>
                  <a:pt x="882" y="132"/>
                </a:lnTo>
                <a:lnTo>
                  <a:pt x="894" y="132"/>
                </a:lnTo>
                <a:lnTo>
                  <a:pt x="900" y="132"/>
                </a:lnTo>
                <a:lnTo>
                  <a:pt x="912" y="132"/>
                </a:lnTo>
                <a:lnTo>
                  <a:pt x="918" y="132"/>
                </a:lnTo>
                <a:lnTo>
                  <a:pt x="924" y="132"/>
                </a:lnTo>
                <a:lnTo>
                  <a:pt x="936" y="132"/>
                </a:lnTo>
                <a:lnTo>
                  <a:pt x="960" y="132"/>
                </a:lnTo>
                <a:lnTo>
                  <a:pt x="966" y="144"/>
                </a:lnTo>
                <a:lnTo>
                  <a:pt x="972" y="144"/>
                </a:lnTo>
                <a:lnTo>
                  <a:pt x="1002" y="144"/>
                </a:lnTo>
                <a:lnTo>
                  <a:pt x="1020" y="144"/>
                </a:lnTo>
                <a:lnTo>
                  <a:pt x="1068" y="138"/>
                </a:lnTo>
                <a:lnTo>
                  <a:pt x="1110" y="132"/>
                </a:lnTo>
                <a:lnTo>
                  <a:pt x="1110" y="126"/>
                </a:lnTo>
                <a:lnTo>
                  <a:pt x="1116" y="120"/>
                </a:lnTo>
                <a:lnTo>
                  <a:pt x="1122" y="108"/>
                </a:lnTo>
                <a:lnTo>
                  <a:pt x="1134" y="96"/>
                </a:lnTo>
                <a:lnTo>
                  <a:pt x="1146" y="60"/>
                </a:lnTo>
                <a:lnTo>
                  <a:pt x="1158" y="54"/>
                </a:lnTo>
                <a:lnTo>
                  <a:pt x="1170" y="48"/>
                </a:lnTo>
                <a:lnTo>
                  <a:pt x="1188" y="42"/>
                </a:lnTo>
                <a:lnTo>
                  <a:pt x="1200" y="36"/>
                </a:lnTo>
                <a:lnTo>
                  <a:pt x="1212" y="36"/>
                </a:lnTo>
                <a:lnTo>
                  <a:pt x="1236" y="30"/>
                </a:lnTo>
                <a:lnTo>
                  <a:pt x="1236" y="24"/>
                </a:lnTo>
                <a:lnTo>
                  <a:pt x="1278" y="18"/>
                </a:lnTo>
                <a:lnTo>
                  <a:pt x="1290" y="18"/>
                </a:lnTo>
                <a:lnTo>
                  <a:pt x="1302" y="12"/>
                </a:lnTo>
                <a:lnTo>
                  <a:pt x="1314" y="0"/>
                </a:lnTo>
                <a:lnTo>
                  <a:pt x="1332" y="0"/>
                </a:lnTo>
                <a:lnTo>
                  <a:pt x="1338" y="24"/>
                </a:lnTo>
                <a:lnTo>
                  <a:pt x="1344" y="30"/>
                </a:lnTo>
                <a:lnTo>
                  <a:pt x="1350" y="42"/>
                </a:lnTo>
                <a:lnTo>
                  <a:pt x="1356" y="48"/>
                </a:lnTo>
                <a:lnTo>
                  <a:pt x="1356" y="78"/>
                </a:lnTo>
                <a:lnTo>
                  <a:pt x="1350" y="96"/>
                </a:lnTo>
                <a:lnTo>
                  <a:pt x="1338" y="108"/>
                </a:lnTo>
                <a:lnTo>
                  <a:pt x="1338" y="114"/>
                </a:lnTo>
                <a:lnTo>
                  <a:pt x="1338" y="120"/>
                </a:lnTo>
                <a:lnTo>
                  <a:pt x="1338" y="126"/>
                </a:lnTo>
                <a:lnTo>
                  <a:pt x="1368" y="126"/>
                </a:lnTo>
                <a:lnTo>
                  <a:pt x="1386" y="120"/>
                </a:lnTo>
                <a:lnTo>
                  <a:pt x="1398" y="114"/>
                </a:lnTo>
                <a:lnTo>
                  <a:pt x="1416" y="120"/>
                </a:lnTo>
                <a:lnTo>
                  <a:pt x="1434" y="126"/>
                </a:lnTo>
                <a:lnTo>
                  <a:pt x="1458" y="132"/>
                </a:lnTo>
                <a:lnTo>
                  <a:pt x="1458" y="138"/>
                </a:lnTo>
                <a:lnTo>
                  <a:pt x="1512" y="138"/>
                </a:lnTo>
                <a:lnTo>
                  <a:pt x="1512" y="132"/>
                </a:lnTo>
                <a:lnTo>
                  <a:pt x="1524" y="138"/>
                </a:lnTo>
                <a:lnTo>
                  <a:pt x="1542" y="138"/>
                </a:lnTo>
                <a:lnTo>
                  <a:pt x="1542" y="150"/>
                </a:lnTo>
                <a:lnTo>
                  <a:pt x="1542" y="162"/>
                </a:lnTo>
                <a:lnTo>
                  <a:pt x="1548" y="174"/>
                </a:lnTo>
                <a:lnTo>
                  <a:pt x="1548" y="180"/>
                </a:lnTo>
                <a:lnTo>
                  <a:pt x="1554" y="222"/>
                </a:lnTo>
                <a:lnTo>
                  <a:pt x="1554" y="258"/>
                </a:lnTo>
                <a:lnTo>
                  <a:pt x="1554" y="276"/>
                </a:lnTo>
                <a:lnTo>
                  <a:pt x="1554" y="282"/>
                </a:lnTo>
                <a:lnTo>
                  <a:pt x="1554" y="294"/>
                </a:lnTo>
                <a:lnTo>
                  <a:pt x="1554" y="306"/>
                </a:lnTo>
                <a:lnTo>
                  <a:pt x="1554" y="324"/>
                </a:lnTo>
                <a:lnTo>
                  <a:pt x="1554" y="330"/>
                </a:lnTo>
                <a:lnTo>
                  <a:pt x="1548" y="330"/>
                </a:lnTo>
                <a:lnTo>
                  <a:pt x="1548" y="336"/>
                </a:lnTo>
                <a:lnTo>
                  <a:pt x="1548" y="342"/>
                </a:lnTo>
                <a:lnTo>
                  <a:pt x="1542" y="336"/>
                </a:lnTo>
                <a:lnTo>
                  <a:pt x="1542" y="330"/>
                </a:lnTo>
                <a:lnTo>
                  <a:pt x="1536" y="330"/>
                </a:lnTo>
                <a:lnTo>
                  <a:pt x="1530" y="330"/>
                </a:lnTo>
                <a:lnTo>
                  <a:pt x="1530" y="336"/>
                </a:lnTo>
                <a:lnTo>
                  <a:pt x="1536" y="342"/>
                </a:lnTo>
                <a:lnTo>
                  <a:pt x="1530" y="342"/>
                </a:lnTo>
                <a:lnTo>
                  <a:pt x="1518" y="348"/>
                </a:lnTo>
                <a:lnTo>
                  <a:pt x="1512" y="354"/>
                </a:lnTo>
                <a:lnTo>
                  <a:pt x="1506" y="354"/>
                </a:lnTo>
                <a:lnTo>
                  <a:pt x="1500" y="354"/>
                </a:lnTo>
                <a:lnTo>
                  <a:pt x="1494" y="354"/>
                </a:lnTo>
                <a:lnTo>
                  <a:pt x="1494" y="360"/>
                </a:lnTo>
                <a:lnTo>
                  <a:pt x="1488" y="360"/>
                </a:lnTo>
                <a:lnTo>
                  <a:pt x="1488" y="366"/>
                </a:lnTo>
                <a:lnTo>
                  <a:pt x="1488" y="372"/>
                </a:lnTo>
                <a:lnTo>
                  <a:pt x="1482" y="372"/>
                </a:lnTo>
                <a:lnTo>
                  <a:pt x="1476" y="372"/>
                </a:lnTo>
                <a:lnTo>
                  <a:pt x="1470" y="372"/>
                </a:lnTo>
                <a:lnTo>
                  <a:pt x="1470" y="378"/>
                </a:lnTo>
                <a:lnTo>
                  <a:pt x="1470" y="384"/>
                </a:lnTo>
                <a:lnTo>
                  <a:pt x="1470" y="390"/>
                </a:lnTo>
                <a:lnTo>
                  <a:pt x="1464" y="402"/>
                </a:lnTo>
                <a:lnTo>
                  <a:pt x="1446" y="402"/>
                </a:lnTo>
                <a:lnTo>
                  <a:pt x="1440" y="372"/>
                </a:lnTo>
                <a:lnTo>
                  <a:pt x="1410" y="372"/>
                </a:lnTo>
                <a:lnTo>
                  <a:pt x="1380" y="372"/>
                </a:lnTo>
                <a:lnTo>
                  <a:pt x="1374" y="372"/>
                </a:lnTo>
                <a:lnTo>
                  <a:pt x="1368" y="378"/>
                </a:lnTo>
                <a:lnTo>
                  <a:pt x="1362" y="378"/>
                </a:lnTo>
                <a:lnTo>
                  <a:pt x="1356" y="378"/>
                </a:lnTo>
                <a:lnTo>
                  <a:pt x="1350" y="384"/>
                </a:lnTo>
                <a:lnTo>
                  <a:pt x="1350" y="390"/>
                </a:lnTo>
                <a:lnTo>
                  <a:pt x="1344" y="390"/>
                </a:lnTo>
                <a:lnTo>
                  <a:pt x="1338" y="390"/>
                </a:lnTo>
                <a:lnTo>
                  <a:pt x="1332" y="390"/>
                </a:lnTo>
                <a:lnTo>
                  <a:pt x="1332" y="396"/>
                </a:lnTo>
                <a:lnTo>
                  <a:pt x="1332" y="390"/>
                </a:lnTo>
                <a:lnTo>
                  <a:pt x="1326" y="402"/>
                </a:lnTo>
                <a:lnTo>
                  <a:pt x="1320" y="402"/>
                </a:lnTo>
                <a:lnTo>
                  <a:pt x="1302" y="474"/>
                </a:lnTo>
                <a:lnTo>
                  <a:pt x="1308" y="480"/>
                </a:lnTo>
                <a:lnTo>
                  <a:pt x="1314" y="480"/>
                </a:lnTo>
                <a:lnTo>
                  <a:pt x="1308" y="498"/>
                </a:lnTo>
                <a:lnTo>
                  <a:pt x="1308" y="504"/>
                </a:lnTo>
                <a:lnTo>
                  <a:pt x="1314" y="510"/>
                </a:lnTo>
                <a:lnTo>
                  <a:pt x="1308" y="510"/>
                </a:lnTo>
                <a:lnTo>
                  <a:pt x="1308" y="516"/>
                </a:lnTo>
                <a:lnTo>
                  <a:pt x="1302" y="516"/>
                </a:lnTo>
                <a:lnTo>
                  <a:pt x="1296" y="510"/>
                </a:lnTo>
                <a:lnTo>
                  <a:pt x="1296" y="516"/>
                </a:lnTo>
                <a:lnTo>
                  <a:pt x="1290" y="540"/>
                </a:lnTo>
                <a:lnTo>
                  <a:pt x="1290" y="552"/>
                </a:lnTo>
                <a:lnTo>
                  <a:pt x="1284" y="558"/>
                </a:lnTo>
                <a:lnTo>
                  <a:pt x="1290" y="576"/>
                </a:lnTo>
                <a:lnTo>
                  <a:pt x="1290" y="600"/>
                </a:lnTo>
                <a:lnTo>
                  <a:pt x="1284" y="618"/>
                </a:lnTo>
                <a:lnTo>
                  <a:pt x="1290" y="624"/>
                </a:lnTo>
                <a:lnTo>
                  <a:pt x="1284" y="630"/>
                </a:lnTo>
                <a:lnTo>
                  <a:pt x="1278" y="630"/>
                </a:lnTo>
                <a:lnTo>
                  <a:pt x="1272" y="630"/>
                </a:lnTo>
                <a:lnTo>
                  <a:pt x="1266" y="636"/>
                </a:lnTo>
                <a:lnTo>
                  <a:pt x="1260" y="642"/>
                </a:lnTo>
                <a:lnTo>
                  <a:pt x="1260" y="636"/>
                </a:lnTo>
                <a:lnTo>
                  <a:pt x="1254" y="636"/>
                </a:lnTo>
                <a:lnTo>
                  <a:pt x="1248" y="636"/>
                </a:lnTo>
                <a:lnTo>
                  <a:pt x="1248" y="642"/>
                </a:lnTo>
                <a:lnTo>
                  <a:pt x="1242" y="642"/>
                </a:lnTo>
                <a:lnTo>
                  <a:pt x="1242" y="648"/>
                </a:lnTo>
                <a:lnTo>
                  <a:pt x="1236" y="654"/>
                </a:lnTo>
                <a:lnTo>
                  <a:pt x="1230" y="654"/>
                </a:lnTo>
                <a:lnTo>
                  <a:pt x="1224" y="654"/>
                </a:lnTo>
                <a:lnTo>
                  <a:pt x="1218" y="660"/>
                </a:lnTo>
                <a:lnTo>
                  <a:pt x="1212" y="660"/>
                </a:lnTo>
                <a:lnTo>
                  <a:pt x="1206" y="660"/>
                </a:lnTo>
                <a:lnTo>
                  <a:pt x="1200" y="660"/>
                </a:lnTo>
                <a:lnTo>
                  <a:pt x="1200" y="666"/>
                </a:lnTo>
                <a:lnTo>
                  <a:pt x="1194" y="666"/>
                </a:lnTo>
                <a:lnTo>
                  <a:pt x="1188" y="666"/>
                </a:lnTo>
                <a:lnTo>
                  <a:pt x="1182" y="672"/>
                </a:lnTo>
                <a:lnTo>
                  <a:pt x="1176" y="672"/>
                </a:lnTo>
                <a:lnTo>
                  <a:pt x="1170" y="672"/>
                </a:lnTo>
                <a:lnTo>
                  <a:pt x="1164" y="678"/>
                </a:lnTo>
                <a:lnTo>
                  <a:pt x="1170" y="678"/>
                </a:lnTo>
                <a:lnTo>
                  <a:pt x="1164" y="684"/>
                </a:lnTo>
                <a:lnTo>
                  <a:pt x="1164" y="690"/>
                </a:lnTo>
                <a:lnTo>
                  <a:pt x="1158" y="690"/>
                </a:lnTo>
                <a:lnTo>
                  <a:pt x="1152" y="684"/>
                </a:lnTo>
                <a:lnTo>
                  <a:pt x="1152" y="690"/>
                </a:lnTo>
                <a:lnTo>
                  <a:pt x="1146" y="690"/>
                </a:lnTo>
                <a:lnTo>
                  <a:pt x="1140" y="690"/>
                </a:lnTo>
                <a:lnTo>
                  <a:pt x="1134" y="696"/>
                </a:lnTo>
                <a:lnTo>
                  <a:pt x="1128" y="696"/>
                </a:lnTo>
                <a:lnTo>
                  <a:pt x="1122" y="702"/>
                </a:lnTo>
                <a:lnTo>
                  <a:pt x="1116" y="702"/>
                </a:lnTo>
                <a:lnTo>
                  <a:pt x="1110" y="708"/>
                </a:lnTo>
                <a:lnTo>
                  <a:pt x="1104" y="708"/>
                </a:lnTo>
                <a:lnTo>
                  <a:pt x="1098" y="708"/>
                </a:lnTo>
                <a:lnTo>
                  <a:pt x="1092" y="708"/>
                </a:lnTo>
                <a:lnTo>
                  <a:pt x="1092" y="714"/>
                </a:lnTo>
                <a:lnTo>
                  <a:pt x="1086" y="720"/>
                </a:lnTo>
                <a:lnTo>
                  <a:pt x="1080" y="720"/>
                </a:lnTo>
                <a:lnTo>
                  <a:pt x="1074" y="720"/>
                </a:lnTo>
                <a:lnTo>
                  <a:pt x="1068" y="720"/>
                </a:lnTo>
                <a:lnTo>
                  <a:pt x="1062" y="720"/>
                </a:lnTo>
                <a:lnTo>
                  <a:pt x="1050" y="726"/>
                </a:lnTo>
                <a:lnTo>
                  <a:pt x="1044" y="726"/>
                </a:lnTo>
                <a:lnTo>
                  <a:pt x="1038" y="732"/>
                </a:lnTo>
                <a:lnTo>
                  <a:pt x="1026" y="732"/>
                </a:lnTo>
                <a:lnTo>
                  <a:pt x="1020" y="732"/>
                </a:lnTo>
                <a:lnTo>
                  <a:pt x="1014" y="738"/>
                </a:lnTo>
                <a:lnTo>
                  <a:pt x="1008" y="738"/>
                </a:lnTo>
                <a:lnTo>
                  <a:pt x="1002" y="738"/>
                </a:lnTo>
                <a:lnTo>
                  <a:pt x="996" y="738"/>
                </a:lnTo>
                <a:lnTo>
                  <a:pt x="990" y="738"/>
                </a:lnTo>
                <a:lnTo>
                  <a:pt x="990" y="732"/>
                </a:lnTo>
                <a:lnTo>
                  <a:pt x="984" y="732"/>
                </a:lnTo>
                <a:lnTo>
                  <a:pt x="978" y="738"/>
                </a:lnTo>
                <a:lnTo>
                  <a:pt x="978" y="744"/>
                </a:lnTo>
                <a:lnTo>
                  <a:pt x="984" y="744"/>
                </a:lnTo>
                <a:lnTo>
                  <a:pt x="978" y="744"/>
                </a:lnTo>
                <a:lnTo>
                  <a:pt x="978" y="750"/>
                </a:lnTo>
                <a:lnTo>
                  <a:pt x="978" y="756"/>
                </a:lnTo>
                <a:lnTo>
                  <a:pt x="972" y="756"/>
                </a:lnTo>
                <a:lnTo>
                  <a:pt x="972" y="762"/>
                </a:lnTo>
                <a:lnTo>
                  <a:pt x="966" y="768"/>
                </a:lnTo>
                <a:lnTo>
                  <a:pt x="966" y="762"/>
                </a:lnTo>
                <a:lnTo>
                  <a:pt x="960" y="762"/>
                </a:lnTo>
                <a:lnTo>
                  <a:pt x="954" y="768"/>
                </a:lnTo>
                <a:lnTo>
                  <a:pt x="954" y="774"/>
                </a:lnTo>
                <a:lnTo>
                  <a:pt x="948" y="774"/>
                </a:lnTo>
                <a:lnTo>
                  <a:pt x="948" y="780"/>
                </a:lnTo>
                <a:lnTo>
                  <a:pt x="948" y="786"/>
                </a:lnTo>
                <a:lnTo>
                  <a:pt x="942" y="786"/>
                </a:lnTo>
                <a:lnTo>
                  <a:pt x="942" y="792"/>
                </a:lnTo>
                <a:lnTo>
                  <a:pt x="936" y="792"/>
                </a:lnTo>
                <a:lnTo>
                  <a:pt x="942" y="798"/>
                </a:lnTo>
                <a:lnTo>
                  <a:pt x="942" y="804"/>
                </a:lnTo>
                <a:lnTo>
                  <a:pt x="942" y="810"/>
                </a:lnTo>
                <a:lnTo>
                  <a:pt x="948" y="810"/>
                </a:lnTo>
                <a:lnTo>
                  <a:pt x="942" y="816"/>
                </a:lnTo>
                <a:lnTo>
                  <a:pt x="948" y="816"/>
                </a:lnTo>
                <a:lnTo>
                  <a:pt x="948" y="822"/>
                </a:lnTo>
                <a:lnTo>
                  <a:pt x="954" y="822"/>
                </a:lnTo>
                <a:lnTo>
                  <a:pt x="960" y="828"/>
                </a:lnTo>
                <a:lnTo>
                  <a:pt x="960" y="834"/>
                </a:lnTo>
                <a:lnTo>
                  <a:pt x="966" y="834"/>
                </a:lnTo>
                <a:lnTo>
                  <a:pt x="960" y="840"/>
                </a:lnTo>
                <a:lnTo>
                  <a:pt x="966" y="846"/>
                </a:lnTo>
                <a:lnTo>
                  <a:pt x="966" y="840"/>
                </a:lnTo>
                <a:lnTo>
                  <a:pt x="972" y="840"/>
                </a:lnTo>
                <a:lnTo>
                  <a:pt x="990" y="840"/>
                </a:lnTo>
                <a:lnTo>
                  <a:pt x="1002" y="834"/>
                </a:lnTo>
                <a:lnTo>
                  <a:pt x="1020" y="828"/>
                </a:lnTo>
                <a:lnTo>
                  <a:pt x="1032" y="828"/>
                </a:lnTo>
                <a:lnTo>
                  <a:pt x="1050" y="828"/>
                </a:lnTo>
                <a:lnTo>
                  <a:pt x="1062" y="846"/>
                </a:lnTo>
                <a:lnTo>
                  <a:pt x="1074" y="876"/>
                </a:lnTo>
                <a:lnTo>
                  <a:pt x="1068" y="900"/>
                </a:lnTo>
                <a:lnTo>
                  <a:pt x="1074" y="912"/>
                </a:lnTo>
                <a:lnTo>
                  <a:pt x="1074" y="936"/>
                </a:lnTo>
                <a:lnTo>
                  <a:pt x="1068" y="942"/>
                </a:lnTo>
                <a:lnTo>
                  <a:pt x="1062" y="954"/>
                </a:lnTo>
                <a:lnTo>
                  <a:pt x="1056" y="978"/>
                </a:lnTo>
                <a:lnTo>
                  <a:pt x="1056" y="996"/>
                </a:lnTo>
                <a:lnTo>
                  <a:pt x="1068" y="990"/>
                </a:lnTo>
                <a:lnTo>
                  <a:pt x="1074" y="990"/>
                </a:lnTo>
                <a:lnTo>
                  <a:pt x="1074" y="1008"/>
                </a:lnTo>
                <a:lnTo>
                  <a:pt x="1080" y="1008"/>
                </a:lnTo>
                <a:lnTo>
                  <a:pt x="1092" y="1014"/>
                </a:lnTo>
                <a:lnTo>
                  <a:pt x="1110" y="1044"/>
                </a:lnTo>
                <a:lnTo>
                  <a:pt x="1110" y="1062"/>
                </a:lnTo>
                <a:lnTo>
                  <a:pt x="1128" y="1068"/>
                </a:lnTo>
                <a:lnTo>
                  <a:pt x="1128" y="1092"/>
                </a:lnTo>
                <a:lnTo>
                  <a:pt x="1134" y="1098"/>
                </a:lnTo>
                <a:lnTo>
                  <a:pt x="1158" y="1122"/>
                </a:lnTo>
                <a:lnTo>
                  <a:pt x="1188" y="1122"/>
                </a:lnTo>
                <a:lnTo>
                  <a:pt x="1188" y="1128"/>
                </a:lnTo>
                <a:lnTo>
                  <a:pt x="1200" y="1134"/>
                </a:lnTo>
                <a:lnTo>
                  <a:pt x="1206" y="1134"/>
                </a:lnTo>
                <a:lnTo>
                  <a:pt x="1206" y="1128"/>
                </a:lnTo>
                <a:lnTo>
                  <a:pt x="1212" y="1128"/>
                </a:lnTo>
                <a:lnTo>
                  <a:pt x="1218" y="1128"/>
                </a:lnTo>
                <a:lnTo>
                  <a:pt x="1224" y="1122"/>
                </a:lnTo>
                <a:lnTo>
                  <a:pt x="1224" y="1128"/>
                </a:lnTo>
                <a:lnTo>
                  <a:pt x="1230" y="1128"/>
                </a:lnTo>
                <a:lnTo>
                  <a:pt x="1236" y="1128"/>
                </a:lnTo>
                <a:lnTo>
                  <a:pt x="1236" y="1122"/>
                </a:lnTo>
                <a:lnTo>
                  <a:pt x="1242" y="1122"/>
                </a:lnTo>
                <a:lnTo>
                  <a:pt x="1248" y="1128"/>
                </a:lnTo>
                <a:lnTo>
                  <a:pt x="1254" y="1128"/>
                </a:lnTo>
                <a:lnTo>
                  <a:pt x="1260" y="1134"/>
                </a:lnTo>
                <a:lnTo>
                  <a:pt x="1260" y="1140"/>
                </a:lnTo>
                <a:lnTo>
                  <a:pt x="1266" y="1140"/>
                </a:lnTo>
                <a:lnTo>
                  <a:pt x="1272" y="1140"/>
                </a:lnTo>
                <a:lnTo>
                  <a:pt x="1278" y="1140"/>
                </a:lnTo>
                <a:lnTo>
                  <a:pt x="1284" y="1140"/>
                </a:lnTo>
                <a:lnTo>
                  <a:pt x="1290" y="1146"/>
                </a:lnTo>
                <a:lnTo>
                  <a:pt x="1290" y="1152"/>
                </a:lnTo>
                <a:lnTo>
                  <a:pt x="1296" y="1146"/>
                </a:lnTo>
                <a:lnTo>
                  <a:pt x="1296" y="1152"/>
                </a:lnTo>
                <a:lnTo>
                  <a:pt x="1308" y="1152"/>
                </a:lnTo>
                <a:lnTo>
                  <a:pt x="1314" y="1152"/>
                </a:lnTo>
                <a:lnTo>
                  <a:pt x="1320" y="1152"/>
                </a:lnTo>
                <a:lnTo>
                  <a:pt x="1332" y="1152"/>
                </a:lnTo>
                <a:lnTo>
                  <a:pt x="1338" y="1152"/>
                </a:lnTo>
                <a:lnTo>
                  <a:pt x="1344" y="1152"/>
                </a:lnTo>
                <a:lnTo>
                  <a:pt x="1344" y="1158"/>
                </a:lnTo>
                <a:lnTo>
                  <a:pt x="1350" y="1158"/>
                </a:lnTo>
                <a:lnTo>
                  <a:pt x="1356" y="1158"/>
                </a:lnTo>
                <a:lnTo>
                  <a:pt x="1362" y="1158"/>
                </a:lnTo>
                <a:lnTo>
                  <a:pt x="1368" y="1158"/>
                </a:lnTo>
                <a:lnTo>
                  <a:pt x="1374" y="1164"/>
                </a:lnTo>
                <a:lnTo>
                  <a:pt x="1380" y="1164"/>
                </a:lnTo>
                <a:lnTo>
                  <a:pt x="1386" y="1170"/>
                </a:lnTo>
                <a:lnTo>
                  <a:pt x="1392" y="1170"/>
                </a:lnTo>
                <a:lnTo>
                  <a:pt x="1398" y="1164"/>
                </a:lnTo>
                <a:lnTo>
                  <a:pt x="1404" y="1164"/>
                </a:lnTo>
                <a:lnTo>
                  <a:pt x="1410" y="1164"/>
                </a:lnTo>
                <a:lnTo>
                  <a:pt x="1416" y="1164"/>
                </a:lnTo>
                <a:lnTo>
                  <a:pt x="1416" y="1170"/>
                </a:lnTo>
                <a:lnTo>
                  <a:pt x="1422" y="1176"/>
                </a:lnTo>
                <a:lnTo>
                  <a:pt x="1416" y="1176"/>
                </a:lnTo>
                <a:lnTo>
                  <a:pt x="1416" y="1182"/>
                </a:lnTo>
                <a:lnTo>
                  <a:pt x="1410" y="1188"/>
                </a:lnTo>
                <a:lnTo>
                  <a:pt x="1404" y="1194"/>
                </a:lnTo>
                <a:lnTo>
                  <a:pt x="1404" y="1200"/>
                </a:lnTo>
                <a:lnTo>
                  <a:pt x="1404" y="1206"/>
                </a:lnTo>
                <a:lnTo>
                  <a:pt x="1398" y="1212"/>
                </a:lnTo>
                <a:lnTo>
                  <a:pt x="1398" y="1206"/>
                </a:lnTo>
                <a:lnTo>
                  <a:pt x="1392" y="1206"/>
                </a:lnTo>
                <a:lnTo>
                  <a:pt x="1386" y="1206"/>
                </a:lnTo>
                <a:lnTo>
                  <a:pt x="1380" y="1212"/>
                </a:lnTo>
                <a:lnTo>
                  <a:pt x="1374" y="1212"/>
                </a:lnTo>
                <a:lnTo>
                  <a:pt x="1368" y="1218"/>
                </a:lnTo>
                <a:lnTo>
                  <a:pt x="1362" y="1218"/>
                </a:lnTo>
                <a:lnTo>
                  <a:pt x="1362" y="1224"/>
                </a:lnTo>
                <a:lnTo>
                  <a:pt x="1356" y="1230"/>
                </a:lnTo>
                <a:lnTo>
                  <a:pt x="1350" y="1230"/>
                </a:lnTo>
                <a:lnTo>
                  <a:pt x="1344" y="1236"/>
                </a:lnTo>
                <a:lnTo>
                  <a:pt x="1338" y="1230"/>
                </a:lnTo>
                <a:lnTo>
                  <a:pt x="1332" y="1230"/>
                </a:lnTo>
                <a:lnTo>
                  <a:pt x="1326" y="1230"/>
                </a:lnTo>
                <a:lnTo>
                  <a:pt x="1320" y="1230"/>
                </a:lnTo>
                <a:lnTo>
                  <a:pt x="1314" y="1230"/>
                </a:lnTo>
                <a:lnTo>
                  <a:pt x="1296" y="1242"/>
                </a:lnTo>
                <a:lnTo>
                  <a:pt x="1296" y="1248"/>
                </a:lnTo>
                <a:lnTo>
                  <a:pt x="1290" y="1248"/>
                </a:lnTo>
                <a:lnTo>
                  <a:pt x="1290" y="1260"/>
                </a:lnTo>
                <a:lnTo>
                  <a:pt x="1278" y="1272"/>
                </a:lnTo>
                <a:lnTo>
                  <a:pt x="1278" y="1278"/>
                </a:lnTo>
                <a:lnTo>
                  <a:pt x="1278" y="1284"/>
                </a:lnTo>
                <a:lnTo>
                  <a:pt x="1278" y="1290"/>
                </a:lnTo>
                <a:lnTo>
                  <a:pt x="1284" y="1296"/>
                </a:lnTo>
                <a:lnTo>
                  <a:pt x="1302" y="1302"/>
                </a:lnTo>
                <a:lnTo>
                  <a:pt x="1308" y="1308"/>
                </a:lnTo>
                <a:lnTo>
                  <a:pt x="1308" y="1314"/>
                </a:lnTo>
                <a:lnTo>
                  <a:pt x="1302" y="1320"/>
                </a:lnTo>
                <a:lnTo>
                  <a:pt x="1278" y="1314"/>
                </a:lnTo>
                <a:lnTo>
                  <a:pt x="1266" y="1308"/>
                </a:lnTo>
                <a:lnTo>
                  <a:pt x="1260" y="1296"/>
                </a:lnTo>
                <a:lnTo>
                  <a:pt x="1236" y="1296"/>
                </a:lnTo>
                <a:lnTo>
                  <a:pt x="1224" y="1308"/>
                </a:lnTo>
                <a:lnTo>
                  <a:pt x="1218" y="1308"/>
                </a:lnTo>
                <a:lnTo>
                  <a:pt x="1218" y="1302"/>
                </a:lnTo>
                <a:lnTo>
                  <a:pt x="1212" y="1302"/>
                </a:lnTo>
                <a:lnTo>
                  <a:pt x="1206" y="1302"/>
                </a:lnTo>
                <a:lnTo>
                  <a:pt x="1170" y="1314"/>
                </a:lnTo>
                <a:lnTo>
                  <a:pt x="1134" y="1296"/>
                </a:lnTo>
                <a:lnTo>
                  <a:pt x="1122" y="1290"/>
                </a:lnTo>
                <a:lnTo>
                  <a:pt x="1104" y="1290"/>
                </a:lnTo>
                <a:lnTo>
                  <a:pt x="1098" y="1278"/>
                </a:lnTo>
                <a:lnTo>
                  <a:pt x="1092" y="1242"/>
                </a:lnTo>
                <a:lnTo>
                  <a:pt x="1086" y="1242"/>
                </a:lnTo>
                <a:lnTo>
                  <a:pt x="1086" y="1248"/>
                </a:lnTo>
                <a:lnTo>
                  <a:pt x="1086" y="1254"/>
                </a:lnTo>
                <a:lnTo>
                  <a:pt x="1080" y="1254"/>
                </a:lnTo>
                <a:lnTo>
                  <a:pt x="1080" y="1260"/>
                </a:lnTo>
                <a:lnTo>
                  <a:pt x="1074" y="1260"/>
                </a:lnTo>
                <a:lnTo>
                  <a:pt x="1068" y="1236"/>
                </a:lnTo>
                <a:lnTo>
                  <a:pt x="1068" y="1206"/>
                </a:lnTo>
                <a:lnTo>
                  <a:pt x="1080" y="1194"/>
                </a:lnTo>
                <a:lnTo>
                  <a:pt x="1086" y="1194"/>
                </a:lnTo>
                <a:lnTo>
                  <a:pt x="1092" y="1200"/>
                </a:lnTo>
                <a:lnTo>
                  <a:pt x="1098" y="1206"/>
                </a:lnTo>
                <a:lnTo>
                  <a:pt x="1104" y="1200"/>
                </a:lnTo>
                <a:lnTo>
                  <a:pt x="1104" y="1194"/>
                </a:lnTo>
                <a:lnTo>
                  <a:pt x="1110" y="1194"/>
                </a:lnTo>
                <a:lnTo>
                  <a:pt x="1110" y="1188"/>
                </a:lnTo>
                <a:lnTo>
                  <a:pt x="1116" y="1182"/>
                </a:lnTo>
                <a:lnTo>
                  <a:pt x="1110" y="1182"/>
                </a:lnTo>
                <a:lnTo>
                  <a:pt x="1110" y="1170"/>
                </a:lnTo>
                <a:lnTo>
                  <a:pt x="1110" y="1158"/>
                </a:lnTo>
                <a:lnTo>
                  <a:pt x="1110" y="1152"/>
                </a:lnTo>
                <a:lnTo>
                  <a:pt x="1104" y="1146"/>
                </a:lnTo>
                <a:lnTo>
                  <a:pt x="1098" y="1140"/>
                </a:lnTo>
                <a:lnTo>
                  <a:pt x="1098" y="1134"/>
                </a:lnTo>
                <a:lnTo>
                  <a:pt x="1098" y="1128"/>
                </a:lnTo>
                <a:lnTo>
                  <a:pt x="1092" y="1128"/>
                </a:lnTo>
                <a:lnTo>
                  <a:pt x="1092" y="1122"/>
                </a:lnTo>
                <a:lnTo>
                  <a:pt x="1092" y="1116"/>
                </a:lnTo>
                <a:lnTo>
                  <a:pt x="1092" y="1110"/>
                </a:lnTo>
                <a:lnTo>
                  <a:pt x="1056" y="1122"/>
                </a:lnTo>
                <a:lnTo>
                  <a:pt x="1038" y="1128"/>
                </a:lnTo>
                <a:lnTo>
                  <a:pt x="1032" y="1128"/>
                </a:lnTo>
                <a:lnTo>
                  <a:pt x="1026" y="1128"/>
                </a:lnTo>
                <a:lnTo>
                  <a:pt x="1020" y="1128"/>
                </a:lnTo>
                <a:lnTo>
                  <a:pt x="1014" y="1128"/>
                </a:lnTo>
                <a:lnTo>
                  <a:pt x="1014" y="1122"/>
                </a:lnTo>
                <a:lnTo>
                  <a:pt x="1008" y="1122"/>
                </a:lnTo>
                <a:lnTo>
                  <a:pt x="1002" y="1128"/>
                </a:lnTo>
                <a:lnTo>
                  <a:pt x="1002" y="1134"/>
                </a:lnTo>
                <a:lnTo>
                  <a:pt x="990" y="1134"/>
                </a:lnTo>
                <a:lnTo>
                  <a:pt x="990" y="1140"/>
                </a:lnTo>
                <a:lnTo>
                  <a:pt x="984" y="1140"/>
                </a:lnTo>
                <a:lnTo>
                  <a:pt x="978" y="1146"/>
                </a:lnTo>
                <a:lnTo>
                  <a:pt x="972" y="1140"/>
                </a:lnTo>
                <a:lnTo>
                  <a:pt x="966" y="1140"/>
                </a:lnTo>
                <a:lnTo>
                  <a:pt x="954" y="1140"/>
                </a:lnTo>
                <a:lnTo>
                  <a:pt x="954" y="1134"/>
                </a:lnTo>
                <a:lnTo>
                  <a:pt x="948" y="1134"/>
                </a:lnTo>
                <a:lnTo>
                  <a:pt x="942" y="1134"/>
                </a:lnTo>
                <a:lnTo>
                  <a:pt x="936" y="1134"/>
                </a:lnTo>
                <a:lnTo>
                  <a:pt x="930" y="1134"/>
                </a:lnTo>
                <a:lnTo>
                  <a:pt x="924" y="1134"/>
                </a:lnTo>
                <a:lnTo>
                  <a:pt x="918" y="1134"/>
                </a:lnTo>
                <a:lnTo>
                  <a:pt x="918" y="1128"/>
                </a:lnTo>
                <a:lnTo>
                  <a:pt x="918" y="1104"/>
                </a:lnTo>
                <a:lnTo>
                  <a:pt x="906" y="1104"/>
                </a:lnTo>
                <a:lnTo>
                  <a:pt x="900" y="1098"/>
                </a:lnTo>
                <a:lnTo>
                  <a:pt x="900" y="1092"/>
                </a:lnTo>
                <a:lnTo>
                  <a:pt x="900" y="1086"/>
                </a:lnTo>
                <a:lnTo>
                  <a:pt x="900" y="1080"/>
                </a:lnTo>
                <a:lnTo>
                  <a:pt x="894" y="1080"/>
                </a:lnTo>
                <a:lnTo>
                  <a:pt x="858" y="1074"/>
                </a:lnTo>
                <a:lnTo>
                  <a:pt x="852" y="1080"/>
                </a:lnTo>
                <a:lnTo>
                  <a:pt x="846" y="1086"/>
                </a:lnTo>
                <a:lnTo>
                  <a:pt x="840" y="1086"/>
                </a:lnTo>
                <a:lnTo>
                  <a:pt x="840" y="1092"/>
                </a:lnTo>
                <a:lnTo>
                  <a:pt x="834" y="1092"/>
                </a:lnTo>
                <a:lnTo>
                  <a:pt x="828" y="1098"/>
                </a:lnTo>
                <a:lnTo>
                  <a:pt x="822" y="1098"/>
                </a:lnTo>
                <a:lnTo>
                  <a:pt x="762" y="1074"/>
                </a:lnTo>
                <a:lnTo>
                  <a:pt x="756" y="1068"/>
                </a:lnTo>
                <a:lnTo>
                  <a:pt x="750" y="1068"/>
                </a:lnTo>
                <a:lnTo>
                  <a:pt x="744" y="1062"/>
                </a:lnTo>
                <a:lnTo>
                  <a:pt x="744" y="1068"/>
                </a:lnTo>
                <a:lnTo>
                  <a:pt x="744" y="1074"/>
                </a:lnTo>
                <a:lnTo>
                  <a:pt x="738" y="1074"/>
                </a:lnTo>
                <a:lnTo>
                  <a:pt x="738" y="1068"/>
                </a:lnTo>
                <a:lnTo>
                  <a:pt x="732" y="1068"/>
                </a:lnTo>
                <a:lnTo>
                  <a:pt x="726" y="1068"/>
                </a:lnTo>
                <a:lnTo>
                  <a:pt x="726" y="1074"/>
                </a:lnTo>
                <a:lnTo>
                  <a:pt x="720" y="1074"/>
                </a:lnTo>
                <a:lnTo>
                  <a:pt x="684" y="1068"/>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8478" name="Freeform 41"/>
          <p:cNvSpPr>
            <a:spLocks/>
          </p:cNvSpPr>
          <p:nvPr/>
        </p:nvSpPr>
        <p:spPr bwMode="gray">
          <a:xfrm>
            <a:off x="5875338" y="1592263"/>
            <a:ext cx="1558925" cy="1901825"/>
          </a:xfrm>
          <a:custGeom>
            <a:avLst/>
            <a:gdLst>
              <a:gd name="T0" fmla="*/ 76659 w 1992"/>
              <a:gd name="T1" fmla="*/ 130613 h 2358"/>
              <a:gd name="T2" fmla="*/ 72748 w 1992"/>
              <a:gd name="T3" fmla="*/ 138676 h 2358"/>
              <a:gd name="T4" fmla="*/ 64143 w 1992"/>
              <a:gd name="T5" fmla="*/ 144320 h 2358"/>
              <a:gd name="T6" fmla="*/ 54756 w 1992"/>
              <a:gd name="T7" fmla="*/ 140289 h 2358"/>
              <a:gd name="T8" fmla="*/ 48498 w 1992"/>
              <a:gd name="T9" fmla="*/ 146739 h 2358"/>
              <a:gd name="T10" fmla="*/ 35200 w 1992"/>
              <a:gd name="T11" fmla="*/ 152382 h 2358"/>
              <a:gd name="T12" fmla="*/ 18774 w 1992"/>
              <a:gd name="T13" fmla="*/ 165282 h 2358"/>
              <a:gd name="T14" fmla="*/ 13298 w 1992"/>
              <a:gd name="T15" fmla="*/ 164476 h 2358"/>
              <a:gd name="T16" fmla="*/ 5476 w 1992"/>
              <a:gd name="T17" fmla="*/ 158832 h 2358"/>
              <a:gd name="T18" fmla="*/ 782 w 1992"/>
              <a:gd name="T19" fmla="*/ 153995 h 2358"/>
              <a:gd name="T20" fmla="*/ 3129 w 1992"/>
              <a:gd name="T21" fmla="*/ 141095 h 2358"/>
              <a:gd name="T22" fmla="*/ 5476 w 1992"/>
              <a:gd name="T23" fmla="*/ 138676 h 2358"/>
              <a:gd name="T24" fmla="*/ 8605 w 1992"/>
              <a:gd name="T25" fmla="*/ 135451 h 2358"/>
              <a:gd name="T26" fmla="*/ 3911 w 1992"/>
              <a:gd name="T27" fmla="*/ 128195 h 2358"/>
              <a:gd name="T28" fmla="*/ 7822 w 1992"/>
              <a:gd name="T29" fmla="*/ 125776 h 2358"/>
              <a:gd name="T30" fmla="*/ 11733 w 1992"/>
              <a:gd name="T31" fmla="*/ 124970 h 2358"/>
              <a:gd name="T32" fmla="*/ 18774 w 1992"/>
              <a:gd name="T33" fmla="*/ 120132 h 2358"/>
              <a:gd name="T34" fmla="*/ 29725 w 1992"/>
              <a:gd name="T35" fmla="*/ 102395 h 2358"/>
              <a:gd name="T36" fmla="*/ 29725 w 1992"/>
              <a:gd name="T37" fmla="*/ 86269 h 2358"/>
              <a:gd name="T38" fmla="*/ 35200 w 1992"/>
              <a:gd name="T39" fmla="*/ 53213 h 2358"/>
              <a:gd name="T40" fmla="*/ 36765 w 1992"/>
              <a:gd name="T41" fmla="*/ 29025 h 2358"/>
              <a:gd name="T42" fmla="*/ 39894 w 1992"/>
              <a:gd name="T43" fmla="*/ 28219 h 2358"/>
              <a:gd name="T44" fmla="*/ 43023 w 1992"/>
              <a:gd name="T45" fmla="*/ 24188 h 2358"/>
              <a:gd name="T46" fmla="*/ 43805 w 1992"/>
              <a:gd name="T47" fmla="*/ 21769 h 2358"/>
              <a:gd name="T48" fmla="*/ 46934 w 1992"/>
              <a:gd name="T49" fmla="*/ 18544 h 2358"/>
              <a:gd name="T50" fmla="*/ 49281 w 1992"/>
              <a:gd name="T51" fmla="*/ 18544 h 2358"/>
              <a:gd name="T52" fmla="*/ 54756 w 1992"/>
              <a:gd name="T53" fmla="*/ 14513 h 2358"/>
              <a:gd name="T54" fmla="*/ 55539 w 1992"/>
              <a:gd name="T55" fmla="*/ 12094 h 2358"/>
              <a:gd name="T56" fmla="*/ 56321 w 1992"/>
              <a:gd name="T57" fmla="*/ 10481 h 2358"/>
              <a:gd name="T58" fmla="*/ 60232 w 1992"/>
              <a:gd name="T59" fmla="*/ 9675 h 2358"/>
              <a:gd name="T60" fmla="*/ 64925 w 1992"/>
              <a:gd name="T61" fmla="*/ 8063 h 2358"/>
              <a:gd name="T62" fmla="*/ 68054 w 1992"/>
              <a:gd name="T63" fmla="*/ 8063 h 2358"/>
              <a:gd name="T64" fmla="*/ 69619 w 1992"/>
              <a:gd name="T65" fmla="*/ 8063 h 2358"/>
              <a:gd name="T66" fmla="*/ 72748 w 1992"/>
              <a:gd name="T67" fmla="*/ 6450 h 2358"/>
              <a:gd name="T68" fmla="*/ 74312 w 1992"/>
              <a:gd name="T69" fmla="*/ 3225 h 2358"/>
              <a:gd name="T70" fmla="*/ 77441 w 1992"/>
              <a:gd name="T71" fmla="*/ 0 h 2358"/>
              <a:gd name="T72" fmla="*/ 86828 w 1992"/>
              <a:gd name="T73" fmla="*/ 0 h 2358"/>
              <a:gd name="T74" fmla="*/ 94650 w 1992"/>
              <a:gd name="T75" fmla="*/ 7256 h 2358"/>
              <a:gd name="T76" fmla="*/ 100126 w 1992"/>
              <a:gd name="T77" fmla="*/ 15319 h 2358"/>
              <a:gd name="T78" fmla="*/ 107948 w 1992"/>
              <a:gd name="T79" fmla="*/ 26606 h 2358"/>
              <a:gd name="T80" fmla="*/ 111077 w 1992"/>
              <a:gd name="T81" fmla="*/ 37894 h 2358"/>
              <a:gd name="T82" fmla="*/ 113424 w 1992"/>
              <a:gd name="T83" fmla="*/ 49988 h 2358"/>
              <a:gd name="T84" fmla="*/ 113424 w 1992"/>
              <a:gd name="T85" fmla="*/ 56438 h 2358"/>
              <a:gd name="T86" fmla="*/ 114988 w 1992"/>
              <a:gd name="T87" fmla="*/ 60469 h 2358"/>
              <a:gd name="T88" fmla="*/ 119682 w 1992"/>
              <a:gd name="T89" fmla="*/ 60469 h 2358"/>
              <a:gd name="T90" fmla="*/ 125157 w 1992"/>
              <a:gd name="T91" fmla="*/ 61275 h 2358"/>
              <a:gd name="T92" fmla="*/ 128286 w 1992"/>
              <a:gd name="T93" fmla="*/ 63694 h 2358"/>
              <a:gd name="T94" fmla="*/ 131415 w 1992"/>
              <a:gd name="T95" fmla="*/ 66919 h 2358"/>
              <a:gd name="T96" fmla="*/ 134544 w 1992"/>
              <a:gd name="T97" fmla="*/ 69338 h 2358"/>
              <a:gd name="T98" fmla="*/ 132980 w 1992"/>
              <a:gd name="T99" fmla="*/ 74982 h 2358"/>
              <a:gd name="T100" fmla="*/ 132980 w 1992"/>
              <a:gd name="T101" fmla="*/ 79819 h 2358"/>
              <a:gd name="T102" fmla="*/ 132197 w 1992"/>
              <a:gd name="T103" fmla="*/ 85463 h 2358"/>
              <a:gd name="T104" fmla="*/ 129851 w 1992"/>
              <a:gd name="T105" fmla="*/ 91107 h 2358"/>
              <a:gd name="T106" fmla="*/ 132980 w 1992"/>
              <a:gd name="T107" fmla="*/ 98363 h 2358"/>
              <a:gd name="T108" fmla="*/ 124375 w 1992"/>
              <a:gd name="T109" fmla="*/ 103201 h 2358"/>
              <a:gd name="T110" fmla="*/ 115770 w 1992"/>
              <a:gd name="T111" fmla="*/ 108038 h 2358"/>
              <a:gd name="T112" fmla="*/ 108730 w 1992"/>
              <a:gd name="T113" fmla="*/ 109651 h 2358"/>
              <a:gd name="T114" fmla="*/ 103255 w 1992"/>
              <a:gd name="T115" fmla="*/ 111263 h 2358"/>
              <a:gd name="T116" fmla="*/ 100126 w 1992"/>
              <a:gd name="T117" fmla="*/ 116907 h 2358"/>
              <a:gd name="T118" fmla="*/ 96997 w 1992"/>
              <a:gd name="T119" fmla="*/ 120938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92"/>
              <a:gd name="T181" fmla="*/ 0 h 2358"/>
              <a:gd name="T182" fmla="*/ 1992 w 1992"/>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92" h="2358">
                <a:moveTo>
                  <a:pt x="1356" y="1782"/>
                </a:moveTo>
                <a:lnTo>
                  <a:pt x="1350" y="1788"/>
                </a:lnTo>
                <a:lnTo>
                  <a:pt x="1266" y="1788"/>
                </a:lnTo>
                <a:lnTo>
                  <a:pt x="1260" y="1800"/>
                </a:lnTo>
                <a:lnTo>
                  <a:pt x="1242" y="1806"/>
                </a:lnTo>
                <a:lnTo>
                  <a:pt x="1218" y="1812"/>
                </a:lnTo>
                <a:lnTo>
                  <a:pt x="1182" y="1812"/>
                </a:lnTo>
                <a:lnTo>
                  <a:pt x="1158" y="1806"/>
                </a:lnTo>
                <a:lnTo>
                  <a:pt x="1134" y="1800"/>
                </a:lnTo>
                <a:lnTo>
                  <a:pt x="1134" y="1806"/>
                </a:lnTo>
                <a:lnTo>
                  <a:pt x="1134" y="1830"/>
                </a:lnTo>
                <a:lnTo>
                  <a:pt x="1128" y="1842"/>
                </a:lnTo>
                <a:lnTo>
                  <a:pt x="1128" y="1854"/>
                </a:lnTo>
                <a:lnTo>
                  <a:pt x="1128" y="1860"/>
                </a:lnTo>
                <a:lnTo>
                  <a:pt x="1128" y="1866"/>
                </a:lnTo>
                <a:lnTo>
                  <a:pt x="1128" y="1872"/>
                </a:lnTo>
                <a:lnTo>
                  <a:pt x="1128" y="1884"/>
                </a:lnTo>
                <a:lnTo>
                  <a:pt x="1128" y="1890"/>
                </a:lnTo>
                <a:lnTo>
                  <a:pt x="1128" y="1896"/>
                </a:lnTo>
                <a:lnTo>
                  <a:pt x="1122" y="1902"/>
                </a:lnTo>
                <a:lnTo>
                  <a:pt x="1122" y="1920"/>
                </a:lnTo>
                <a:lnTo>
                  <a:pt x="1116" y="1920"/>
                </a:lnTo>
                <a:lnTo>
                  <a:pt x="1110" y="1926"/>
                </a:lnTo>
                <a:lnTo>
                  <a:pt x="1110" y="1932"/>
                </a:lnTo>
                <a:lnTo>
                  <a:pt x="1104" y="1938"/>
                </a:lnTo>
                <a:lnTo>
                  <a:pt x="1086" y="1962"/>
                </a:lnTo>
                <a:lnTo>
                  <a:pt x="1074" y="1974"/>
                </a:lnTo>
                <a:lnTo>
                  <a:pt x="1074" y="1980"/>
                </a:lnTo>
                <a:lnTo>
                  <a:pt x="1068" y="1986"/>
                </a:lnTo>
                <a:lnTo>
                  <a:pt x="1062" y="1998"/>
                </a:lnTo>
                <a:lnTo>
                  <a:pt x="1062" y="2004"/>
                </a:lnTo>
                <a:lnTo>
                  <a:pt x="1068" y="2004"/>
                </a:lnTo>
                <a:lnTo>
                  <a:pt x="1056" y="2034"/>
                </a:lnTo>
                <a:lnTo>
                  <a:pt x="1050" y="2076"/>
                </a:lnTo>
                <a:lnTo>
                  <a:pt x="1056" y="2100"/>
                </a:lnTo>
                <a:lnTo>
                  <a:pt x="1038" y="2106"/>
                </a:lnTo>
                <a:lnTo>
                  <a:pt x="1002" y="2106"/>
                </a:lnTo>
                <a:lnTo>
                  <a:pt x="978" y="2094"/>
                </a:lnTo>
                <a:lnTo>
                  <a:pt x="972" y="2082"/>
                </a:lnTo>
                <a:lnTo>
                  <a:pt x="966" y="2070"/>
                </a:lnTo>
                <a:lnTo>
                  <a:pt x="954" y="2064"/>
                </a:lnTo>
                <a:lnTo>
                  <a:pt x="942" y="2058"/>
                </a:lnTo>
                <a:lnTo>
                  <a:pt x="936" y="2058"/>
                </a:lnTo>
                <a:lnTo>
                  <a:pt x="918" y="2046"/>
                </a:lnTo>
                <a:lnTo>
                  <a:pt x="906" y="2028"/>
                </a:lnTo>
                <a:lnTo>
                  <a:pt x="900" y="2022"/>
                </a:lnTo>
                <a:lnTo>
                  <a:pt x="894" y="2022"/>
                </a:lnTo>
                <a:lnTo>
                  <a:pt x="882" y="2022"/>
                </a:lnTo>
                <a:lnTo>
                  <a:pt x="870" y="2016"/>
                </a:lnTo>
                <a:lnTo>
                  <a:pt x="864" y="2016"/>
                </a:lnTo>
                <a:lnTo>
                  <a:pt x="852" y="2010"/>
                </a:lnTo>
                <a:lnTo>
                  <a:pt x="846" y="2004"/>
                </a:lnTo>
                <a:lnTo>
                  <a:pt x="840" y="2004"/>
                </a:lnTo>
                <a:lnTo>
                  <a:pt x="828" y="1998"/>
                </a:lnTo>
                <a:lnTo>
                  <a:pt x="816" y="1998"/>
                </a:lnTo>
                <a:lnTo>
                  <a:pt x="810" y="1998"/>
                </a:lnTo>
                <a:lnTo>
                  <a:pt x="804" y="1998"/>
                </a:lnTo>
                <a:lnTo>
                  <a:pt x="798" y="1998"/>
                </a:lnTo>
                <a:lnTo>
                  <a:pt x="792" y="2004"/>
                </a:lnTo>
                <a:lnTo>
                  <a:pt x="786" y="2010"/>
                </a:lnTo>
                <a:lnTo>
                  <a:pt x="762" y="2010"/>
                </a:lnTo>
                <a:lnTo>
                  <a:pt x="756" y="2010"/>
                </a:lnTo>
                <a:lnTo>
                  <a:pt x="744" y="2022"/>
                </a:lnTo>
                <a:lnTo>
                  <a:pt x="738" y="2034"/>
                </a:lnTo>
                <a:lnTo>
                  <a:pt x="732" y="2040"/>
                </a:lnTo>
                <a:lnTo>
                  <a:pt x="732" y="2046"/>
                </a:lnTo>
                <a:lnTo>
                  <a:pt x="726" y="2058"/>
                </a:lnTo>
                <a:lnTo>
                  <a:pt x="720" y="2064"/>
                </a:lnTo>
                <a:lnTo>
                  <a:pt x="714" y="2070"/>
                </a:lnTo>
                <a:lnTo>
                  <a:pt x="708" y="2088"/>
                </a:lnTo>
                <a:lnTo>
                  <a:pt x="702" y="2100"/>
                </a:lnTo>
                <a:lnTo>
                  <a:pt x="690" y="2100"/>
                </a:lnTo>
                <a:lnTo>
                  <a:pt x="684" y="2094"/>
                </a:lnTo>
                <a:lnTo>
                  <a:pt x="666" y="2100"/>
                </a:lnTo>
                <a:lnTo>
                  <a:pt x="636" y="2106"/>
                </a:lnTo>
                <a:lnTo>
                  <a:pt x="636" y="2112"/>
                </a:lnTo>
                <a:lnTo>
                  <a:pt x="636" y="2118"/>
                </a:lnTo>
                <a:lnTo>
                  <a:pt x="636" y="2124"/>
                </a:lnTo>
                <a:lnTo>
                  <a:pt x="630" y="2124"/>
                </a:lnTo>
                <a:lnTo>
                  <a:pt x="630" y="2148"/>
                </a:lnTo>
                <a:lnTo>
                  <a:pt x="612" y="2160"/>
                </a:lnTo>
                <a:lnTo>
                  <a:pt x="576" y="2172"/>
                </a:lnTo>
                <a:lnTo>
                  <a:pt x="546" y="2172"/>
                </a:lnTo>
                <a:lnTo>
                  <a:pt x="516" y="2172"/>
                </a:lnTo>
                <a:lnTo>
                  <a:pt x="486" y="2172"/>
                </a:lnTo>
                <a:lnTo>
                  <a:pt x="462" y="2172"/>
                </a:lnTo>
                <a:lnTo>
                  <a:pt x="444" y="2196"/>
                </a:lnTo>
                <a:lnTo>
                  <a:pt x="432" y="2232"/>
                </a:lnTo>
                <a:lnTo>
                  <a:pt x="408" y="2238"/>
                </a:lnTo>
                <a:lnTo>
                  <a:pt x="390" y="2256"/>
                </a:lnTo>
                <a:lnTo>
                  <a:pt x="372" y="2274"/>
                </a:lnTo>
                <a:lnTo>
                  <a:pt x="360" y="2274"/>
                </a:lnTo>
                <a:lnTo>
                  <a:pt x="336" y="2328"/>
                </a:lnTo>
                <a:lnTo>
                  <a:pt x="324" y="2340"/>
                </a:lnTo>
                <a:lnTo>
                  <a:pt x="300" y="2346"/>
                </a:lnTo>
                <a:lnTo>
                  <a:pt x="294" y="2352"/>
                </a:lnTo>
                <a:lnTo>
                  <a:pt x="288" y="2352"/>
                </a:lnTo>
                <a:lnTo>
                  <a:pt x="282" y="2352"/>
                </a:lnTo>
                <a:lnTo>
                  <a:pt x="276" y="2352"/>
                </a:lnTo>
                <a:lnTo>
                  <a:pt x="270" y="2352"/>
                </a:lnTo>
                <a:lnTo>
                  <a:pt x="270" y="2346"/>
                </a:lnTo>
                <a:lnTo>
                  <a:pt x="264" y="2346"/>
                </a:lnTo>
                <a:lnTo>
                  <a:pt x="258" y="2352"/>
                </a:lnTo>
                <a:lnTo>
                  <a:pt x="252" y="2352"/>
                </a:lnTo>
                <a:lnTo>
                  <a:pt x="240" y="2352"/>
                </a:lnTo>
                <a:lnTo>
                  <a:pt x="228" y="2352"/>
                </a:lnTo>
                <a:lnTo>
                  <a:pt x="222" y="2352"/>
                </a:lnTo>
                <a:lnTo>
                  <a:pt x="216" y="2358"/>
                </a:lnTo>
                <a:lnTo>
                  <a:pt x="216" y="2352"/>
                </a:lnTo>
                <a:lnTo>
                  <a:pt x="210" y="2346"/>
                </a:lnTo>
                <a:lnTo>
                  <a:pt x="204" y="2346"/>
                </a:lnTo>
                <a:lnTo>
                  <a:pt x="198" y="2340"/>
                </a:lnTo>
                <a:lnTo>
                  <a:pt x="192" y="2340"/>
                </a:lnTo>
                <a:lnTo>
                  <a:pt x="186" y="2340"/>
                </a:lnTo>
                <a:lnTo>
                  <a:pt x="180" y="2340"/>
                </a:lnTo>
                <a:lnTo>
                  <a:pt x="174" y="2340"/>
                </a:lnTo>
                <a:lnTo>
                  <a:pt x="162" y="2328"/>
                </a:lnTo>
                <a:lnTo>
                  <a:pt x="156" y="2322"/>
                </a:lnTo>
                <a:lnTo>
                  <a:pt x="156" y="2316"/>
                </a:lnTo>
                <a:lnTo>
                  <a:pt x="156" y="2310"/>
                </a:lnTo>
                <a:lnTo>
                  <a:pt x="132" y="2286"/>
                </a:lnTo>
                <a:lnTo>
                  <a:pt x="120" y="2280"/>
                </a:lnTo>
                <a:lnTo>
                  <a:pt x="96" y="2274"/>
                </a:lnTo>
                <a:lnTo>
                  <a:pt x="84" y="2268"/>
                </a:lnTo>
                <a:lnTo>
                  <a:pt x="78" y="2268"/>
                </a:lnTo>
                <a:lnTo>
                  <a:pt x="78" y="2262"/>
                </a:lnTo>
                <a:lnTo>
                  <a:pt x="78" y="2256"/>
                </a:lnTo>
                <a:lnTo>
                  <a:pt x="78" y="2250"/>
                </a:lnTo>
                <a:lnTo>
                  <a:pt x="72" y="2250"/>
                </a:lnTo>
                <a:lnTo>
                  <a:pt x="66" y="2250"/>
                </a:lnTo>
                <a:lnTo>
                  <a:pt x="60" y="2250"/>
                </a:lnTo>
                <a:lnTo>
                  <a:pt x="48" y="2244"/>
                </a:lnTo>
                <a:lnTo>
                  <a:pt x="36" y="2238"/>
                </a:lnTo>
                <a:lnTo>
                  <a:pt x="36" y="2226"/>
                </a:lnTo>
                <a:lnTo>
                  <a:pt x="30" y="2226"/>
                </a:lnTo>
                <a:lnTo>
                  <a:pt x="30" y="2220"/>
                </a:lnTo>
                <a:lnTo>
                  <a:pt x="24" y="2208"/>
                </a:lnTo>
                <a:lnTo>
                  <a:pt x="18" y="2202"/>
                </a:lnTo>
                <a:lnTo>
                  <a:pt x="18" y="2196"/>
                </a:lnTo>
                <a:lnTo>
                  <a:pt x="12" y="2190"/>
                </a:lnTo>
                <a:lnTo>
                  <a:pt x="0" y="2190"/>
                </a:lnTo>
                <a:lnTo>
                  <a:pt x="6" y="2184"/>
                </a:lnTo>
                <a:lnTo>
                  <a:pt x="12" y="2178"/>
                </a:lnTo>
                <a:lnTo>
                  <a:pt x="18" y="2172"/>
                </a:lnTo>
                <a:lnTo>
                  <a:pt x="24" y="2166"/>
                </a:lnTo>
                <a:lnTo>
                  <a:pt x="30" y="2166"/>
                </a:lnTo>
                <a:lnTo>
                  <a:pt x="24" y="2160"/>
                </a:lnTo>
                <a:lnTo>
                  <a:pt x="30" y="2160"/>
                </a:lnTo>
                <a:lnTo>
                  <a:pt x="36" y="2154"/>
                </a:lnTo>
                <a:lnTo>
                  <a:pt x="36" y="2136"/>
                </a:lnTo>
                <a:lnTo>
                  <a:pt x="36" y="2118"/>
                </a:lnTo>
                <a:lnTo>
                  <a:pt x="48" y="2058"/>
                </a:lnTo>
                <a:lnTo>
                  <a:pt x="48" y="2022"/>
                </a:lnTo>
                <a:lnTo>
                  <a:pt x="48" y="2016"/>
                </a:lnTo>
                <a:lnTo>
                  <a:pt x="48" y="2010"/>
                </a:lnTo>
                <a:lnTo>
                  <a:pt x="48" y="2004"/>
                </a:lnTo>
                <a:lnTo>
                  <a:pt x="42" y="2004"/>
                </a:lnTo>
                <a:lnTo>
                  <a:pt x="42" y="1998"/>
                </a:lnTo>
                <a:lnTo>
                  <a:pt x="36" y="1992"/>
                </a:lnTo>
                <a:lnTo>
                  <a:pt x="42" y="1992"/>
                </a:lnTo>
                <a:lnTo>
                  <a:pt x="42" y="1986"/>
                </a:lnTo>
                <a:lnTo>
                  <a:pt x="48" y="1986"/>
                </a:lnTo>
                <a:lnTo>
                  <a:pt x="54" y="1986"/>
                </a:lnTo>
                <a:lnTo>
                  <a:pt x="60" y="1986"/>
                </a:lnTo>
                <a:lnTo>
                  <a:pt x="66" y="1980"/>
                </a:lnTo>
                <a:lnTo>
                  <a:pt x="72" y="1974"/>
                </a:lnTo>
                <a:lnTo>
                  <a:pt x="78" y="1974"/>
                </a:lnTo>
                <a:lnTo>
                  <a:pt x="84" y="1974"/>
                </a:lnTo>
                <a:lnTo>
                  <a:pt x="90" y="1974"/>
                </a:lnTo>
                <a:lnTo>
                  <a:pt x="96" y="1974"/>
                </a:lnTo>
                <a:lnTo>
                  <a:pt x="96" y="1968"/>
                </a:lnTo>
                <a:lnTo>
                  <a:pt x="102" y="1968"/>
                </a:lnTo>
                <a:lnTo>
                  <a:pt x="102" y="1962"/>
                </a:lnTo>
                <a:lnTo>
                  <a:pt x="108" y="1962"/>
                </a:lnTo>
                <a:lnTo>
                  <a:pt x="114" y="1956"/>
                </a:lnTo>
                <a:lnTo>
                  <a:pt x="120" y="1956"/>
                </a:lnTo>
                <a:lnTo>
                  <a:pt x="126" y="1950"/>
                </a:lnTo>
                <a:lnTo>
                  <a:pt x="132" y="1950"/>
                </a:lnTo>
                <a:lnTo>
                  <a:pt x="132" y="1944"/>
                </a:lnTo>
                <a:lnTo>
                  <a:pt x="126" y="1944"/>
                </a:lnTo>
                <a:lnTo>
                  <a:pt x="126" y="1938"/>
                </a:lnTo>
                <a:lnTo>
                  <a:pt x="126" y="1932"/>
                </a:lnTo>
                <a:lnTo>
                  <a:pt x="126" y="1926"/>
                </a:lnTo>
                <a:lnTo>
                  <a:pt x="114" y="1914"/>
                </a:lnTo>
                <a:lnTo>
                  <a:pt x="114" y="1896"/>
                </a:lnTo>
                <a:lnTo>
                  <a:pt x="108" y="1884"/>
                </a:lnTo>
                <a:lnTo>
                  <a:pt x="102" y="1872"/>
                </a:lnTo>
                <a:lnTo>
                  <a:pt x="96" y="1866"/>
                </a:lnTo>
                <a:lnTo>
                  <a:pt x="96" y="1860"/>
                </a:lnTo>
                <a:lnTo>
                  <a:pt x="90" y="1860"/>
                </a:lnTo>
                <a:lnTo>
                  <a:pt x="90" y="1854"/>
                </a:lnTo>
                <a:lnTo>
                  <a:pt x="84" y="1848"/>
                </a:lnTo>
                <a:lnTo>
                  <a:pt x="78" y="1842"/>
                </a:lnTo>
                <a:lnTo>
                  <a:pt x="72" y="1836"/>
                </a:lnTo>
                <a:lnTo>
                  <a:pt x="66" y="1830"/>
                </a:lnTo>
                <a:lnTo>
                  <a:pt x="60" y="1824"/>
                </a:lnTo>
                <a:lnTo>
                  <a:pt x="54" y="1824"/>
                </a:lnTo>
                <a:lnTo>
                  <a:pt x="48" y="1824"/>
                </a:lnTo>
                <a:lnTo>
                  <a:pt x="42" y="1818"/>
                </a:lnTo>
                <a:lnTo>
                  <a:pt x="54" y="1818"/>
                </a:lnTo>
                <a:lnTo>
                  <a:pt x="60" y="1812"/>
                </a:lnTo>
                <a:lnTo>
                  <a:pt x="66" y="1812"/>
                </a:lnTo>
                <a:lnTo>
                  <a:pt x="72" y="1812"/>
                </a:lnTo>
                <a:lnTo>
                  <a:pt x="78" y="1812"/>
                </a:lnTo>
                <a:lnTo>
                  <a:pt x="84" y="1812"/>
                </a:lnTo>
                <a:lnTo>
                  <a:pt x="90" y="1806"/>
                </a:lnTo>
                <a:lnTo>
                  <a:pt x="96" y="1800"/>
                </a:lnTo>
                <a:lnTo>
                  <a:pt x="102" y="1806"/>
                </a:lnTo>
                <a:lnTo>
                  <a:pt x="108" y="1800"/>
                </a:lnTo>
                <a:lnTo>
                  <a:pt x="114" y="1794"/>
                </a:lnTo>
                <a:lnTo>
                  <a:pt x="120" y="1794"/>
                </a:lnTo>
                <a:lnTo>
                  <a:pt x="114" y="1794"/>
                </a:lnTo>
                <a:lnTo>
                  <a:pt x="120" y="1794"/>
                </a:lnTo>
                <a:lnTo>
                  <a:pt x="126" y="1788"/>
                </a:lnTo>
                <a:lnTo>
                  <a:pt x="126" y="1794"/>
                </a:lnTo>
                <a:lnTo>
                  <a:pt x="132" y="1794"/>
                </a:lnTo>
                <a:lnTo>
                  <a:pt x="132" y="1788"/>
                </a:lnTo>
                <a:lnTo>
                  <a:pt x="138" y="1788"/>
                </a:lnTo>
                <a:lnTo>
                  <a:pt x="138" y="1782"/>
                </a:lnTo>
                <a:lnTo>
                  <a:pt x="144" y="1782"/>
                </a:lnTo>
                <a:lnTo>
                  <a:pt x="150" y="1776"/>
                </a:lnTo>
                <a:lnTo>
                  <a:pt x="156" y="1782"/>
                </a:lnTo>
                <a:lnTo>
                  <a:pt x="162" y="1776"/>
                </a:lnTo>
                <a:lnTo>
                  <a:pt x="168" y="1776"/>
                </a:lnTo>
                <a:lnTo>
                  <a:pt x="180" y="1776"/>
                </a:lnTo>
                <a:lnTo>
                  <a:pt x="186" y="1776"/>
                </a:lnTo>
                <a:lnTo>
                  <a:pt x="186" y="1782"/>
                </a:lnTo>
                <a:lnTo>
                  <a:pt x="192" y="1776"/>
                </a:lnTo>
                <a:lnTo>
                  <a:pt x="198" y="1776"/>
                </a:lnTo>
                <a:lnTo>
                  <a:pt x="204" y="1770"/>
                </a:lnTo>
                <a:lnTo>
                  <a:pt x="204" y="1764"/>
                </a:lnTo>
                <a:lnTo>
                  <a:pt x="210" y="1764"/>
                </a:lnTo>
                <a:lnTo>
                  <a:pt x="216" y="1764"/>
                </a:lnTo>
                <a:lnTo>
                  <a:pt x="216" y="1758"/>
                </a:lnTo>
                <a:lnTo>
                  <a:pt x="222" y="1758"/>
                </a:lnTo>
                <a:lnTo>
                  <a:pt x="228" y="1758"/>
                </a:lnTo>
                <a:lnTo>
                  <a:pt x="258" y="1746"/>
                </a:lnTo>
                <a:lnTo>
                  <a:pt x="282" y="1716"/>
                </a:lnTo>
                <a:lnTo>
                  <a:pt x="300" y="1698"/>
                </a:lnTo>
                <a:lnTo>
                  <a:pt x="312" y="1698"/>
                </a:lnTo>
                <a:lnTo>
                  <a:pt x="336" y="1698"/>
                </a:lnTo>
                <a:lnTo>
                  <a:pt x="360" y="1698"/>
                </a:lnTo>
                <a:lnTo>
                  <a:pt x="372" y="1692"/>
                </a:lnTo>
                <a:lnTo>
                  <a:pt x="384" y="1692"/>
                </a:lnTo>
                <a:lnTo>
                  <a:pt x="360" y="1668"/>
                </a:lnTo>
                <a:lnTo>
                  <a:pt x="348" y="1626"/>
                </a:lnTo>
                <a:lnTo>
                  <a:pt x="354" y="1578"/>
                </a:lnTo>
                <a:lnTo>
                  <a:pt x="354" y="1572"/>
                </a:lnTo>
                <a:lnTo>
                  <a:pt x="360" y="1572"/>
                </a:lnTo>
                <a:lnTo>
                  <a:pt x="396" y="1530"/>
                </a:lnTo>
                <a:lnTo>
                  <a:pt x="408" y="1482"/>
                </a:lnTo>
                <a:lnTo>
                  <a:pt x="438" y="1458"/>
                </a:lnTo>
                <a:lnTo>
                  <a:pt x="468" y="1422"/>
                </a:lnTo>
                <a:lnTo>
                  <a:pt x="480" y="1410"/>
                </a:lnTo>
                <a:lnTo>
                  <a:pt x="474" y="1386"/>
                </a:lnTo>
                <a:lnTo>
                  <a:pt x="456" y="1356"/>
                </a:lnTo>
                <a:lnTo>
                  <a:pt x="438" y="1350"/>
                </a:lnTo>
                <a:lnTo>
                  <a:pt x="420" y="1350"/>
                </a:lnTo>
                <a:lnTo>
                  <a:pt x="402" y="1350"/>
                </a:lnTo>
                <a:lnTo>
                  <a:pt x="390" y="1344"/>
                </a:lnTo>
                <a:lnTo>
                  <a:pt x="390" y="1332"/>
                </a:lnTo>
                <a:lnTo>
                  <a:pt x="402" y="1296"/>
                </a:lnTo>
                <a:lnTo>
                  <a:pt x="414" y="1260"/>
                </a:lnTo>
                <a:lnTo>
                  <a:pt x="426" y="1248"/>
                </a:lnTo>
                <a:lnTo>
                  <a:pt x="438" y="1242"/>
                </a:lnTo>
                <a:lnTo>
                  <a:pt x="432" y="1230"/>
                </a:lnTo>
                <a:lnTo>
                  <a:pt x="432" y="1224"/>
                </a:lnTo>
                <a:lnTo>
                  <a:pt x="426" y="1218"/>
                </a:lnTo>
                <a:lnTo>
                  <a:pt x="426" y="1206"/>
                </a:lnTo>
                <a:lnTo>
                  <a:pt x="426" y="1200"/>
                </a:lnTo>
                <a:lnTo>
                  <a:pt x="432" y="1194"/>
                </a:lnTo>
                <a:lnTo>
                  <a:pt x="426" y="1188"/>
                </a:lnTo>
                <a:lnTo>
                  <a:pt x="432" y="1104"/>
                </a:lnTo>
                <a:lnTo>
                  <a:pt x="438" y="1086"/>
                </a:lnTo>
                <a:lnTo>
                  <a:pt x="462" y="972"/>
                </a:lnTo>
                <a:lnTo>
                  <a:pt x="456" y="900"/>
                </a:lnTo>
                <a:lnTo>
                  <a:pt x="444" y="846"/>
                </a:lnTo>
                <a:lnTo>
                  <a:pt x="456" y="810"/>
                </a:lnTo>
                <a:lnTo>
                  <a:pt x="492" y="786"/>
                </a:lnTo>
                <a:lnTo>
                  <a:pt x="522" y="762"/>
                </a:lnTo>
                <a:lnTo>
                  <a:pt x="546" y="732"/>
                </a:lnTo>
                <a:lnTo>
                  <a:pt x="570" y="696"/>
                </a:lnTo>
                <a:lnTo>
                  <a:pt x="582" y="654"/>
                </a:lnTo>
                <a:lnTo>
                  <a:pt x="564" y="642"/>
                </a:lnTo>
                <a:lnTo>
                  <a:pt x="522" y="588"/>
                </a:lnTo>
                <a:lnTo>
                  <a:pt x="516" y="546"/>
                </a:lnTo>
                <a:lnTo>
                  <a:pt x="510" y="474"/>
                </a:lnTo>
                <a:lnTo>
                  <a:pt x="510" y="450"/>
                </a:lnTo>
                <a:lnTo>
                  <a:pt x="510" y="444"/>
                </a:lnTo>
                <a:lnTo>
                  <a:pt x="522" y="438"/>
                </a:lnTo>
                <a:lnTo>
                  <a:pt x="522" y="432"/>
                </a:lnTo>
                <a:lnTo>
                  <a:pt x="528" y="426"/>
                </a:lnTo>
                <a:lnTo>
                  <a:pt x="534" y="420"/>
                </a:lnTo>
                <a:lnTo>
                  <a:pt x="540" y="414"/>
                </a:lnTo>
                <a:lnTo>
                  <a:pt x="540" y="408"/>
                </a:lnTo>
                <a:lnTo>
                  <a:pt x="534" y="408"/>
                </a:lnTo>
                <a:lnTo>
                  <a:pt x="540" y="408"/>
                </a:lnTo>
                <a:lnTo>
                  <a:pt x="546" y="408"/>
                </a:lnTo>
                <a:lnTo>
                  <a:pt x="558" y="414"/>
                </a:lnTo>
                <a:lnTo>
                  <a:pt x="564" y="414"/>
                </a:lnTo>
                <a:lnTo>
                  <a:pt x="570" y="414"/>
                </a:lnTo>
                <a:lnTo>
                  <a:pt x="582" y="414"/>
                </a:lnTo>
                <a:lnTo>
                  <a:pt x="582" y="420"/>
                </a:lnTo>
                <a:lnTo>
                  <a:pt x="588" y="414"/>
                </a:lnTo>
                <a:lnTo>
                  <a:pt x="582" y="408"/>
                </a:lnTo>
                <a:lnTo>
                  <a:pt x="588" y="402"/>
                </a:lnTo>
                <a:lnTo>
                  <a:pt x="594" y="402"/>
                </a:lnTo>
                <a:lnTo>
                  <a:pt x="594" y="396"/>
                </a:lnTo>
                <a:lnTo>
                  <a:pt x="594" y="390"/>
                </a:lnTo>
                <a:lnTo>
                  <a:pt x="594" y="384"/>
                </a:lnTo>
                <a:lnTo>
                  <a:pt x="594" y="378"/>
                </a:lnTo>
                <a:lnTo>
                  <a:pt x="600" y="366"/>
                </a:lnTo>
                <a:lnTo>
                  <a:pt x="606" y="366"/>
                </a:lnTo>
                <a:lnTo>
                  <a:pt x="612" y="360"/>
                </a:lnTo>
                <a:lnTo>
                  <a:pt x="612" y="366"/>
                </a:lnTo>
                <a:lnTo>
                  <a:pt x="618" y="366"/>
                </a:lnTo>
                <a:lnTo>
                  <a:pt x="624" y="366"/>
                </a:lnTo>
                <a:lnTo>
                  <a:pt x="630" y="360"/>
                </a:lnTo>
                <a:lnTo>
                  <a:pt x="636" y="354"/>
                </a:lnTo>
                <a:lnTo>
                  <a:pt x="630" y="354"/>
                </a:lnTo>
                <a:lnTo>
                  <a:pt x="630" y="348"/>
                </a:lnTo>
                <a:lnTo>
                  <a:pt x="630" y="342"/>
                </a:lnTo>
                <a:lnTo>
                  <a:pt x="636" y="342"/>
                </a:lnTo>
                <a:lnTo>
                  <a:pt x="642" y="336"/>
                </a:lnTo>
                <a:lnTo>
                  <a:pt x="636" y="330"/>
                </a:lnTo>
                <a:lnTo>
                  <a:pt x="630" y="336"/>
                </a:lnTo>
                <a:lnTo>
                  <a:pt x="624" y="336"/>
                </a:lnTo>
                <a:lnTo>
                  <a:pt x="624" y="330"/>
                </a:lnTo>
                <a:lnTo>
                  <a:pt x="624" y="324"/>
                </a:lnTo>
                <a:lnTo>
                  <a:pt x="618" y="324"/>
                </a:lnTo>
                <a:lnTo>
                  <a:pt x="624" y="324"/>
                </a:lnTo>
                <a:lnTo>
                  <a:pt x="630" y="330"/>
                </a:lnTo>
                <a:lnTo>
                  <a:pt x="630" y="318"/>
                </a:lnTo>
                <a:lnTo>
                  <a:pt x="636" y="318"/>
                </a:lnTo>
                <a:lnTo>
                  <a:pt x="642" y="312"/>
                </a:lnTo>
                <a:lnTo>
                  <a:pt x="642" y="306"/>
                </a:lnTo>
                <a:lnTo>
                  <a:pt x="648" y="300"/>
                </a:lnTo>
                <a:lnTo>
                  <a:pt x="648" y="294"/>
                </a:lnTo>
                <a:lnTo>
                  <a:pt x="648" y="288"/>
                </a:lnTo>
                <a:lnTo>
                  <a:pt x="648" y="282"/>
                </a:lnTo>
                <a:lnTo>
                  <a:pt x="654" y="288"/>
                </a:lnTo>
                <a:lnTo>
                  <a:pt x="654" y="282"/>
                </a:lnTo>
                <a:lnTo>
                  <a:pt x="660" y="282"/>
                </a:lnTo>
                <a:lnTo>
                  <a:pt x="666" y="282"/>
                </a:lnTo>
                <a:lnTo>
                  <a:pt x="672" y="282"/>
                </a:lnTo>
                <a:lnTo>
                  <a:pt x="678" y="282"/>
                </a:lnTo>
                <a:lnTo>
                  <a:pt x="684" y="276"/>
                </a:lnTo>
                <a:lnTo>
                  <a:pt x="690" y="270"/>
                </a:lnTo>
                <a:lnTo>
                  <a:pt x="690" y="264"/>
                </a:lnTo>
                <a:lnTo>
                  <a:pt x="690" y="270"/>
                </a:lnTo>
                <a:lnTo>
                  <a:pt x="690" y="276"/>
                </a:lnTo>
                <a:lnTo>
                  <a:pt x="696" y="276"/>
                </a:lnTo>
                <a:lnTo>
                  <a:pt x="702" y="276"/>
                </a:lnTo>
                <a:lnTo>
                  <a:pt x="702" y="282"/>
                </a:lnTo>
                <a:lnTo>
                  <a:pt x="708" y="282"/>
                </a:lnTo>
                <a:lnTo>
                  <a:pt x="720" y="270"/>
                </a:lnTo>
                <a:lnTo>
                  <a:pt x="720" y="264"/>
                </a:lnTo>
                <a:lnTo>
                  <a:pt x="720" y="258"/>
                </a:lnTo>
                <a:lnTo>
                  <a:pt x="726" y="258"/>
                </a:lnTo>
                <a:lnTo>
                  <a:pt x="732" y="258"/>
                </a:lnTo>
                <a:lnTo>
                  <a:pt x="732" y="264"/>
                </a:lnTo>
                <a:lnTo>
                  <a:pt x="738" y="264"/>
                </a:lnTo>
                <a:lnTo>
                  <a:pt x="738" y="258"/>
                </a:lnTo>
                <a:lnTo>
                  <a:pt x="732" y="258"/>
                </a:lnTo>
                <a:lnTo>
                  <a:pt x="732" y="252"/>
                </a:lnTo>
                <a:lnTo>
                  <a:pt x="744" y="252"/>
                </a:lnTo>
                <a:lnTo>
                  <a:pt x="750" y="252"/>
                </a:lnTo>
                <a:lnTo>
                  <a:pt x="750" y="246"/>
                </a:lnTo>
                <a:lnTo>
                  <a:pt x="750" y="240"/>
                </a:lnTo>
                <a:lnTo>
                  <a:pt x="762" y="234"/>
                </a:lnTo>
                <a:lnTo>
                  <a:pt x="768" y="234"/>
                </a:lnTo>
                <a:lnTo>
                  <a:pt x="774" y="234"/>
                </a:lnTo>
                <a:lnTo>
                  <a:pt x="780" y="228"/>
                </a:lnTo>
                <a:lnTo>
                  <a:pt x="786" y="222"/>
                </a:lnTo>
                <a:lnTo>
                  <a:pt x="786" y="216"/>
                </a:lnTo>
                <a:lnTo>
                  <a:pt x="792" y="216"/>
                </a:lnTo>
                <a:lnTo>
                  <a:pt x="792" y="210"/>
                </a:lnTo>
                <a:lnTo>
                  <a:pt x="804" y="204"/>
                </a:lnTo>
                <a:lnTo>
                  <a:pt x="804" y="198"/>
                </a:lnTo>
                <a:lnTo>
                  <a:pt x="804" y="204"/>
                </a:lnTo>
                <a:lnTo>
                  <a:pt x="810" y="204"/>
                </a:lnTo>
                <a:lnTo>
                  <a:pt x="810" y="198"/>
                </a:lnTo>
                <a:lnTo>
                  <a:pt x="810" y="192"/>
                </a:lnTo>
                <a:lnTo>
                  <a:pt x="798" y="186"/>
                </a:lnTo>
                <a:lnTo>
                  <a:pt x="810" y="186"/>
                </a:lnTo>
                <a:lnTo>
                  <a:pt x="810" y="180"/>
                </a:lnTo>
                <a:lnTo>
                  <a:pt x="810" y="186"/>
                </a:lnTo>
                <a:lnTo>
                  <a:pt x="816" y="186"/>
                </a:lnTo>
                <a:lnTo>
                  <a:pt x="816" y="180"/>
                </a:lnTo>
                <a:lnTo>
                  <a:pt x="810" y="180"/>
                </a:lnTo>
                <a:lnTo>
                  <a:pt x="816" y="174"/>
                </a:lnTo>
                <a:lnTo>
                  <a:pt x="822" y="174"/>
                </a:lnTo>
                <a:lnTo>
                  <a:pt x="822" y="180"/>
                </a:lnTo>
                <a:lnTo>
                  <a:pt x="828" y="180"/>
                </a:lnTo>
                <a:lnTo>
                  <a:pt x="828" y="174"/>
                </a:lnTo>
                <a:lnTo>
                  <a:pt x="822" y="168"/>
                </a:lnTo>
                <a:lnTo>
                  <a:pt x="828" y="168"/>
                </a:lnTo>
                <a:lnTo>
                  <a:pt x="828" y="162"/>
                </a:lnTo>
                <a:lnTo>
                  <a:pt x="828" y="156"/>
                </a:lnTo>
                <a:lnTo>
                  <a:pt x="822" y="156"/>
                </a:lnTo>
                <a:lnTo>
                  <a:pt x="828" y="156"/>
                </a:lnTo>
                <a:lnTo>
                  <a:pt x="828" y="150"/>
                </a:lnTo>
                <a:lnTo>
                  <a:pt x="834" y="150"/>
                </a:lnTo>
                <a:lnTo>
                  <a:pt x="840" y="156"/>
                </a:lnTo>
                <a:lnTo>
                  <a:pt x="840" y="150"/>
                </a:lnTo>
                <a:lnTo>
                  <a:pt x="834" y="150"/>
                </a:lnTo>
                <a:lnTo>
                  <a:pt x="834" y="144"/>
                </a:lnTo>
                <a:lnTo>
                  <a:pt x="840" y="138"/>
                </a:lnTo>
                <a:lnTo>
                  <a:pt x="846" y="144"/>
                </a:lnTo>
                <a:lnTo>
                  <a:pt x="846" y="150"/>
                </a:lnTo>
                <a:lnTo>
                  <a:pt x="852" y="150"/>
                </a:lnTo>
                <a:lnTo>
                  <a:pt x="858" y="150"/>
                </a:lnTo>
                <a:lnTo>
                  <a:pt x="870" y="150"/>
                </a:lnTo>
                <a:lnTo>
                  <a:pt x="870" y="144"/>
                </a:lnTo>
                <a:lnTo>
                  <a:pt x="876" y="138"/>
                </a:lnTo>
                <a:lnTo>
                  <a:pt x="882" y="138"/>
                </a:lnTo>
                <a:lnTo>
                  <a:pt x="888" y="132"/>
                </a:lnTo>
                <a:lnTo>
                  <a:pt x="888" y="138"/>
                </a:lnTo>
                <a:lnTo>
                  <a:pt x="894" y="138"/>
                </a:lnTo>
                <a:lnTo>
                  <a:pt x="894" y="132"/>
                </a:lnTo>
                <a:lnTo>
                  <a:pt x="900" y="126"/>
                </a:lnTo>
                <a:lnTo>
                  <a:pt x="900" y="132"/>
                </a:lnTo>
                <a:lnTo>
                  <a:pt x="906" y="132"/>
                </a:lnTo>
                <a:lnTo>
                  <a:pt x="912" y="132"/>
                </a:lnTo>
                <a:lnTo>
                  <a:pt x="918" y="126"/>
                </a:lnTo>
                <a:lnTo>
                  <a:pt x="918" y="132"/>
                </a:lnTo>
                <a:lnTo>
                  <a:pt x="924" y="132"/>
                </a:lnTo>
                <a:lnTo>
                  <a:pt x="924" y="126"/>
                </a:lnTo>
                <a:lnTo>
                  <a:pt x="936" y="120"/>
                </a:lnTo>
                <a:lnTo>
                  <a:pt x="942" y="120"/>
                </a:lnTo>
                <a:lnTo>
                  <a:pt x="948" y="120"/>
                </a:lnTo>
                <a:lnTo>
                  <a:pt x="948" y="114"/>
                </a:lnTo>
                <a:lnTo>
                  <a:pt x="948" y="108"/>
                </a:lnTo>
                <a:lnTo>
                  <a:pt x="954" y="114"/>
                </a:lnTo>
                <a:lnTo>
                  <a:pt x="960" y="108"/>
                </a:lnTo>
                <a:lnTo>
                  <a:pt x="966" y="108"/>
                </a:lnTo>
                <a:lnTo>
                  <a:pt x="972" y="108"/>
                </a:lnTo>
                <a:lnTo>
                  <a:pt x="966" y="114"/>
                </a:lnTo>
                <a:lnTo>
                  <a:pt x="960" y="114"/>
                </a:lnTo>
                <a:lnTo>
                  <a:pt x="960" y="120"/>
                </a:lnTo>
                <a:lnTo>
                  <a:pt x="966" y="126"/>
                </a:lnTo>
                <a:lnTo>
                  <a:pt x="972" y="126"/>
                </a:lnTo>
                <a:lnTo>
                  <a:pt x="978" y="126"/>
                </a:lnTo>
                <a:lnTo>
                  <a:pt x="984" y="120"/>
                </a:lnTo>
                <a:lnTo>
                  <a:pt x="984" y="114"/>
                </a:lnTo>
                <a:lnTo>
                  <a:pt x="996" y="126"/>
                </a:lnTo>
                <a:lnTo>
                  <a:pt x="996" y="120"/>
                </a:lnTo>
                <a:lnTo>
                  <a:pt x="1002" y="120"/>
                </a:lnTo>
                <a:lnTo>
                  <a:pt x="996" y="114"/>
                </a:lnTo>
                <a:lnTo>
                  <a:pt x="1002" y="114"/>
                </a:lnTo>
                <a:lnTo>
                  <a:pt x="1008" y="114"/>
                </a:lnTo>
                <a:lnTo>
                  <a:pt x="1008" y="108"/>
                </a:lnTo>
                <a:lnTo>
                  <a:pt x="1014" y="108"/>
                </a:lnTo>
                <a:lnTo>
                  <a:pt x="1008" y="114"/>
                </a:lnTo>
                <a:lnTo>
                  <a:pt x="1008" y="120"/>
                </a:lnTo>
                <a:lnTo>
                  <a:pt x="1008" y="126"/>
                </a:lnTo>
                <a:lnTo>
                  <a:pt x="1014" y="126"/>
                </a:lnTo>
                <a:lnTo>
                  <a:pt x="1014" y="132"/>
                </a:lnTo>
                <a:lnTo>
                  <a:pt x="1020" y="132"/>
                </a:lnTo>
                <a:lnTo>
                  <a:pt x="1020" y="126"/>
                </a:lnTo>
                <a:lnTo>
                  <a:pt x="1020" y="120"/>
                </a:lnTo>
                <a:lnTo>
                  <a:pt x="1032" y="120"/>
                </a:lnTo>
                <a:lnTo>
                  <a:pt x="1038" y="120"/>
                </a:lnTo>
                <a:lnTo>
                  <a:pt x="1038" y="126"/>
                </a:lnTo>
                <a:lnTo>
                  <a:pt x="1044" y="132"/>
                </a:lnTo>
                <a:lnTo>
                  <a:pt x="1044" y="126"/>
                </a:lnTo>
                <a:lnTo>
                  <a:pt x="1050" y="120"/>
                </a:lnTo>
                <a:lnTo>
                  <a:pt x="1050" y="114"/>
                </a:lnTo>
                <a:lnTo>
                  <a:pt x="1056" y="108"/>
                </a:lnTo>
                <a:lnTo>
                  <a:pt x="1056" y="102"/>
                </a:lnTo>
                <a:lnTo>
                  <a:pt x="1056" y="108"/>
                </a:lnTo>
                <a:lnTo>
                  <a:pt x="1056" y="102"/>
                </a:lnTo>
                <a:lnTo>
                  <a:pt x="1068" y="102"/>
                </a:lnTo>
                <a:lnTo>
                  <a:pt x="1074" y="96"/>
                </a:lnTo>
                <a:lnTo>
                  <a:pt x="1074" y="90"/>
                </a:lnTo>
                <a:lnTo>
                  <a:pt x="1068" y="90"/>
                </a:lnTo>
                <a:lnTo>
                  <a:pt x="1068" y="84"/>
                </a:lnTo>
                <a:lnTo>
                  <a:pt x="1080" y="84"/>
                </a:lnTo>
                <a:lnTo>
                  <a:pt x="1086" y="78"/>
                </a:lnTo>
                <a:lnTo>
                  <a:pt x="1086" y="72"/>
                </a:lnTo>
                <a:lnTo>
                  <a:pt x="1080" y="78"/>
                </a:lnTo>
                <a:lnTo>
                  <a:pt x="1080" y="72"/>
                </a:lnTo>
                <a:lnTo>
                  <a:pt x="1080" y="66"/>
                </a:lnTo>
                <a:lnTo>
                  <a:pt x="1074" y="66"/>
                </a:lnTo>
                <a:lnTo>
                  <a:pt x="1080" y="66"/>
                </a:lnTo>
                <a:lnTo>
                  <a:pt x="1080" y="60"/>
                </a:lnTo>
                <a:lnTo>
                  <a:pt x="1086" y="60"/>
                </a:lnTo>
                <a:lnTo>
                  <a:pt x="1086" y="54"/>
                </a:lnTo>
                <a:lnTo>
                  <a:pt x="1092" y="54"/>
                </a:lnTo>
                <a:lnTo>
                  <a:pt x="1092" y="48"/>
                </a:lnTo>
                <a:lnTo>
                  <a:pt x="1092" y="42"/>
                </a:lnTo>
                <a:lnTo>
                  <a:pt x="1098" y="42"/>
                </a:lnTo>
                <a:lnTo>
                  <a:pt x="1104" y="36"/>
                </a:lnTo>
                <a:lnTo>
                  <a:pt x="1110" y="36"/>
                </a:lnTo>
                <a:lnTo>
                  <a:pt x="1110" y="30"/>
                </a:lnTo>
                <a:lnTo>
                  <a:pt x="1110" y="24"/>
                </a:lnTo>
                <a:lnTo>
                  <a:pt x="1116" y="24"/>
                </a:lnTo>
                <a:lnTo>
                  <a:pt x="1116" y="18"/>
                </a:lnTo>
                <a:lnTo>
                  <a:pt x="1122" y="18"/>
                </a:lnTo>
                <a:lnTo>
                  <a:pt x="1128" y="18"/>
                </a:lnTo>
                <a:lnTo>
                  <a:pt x="1134" y="12"/>
                </a:lnTo>
                <a:lnTo>
                  <a:pt x="1134" y="6"/>
                </a:lnTo>
                <a:lnTo>
                  <a:pt x="1140" y="6"/>
                </a:lnTo>
                <a:lnTo>
                  <a:pt x="1146" y="0"/>
                </a:lnTo>
                <a:lnTo>
                  <a:pt x="1152" y="0"/>
                </a:lnTo>
                <a:lnTo>
                  <a:pt x="1158" y="0"/>
                </a:lnTo>
                <a:lnTo>
                  <a:pt x="1158" y="6"/>
                </a:lnTo>
                <a:lnTo>
                  <a:pt x="1170" y="0"/>
                </a:lnTo>
                <a:lnTo>
                  <a:pt x="1176" y="6"/>
                </a:lnTo>
                <a:lnTo>
                  <a:pt x="1182" y="6"/>
                </a:lnTo>
                <a:lnTo>
                  <a:pt x="1194" y="6"/>
                </a:lnTo>
                <a:lnTo>
                  <a:pt x="1200" y="6"/>
                </a:lnTo>
                <a:lnTo>
                  <a:pt x="1212" y="0"/>
                </a:lnTo>
                <a:lnTo>
                  <a:pt x="1212" y="6"/>
                </a:lnTo>
                <a:lnTo>
                  <a:pt x="1218" y="6"/>
                </a:lnTo>
                <a:lnTo>
                  <a:pt x="1266" y="6"/>
                </a:lnTo>
                <a:lnTo>
                  <a:pt x="1272" y="0"/>
                </a:lnTo>
                <a:lnTo>
                  <a:pt x="1278" y="6"/>
                </a:lnTo>
                <a:lnTo>
                  <a:pt x="1290" y="6"/>
                </a:lnTo>
                <a:lnTo>
                  <a:pt x="1296" y="6"/>
                </a:lnTo>
                <a:lnTo>
                  <a:pt x="1308" y="6"/>
                </a:lnTo>
                <a:lnTo>
                  <a:pt x="1314" y="6"/>
                </a:lnTo>
                <a:lnTo>
                  <a:pt x="1320" y="6"/>
                </a:lnTo>
                <a:lnTo>
                  <a:pt x="1326" y="12"/>
                </a:lnTo>
                <a:lnTo>
                  <a:pt x="1338" y="30"/>
                </a:lnTo>
                <a:lnTo>
                  <a:pt x="1344" y="36"/>
                </a:lnTo>
                <a:lnTo>
                  <a:pt x="1356" y="48"/>
                </a:lnTo>
                <a:lnTo>
                  <a:pt x="1362" y="60"/>
                </a:lnTo>
                <a:lnTo>
                  <a:pt x="1368" y="66"/>
                </a:lnTo>
                <a:lnTo>
                  <a:pt x="1374" y="72"/>
                </a:lnTo>
                <a:lnTo>
                  <a:pt x="1374" y="78"/>
                </a:lnTo>
                <a:lnTo>
                  <a:pt x="1398" y="108"/>
                </a:lnTo>
                <a:lnTo>
                  <a:pt x="1398" y="114"/>
                </a:lnTo>
                <a:lnTo>
                  <a:pt x="1404" y="114"/>
                </a:lnTo>
                <a:lnTo>
                  <a:pt x="1404" y="120"/>
                </a:lnTo>
                <a:lnTo>
                  <a:pt x="1410" y="132"/>
                </a:lnTo>
                <a:lnTo>
                  <a:pt x="1416" y="132"/>
                </a:lnTo>
                <a:lnTo>
                  <a:pt x="1416" y="138"/>
                </a:lnTo>
                <a:lnTo>
                  <a:pt x="1422" y="144"/>
                </a:lnTo>
                <a:lnTo>
                  <a:pt x="1428" y="150"/>
                </a:lnTo>
                <a:lnTo>
                  <a:pt x="1428" y="156"/>
                </a:lnTo>
                <a:lnTo>
                  <a:pt x="1458" y="192"/>
                </a:lnTo>
                <a:lnTo>
                  <a:pt x="1458" y="198"/>
                </a:lnTo>
                <a:lnTo>
                  <a:pt x="1464" y="204"/>
                </a:lnTo>
                <a:lnTo>
                  <a:pt x="1470" y="210"/>
                </a:lnTo>
                <a:lnTo>
                  <a:pt x="1476" y="216"/>
                </a:lnTo>
                <a:lnTo>
                  <a:pt x="1482" y="228"/>
                </a:lnTo>
                <a:lnTo>
                  <a:pt x="1488" y="234"/>
                </a:lnTo>
                <a:lnTo>
                  <a:pt x="1512" y="270"/>
                </a:lnTo>
                <a:lnTo>
                  <a:pt x="1512" y="276"/>
                </a:lnTo>
                <a:lnTo>
                  <a:pt x="1530" y="300"/>
                </a:lnTo>
                <a:lnTo>
                  <a:pt x="1536" y="306"/>
                </a:lnTo>
                <a:lnTo>
                  <a:pt x="1542" y="312"/>
                </a:lnTo>
                <a:lnTo>
                  <a:pt x="1542" y="318"/>
                </a:lnTo>
                <a:lnTo>
                  <a:pt x="1560" y="336"/>
                </a:lnTo>
                <a:lnTo>
                  <a:pt x="1566" y="348"/>
                </a:lnTo>
                <a:lnTo>
                  <a:pt x="1572" y="354"/>
                </a:lnTo>
                <a:lnTo>
                  <a:pt x="1578" y="360"/>
                </a:lnTo>
                <a:lnTo>
                  <a:pt x="1584" y="378"/>
                </a:lnTo>
                <a:lnTo>
                  <a:pt x="1590" y="378"/>
                </a:lnTo>
                <a:lnTo>
                  <a:pt x="1596" y="390"/>
                </a:lnTo>
                <a:lnTo>
                  <a:pt x="1602" y="396"/>
                </a:lnTo>
                <a:lnTo>
                  <a:pt x="1608" y="408"/>
                </a:lnTo>
                <a:lnTo>
                  <a:pt x="1614" y="408"/>
                </a:lnTo>
                <a:lnTo>
                  <a:pt x="1614" y="432"/>
                </a:lnTo>
                <a:lnTo>
                  <a:pt x="1620" y="438"/>
                </a:lnTo>
                <a:lnTo>
                  <a:pt x="1620" y="450"/>
                </a:lnTo>
                <a:lnTo>
                  <a:pt x="1620" y="462"/>
                </a:lnTo>
                <a:lnTo>
                  <a:pt x="1626" y="474"/>
                </a:lnTo>
                <a:lnTo>
                  <a:pt x="1626" y="480"/>
                </a:lnTo>
                <a:lnTo>
                  <a:pt x="1626" y="486"/>
                </a:lnTo>
                <a:lnTo>
                  <a:pt x="1632" y="522"/>
                </a:lnTo>
                <a:lnTo>
                  <a:pt x="1632" y="528"/>
                </a:lnTo>
                <a:lnTo>
                  <a:pt x="1632" y="534"/>
                </a:lnTo>
                <a:lnTo>
                  <a:pt x="1638" y="540"/>
                </a:lnTo>
                <a:lnTo>
                  <a:pt x="1638" y="558"/>
                </a:lnTo>
                <a:lnTo>
                  <a:pt x="1638" y="570"/>
                </a:lnTo>
                <a:lnTo>
                  <a:pt x="1644" y="582"/>
                </a:lnTo>
                <a:lnTo>
                  <a:pt x="1650" y="618"/>
                </a:lnTo>
                <a:lnTo>
                  <a:pt x="1650" y="624"/>
                </a:lnTo>
                <a:lnTo>
                  <a:pt x="1650" y="636"/>
                </a:lnTo>
                <a:lnTo>
                  <a:pt x="1656" y="642"/>
                </a:lnTo>
                <a:lnTo>
                  <a:pt x="1656" y="648"/>
                </a:lnTo>
                <a:lnTo>
                  <a:pt x="1656" y="654"/>
                </a:lnTo>
                <a:lnTo>
                  <a:pt x="1656" y="660"/>
                </a:lnTo>
                <a:lnTo>
                  <a:pt x="1662" y="696"/>
                </a:lnTo>
                <a:lnTo>
                  <a:pt x="1668" y="708"/>
                </a:lnTo>
                <a:lnTo>
                  <a:pt x="1668" y="714"/>
                </a:lnTo>
                <a:lnTo>
                  <a:pt x="1668" y="732"/>
                </a:lnTo>
                <a:lnTo>
                  <a:pt x="1668" y="744"/>
                </a:lnTo>
                <a:lnTo>
                  <a:pt x="1674" y="756"/>
                </a:lnTo>
                <a:lnTo>
                  <a:pt x="1680" y="762"/>
                </a:lnTo>
                <a:lnTo>
                  <a:pt x="1680" y="768"/>
                </a:lnTo>
                <a:lnTo>
                  <a:pt x="1680" y="774"/>
                </a:lnTo>
                <a:lnTo>
                  <a:pt x="1680" y="780"/>
                </a:lnTo>
                <a:lnTo>
                  <a:pt x="1674" y="786"/>
                </a:lnTo>
                <a:lnTo>
                  <a:pt x="1668" y="792"/>
                </a:lnTo>
                <a:lnTo>
                  <a:pt x="1668" y="798"/>
                </a:lnTo>
                <a:lnTo>
                  <a:pt x="1668" y="804"/>
                </a:lnTo>
                <a:lnTo>
                  <a:pt x="1674" y="804"/>
                </a:lnTo>
                <a:lnTo>
                  <a:pt x="1668" y="810"/>
                </a:lnTo>
                <a:lnTo>
                  <a:pt x="1674" y="810"/>
                </a:lnTo>
                <a:lnTo>
                  <a:pt x="1680" y="810"/>
                </a:lnTo>
                <a:lnTo>
                  <a:pt x="1680" y="816"/>
                </a:lnTo>
                <a:lnTo>
                  <a:pt x="1680" y="822"/>
                </a:lnTo>
                <a:lnTo>
                  <a:pt x="1674" y="822"/>
                </a:lnTo>
                <a:lnTo>
                  <a:pt x="1674" y="828"/>
                </a:lnTo>
                <a:lnTo>
                  <a:pt x="1668" y="828"/>
                </a:lnTo>
                <a:lnTo>
                  <a:pt x="1674" y="834"/>
                </a:lnTo>
                <a:lnTo>
                  <a:pt x="1668" y="834"/>
                </a:lnTo>
                <a:lnTo>
                  <a:pt x="1668" y="840"/>
                </a:lnTo>
                <a:lnTo>
                  <a:pt x="1674" y="840"/>
                </a:lnTo>
                <a:lnTo>
                  <a:pt x="1686" y="852"/>
                </a:lnTo>
                <a:lnTo>
                  <a:pt x="1692" y="858"/>
                </a:lnTo>
                <a:lnTo>
                  <a:pt x="1698" y="858"/>
                </a:lnTo>
                <a:lnTo>
                  <a:pt x="1698" y="864"/>
                </a:lnTo>
                <a:lnTo>
                  <a:pt x="1698" y="870"/>
                </a:lnTo>
                <a:lnTo>
                  <a:pt x="1704" y="864"/>
                </a:lnTo>
                <a:lnTo>
                  <a:pt x="1716" y="864"/>
                </a:lnTo>
                <a:lnTo>
                  <a:pt x="1722" y="864"/>
                </a:lnTo>
                <a:lnTo>
                  <a:pt x="1728" y="864"/>
                </a:lnTo>
                <a:lnTo>
                  <a:pt x="1734" y="864"/>
                </a:lnTo>
                <a:lnTo>
                  <a:pt x="1740" y="864"/>
                </a:lnTo>
                <a:lnTo>
                  <a:pt x="1746" y="876"/>
                </a:lnTo>
                <a:lnTo>
                  <a:pt x="1746" y="870"/>
                </a:lnTo>
                <a:lnTo>
                  <a:pt x="1740" y="864"/>
                </a:lnTo>
                <a:lnTo>
                  <a:pt x="1746" y="864"/>
                </a:lnTo>
                <a:lnTo>
                  <a:pt x="1752" y="870"/>
                </a:lnTo>
                <a:lnTo>
                  <a:pt x="1758" y="864"/>
                </a:lnTo>
                <a:lnTo>
                  <a:pt x="1764" y="864"/>
                </a:lnTo>
                <a:lnTo>
                  <a:pt x="1770" y="858"/>
                </a:lnTo>
                <a:lnTo>
                  <a:pt x="1782" y="864"/>
                </a:lnTo>
                <a:lnTo>
                  <a:pt x="1782" y="870"/>
                </a:lnTo>
                <a:lnTo>
                  <a:pt x="1788" y="864"/>
                </a:lnTo>
                <a:lnTo>
                  <a:pt x="1794" y="864"/>
                </a:lnTo>
                <a:lnTo>
                  <a:pt x="1800" y="870"/>
                </a:lnTo>
                <a:lnTo>
                  <a:pt x="1818" y="864"/>
                </a:lnTo>
                <a:lnTo>
                  <a:pt x="1824" y="870"/>
                </a:lnTo>
                <a:lnTo>
                  <a:pt x="1830" y="864"/>
                </a:lnTo>
                <a:lnTo>
                  <a:pt x="1836" y="864"/>
                </a:lnTo>
                <a:lnTo>
                  <a:pt x="1842" y="870"/>
                </a:lnTo>
                <a:lnTo>
                  <a:pt x="1842" y="876"/>
                </a:lnTo>
                <a:lnTo>
                  <a:pt x="1848" y="876"/>
                </a:lnTo>
                <a:lnTo>
                  <a:pt x="1848" y="870"/>
                </a:lnTo>
                <a:lnTo>
                  <a:pt x="1854" y="870"/>
                </a:lnTo>
                <a:lnTo>
                  <a:pt x="1860" y="870"/>
                </a:lnTo>
                <a:lnTo>
                  <a:pt x="1860" y="876"/>
                </a:lnTo>
                <a:lnTo>
                  <a:pt x="1866" y="876"/>
                </a:lnTo>
                <a:lnTo>
                  <a:pt x="1866" y="882"/>
                </a:lnTo>
                <a:lnTo>
                  <a:pt x="1872" y="882"/>
                </a:lnTo>
                <a:lnTo>
                  <a:pt x="1878" y="888"/>
                </a:lnTo>
                <a:lnTo>
                  <a:pt x="1890" y="888"/>
                </a:lnTo>
                <a:lnTo>
                  <a:pt x="1890" y="894"/>
                </a:lnTo>
                <a:lnTo>
                  <a:pt x="1890" y="900"/>
                </a:lnTo>
                <a:lnTo>
                  <a:pt x="1884" y="900"/>
                </a:lnTo>
                <a:lnTo>
                  <a:pt x="1884" y="906"/>
                </a:lnTo>
                <a:lnTo>
                  <a:pt x="1884" y="912"/>
                </a:lnTo>
                <a:lnTo>
                  <a:pt x="1890" y="912"/>
                </a:lnTo>
                <a:lnTo>
                  <a:pt x="1896" y="912"/>
                </a:lnTo>
                <a:lnTo>
                  <a:pt x="1902" y="912"/>
                </a:lnTo>
                <a:lnTo>
                  <a:pt x="1908" y="918"/>
                </a:lnTo>
                <a:lnTo>
                  <a:pt x="1908" y="924"/>
                </a:lnTo>
                <a:lnTo>
                  <a:pt x="1908" y="930"/>
                </a:lnTo>
                <a:lnTo>
                  <a:pt x="1908" y="936"/>
                </a:lnTo>
                <a:lnTo>
                  <a:pt x="1914" y="936"/>
                </a:lnTo>
                <a:lnTo>
                  <a:pt x="1914" y="942"/>
                </a:lnTo>
                <a:lnTo>
                  <a:pt x="1908" y="948"/>
                </a:lnTo>
                <a:lnTo>
                  <a:pt x="1914" y="948"/>
                </a:lnTo>
                <a:lnTo>
                  <a:pt x="1920" y="954"/>
                </a:lnTo>
                <a:lnTo>
                  <a:pt x="1926" y="954"/>
                </a:lnTo>
                <a:lnTo>
                  <a:pt x="1932" y="954"/>
                </a:lnTo>
                <a:lnTo>
                  <a:pt x="1938" y="954"/>
                </a:lnTo>
                <a:lnTo>
                  <a:pt x="1938" y="960"/>
                </a:lnTo>
                <a:lnTo>
                  <a:pt x="1944" y="966"/>
                </a:lnTo>
                <a:lnTo>
                  <a:pt x="1944" y="972"/>
                </a:lnTo>
                <a:lnTo>
                  <a:pt x="1944" y="978"/>
                </a:lnTo>
                <a:lnTo>
                  <a:pt x="1950" y="978"/>
                </a:lnTo>
                <a:lnTo>
                  <a:pt x="1950" y="984"/>
                </a:lnTo>
                <a:lnTo>
                  <a:pt x="1956" y="984"/>
                </a:lnTo>
                <a:lnTo>
                  <a:pt x="1962" y="984"/>
                </a:lnTo>
                <a:lnTo>
                  <a:pt x="1962" y="978"/>
                </a:lnTo>
                <a:lnTo>
                  <a:pt x="1968" y="978"/>
                </a:lnTo>
                <a:lnTo>
                  <a:pt x="1974" y="978"/>
                </a:lnTo>
                <a:lnTo>
                  <a:pt x="1980" y="972"/>
                </a:lnTo>
                <a:lnTo>
                  <a:pt x="1980" y="978"/>
                </a:lnTo>
                <a:lnTo>
                  <a:pt x="1980" y="984"/>
                </a:lnTo>
                <a:lnTo>
                  <a:pt x="1986" y="984"/>
                </a:lnTo>
                <a:lnTo>
                  <a:pt x="1992" y="990"/>
                </a:lnTo>
                <a:lnTo>
                  <a:pt x="1992" y="996"/>
                </a:lnTo>
                <a:lnTo>
                  <a:pt x="1992" y="1002"/>
                </a:lnTo>
                <a:lnTo>
                  <a:pt x="1974" y="1008"/>
                </a:lnTo>
                <a:lnTo>
                  <a:pt x="1974" y="1014"/>
                </a:lnTo>
                <a:lnTo>
                  <a:pt x="1974" y="1020"/>
                </a:lnTo>
                <a:lnTo>
                  <a:pt x="1974" y="1026"/>
                </a:lnTo>
                <a:lnTo>
                  <a:pt x="1968" y="1038"/>
                </a:lnTo>
                <a:lnTo>
                  <a:pt x="1968" y="1044"/>
                </a:lnTo>
                <a:lnTo>
                  <a:pt x="1974" y="1056"/>
                </a:lnTo>
                <a:lnTo>
                  <a:pt x="1968" y="1062"/>
                </a:lnTo>
                <a:lnTo>
                  <a:pt x="1962" y="1062"/>
                </a:lnTo>
                <a:lnTo>
                  <a:pt x="1956" y="1068"/>
                </a:lnTo>
                <a:lnTo>
                  <a:pt x="1956" y="1074"/>
                </a:lnTo>
                <a:lnTo>
                  <a:pt x="1956" y="1080"/>
                </a:lnTo>
                <a:lnTo>
                  <a:pt x="1956" y="1086"/>
                </a:lnTo>
                <a:lnTo>
                  <a:pt x="1956" y="1092"/>
                </a:lnTo>
                <a:lnTo>
                  <a:pt x="1962" y="1092"/>
                </a:lnTo>
                <a:lnTo>
                  <a:pt x="1962" y="1104"/>
                </a:lnTo>
                <a:lnTo>
                  <a:pt x="1968" y="1110"/>
                </a:lnTo>
                <a:lnTo>
                  <a:pt x="1968" y="1116"/>
                </a:lnTo>
                <a:lnTo>
                  <a:pt x="1974" y="1116"/>
                </a:lnTo>
                <a:lnTo>
                  <a:pt x="1974" y="1122"/>
                </a:lnTo>
                <a:lnTo>
                  <a:pt x="1980" y="1122"/>
                </a:lnTo>
                <a:lnTo>
                  <a:pt x="1974" y="1128"/>
                </a:lnTo>
                <a:lnTo>
                  <a:pt x="1968" y="1134"/>
                </a:lnTo>
                <a:lnTo>
                  <a:pt x="1962" y="1140"/>
                </a:lnTo>
                <a:lnTo>
                  <a:pt x="1962" y="1146"/>
                </a:lnTo>
                <a:lnTo>
                  <a:pt x="1968" y="1152"/>
                </a:lnTo>
                <a:lnTo>
                  <a:pt x="1968" y="1158"/>
                </a:lnTo>
                <a:lnTo>
                  <a:pt x="1962" y="1158"/>
                </a:lnTo>
                <a:lnTo>
                  <a:pt x="1962" y="1164"/>
                </a:lnTo>
                <a:lnTo>
                  <a:pt x="1956" y="1164"/>
                </a:lnTo>
                <a:lnTo>
                  <a:pt x="1956" y="1170"/>
                </a:lnTo>
                <a:lnTo>
                  <a:pt x="1944" y="1182"/>
                </a:lnTo>
                <a:lnTo>
                  <a:pt x="1944" y="1188"/>
                </a:lnTo>
                <a:lnTo>
                  <a:pt x="1950" y="1188"/>
                </a:lnTo>
                <a:lnTo>
                  <a:pt x="1944" y="1200"/>
                </a:lnTo>
                <a:lnTo>
                  <a:pt x="1944" y="1206"/>
                </a:lnTo>
                <a:lnTo>
                  <a:pt x="1944" y="1212"/>
                </a:lnTo>
                <a:lnTo>
                  <a:pt x="1944" y="1218"/>
                </a:lnTo>
                <a:lnTo>
                  <a:pt x="1944" y="1230"/>
                </a:lnTo>
                <a:lnTo>
                  <a:pt x="1944" y="1236"/>
                </a:lnTo>
                <a:lnTo>
                  <a:pt x="1944" y="1242"/>
                </a:lnTo>
                <a:lnTo>
                  <a:pt x="1938" y="1248"/>
                </a:lnTo>
                <a:lnTo>
                  <a:pt x="1938" y="1254"/>
                </a:lnTo>
                <a:lnTo>
                  <a:pt x="1932" y="1254"/>
                </a:lnTo>
                <a:lnTo>
                  <a:pt x="1926" y="1260"/>
                </a:lnTo>
                <a:lnTo>
                  <a:pt x="1920" y="1266"/>
                </a:lnTo>
                <a:lnTo>
                  <a:pt x="1914" y="1272"/>
                </a:lnTo>
                <a:lnTo>
                  <a:pt x="1908" y="1272"/>
                </a:lnTo>
                <a:lnTo>
                  <a:pt x="1908" y="1278"/>
                </a:lnTo>
                <a:lnTo>
                  <a:pt x="1914" y="1278"/>
                </a:lnTo>
                <a:lnTo>
                  <a:pt x="1914" y="1290"/>
                </a:lnTo>
                <a:lnTo>
                  <a:pt x="1920" y="1296"/>
                </a:lnTo>
                <a:lnTo>
                  <a:pt x="1938" y="1302"/>
                </a:lnTo>
                <a:lnTo>
                  <a:pt x="1944" y="1308"/>
                </a:lnTo>
                <a:lnTo>
                  <a:pt x="1950" y="1314"/>
                </a:lnTo>
                <a:lnTo>
                  <a:pt x="1956" y="1314"/>
                </a:lnTo>
                <a:lnTo>
                  <a:pt x="1962" y="1320"/>
                </a:lnTo>
                <a:lnTo>
                  <a:pt x="1962" y="1326"/>
                </a:lnTo>
                <a:lnTo>
                  <a:pt x="1968" y="1326"/>
                </a:lnTo>
                <a:lnTo>
                  <a:pt x="1968" y="1332"/>
                </a:lnTo>
                <a:lnTo>
                  <a:pt x="1968" y="1344"/>
                </a:lnTo>
                <a:lnTo>
                  <a:pt x="1968" y="1350"/>
                </a:lnTo>
                <a:lnTo>
                  <a:pt x="1968" y="1368"/>
                </a:lnTo>
                <a:lnTo>
                  <a:pt x="1962" y="1380"/>
                </a:lnTo>
                <a:lnTo>
                  <a:pt x="1968" y="1392"/>
                </a:lnTo>
                <a:lnTo>
                  <a:pt x="1962" y="1398"/>
                </a:lnTo>
                <a:lnTo>
                  <a:pt x="1956" y="1404"/>
                </a:lnTo>
                <a:lnTo>
                  <a:pt x="1950" y="1410"/>
                </a:lnTo>
                <a:lnTo>
                  <a:pt x="1944" y="1410"/>
                </a:lnTo>
                <a:lnTo>
                  <a:pt x="1932" y="1416"/>
                </a:lnTo>
                <a:lnTo>
                  <a:pt x="1926" y="1416"/>
                </a:lnTo>
                <a:lnTo>
                  <a:pt x="1896" y="1428"/>
                </a:lnTo>
                <a:lnTo>
                  <a:pt x="1884" y="1434"/>
                </a:lnTo>
                <a:lnTo>
                  <a:pt x="1878" y="1434"/>
                </a:lnTo>
                <a:lnTo>
                  <a:pt x="1866" y="1434"/>
                </a:lnTo>
                <a:lnTo>
                  <a:pt x="1854" y="1440"/>
                </a:lnTo>
                <a:lnTo>
                  <a:pt x="1848" y="1440"/>
                </a:lnTo>
                <a:lnTo>
                  <a:pt x="1842" y="1446"/>
                </a:lnTo>
                <a:lnTo>
                  <a:pt x="1842" y="1458"/>
                </a:lnTo>
                <a:lnTo>
                  <a:pt x="1836" y="1470"/>
                </a:lnTo>
                <a:lnTo>
                  <a:pt x="1830" y="1476"/>
                </a:lnTo>
                <a:lnTo>
                  <a:pt x="1824" y="1476"/>
                </a:lnTo>
                <a:lnTo>
                  <a:pt x="1806" y="1482"/>
                </a:lnTo>
                <a:lnTo>
                  <a:pt x="1800" y="1488"/>
                </a:lnTo>
                <a:lnTo>
                  <a:pt x="1794" y="1488"/>
                </a:lnTo>
                <a:lnTo>
                  <a:pt x="1788" y="1488"/>
                </a:lnTo>
                <a:lnTo>
                  <a:pt x="1776" y="1494"/>
                </a:lnTo>
                <a:lnTo>
                  <a:pt x="1764" y="1494"/>
                </a:lnTo>
                <a:lnTo>
                  <a:pt x="1758" y="1500"/>
                </a:lnTo>
                <a:lnTo>
                  <a:pt x="1746" y="1506"/>
                </a:lnTo>
                <a:lnTo>
                  <a:pt x="1728" y="1518"/>
                </a:lnTo>
                <a:lnTo>
                  <a:pt x="1716" y="1524"/>
                </a:lnTo>
                <a:lnTo>
                  <a:pt x="1710" y="1530"/>
                </a:lnTo>
                <a:lnTo>
                  <a:pt x="1704" y="1536"/>
                </a:lnTo>
                <a:lnTo>
                  <a:pt x="1698" y="1542"/>
                </a:lnTo>
                <a:lnTo>
                  <a:pt x="1692" y="1554"/>
                </a:lnTo>
                <a:lnTo>
                  <a:pt x="1686" y="1560"/>
                </a:lnTo>
                <a:lnTo>
                  <a:pt x="1680" y="1560"/>
                </a:lnTo>
                <a:lnTo>
                  <a:pt x="1674" y="1560"/>
                </a:lnTo>
                <a:lnTo>
                  <a:pt x="1656" y="1572"/>
                </a:lnTo>
                <a:lnTo>
                  <a:pt x="1650" y="1572"/>
                </a:lnTo>
                <a:lnTo>
                  <a:pt x="1644" y="1572"/>
                </a:lnTo>
                <a:lnTo>
                  <a:pt x="1638" y="1578"/>
                </a:lnTo>
                <a:lnTo>
                  <a:pt x="1632" y="1578"/>
                </a:lnTo>
                <a:lnTo>
                  <a:pt x="1626" y="1578"/>
                </a:lnTo>
                <a:lnTo>
                  <a:pt x="1620" y="1572"/>
                </a:lnTo>
                <a:lnTo>
                  <a:pt x="1614" y="1572"/>
                </a:lnTo>
                <a:lnTo>
                  <a:pt x="1608" y="1566"/>
                </a:lnTo>
                <a:lnTo>
                  <a:pt x="1602" y="1560"/>
                </a:lnTo>
                <a:lnTo>
                  <a:pt x="1596" y="1554"/>
                </a:lnTo>
                <a:lnTo>
                  <a:pt x="1590" y="1548"/>
                </a:lnTo>
                <a:lnTo>
                  <a:pt x="1578" y="1548"/>
                </a:lnTo>
                <a:lnTo>
                  <a:pt x="1572" y="1548"/>
                </a:lnTo>
                <a:lnTo>
                  <a:pt x="1566" y="1548"/>
                </a:lnTo>
                <a:lnTo>
                  <a:pt x="1554" y="1536"/>
                </a:lnTo>
                <a:lnTo>
                  <a:pt x="1548" y="1536"/>
                </a:lnTo>
                <a:lnTo>
                  <a:pt x="1542" y="1542"/>
                </a:lnTo>
                <a:lnTo>
                  <a:pt x="1536" y="1548"/>
                </a:lnTo>
                <a:lnTo>
                  <a:pt x="1536" y="1566"/>
                </a:lnTo>
                <a:lnTo>
                  <a:pt x="1530" y="1572"/>
                </a:lnTo>
                <a:lnTo>
                  <a:pt x="1524" y="1578"/>
                </a:lnTo>
                <a:lnTo>
                  <a:pt x="1518" y="1584"/>
                </a:lnTo>
                <a:lnTo>
                  <a:pt x="1512" y="1596"/>
                </a:lnTo>
                <a:lnTo>
                  <a:pt x="1506" y="1602"/>
                </a:lnTo>
                <a:lnTo>
                  <a:pt x="1506" y="1608"/>
                </a:lnTo>
                <a:lnTo>
                  <a:pt x="1506" y="1614"/>
                </a:lnTo>
                <a:lnTo>
                  <a:pt x="1500" y="1614"/>
                </a:lnTo>
                <a:lnTo>
                  <a:pt x="1500" y="1620"/>
                </a:lnTo>
                <a:lnTo>
                  <a:pt x="1500" y="1626"/>
                </a:lnTo>
                <a:lnTo>
                  <a:pt x="1494" y="1632"/>
                </a:lnTo>
                <a:lnTo>
                  <a:pt x="1488" y="1638"/>
                </a:lnTo>
                <a:lnTo>
                  <a:pt x="1482" y="1638"/>
                </a:lnTo>
                <a:lnTo>
                  <a:pt x="1482" y="1644"/>
                </a:lnTo>
                <a:lnTo>
                  <a:pt x="1482" y="1650"/>
                </a:lnTo>
                <a:lnTo>
                  <a:pt x="1482" y="1656"/>
                </a:lnTo>
                <a:lnTo>
                  <a:pt x="1476" y="1662"/>
                </a:lnTo>
                <a:lnTo>
                  <a:pt x="1470" y="1668"/>
                </a:lnTo>
                <a:lnTo>
                  <a:pt x="1464" y="1674"/>
                </a:lnTo>
                <a:lnTo>
                  <a:pt x="1464" y="1680"/>
                </a:lnTo>
                <a:lnTo>
                  <a:pt x="1458" y="1680"/>
                </a:lnTo>
                <a:lnTo>
                  <a:pt x="1452" y="1686"/>
                </a:lnTo>
                <a:lnTo>
                  <a:pt x="1446" y="1686"/>
                </a:lnTo>
                <a:lnTo>
                  <a:pt x="1440" y="1698"/>
                </a:lnTo>
                <a:lnTo>
                  <a:pt x="1440" y="1704"/>
                </a:lnTo>
                <a:lnTo>
                  <a:pt x="1434" y="1710"/>
                </a:lnTo>
                <a:lnTo>
                  <a:pt x="1434" y="1716"/>
                </a:lnTo>
                <a:lnTo>
                  <a:pt x="1428" y="1716"/>
                </a:lnTo>
                <a:lnTo>
                  <a:pt x="1428" y="1722"/>
                </a:lnTo>
                <a:lnTo>
                  <a:pt x="1428" y="1728"/>
                </a:lnTo>
                <a:lnTo>
                  <a:pt x="1422" y="1728"/>
                </a:lnTo>
                <a:lnTo>
                  <a:pt x="1422" y="1734"/>
                </a:lnTo>
                <a:lnTo>
                  <a:pt x="1416" y="1734"/>
                </a:lnTo>
                <a:lnTo>
                  <a:pt x="1410" y="1734"/>
                </a:lnTo>
                <a:lnTo>
                  <a:pt x="1392" y="1746"/>
                </a:lnTo>
                <a:lnTo>
                  <a:pt x="1386" y="1746"/>
                </a:lnTo>
                <a:lnTo>
                  <a:pt x="1368" y="1752"/>
                </a:lnTo>
                <a:lnTo>
                  <a:pt x="1362" y="1758"/>
                </a:lnTo>
                <a:lnTo>
                  <a:pt x="1362" y="1770"/>
                </a:lnTo>
                <a:lnTo>
                  <a:pt x="1356" y="1782"/>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18479" name="Rectangle 42"/>
          <p:cNvSpPr>
            <a:spLocks noChangeArrowheads="1"/>
          </p:cNvSpPr>
          <p:nvPr/>
        </p:nvSpPr>
        <p:spPr bwMode="gray">
          <a:xfrm>
            <a:off x="1638300" y="5240338"/>
            <a:ext cx="311150" cy="249237"/>
          </a:xfrm>
          <a:prstGeom prst="rect">
            <a:avLst/>
          </a:prstGeom>
          <a:noFill/>
          <a:ln w="9525">
            <a:noFill/>
            <a:miter lim="800000"/>
            <a:headEnd/>
            <a:tailEnd/>
          </a:ln>
        </p:spPr>
        <p:txBody>
          <a:bodyPr lIns="0" tIns="0" rIns="0" bIns="0">
            <a:spAutoFit/>
          </a:bodyPr>
          <a:lstStyle/>
          <a:p>
            <a:r>
              <a:rPr lang="en-US" sz="800" b="1"/>
              <a:t>Lagos</a:t>
            </a:r>
          </a:p>
          <a:p>
            <a:r>
              <a:rPr lang="en-US" sz="800" b="1"/>
              <a:t>    (11)</a:t>
            </a:r>
          </a:p>
        </p:txBody>
      </p:sp>
      <p:sp>
        <p:nvSpPr>
          <p:cNvPr id="18480" name="Rectangle 43"/>
          <p:cNvSpPr>
            <a:spLocks noChangeArrowheads="1"/>
          </p:cNvSpPr>
          <p:nvPr/>
        </p:nvSpPr>
        <p:spPr bwMode="gray">
          <a:xfrm>
            <a:off x="2881313" y="6080125"/>
            <a:ext cx="404812" cy="249238"/>
          </a:xfrm>
          <a:prstGeom prst="rect">
            <a:avLst/>
          </a:prstGeom>
          <a:noFill/>
          <a:ln w="9525">
            <a:noFill/>
            <a:miter lim="800000"/>
            <a:headEnd/>
            <a:tailEnd/>
          </a:ln>
        </p:spPr>
        <p:txBody>
          <a:bodyPr lIns="0" tIns="0" rIns="0" bIns="0" anchor="ctr" anchorCtr="1">
            <a:spAutoFit/>
          </a:bodyPr>
          <a:lstStyle/>
          <a:p>
            <a:r>
              <a:rPr lang="en-US" sz="800" b="1"/>
              <a:t>Bayelsa</a:t>
            </a:r>
          </a:p>
          <a:p>
            <a:r>
              <a:rPr lang="en-US" sz="800" b="1"/>
              <a:t>   (15)</a:t>
            </a:r>
          </a:p>
        </p:txBody>
      </p:sp>
      <p:sp>
        <p:nvSpPr>
          <p:cNvPr id="18481" name="Rectangle 44"/>
          <p:cNvSpPr>
            <a:spLocks noChangeArrowheads="1"/>
          </p:cNvSpPr>
          <p:nvPr/>
        </p:nvSpPr>
        <p:spPr bwMode="gray">
          <a:xfrm>
            <a:off x="3355975" y="5959475"/>
            <a:ext cx="319088" cy="249238"/>
          </a:xfrm>
          <a:prstGeom prst="rect">
            <a:avLst/>
          </a:prstGeom>
          <a:noFill/>
          <a:ln w="9525">
            <a:noFill/>
            <a:miter lim="800000"/>
            <a:headEnd/>
            <a:tailEnd/>
          </a:ln>
        </p:spPr>
        <p:txBody>
          <a:bodyPr lIns="0" tIns="0" rIns="0" bIns="0" anchor="ctr" anchorCtr="1">
            <a:spAutoFit/>
          </a:bodyPr>
          <a:lstStyle/>
          <a:p>
            <a:r>
              <a:rPr lang="en-US" sz="800" b="1"/>
              <a:t>Rivers</a:t>
            </a:r>
          </a:p>
          <a:p>
            <a:r>
              <a:rPr lang="en-US" sz="800" b="1"/>
              <a:t>  (11)</a:t>
            </a:r>
          </a:p>
        </p:txBody>
      </p:sp>
      <p:sp>
        <p:nvSpPr>
          <p:cNvPr id="18482" name="Rectangle 45"/>
          <p:cNvSpPr>
            <a:spLocks noChangeArrowheads="1"/>
          </p:cNvSpPr>
          <p:nvPr/>
        </p:nvSpPr>
        <p:spPr bwMode="gray">
          <a:xfrm>
            <a:off x="3559175" y="5673725"/>
            <a:ext cx="190500" cy="249238"/>
          </a:xfrm>
          <a:prstGeom prst="rect">
            <a:avLst/>
          </a:prstGeom>
          <a:noFill/>
          <a:ln w="9525">
            <a:noFill/>
            <a:miter lim="800000"/>
            <a:headEnd/>
            <a:tailEnd/>
          </a:ln>
        </p:spPr>
        <p:txBody>
          <a:bodyPr lIns="0" tIns="0" rIns="0" bIns="0" anchor="ctr" anchorCtr="1">
            <a:spAutoFit/>
          </a:bodyPr>
          <a:lstStyle/>
          <a:p>
            <a:r>
              <a:rPr lang="en-US" sz="800" b="1"/>
              <a:t>Imo</a:t>
            </a:r>
          </a:p>
          <a:p>
            <a:r>
              <a:rPr lang="en-US" sz="800" b="1"/>
              <a:t>(17)</a:t>
            </a:r>
          </a:p>
        </p:txBody>
      </p:sp>
      <p:sp>
        <p:nvSpPr>
          <p:cNvPr id="18483" name="Rectangle 46"/>
          <p:cNvSpPr>
            <a:spLocks noChangeArrowheads="1"/>
          </p:cNvSpPr>
          <p:nvPr/>
        </p:nvSpPr>
        <p:spPr bwMode="gray">
          <a:xfrm>
            <a:off x="3778250" y="5656263"/>
            <a:ext cx="255588" cy="249237"/>
          </a:xfrm>
          <a:prstGeom prst="rect">
            <a:avLst/>
          </a:prstGeom>
          <a:noFill/>
          <a:ln w="9525">
            <a:noFill/>
            <a:miter lim="800000"/>
            <a:headEnd/>
            <a:tailEnd/>
          </a:ln>
        </p:spPr>
        <p:txBody>
          <a:bodyPr lIns="0" tIns="0" rIns="0" bIns="0" anchor="ctr" anchorCtr="1">
            <a:spAutoFit/>
          </a:bodyPr>
          <a:lstStyle/>
          <a:p>
            <a:r>
              <a:rPr lang="en-US" sz="800" b="1"/>
              <a:t>Abia</a:t>
            </a:r>
          </a:p>
          <a:p>
            <a:r>
              <a:rPr lang="en-US" sz="800" b="1"/>
              <a:t>(…)</a:t>
            </a:r>
          </a:p>
        </p:txBody>
      </p:sp>
      <p:sp>
        <p:nvSpPr>
          <p:cNvPr id="18484" name="Rectangle 47"/>
          <p:cNvSpPr>
            <a:spLocks noChangeArrowheads="1"/>
          </p:cNvSpPr>
          <p:nvPr/>
        </p:nvSpPr>
        <p:spPr bwMode="gray">
          <a:xfrm>
            <a:off x="3870325" y="5976938"/>
            <a:ext cx="271463" cy="373062"/>
          </a:xfrm>
          <a:prstGeom prst="rect">
            <a:avLst/>
          </a:prstGeom>
          <a:noFill/>
          <a:ln w="9525">
            <a:noFill/>
            <a:miter lim="800000"/>
            <a:headEnd/>
            <a:tailEnd/>
          </a:ln>
        </p:spPr>
        <p:txBody>
          <a:bodyPr wrap="none" lIns="0" tIns="0" rIns="0" bIns="0" anchor="ctr" anchorCtr="1">
            <a:spAutoFit/>
          </a:bodyPr>
          <a:lstStyle/>
          <a:p>
            <a:r>
              <a:rPr lang="en-US" sz="800" b="1"/>
              <a:t>Akwa</a:t>
            </a:r>
            <a:br>
              <a:rPr lang="en-US" sz="800" b="1"/>
            </a:br>
            <a:r>
              <a:rPr lang="en-US" sz="800" b="1"/>
              <a:t>Ibom</a:t>
            </a:r>
          </a:p>
          <a:p>
            <a:r>
              <a:rPr lang="en-US" sz="800" b="1"/>
              <a:t>  (29)</a:t>
            </a:r>
          </a:p>
        </p:txBody>
      </p:sp>
      <p:sp>
        <p:nvSpPr>
          <p:cNvPr id="18485" name="Rectangle 48"/>
          <p:cNvSpPr>
            <a:spLocks noChangeArrowheads="1"/>
          </p:cNvSpPr>
          <p:nvPr/>
        </p:nvSpPr>
        <p:spPr bwMode="gray">
          <a:xfrm>
            <a:off x="6019800" y="3576638"/>
            <a:ext cx="506413" cy="249237"/>
          </a:xfrm>
          <a:prstGeom prst="rect">
            <a:avLst/>
          </a:prstGeom>
          <a:noFill/>
          <a:ln w="9525">
            <a:noFill/>
            <a:miter lim="800000"/>
            <a:headEnd/>
            <a:tailEnd/>
          </a:ln>
        </p:spPr>
        <p:txBody>
          <a:bodyPr lIns="0" tIns="0" rIns="0" bIns="0" anchor="ctr" anchorCtr="1">
            <a:spAutoFit/>
          </a:bodyPr>
          <a:lstStyle/>
          <a:p>
            <a:r>
              <a:rPr lang="en-US" sz="800" b="1"/>
              <a:t>Adamawa</a:t>
            </a:r>
          </a:p>
          <a:p>
            <a:r>
              <a:rPr lang="en-US" sz="800" b="1"/>
              <a:t>    (38)</a:t>
            </a:r>
          </a:p>
        </p:txBody>
      </p:sp>
      <p:sp>
        <p:nvSpPr>
          <p:cNvPr id="18486" name="Rectangle 49"/>
          <p:cNvSpPr>
            <a:spLocks noChangeArrowheads="1"/>
          </p:cNvSpPr>
          <p:nvPr/>
        </p:nvSpPr>
        <p:spPr bwMode="gray">
          <a:xfrm>
            <a:off x="4932363" y="3017838"/>
            <a:ext cx="347662"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Bauchi</a:t>
            </a:r>
          </a:p>
          <a:p>
            <a:r>
              <a:rPr lang="en-US" sz="800" b="1">
                <a:solidFill>
                  <a:schemeClr val="bg1"/>
                </a:solidFill>
              </a:rPr>
              <a:t>  (65)</a:t>
            </a:r>
          </a:p>
        </p:txBody>
      </p:sp>
      <p:sp>
        <p:nvSpPr>
          <p:cNvPr id="18487" name="Rectangle 50"/>
          <p:cNvSpPr>
            <a:spLocks noChangeArrowheads="1"/>
          </p:cNvSpPr>
          <p:nvPr/>
        </p:nvSpPr>
        <p:spPr bwMode="gray">
          <a:xfrm>
            <a:off x="5588000" y="3416300"/>
            <a:ext cx="371475"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Gombe</a:t>
            </a:r>
          </a:p>
          <a:p>
            <a:r>
              <a:rPr lang="en-US" sz="800" b="1">
                <a:solidFill>
                  <a:schemeClr val="bg1"/>
                </a:solidFill>
              </a:rPr>
              <a:t>  (54)</a:t>
            </a:r>
          </a:p>
        </p:txBody>
      </p:sp>
      <p:sp>
        <p:nvSpPr>
          <p:cNvPr id="18488" name="Rectangle 51"/>
          <p:cNvSpPr>
            <a:spLocks noChangeArrowheads="1"/>
          </p:cNvSpPr>
          <p:nvPr/>
        </p:nvSpPr>
        <p:spPr bwMode="gray">
          <a:xfrm>
            <a:off x="3778250" y="3160713"/>
            <a:ext cx="393700" cy="249237"/>
          </a:xfrm>
          <a:prstGeom prst="rect">
            <a:avLst/>
          </a:prstGeom>
          <a:noFill/>
          <a:ln w="9525">
            <a:noFill/>
            <a:miter lim="800000"/>
            <a:headEnd/>
            <a:tailEnd/>
          </a:ln>
        </p:spPr>
        <p:txBody>
          <a:bodyPr lIns="0" tIns="0" rIns="0" bIns="0" anchor="ctr" anchorCtr="1">
            <a:spAutoFit/>
          </a:bodyPr>
          <a:lstStyle/>
          <a:p>
            <a:r>
              <a:rPr lang="en-US" sz="800" b="1"/>
              <a:t>Kaduna</a:t>
            </a:r>
          </a:p>
          <a:p>
            <a:r>
              <a:rPr lang="en-US" sz="800" b="1"/>
              <a:t>   (47)</a:t>
            </a:r>
          </a:p>
        </p:txBody>
      </p:sp>
      <p:sp>
        <p:nvSpPr>
          <p:cNvPr id="18489" name="Rectangle 52"/>
          <p:cNvSpPr>
            <a:spLocks noChangeArrowheads="1"/>
          </p:cNvSpPr>
          <p:nvPr/>
        </p:nvSpPr>
        <p:spPr bwMode="gray">
          <a:xfrm>
            <a:off x="3625850" y="3989388"/>
            <a:ext cx="203200" cy="246062"/>
          </a:xfrm>
          <a:prstGeom prst="rect">
            <a:avLst/>
          </a:prstGeom>
          <a:noFill/>
          <a:ln w="9525">
            <a:noFill/>
            <a:miter lim="800000"/>
            <a:headEnd/>
            <a:tailEnd/>
          </a:ln>
        </p:spPr>
        <p:txBody>
          <a:bodyPr lIns="0" tIns="0" rIns="0" bIns="0" anchor="ctr" anchorCtr="1">
            <a:spAutoFit/>
          </a:bodyPr>
          <a:lstStyle/>
          <a:p>
            <a:r>
              <a:rPr lang="en-US" sz="800" b="1"/>
              <a:t>FCT</a:t>
            </a:r>
          </a:p>
          <a:p>
            <a:r>
              <a:rPr lang="en-US" sz="800" b="1"/>
              <a:t>(23)</a:t>
            </a:r>
          </a:p>
        </p:txBody>
      </p:sp>
      <p:sp>
        <p:nvSpPr>
          <p:cNvPr id="18490" name="Rectangle 53"/>
          <p:cNvSpPr>
            <a:spLocks noChangeArrowheads="1"/>
          </p:cNvSpPr>
          <p:nvPr/>
        </p:nvSpPr>
        <p:spPr bwMode="gray">
          <a:xfrm>
            <a:off x="3935413" y="4176713"/>
            <a:ext cx="566737" cy="249237"/>
          </a:xfrm>
          <a:prstGeom prst="rect">
            <a:avLst/>
          </a:prstGeom>
          <a:noFill/>
          <a:ln w="9525">
            <a:noFill/>
            <a:miter lim="800000"/>
            <a:headEnd/>
            <a:tailEnd/>
          </a:ln>
        </p:spPr>
        <p:txBody>
          <a:bodyPr lIns="0" tIns="0" rIns="0" bIns="0" anchor="ctr" anchorCtr="1">
            <a:spAutoFit/>
          </a:bodyPr>
          <a:lstStyle/>
          <a:p>
            <a:r>
              <a:rPr lang="en-US" sz="800" b="1"/>
              <a:t>Nassarawa</a:t>
            </a:r>
          </a:p>
          <a:p>
            <a:r>
              <a:rPr lang="en-US" sz="800" b="1"/>
              <a:t>      (37)</a:t>
            </a:r>
          </a:p>
        </p:txBody>
      </p:sp>
      <p:sp>
        <p:nvSpPr>
          <p:cNvPr id="18491" name="Rectangle 54"/>
          <p:cNvSpPr>
            <a:spLocks noChangeArrowheads="1"/>
          </p:cNvSpPr>
          <p:nvPr/>
        </p:nvSpPr>
        <p:spPr bwMode="gray">
          <a:xfrm>
            <a:off x="4679950" y="3805238"/>
            <a:ext cx="385763" cy="249237"/>
          </a:xfrm>
          <a:prstGeom prst="rect">
            <a:avLst/>
          </a:prstGeom>
          <a:noFill/>
          <a:ln w="9525">
            <a:noFill/>
            <a:miter lim="800000"/>
            <a:headEnd/>
            <a:tailEnd/>
          </a:ln>
        </p:spPr>
        <p:txBody>
          <a:bodyPr lIns="0" tIns="0" rIns="0" bIns="0" anchor="ctr" anchorCtr="1">
            <a:spAutoFit/>
          </a:bodyPr>
          <a:lstStyle/>
          <a:p>
            <a:r>
              <a:rPr lang="en-US" sz="800" b="1"/>
              <a:t>Plateau</a:t>
            </a:r>
          </a:p>
          <a:p>
            <a:r>
              <a:rPr lang="en-US" sz="800" b="1"/>
              <a:t>   (40)</a:t>
            </a:r>
          </a:p>
        </p:txBody>
      </p:sp>
      <p:sp>
        <p:nvSpPr>
          <p:cNvPr id="18492" name="Rectangle 55"/>
          <p:cNvSpPr>
            <a:spLocks noChangeArrowheads="1"/>
          </p:cNvSpPr>
          <p:nvPr/>
        </p:nvSpPr>
        <p:spPr bwMode="gray">
          <a:xfrm>
            <a:off x="5327650" y="4438650"/>
            <a:ext cx="360363" cy="249238"/>
          </a:xfrm>
          <a:prstGeom prst="rect">
            <a:avLst/>
          </a:prstGeom>
          <a:noFill/>
          <a:ln w="9525">
            <a:noFill/>
            <a:miter lim="800000"/>
            <a:headEnd/>
            <a:tailEnd/>
          </a:ln>
        </p:spPr>
        <p:txBody>
          <a:bodyPr lIns="0" tIns="0" rIns="0" bIns="0" anchor="ctr" anchorCtr="1">
            <a:spAutoFit/>
          </a:bodyPr>
          <a:lstStyle/>
          <a:p>
            <a:r>
              <a:rPr lang="en-US" sz="800" b="1"/>
              <a:t>Taraba</a:t>
            </a:r>
          </a:p>
          <a:p>
            <a:r>
              <a:rPr lang="en-US" sz="800" b="1"/>
              <a:t>   (41)</a:t>
            </a:r>
          </a:p>
        </p:txBody>
      </p:sp>
      <p:sp>
        <p:nvSpPr>
          <p:cNvPr id="18493" name="Rectangle 56"/>
          <p:cNvSpPr>
            <a:spLocks noChangeArrowheads="1"/>
          </p:cNvSpPr>
          <p:nvPr/>
        </p:nvSpPr>
        <p:spPr bwMode="gray">
          <a:xfrm>
            <a:off x="4316413" y="4784725"/>
            <a:ext cx="331787" cy="249238"/>
          </a:xfrm>
          <a:prstGeom prst="rect">
            <a:avLst/>
          </a:prstGeom>
          <a:noFill/>
          <a:ln w="9525">
            <a:noFill/>
            <a:miter lim="800000"/>
            <a:headEnd/>
            <a:tailEnd/>
          </a:ln>
        </p:spPr>
        <p:txBody>
          <a:bodyPr lIns="0" tIns="0" rIns="0" bIns="0" anchor="ctr" anchorCtr="1">
            <a:spAutoFit/>
          </a:bodyPr>
          <a:lstStyle/>
          <a:p>
            <a:r>
              <a:rPr lang="en-US" sz="800" b="1"/>
              <a:t>Benue</a:t>
            </a:r>
          </a:p>
          <a:p>
            <a:r>
              <a:rPr lang="en-US" sz="800" b="1"/>
              <a:t>  (29)</a:t>
            </a:r>
          </a:p>
        </p:txBody>
      </p:sp>
      <p:sp>
        <p:nvSpPr>
          <p:cNvPr id="18494" name="Rectangle 57"/>
          <p:cNvSpPr>
            <a:spLocks noChangeArrowheads="1"/>
          </p:cNvSpPr>
          <p:nvPr/>
        </p:nvSpPr>
        <p:spPr bwMode="gray">
          <a:xfrm>
            <a:off x="4168775" y="5629275"/>
            <a:ext cx="295275" cy="373063"/>
          </a:xfrm>
          <a:prstGeom prst="rect">
            <a:avLst/>
          </a:prstGeom>
          <a:noFill/>
          <a:ln w="9525">
            <a:noFill/>
            <a:miter lim="800000"/>
            <a:headEnd/>
            <a:tailEnd/>
          </a:ln>
        </p:spPr>
        <p:txBody>
          <a:bodyPr lIns="0" tIns="0" rIns="0" bIns="0" anchor="ctr" anchorCtr="1">
            <a:spAutoFit/>
          </a:bodyPr>
          <a:lstStyle/>
          <a:p>
            <a:r>
              <a:rPr lang="en-US" sz="800" b="1"/>
              <a:t>Cross</a:t>
            </a:r>
          </a:p>
          <a:p>
            <a:r>
              <a:rPr lang="en-US" sz="800" b="1"/>
              <a:t>River</a:t>
            </a:r>
          </a:p>
          <a:p>
            <a:r>
              <a:rPr lang="en-US" sz="800" b="1"/>
              <a:t>   (20)</a:t>
            </a:r>
          </a:p>
        </p:txBody>
      </p:sp>
      <p:sp>
        <p:nvSpPr>
          <p:cNvPr id="18495" name="Rectangle 58"/>
          <p:cNvSpPr>
            <a:spLocks noChangeArrowheads="1"/>
          </p:cNvSpPr>
          <p:nvPr/>
        </p:nvSpPr>
        <p:spPr bwMode="gray">
          <a:xfrm>
            <a:off x="3665538" y="5048250"/>
            <a:ext cx="330200" cy="249238"/>
          </a:xfrm>
          <a:prstGeom prst="rect">
            <a:avLst/>
          </a:prstGeom>
          <a:noFill/>
          <a:ln w="9525">
            <a:noFill/>
            <a:miter lim="800000"/>
            <a:headEnd/>
            <a:tailEnd/>
          </a:ln>
        </p:spPr>
        <p:txBody>
          <a:bodyPr lIns="0" tIns="0" rIns="0" bIns="0" anchor="ctr" anchorCtr="1">
            <a:spAutoFit/>
          </a:bodyPr>
          <a:lstStyle/>
          <a:p>
            <a:r>
              <a:rPr lang="en-US" sz="800" b="1"/>
              <a:t>Enugu</a:t>
            </a:r>
          </a:p>
          <a:p>
            <a:r>
              <a:rPr lang="en-US" sz="800" b="1"/>
              <a:t>   (9)</a:t>
            </a:r>
          </a:p>
        </p:txBody>
      </p:sp>
      <p:sp>
        <p:nvSpPr>
          <p:cNvPr id="18496" name="Rectangle 59"/>
          <p:cNvSpPr>
            <a:spLocks noChangeArrowheads="1"/>
          </p:cNvSpPr>
          <p:nvPr/>
        </p:nvSpPr>
        <p:spPr bwMode="gray">
          <a:xfrm>
            <a:off x="3948113" y="5327650"/>
            <a:ext cx="347662" cy="249238"/>
          </a:xfrm>
          <a:prstGeom prst="rect">
            <a:avLst/>
          </a:prstGeom>
          <a:noFill/>
          <a:ln w="9525">
            <a:noFill/>
            <a:miter lim="800000"/>
            <a:headEnd/>
            <a:tailEnd/>
          </a:ln>
        </p:spPr>
        <p:txBody>
          <a:bodyPr lIns="0" tIns="0" rIns="0" bIns="0" anchor="ctr" anchorCtr="1">
            <a:spAutoFit/>
          </a:bodyPr>
          <a:lstStyle/>
          <a:p>
            <a:r>
              <a:rPr lang="en-US" sz="800" b="1"/>
              <a:t>Ebonyi</a:t>
            </a:r>
          </a:p>
          <a:p>
            <a:r>
              <a:rPr lang="en-US" sz="800" b="1"/>
              <a:t>    (25)</a:t>
            </a:r>
          </a:p>
        </p:txBody>
      </p:sp>
      <p:sp>
        <p:nvSpPr>
          <p:cNvPr id="18497" name="Rectangle 60"/>
          <p:cNvSpPr>
            <a:spLocks noChangeArrowheads="1"/>
          </p:cNvSpPr>
          <p:nvPr/>
        </p:nvSpPr>
        <p:spPr bwMode="gray">
          <a:xfrm>
            <a:off x="3328988" y="5289550"/>
            <a:ext cx="461962" cy="249238"/>
          </a:xfrm>
          <a:prstGeom prst="rect">
            <a:avLst/>
          </a:prstGeom>
          <a:noFill/>
          <a:ln w="9525">
            <a:noFill/>
            <a:miter lim="800000"/>
            <a:headEnd/>
            <a:tailEnd/>
          </a:ln>
        </p:spPr>
        <p:txBody>
          <a:bodyPr lIns="0" tIns="0" rIns="0" bIns="0" anchor="ctr" anchorCtr="1">
            <a:spAutoFit/>
          </a:bodyPr>
          <a:lstStyle/>
          <a:p>
            <a:r>
              <a:rPr lang="en-US" sz="800" b="1"/>
              <a:t>Anambra</a:t>
            </a:r>
          </a:p>
          <a:p>
            <a:r>
              <a:rPr lang="en-US" sz="800" b="1"/>
              <a:t>      (14)</a:t>
            </a:r>
          </a:p>
        </p:txBody>
      </p:sp>
      <p:sp>
        <p:nvSpPr>
          <p:cNvPr id="18498" name="Rectangle 61"/>
          <p:cNvSpPr>
            <a:spLocks noChangeArrowheads="1"/>
          </p:cNvSpPr>
          <p:nvPr/>
        </p:nvSpPr>
        <p:spPr bwMode="gray">
          <a:xfrm>
            <a:off x="3011488" y="5688013"/>
            <a:ext cx="265112" cy="249237"/>
          </a:xfrm>
          <a:prstGeom prst="rect">
            <a:avLst/>
          </a:prstGeom>
          <a:noFill/>
          <a:ln w="9525">
            <a:noFill/>
            <a:miter lim="800000"/>
            <a:headEnd/>
            <a:tailEnd/>
          </a:ln>
        </p:spPr>
        <p:txBody>
          <a:bodyPr lIns="0" tIns="0" rIns="0" bIns="0" anchor="ctr" anchorCtr="1">
            <a:spAutoFit/>
          </a:bodyPr>
          <a:lstStyle/>
          <a:p>
            <a:r>
              <a:rPr lang="en-US" sz="800" b="1"/>
              <a:t>Delta</a:t>
            </a:r>
          </a:p>
          <a:p>
            <a:r>
              <a:rPr lang="en-US" sz="800" b="1"/>
              <a:t>  (16)</a:t>
            </a:r>
          </a:p>
        </p:txBody>
      </p:sp>
      <p:sp>
        <p:nvSpPr>
          <p:cNvPr id="18499" name="Rectangle 62"/>
          <p:cNvSpPr>
            <a:spLocks noChangeArrowheads="1"/>
          </p:cNvSpPr>
          <p:nvPr/>
        </p:nvSpPr>
        <p:spPr bwMode="gray">
          <a:xfrm>
            <a:off x="2967038" y="5143500"/>
            <a:ext cx="203200" cy="249238"/>
          </a:xfrm>
          <a:prstGeom prst="rect">
            <a:avLst/>
          </a:prstGeom>
          <a:noFill/>
          <a:ln w="9525">
            <a:noFill/>
            <a:miter lim="800000"/>
            <a:headEnd/>
            <a:tailEnd/>
          </a:ln>
        </p:spPr>
        <p:txBody>
          <a:bodyPr lIns="0" tIns="0" rIns="0" bIns="0" anchor="ctr" anchorCtr="1">
            <a:spAutoFit/>
          </a:bodyPr>
          <a:lstStyle/>
          <a:p>
            <a:r>
              <a:rPr lang="en-US" sz="800" b="1"/>
              <a:t>Edo</a:t>
            </a:r>
          </a:p>
          <a:p>
            <a:r>
              <a:rPr lang="en-US" sz="800" b="1"/>
              <a:t>(14)</a:t>
            </a:r>
          </a:p>
        </p:txBody>
      </p:sp>
      <p:sp>
        <p:nvSpPr>
          <p:cNvPr id="18500" name="Rectangle 63"/>
          <p:cNvSpPr>
            <a:spLocks noChangeArrowheads="1"/>
          </p:cNvSpPr>
          <p:nvPr/>
        </p:nvSpPr>
        <p:spPr bwMode="gray">
          <a:xfrm>
            <a:off x="3340100" y="4579938"/>
            <a:ext cx="228600" cy="249237"/>
          </a:xfrm>
          <a:prstGeom prst="rect">
            <a:avLst/>
          </a:prstGeom>
          <a:noFill/>
          <a:ln w="9525">
            <a:noFill/>
            <a:miter lim="800000"/>
            <a:headEnd/>
            <a:tailEnd/>
          </a:ln>
        </p:spPr>
        <p:txBody>
          <a:bodyPr lIns="0" tIns="0" rIns="0" bIns="0" anchor="ctr" anchorCtr="1">
            <a:spAutoFit/>
          </a:bodyPr>
          <a:lstStyle/>
          <a:p>
            <a:r>
              <a:rPr lang="en-US" sz="800" b="1"/>
              <a:t>Kogi</a:t>
            </a:r>
          </a:p>
          <a:p>
            <a:r>
              <a:rPr lang="en-US" sz="800" b="1"/>
              <a:t> (29)</a:t>
            </a:r>
          </a:p>
        </p:txBody>
      </p:sp>
      <p:sp>
        <p:nvSpPr>
          <p:cNvPr id="18501" name="Rectangle 64"/>
          <p:cNvSpPr>
            <a:spLocks noChangeArrowheads="1"/>
          </p:cNvSpPr>
          <p:nvPr/>
        </p:nvSpPr>
        <p:spPr bwMode="gray">
          <a:xfrm>
            <a:off x="1809750" y="4356100"/>
            <a:ext cx="209550" cy="249238"/>
          </a:xfrm>
          <a:prstGeom prst="rect">
            <a:avLst/>
          </a:prstGeom>
          <a:noFill/>
          <a:ln w="9525">
            <a:noFill/>
            <a:miter lim="800000"/>
            <a:headEnd/>
            <a:tailEnd/>
          </a:ln>
        </p:spPr>
        <p:txBody>
          <a:bodyPr lIns="0" tIns="0" rIns="0" bIns="0" anchor="ctr" anchorCtr="1">
            <a:spAutoFit/>
          </a:bodyPr>
          <a:lstStyle/>
          <a:p>
            <a:r>
              <a:rPr lang="en-US" sz="800" b="1"/>
              <a:t>Oyo</a:t>
            </a:r>
          </a:p>
          <a:p>
            <a:r>
              <a:rPr lang="en-US" sz="800" b="1"/>
              <a:t>(24)</a:t>
            </a:r>
          </a:p>
        </p:txBody>
      </p:sp>
      <p:sp>
        <p:nvSpPr>
          <p:cNvPr id="18502" name="Rectangle 65"/>
          <p:cNvSpPr>
            <a:spLocks noChangeArrowheads="1"/>
          </p:cNvSpPr>
          <p:nvPr/>
        </p:nvSpPr>
        <p:spPr bwMode="gray">
          <a:xfrm>
            <a:off x="1708150" y="4953000"/>
            <a:ext cx="279400" cy="249238"/>
          </a:xfrm>
          <a:prstGeom prst="rect">
            <a:avLst/>
          </a:prstGeom>
          <a:noFill/>
          <a:ln w="9525">
            <a:noFill/>
            <a:miter lim="800000"/>
            <a:headEnd/>
            <a:tailEnd/>
          </a:ln>
        </p:spPr>
        <p:txBody>
          <a:bodyPr lIns="0" tIns="0" rIns="0" bIns="0" anchor="ctr" anchorCtr="1">
            <a:spAutoFit/>
          </a:bodyPr>
          <a:lstStyle/>
          <a:p>
            <a:r>
              <a:rPr lang="en-US" sz="800" b="1"/>
              <a:t>Ogun</a:t>
            </a:r>
          </a:p>
          <a:p>
            <a:r>
              <a:rPr lang="en-US" sz="800" b="1"/>
              <a:t>  (26)</a:t>
            </a:r>
          </a:p>
        </p:txBody>
      </p:sp>
      <p:sp>
        <p:nvSpPr>
          <p:cNvPr id="18503" name="Rectangle 66"/>
          <p:cNvSpPr>
            <a:spLocks noChangeArrowheads="1"/>
          </p:cNvSpPr>
          <p:nvPr/>
        </p:nvSpPr>
        <p:spPr bwMode="gray">
          <a:xfrm>
            <a:off x="2201863" y="4586288"/>
            <a:ext cx="273050" cy="249237"/>
          </a:xfrm>
          <a:prstGeom prst="rect">
            <a:avLst/>
          </a:prstGeom>
          <a:noFill/>
          <a:ln w="9525">
            <a:noFill/>
            <a:miter lim="800000"/>
            <a:headEnd/>
            <a:tailEnd/>
          </a:ln>
        </p:spPr>
        <p:txBody>
          <a:bodyPr lIns="0" tIns="0" rIns="0" bIns="0" anchor="ctr" anchorCtr="1">
            <a:spAutoFit/>
          </a:bodyPr>
          <a:lstStyle/>
          <a:p>
            <a:r>
              <a:rPr lang="en-US" sz="800" b="1"/>
              <a:t>Osun</a:t>
            </a:r>
          </a:p>
          <a:p>
            <a:r>
              <a:rPr lang="en-US" sz="800" b="1"/>
              <a:t> (24)</a:t>
            </a:r>
          </a:p>
        </p:txBody>
      </p:sp>
      <p:sp>
        <p:nvSpPr>
          <p:cNvPr id="18504" name="Rectangle 67"/>
          <p:cNvSpPr>
            <a:spLocks noChangeArrowheads="1"/>
          </p:cNvSpPr>
          <p:nvPr/>
        </p:nvSpPr>
        <p:spPr bwMode="gray">
          <a:xfrm>
            <a:off x="2605088" y="4548188"/>
            <a:ext cx="249237" cy="249237"/>
          </a:xfrm>
          <a:prstGeom prst="rect">
            <a:avLst/>
          </a:prstGeom>
          <a:noFill/>
          <a:ln w="9525">
            <a:noFill/>
            <a:miter lim="800000"/>
            <a:headEnd/>
            <a:tailEnd/>
          </a:ln>
        </p:spPr>
        <p:txBody>
          <a:bodyPr lIns="0" tIns="0" rIns="0" bIns="0" anchor="ctr" anchorCtr="1">
            <a:spAutoFit/>
          </a:bodyPr>
          <a:lstStyle/>
          <a:p>
            <a:r>
              <a:rPr lang="en-US" sz="800" b="1"/>
              <a:t>Ekiti</a:t>
            </a:r>
          </a:p>
          <a:p>
            <a:r>
              <a:rPr lang="en-US" sz="800" b="1"/>
              <a:t>(22)</a:t>
            </a:r>
          </a:p>
        </p:txBody>
      </p:sp>
      <p:sp>
        <p:nvSpPr>
          <p:cNvPr id="18505" name="Rectangle 68"/>
          <p:cNvSpPr>
            <a:spLocks noChangeArrowheads="1"/>
          </p:cNvSpPr>
          <p:nvPr/>
        </p:nvSpPr>
        <p:spPr bwMode="gray">
          <a:xfrm>
            <a:off x="2543175" y="4859338"/>
            <a:ext cx="279400" cy="249237"/>
          </a:xfrm>
          <a:prstGeom prst="rect">
            <a:avLst/>
          </a:prstGeom>
          <a:noFill/>
          <a:ln w="9525">
            <a:noFill/>
            <a:miter lim="800000"/>
            <a:headEnd/>
            <a:tailEnd/>
          </a:ln>
        </p:spPr>
        <p:txBody>
          <a:bodyPr lIns="0" tIns="0" rIns="0" bIns="0" anchor="ctr" anchorCtr="1">
            <a:spAutoFit/>
          </a:bodyPr>
          <a:lstStyle/>
          <a:p>
            <a:r>
              <a:rPr lang="en-US" sz="800" b="1"/>
              <a:t>Ondo</a:t>
            </a:r>
          </a:p>
          <a:p>
            <a:r>
              <a:rPr lang="en-US" sz="800" b="1"/>
              <a:t>  (22)</a:t>
            </a:r>
          </a:p>
        </p:txBody>
      </p:sp>
      <p:sp>
        <p:nvSpPr>
          <p:cNvPr id="18506" name="Rectangle 69"/>
          <p:cNvSpPr>
            <a:spLocks noChangeArrowheads="1"/>
          </p:cNvSpPr>
          <p:nvPr/>
        </p:nvSpPr>
        <p:spPr bwMode="gray">
          <a:xfrm>
            <a:off x="2284413" y="4059238"/>
            <a:ext cx="320675" cy="249237"/>
          </a:xfrm>
          <a:prstGeom prst="rect">
            <a:avLst/>
          </a:prstGeom>
          <a:noFill/>
          <a:ln w="9525">
            <a:noFill/>
            <a:miter lim="800000"/>
            <a:headEnd/>
            <a:tailEnd/>
          </a:ln>
        </p:spPr>
        <p:txBody>
          <a:bodyPr lIns="0" tIns="0" rIns="0" bIns="0" anchor="ctr" anchorCtr="1">
            <a:spAutoFit/>
          </a:bodyPr>
          <a:lstStyle/>
          <a:p>
            <a:r>
              <a:rPr lang="en-US" sz="800" b="1"/>
              <a:t>Kwara </a:t>
            </a:r>
          </a:p>
          <a:p>
            <a:r>
              <a:rPr lang="en-US" sz="800" b="1"/>
              <a:t>  (32)</a:t>
            </a:r>
          </a:p>
        </p:txBody>
      </p:sp>
      <p:sp>
        <p:nvSpPr>
          <p:cNvPr id="18507" name="Rectangle 70"/>
          <p:cNvSpPr>
            <a:spLocks noChangeArrowheads="1"/>
          </p:cNvSpPr>
          <p:nvPr/>
        </p:nvSpPr>
        <p:spPr bwMode="gray">
          <a:xfrm>
            <a:off x="2771775" y="3443288"/>
            <a:ext cx="269875" cy="249237"/>
          </a:xfrm>
          <a:prstGeom prst="rect">
            <a:avLst/>
          </a:prstGeom>
          <a:noFill/>
          <a:ln w="9525">
            <a:noFill/>
            <a:miter lim="800000"/>
            <a:headEnd/>
            <a:tailEnd/>
          </a:ln>
        </p:spPr>
        <p:txBody>
          <a:bodyPr lIns="0" tIns="0" rIns="0" bIns="0" anchor="ctr" anchorCtr="1">
            <a:spAutoFit/>
          </a:bodyPr>
          <a:lstStyle/>
          <a:p>
            <a:r>
              <a:rPr lang="en-US" sz="800" b="1"/>
              <a:t>Niger</a:t>
            </a:r>
          </a:p>
          <a:p>
            <a:r>
              <a:rPr lang="en-US" sz="800" b="1"/>
              <a:t>(37)</a:t>
            </a:r>
          </a:p>
        </p:txBody>
      </p:sp>
      <p:sp>
        <p:nvSpPr>
          <p:cNvPr id="18508" name="Rectangle 71"/>
          <p:cNvSpPr>
            <a:spLocks noChangeArrowheads="1"/>
          </p:cNvSpPr>
          <p:nvPr/>
        </p:nvSpPr>
        <p:spPr bwMode="gray">
          <a:xfrm>
            <a:off x="2592388" y="1741488"/>
            <a:ext cx="3556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Sokoto</a:t>
            </a:r>
          </a:p>
          <a:p>
            <a:r>
              <a:rPr lang="en-US" sz="800" b="1">
                <a:solidFill>
                  <a:schemeClr val="bg1"/>
                </a:solidFill>
              </a:rPr>
              <a:t>   (61)</a:t>
            </a:r>
          </a:p>
        </p:txBody>
      </p:sp>
      <p:sp>
        <p:nvSpPr>
          <p:cNvPr id="18509" name="Rectangle 72"/>
          <p:cNvSpPr>
            <a:spLocks noChangeArrowheads="1"/>
          </p:cNvSpPr>
          <p:nvPr/>
        </p:nvSpPr>
        <p:spPr bwMode="gray">
          <a:xfrm>
            <a:off x="1995488" y="2417763"/>
            <a:ext cx="2921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ebbi</a:t>
            </a:r>
          </a:p>
          <a:p>
            <a:r>
              <a:rPr lang="en-US" sz="800" b="1">
                <a:solidFill>
                  <a:schemeClr val="bg1"/>
                </a:solidFill>
              </a:rPr>
              <a:t> (60)</a:t>
            </a:r>
          </a:p>
        </p:txBody>
      </p:sp>
      <p:sp>
        <p:nvSpPr>
          <p:cNvPr id="18510" name="Rectangle 73"/>
          <p:cNvSpPr>
            <a:spLocks noChangeArrowheads="1"/>
          </p:cNvSpPr>
          <p:nvPr/>
        </p:nvSpPr>
        <p:spPr bwMode="gray">
          <a:xfrm>
            <a:off x="3017838" y="2327275"/>
            <a:ext cx="422275"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Zamfara</a:t>
            </a:r>
          </a:p>
          <a:p>
            <a:r>
              <a:rPr lang="en-US" sz="800" b="1">
                <a:solidFill>
                  <a:schemeClr val="bg1"/>
                </a:solidFill>
              </a:rPr>
              <a:t>   (59)</a:t>
            </a:r>
          </a:p>
        </p:txBody>
      </p:sp>
      <p:sp>
        <p:nvSpPr>
          <p:cNvPr id="18511" name="Rectangle 74"/>
          <p:cNvSpPr>
            <a:spLocks noChangeArrowheads="1"/>
          </p:cNvSpPr>
          <p:nvPr/>
        </p:nvSpPr>
        <p:spPr bwMode="gray">
          <a:xfrm>
            <a:off x="3717925" y="1989138"/>
            <a:ext cx="379413"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atsina</a:t>
            </a:r>
          </a:p>
          <a:p>
            <a:r>
              <a:rPr lang="en-US" sz="800" b="1">
                <a:solidFill>
                  <a:schemeClr val="bg1"/>
                </a:solidFill>
              </a:rPr>
              <a:t>  (61)</a:t>
            </a:r>
          </a:p>
        </p:txBody>
      </p:sp>
      <p:sp>
        <p:nvSpPr>
          <p:cNvPr id="18512" name="Rectangle 75"/>
          <p:cNvSpPr>
            <a:spLocks noChangeArrowheads="1"/>
          </p:cNvSpPr>
          <p:nvPr/>
        </p:nvSpPr>
        <p:spPr bwMode="gray">
          <a:xfrm>
            <a:off x="4237038" y="2608263"/>
            <a:ext cx="2667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ano</a:t>
            </a:r>
          </a:p>
          <a:p>
            <a:r>
              <a:rPr lang="en-US" sz="800" b="1">
                <a:solidFill>
                  <a:schemeClr val="bg1"/>
                </a:solidFill>
              </a:rPr>
              <a:t>(58)</a:t>
            </a:r>
          </a:p>
        </p:txBody>
      </p:sp>
      <p:sp>
        <p:nvSpPr>
          <p:cNvPr id="18513" name="Rectangle 76"/>
          <p:cNvSpPr>
            <a:spLocks noChangeArrowheads="1"/>
          </p:cNvSpPr>
          <p:nvPr/>
        </p:nvSpPr>
        <p:spPr bwMode="gray">
          <a:xfrm>
            <a:off x="5672138" y="2227263"/>
            <a:ext cx="2667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Yobe</a:t>
            </a:r>
          </a:p>
          <a:p>
            <a:r>
              <a:rPr lang="en-US" sz="800" b="1">
                <a:solidFill>
                  <a:schemeClr val="bg1"/>
                </a:solidFill>
              </a:rPr>
              <a:t> (61)</a:t>
            </a:r>
          </a:p>
        </p:txBody>
      </p:sp>
      <p:sp>
        <p:nvSpPr>
          <p:cNvPr id="18514" name="Rectangle 77"/>
          <p:cNvSpPr>
            <a:spLocks noChangeArrowheads="1"/>
          </p:cNvSpPr>
          <p:nvPr/>
        </p:nvSpPr>
        <p:spPr bwMode="gray">
          <a:xfrm>
            <a:off x="4679950" y="2143125"/>
            <a:ext cx="352425"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Jigawa</a:t>
            </a:r>
          </a:p>
          <a:p>
            <a:r>
              <a:rPr lang="en-US" sz="800" b="1">
                <a:solidFill>
                  <a:schemeClr val="bg1"/>
                </a:solidFill>
              </a:rPr>
              <a:t>  (66)</a:t>
            </a:r>
          </a:p>
        </p:txBody>
      </p:sp>
      <p:sp>
        <p:nvSpPr>
          <p:cNvPr id="18515" name="Rectangle 78"/>
          <p:cNvSpPr>
            <a:spLocks noChangeArrowheads="1"/>
          </p:cNvSpPr>
          <p:nvPr/>
        </p:nvSpPr>
        <p:spPr bwMode="gray">
          <a:xfrm>
            <a:off x="6530975" y="2432050"/>
            <a:ext cx="303213" cy="249238"/>
          </a:xfrm>
          <a:prstGeom prst="rect">
            <a:avLst/>
          </a:prstGeom>
          <a:noFill/>
          <a:ln w="9525">
            <a:noFill/>
            <a:miter lim="800000"/>
            <a:headEnd/>
            <a:tailEnd/>
          </a:ln>
        </p:spPr>
        <p:txBody>
          <a:bodyPr lIns="0" tIns="0" rIns="0" bIns="0" anchor="ctr" anchorCtr="1">
            <a:spAutoFit/>
          </a:bodyPr>
          <a:lstStyle/>
          <a:p>
            <a:r>
              <a:rPr lang="en-US" sz="800" b="1"/>
              <a:t>Borno</a:t>
            </a:r>
          </a:p>
          <a:p>
            <a:r>
              <a:rPr lang="en-US" sz="800" b="1"/>
              <a:t>  (45)</a:t>
            </a:r>
          </a:p>
        </p:txBody>
      </p:sp>
      <p:sp>
        <p:nvSpPr>
          <p:cNvPr id="96" name="Rectangle 95">
            <a:extLst>
              <a:ext uri="{FF2B5EF4-FFF2-40B4-BE49-F238E27FC236}"/>
            </a:extLst>
          </p:cNvPr>
          <p:cNvSpPr/>
          <p:nvPr/>
        </p:nvSpPr>
        <p:spPr>
          <a:xfrm>
            <a:off x="6254750" y="4833938"/>
            <a:ext cx="2371725" cy="1585912"/>
          </a:xfrm>
          <a:prstGeom prst="rect">
            <a:avLst/>
          </a:prstGeom>
          <a:solidFill>
            <a:schemeClr val="accent4">
              <a:alpha val="72000"/>
            </a:schemeClr>
          </a:solidFill>
        </p:spPr>
        <p:txBody>
          <a:bodyPr lIns="90000" tIns="46800" rIns="90000" bIns="46800"/>
          <a:lstStyle/>
          <a:p>
            <a:pPr defTabSz="895350">
              <a:buClr>
                <a:schemeClr val="tx2"/>
              </a:buClr>
              <a:buSzPct val="100000"/>
              <a:defRPr/>
            </a:pPr>
            <a:endParaRPr lang="en-ZA" dirty="0">
              <a:latin typeface="Arial" charset="0"/>
              <a:cs typeface="+mn-cs"/>
            </a:endParaRPr>
          </a:p>
        </p:txBody>
      </p:sp>
      <p:sp>
        <p:nvSpPr>
          <p:cNvPr id="18517" name="TextBox 94"/>
          <p:cNvSpPr txBox="1">
            <a:spLocks noChangeArrowheads="1"/>
          </p:cNvSpPr>
          <p:nvPr>
            <p:custDataLst>
              <p:tags r:id="rId3"/>
            </p:custDataLst>
          </p:nvPr>
        </p:nvSpPr>
        <p:spPr bwMode="auto">
          <a:xfrm>
            <a:off x="6346825" y="5189538"/>
            <a:ext cx="2301875" cy="969962"/>
          </a:xfrm>
          <a:prstGeom prst="rect">
            <a:avLst/>
          </a:prstGeom>
          <a:noFill/>
          <a:ln w="9525">
            <a:noFill/>
            <a:miter lim="800000"/>
            <a:headEnd/>
            <a:tailEnd/>
          </a:ln>
        </p:spPr>
        <p:txBody>
          <a:bodyPr lIns="0" tIns="0" rIns="0" bIns="0">
            <a:spAutoFit/>
          </a:bodyPr>
          <a:lstStyle/>
          <a:p>
            <a:pPr marL="285750" indent="-285750" defTabSz="895350">
              <a:spcBef>
                <a:spcPct val="50000"/>
              </a:spcBef>
              <a:buClr>
                <a:schemeClr val="bg2"/>
              </a:buClr>
              <a:buSzPct val="100000"/>
              <a:buFont typeface="Wingdings" pitchFamily="2" charset="2"/>
              <a:buChar char="§"/>
            </a:pPr>
            <a:r>
              <a:rPr lang="en-US" sz="1400">
                <a:solidFill>
                  <a:schemeClr val="bg2"/>
                </a:solidFill>
              </a:rPr>
              <a:t>Global</a:t>
            </a:r>
            <a:r>
              <a:rPr lang="en-US" sz="1400" baseline="30000">
                <a:solidFill>
                  <a:schemeClr val="bg2"/>
                </a:solidFill>
              </a:rPr>
              <a:t>1</a:t>
            </a:r>
            <a:r>
              <a:rPr lang="en-US" sz="1400">
                <a:solidFill>
                  <a:schemeClr val="bg2"/>
                </a:solidFill>
              </a:rPr>
              <a:t> target for under 5 stunting is 13% </a:t>
            </a:r>
          </a:p>
          <a:p>
            <a:pPr marL="285750" indent="-285750" defTabSz="895350">
              <a:spcBef>
                <a:spcPct val="50000"/>
              </a:spcBef>
              <a:buClr>
                <a:schemeClr val="bg2"/>
              </a:buClr>
              <a:buSzPct val="100000"/>
              <a:buFont typeface="Wingdings" pitchFamily="2" charset="2"/>
              <a:buChar char="§"/>
            </a:pPr>
            <a:r>
              <a:rPr lang="en-US" sz="1400">
                <a:solidFill>
                  <a:schemeClr val="bg2"/>
                </a:solidFill>
              </a:rPr>
              <a:t>Nigeria’s 2022 target is 22% </a:t>
            </a:r>
            <a:endParaRPr lang="en-GB" sz="1400">
              <a:solidFill>
                <a:schemeClr val="bg2"/>
              </a:solidFill>
            </a:endParaRPr>
          </a:p>
        </p:txBody>
      </p:sp>
      <p:sp>
        <p:nvSpPr>
          <p:cNvPr id="97" name="4. Footnote">
            <a:extLst>
              <a:ext uri="{FF2B5EF4-FFF2-40B4-BE49-F238E27FC236}"/>
            </a:extLst>
          </p:cNvPr>
          <p:cNvSpPr txBox="1">
            <a:spLocks noChangeArrowheads="1"/>
          </p:cNvSpPr>
          <p:nvPr/>
        </p:nvSpPr>
        <p:spPr bwMode="gray">
          <a:xfrm>
            <a:off x="119063" y="6305550"/>
            <a:ext cx="8618537"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a:solidFill>
                  <a:schemeClr val="accent6"/>
                </a:solidFill>
                <a:latin typeface="+mn-lt"/>
                <a:cs typeface="+mn-cs"/>
              </a:rPr>
              <a:t>1 Recommended targets by the United Nations SDGs</a:t>
            </a:r>
            <a:endParaRPr lang="en-US" sz="800" dirty="0">
              <a:solidFill>
                <a:schemeClr val="accent6"/>
              </a:solidFill>
              <a:latin typeface="+mn-lt"/>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93"/>
          <p:cNvGraphicFramePr>
            <a:graphicFrameLocks noChangeAspect="1"/>
          </p:cNvGraphicFramePr>
          <p:nvPr/>
        </p:nvGraphicFramePr>
        <p:xfrm>
          <a:off x="1122363" y="841375"/>
          <a:ext cx="0" cy="1588"/>
        </p:xfrm>
        <a:graphic>
          <a:graphicData uri="http://schemas.openxmlformats.org/presentationml/2006/ole">
            <p:oleObj spid="_x0000_s19458" name="think-cell Slide" r:id="rId9" imgW="360" imgH="360" progId="">
              <p:embed/>
            </p:oleObj>
          </a:graphicData>
        </a:graphic>
      </p:graphicFrame>
      <p:sp>
        <p:nvSpPr>
          <p:cNvPr id="4" name="Rectangle 3" hidden="1">
            <a:extLst>
              <a:ext uri="{FF2B5EF4-FFF2-40B4-BE49-F238E27FC236}"/>
            </a:extLst>
          </p:cNvPr>
          <p:cNvSpPr/>
          <p:nvPr>
            <p:custDataLst>
              <p:tags r:id="rId2"/>
            </p:custDataLst>
          </p:nvPr>
        </p:nvSpPr>
        <p:spPr>
          <a:xfrm>
            <a:off x="1120775" y="839788"/>
            <a:ext cx="119063" cy="11906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GB" sz="2000" dirty="0">
              <a:solidFill>
                <a:schemeClr val="tx1"/>
              </a:solidFill>
              <a:ea typeface="+mj-ea"/>
              <a:cs typeface="+mj-cs"/>
              <a:sym typeface="Arial" panose="020B0604020202020204" pitchFamily="34" charset="0"/>
            </a:endParaRPr>
          </a:p>
        </p:txBody>
      </p:sp>
      <p:grpSp>
        <p:nvGrpSpPr>
          <p:cNvPr id="19460" name="Group 53"/>
          <p:cNvGrpSpPr>
            <a:grpSpLocks/>
          </p:cNvGrpSpPr>
          <p:nvPr/>
        </p:nvGrpSpPr>
        <p:grpSpPr bwMode="auto">
          <a:xfrm>
            <a:off x="0" y="1068388"/>
            <a:ext cx="8961438" cy="479425"/>
            <a:chOff x="-1" y="1203325"/>
            <a:chExt cx="8961439" cy="479426"/>
          </a:xfrm>
        </p:grpSpPr>
        <p:sp>
          <p:nvSpPr>
            <p:cNvPr id="56" name="Rectangle 55">
              <a:extLst>
                <a:ext uri="{FF2B5EF4-FFF2-40B4-BE49-F238E27FC236}"/>
              </a:extLst>
            </p:cNvPr>
            <p:cNvSpPr>
              <a:spLocks/>
            </p:cNvSpPr>
            <p:nvPr/>
          </p:nvSpPr>
          <p:spPr>
            <a:xfrm>
              <a:off x="-1" y="1211262"/>
              <a:ext cx="8961439" cy="471489"/>
            </a:xfrm>
            <a:prstGeom prst="rect">
              <a:avLst/>
            </a:prstGeom>
            <a:gradFill flip="none" rotWithShape="1">
              <a:gsLst>
                <a:gs pos="0">
                  <a:schemeClr val="accent6">
                    <a:lumMod val="20000"/>
                    <a:lumOff val="80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chemeClr val="tx1"/>
                </a:solidFill>
              </a:endParaRPr>
            </a:p>
          </p:txBody>
        </p:sp>
        <p:cxnSp>
          <p:nvCxnSpPr>
            <p:cNvPr id="57" name="Straight Connector 56">
              <a:extLst>
                <a:ext uri="{FF2B5EF4-FFF2-40B4-BE49-F238E27FC236}"/>
              </a:extLst>
            </p:cNvPr>
            <p:cNvCxnSpPr/>
            <p:nvPr/>
          </p:nvCxnSpPr>
          <p:spPr bwMode="gray">
            <a:xfrm>
              <a:off x="-1" y="1203325"/>
              <a:ext cx="8961439"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9461" name="Title 8"/>
          <p:cNvSpPr>
            <a:spLocks noGrp="1"/>
          </p:cNvSpPr>
          <p:nvPr>
            <p:ph type="title"/>
          </p:nvPr>
        </p:nvSpPr>
        <p:spPr/>
        <p:txBody>
          <a:bodyPr/>
          <a:lstStyle/>
          <a:p>
            <a:pPr>
              <a:tabLst>
                <a:tab pos="84138" algn="l"/>
              </a:tabLst>
            </a:pPr>
            <a:r>
              <a:rPr lang="en-GB" smtClean="0"/>
              <a:t>The average literacy rate is 47% with a wide variation across states</a:t>
            </a:r>
            <a:endParaRPr lang="en-ZA" smtClean="0"/>
          </a:p>
        </p:txBody>
      </p:sp>
      <p:sp>
        <p:nvSpPr>
          <p:cNvPr id="136" name="5. Source">
            <a:extLst>
              <a:ext uri="{FF2B5EF4-FFF2-40B4-BE49-F238E27FC236}"/>
            </a:extLst>
          </p:cNvPr>
          <p:cNvSpPr>
            <a:spLocks noChangeArrowheads="1"/>
          </p:cNvSpPr>
          <p:nvPr/>
        </p:nvSpPr>
        <p:spPr bwMode="gray">
          <a:xfrm>
            <a:off x="119063" y="6445250"/>
            <a:ext cx="7199312" cy="369888"/>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r>
              <a:rPr lang="en-GB" sz="800">
                <a:solidFill>
                  <a:srgbClr val="808080"/>
                </a:solidFill>
              </a:rPr>
              <a:t>SOURCE: </a:t>
            </a:r>
            <a:r>
              <a:rPr lang="en-US" sz="800">
                <a:solidFill>
                  <a:srgbClr val="808080"/>
                </a:solidFill>
              </a:rPr>
              <a:t>2015 Nigeria Education Data Survey (NEDS) implemented by the National Population Commission (NPC) </a:t>
            </a:r>
          </a:p>
          <a:p>
            <a:r>
              <a:rPr lang="en-US" sz="800">
                <a:solidFill>
                  <a:srgbClr val="808080"/>
                </a:solidFill>
              </a:rPr>
              <a:t>in collaboration with the Federal Ministry Of Education (FME), the Universal Basic Education Commission (UBEC), and the National Bureau of Statistics (NBS).</a:t>
            </a:r>
          </a:p>
          <a:p>
            <a:endParaRPr lang="en-GB" sz="800">
              <a:solidFill>
                <a:srgbClr val="808080"/>
              </a:solidFill>
            </a:endParaRPr>
          </a:p>
        </p:txBody>
      </p:sp>
      <p:grpSp>
        <p:nvGrpSpPr>
          <p:cNvPr id="19463" name="Group 7"/>
          <p:cNvGrpSpPr>
            <a:grpSpLocks/>
          </p:cNvGrpSpPr>
          <p:nvPr/>
        </p:nvGrpSpPr>
        <p:grpSpPr bwMode="auto">
          <a:xfrm>
            <a:off x="1652588" y="1220788"/>
            <a:ext cx="6010275" cy="4956175"/>
            <a:chOff x="1423153" y="1221280"/>
            <a:chExt cx="6010357" cy="4955728"/>
          </a:xfrm>
        </p:grpSpPr>
        <p:sp>
          <p:nvSpPr>
            <p:cNvPr id="19480" name="Freeform 26"/>
            <p:cNvSpPr>
              <a:spLocks/>
            </p:cNvSpPr>
            <p:nvPr/>
          </p:nvSpPr>
          <p:spPr bwMode="gray">
            <a:xfrm>
              <a:off x="1423153" y="3651843"/>
              <a:ext cx="958764" cy="1069739"/>
            </a:xfrm>
            <a:custGeom>
              <a:avLst/>
              <a:gdLst>
                <a:gd name="T0" fmla="*/ 58538 w 1212"/>
                <a:gd name="T1" fmla="*/ 91162 h 1326"/>
                <a:gd name="T2" fmla="*/ 47464 w 1212"/>
                <a:gd name="T3" fmla="*/ 93582 h 1326"/>
                <a:gd name="T4" fmla="*/ 49046 w 1212"/>
                <a:gd name="T5" fmla="*/ 88742 h 1326"/>
                <a:gd name="T6" fmla="*/ 47464 w 1212"/>
                <a:gd name="T7" fmla="*/ 84708 h 1326"/>
                <a:gd name="T8" fmla="*/ 41135 w 1212"/>
                <a:gd name="T9" fmla="*/ 77447 h 1326"/>
                <a:gd name="T10" fmla="*/ 37180 w 1212"/>
                <a:gd name="T11" fmla="*/ 79061 h 1326"/>
                <a:gd name="T12" fmla="*/ 34807 w 1212"/>
                <a:gd name="T13" fmla="*/ 75027 h 1326"/>
                <a:gd name="T14" fmla="*/ 31642 w 1212"/>
                <a:gd name="T15" fmla="*/ 77447 h 1326"/>
                <a:gd name="T16" fmla="*/ 27687 w 1212"/>
                <a:gd name="T17" fmla="*/ 82288 h 1326"/>
                <a:gd name="T18" fmla="*/ 21359 w 1212"/>
                <a:gd name="T19" fmla="*/ 80674 h 1326"/>
                <a:gd name="T20" fmla="*/ 18194 w 1212"/>
                <a:gd name="T21" fmla="*/ 77447 h 1326"/>
                <a:gd name="T22" fmla="*/ 15821 w 1212"/>
                <a:gd name="T23" fmla="*/ 72607 h 1326"/>
                <a:gd name="T24" fmla="*/ 14239 w 1212"/>
                <a:gd name="T25" fmla="*/ 71800 h 1326"/>
                <a:gd name="T26" fmla="*/ 14239 w 1212"/>
                <a:gd name="T27" fmla="*/ 68573 h 1326"/>
                <a:gd name="T28" fmla="*/ 15030 w 1212"/>
                <a:gd name="T29" fmla="*/ 66960 h 1326"/>
                <a:gd name="T30" fmla="*/ 15030 w 1212"/>
                <a:gd name="T31" fmla="*/ 66153 h 1326"/>
                <a:gd name="T32" fmla="*/ 15821 w 1212"/>
                <a:gd name="T33" fmla="*/ 63733 h 1326"/>
                <a:gd name="T34" fmla="*/ 15030 w 1212"/>
                <a:gd name="T35" fmla="*/ 60506 h 1326"/>
                <a:gd name="T36" fmla="*/ 13448 w 1212"/>
                <a:gd name="T37" fmla="*/ 62119 h 1326"/>
                <a:gd name="T38" fmla="*/ 11075 w 1212"/>
                <a:gd name="T39" fmla="*/ 61312 h 1326"/>
                <a:gd name="T40" fmla="*/ 9493 w 1212"/>
                <a:gd name="T41" fmla="*/ 57279 h 1326"/>
                <a:gd name="T42" fmla="*/ 6328 w 1212"/>
                <a:gd name="T43" fmla="*/ 55665 h 1326"/>
                <a:gd name="T44" fmla="*/ 0 w 1212"/>
                <a:gd name="T45" fmla="*/ 58085 h 1326"/>
                <a:gd name="T46" fmla="*/ 1582 w 1212"/>
                <a:gd name="T47" fmla="*/ 54052 h 1326"/>
                <a:gd name="T48" fmla="*/ 2373 w 1212"/>
                <a:gd name="T49" fmla="*/ 49211 h 1326"/>
                <a:gd name="T50" fmla="*/ 3164 w 1212"/>
                <a:gd name="T51" fmla="*/ 45178 h 1326"/>
                <a:gd name="T52" fmla="*/ 3164 w 1212"/>
                <a:gd name="T53" fmla="*/ 41951 h 1326"/>
                <a:gd name="T54" fmla="*/ 1582 w 1212"/>
                <a:gd name="T55" fmla="*/ 37917 h 1326"/>
                <a:gd name="T56" fmla="*/ 1582 w 1212"/>
                <a:gd name="T57" fmla="*/ 33883 h 1326"/>
                <a:gd name="T58" fmla="*/ 3955 w 1212"/>
                <a:gd name="T59" fmla="*/ 31463 h 1326"/>
                <a:gd name="T60" fmla="*/ 3955 w 1212"/>
                <a:gd name="T61" fmla="*/ 28236 h 1326"/>
                <a:gd name="T62" fmla="*/ 5537 w 1212"/>
                <a:gd name="T63" fmla="*/ 25009 h 1326"/>
                <a:gd name="T64" fmla="*/ 11075 w 1212"/>
                <a:gd name="T65" fmla="*/ 25009 h 1326"/>
                <a:gd name="T66" fmla="*/ 14239 w 1212"/>
                <a:gd name="T67" fmla="*/ 21782 h 1326"/>
                <a:gd name="T68" fmla="*/ 17403 w 1212"/>
                <a:gd name="T69" fmla="*/ 19362 h 1326"/>
                <a:gd name="T70" fmla="*/ 21359 w 1212"/>
                <a:gd name="T71" fmla="*/ 16135 h 1326"/>
                <a:gd name="T72" fmla="*/ 27687 w 1212"/>
                <a:gd name="T73" fmla="*/ 16942 h 1326"/>
                <a:gd name="T74" fmla="*/ 48255 w 1212"/>
                <a:gd name="T75" fmla="*/ 6454 h 1326"/>
                <a:gd name="T76" fmla="*/ 57747 w 1212"/>
                <a:gd name="T77" fmla="*/ 3227 h 1326"/>
                <a:gd name="T78" fmla="*/ 68031 w 1212"/>
                <a:gd name="T79" fmla="*/ 9681 h 1326"/>
                <a:gd name="T80" fmla="*/ 72777 w 1212"/>
                <a:gd name="T81" fmla="*/ 10488 h 1326"/>
                <a:gd name="T82" fmla="*/ 68031 w 1212"/>
                <a:gd name="T83" fmla="*/ 14521 h 1326"/>
                <a:gd name="T84" fmla="*/ 69613 w 1212"/>
                <a:gd name="T85" fmla="*/ 26622 h 1326"/>
                <a:gd name="T86" fmla="*/ 76733 w 1212"/>
                <a:gd name="T87" fmla="*/ 39530 h 1326"/>
                <a:gd name="T88" fmla="*/ 80688 w 1212"/>
                <a:gd name="T89" fmla="*/ 45984 h 1326"/>
                <a:gd name="T90" fmla="*/ 82270 w 1212"/>
                <a:gd name="T91" fmla="*/ 54052 h 1326"/>
                <a:gd name="T92" fmla="*/ 79897 w 1212"/>
                <a:gd name="T93" fmla="*/ 55665 h 1326"/>
                <a:gd name="T94" fmla="*/ 76733 w 1212"/>
                <a:gd name="T95" fmla="*/ 55665 h 1326"/>
                <a:gd name="T96" fmla="*/ 75942 w 1212"/>
                <a:gd name="T97" fmla="*/ 57279 h 1326"/>
                <a:gd name="T98" fmla="*/ 73569 w 1212"/>
                <a:gd name="T99" fmla="*/ 56472 h 1326"/>
                <a:gd name="T100" fmla="*/ 68031 w 1212"/>
                <a:gd name="T101" fmla="*/ 55665 h 1326"/>
                <a:gd name="T102" fmla="*/ 64867 w 1212"/>
                <a:gd name="T103" fmla="*/ 58892 h 1326"/>
                <a:gd name="T104" fmla="*/ 62494 w 1212"/>
                <a:gd name="T105" fmla="*/ 59699 h 1326"/>
                <a:gd name="T106" fmla="*/ 61703 w 1212"/>
                <a:gd name="T107" fmla="*/ 63733 h 1326"/>
                <a:gd name="T108" fmla="*/ 61703 w 1212"/>
                <a:gd name="T109" fmla="*/ 66960 h 1326"/>
                <a:gd name="T110" fmla="*/ 64867 w 1212"/>
                <a:gd name="T111" fmla="*/ 70186 h 1326"/>
                <a:gd name="T112" fmla="*/ 65658 w 1212"/>
                <a:gd name="T113" fmla="*/ 72607 h 1326"/>
                <a:gd name="T114" fmla="*/ 64867 w 1212"/>
                <a:gd name="T115" fmla="*/ 75834 h 1326"/>
                <a:gd name="T116" fmla="*/ 64867 w 1212"/>
                <a:gd name="T117" fmla="*/ 79061 h 1326"/>
                <a:gd name="T118" fmla="*/ 64867 w 1212"/>
                <a:gd name="T119" fmla="*/ 83901 h 1326"/>
                <a:gd name="T120" fmla="*/ 61703 w 1212"/>
                <a:gd name="T121" fmla="*/ 88742 h 13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12"/>
                <a:gd name="T184" fmla="*/ 0 h 1326"/>
                <a:gd name="T185" fmla="*/ 1212 w 1212"/>
                <a:gd name="T186" fmla="*/ 1326 h 13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12" h="1326">
                  <a:moveTo>
                    <a:pt x="906" y="1290"/>
                  </a:moveTo>
                  <a:lnTo>
                    <a:pt x="906" y="1296"/>
                  </a:lnTo>
                  <a:lnTo>
                    <a:pt x="900" y="1296"/>
                  </a:lnTo>
                  <a:lnTo>
                    <a:pt x="876" y="1290"/>
                  </a:lnTo>
                  <a:lnTo>
                    <a:pt x="870" y="1290"/>
                  </a:lnTo>
                  <a:lnTo>
                    <a:pt x="864" y="1296"/>
                  </a:lnTo>
                  <a:lnTo>
                    <a:pt x="852" y="1296"/>
                  </a:lnTo>
                  <a:lnTo>
                    <a:pt x="840" y="1302"/>
                  </a:lnTo>
                  <a:lnTo>
                    <a:pt x="834" y="1308"/>
                  </a:lnTo>
                  <a:lnTo>
                    <a:pt x="822" y="1320"/>
                  </a:lnTo>
                  <a:lnTo>
                    <a:pt x="816" y="1320"/>
                  </a:lnTo>
                  <a:lnTo>
                    <a:pt x="732" y="1320"/>
                  </a:lnTo>
                  <a:lnTo>
                    <a:pt x="696" y="1320"/>
                  </a:lnTo>
                  <a:lnTo>
                    <a:pt x="690" y="1326"/>
                  </a:lnTo>
                  <a:lnTo>
                    <a:pt x="678" y="1326"/>
                  </a:lnTo>
                  <a:lnTo>
                    <a:pt x="672" y="1308"/>
                  </a:lnTo>
                  <a:lnTo>
                    <a:pt x="696" y="1302"/>
                  </a:lnTo>
                  <a:lnTo>
                    <a:pt x="708" y="1296"/>
                  </a:lnTo>
                  <a:lnTo>
                    <a:pt x="720" y="1284"/>
                  </a:lnTo>
                  <a:lnTo>
                    <a:pt x="714" y="1278"/>
                  </a:lnTo>
                  <a:lnTo>
                    <a:pt x="714" y="1266"/>
                  </a:lnTo>
                  <a:lnTo>
                    <a:pt x="708" y="1260"/>
                  </a:lnTo>
                  <a:lnTo>
                    <a:pt x="708" y="1254"/>
                  </a:lnTo>
                  <a:lnTo>
                    <a:pt x="708" y="1248"/>
                  </a:lnTo>
                  <a:lnTo>
                    <a:pt x="702" y="1236"/>
                  </a:lnTo>
                  <a:lnTo>
                    <a:pt x="702" y="1230"/>
                  </a:lnTo>
                  <a:lnTo>
                    <a:pt x="702" y="1218"/>
                  </a:lnTo>
                  <a:lnTo>
                    <a:pt x="696" y="1200"/>
                  </a:lnTo>
                  <a:lnTo>
                    <a:pt x="696" y="1182"/>
                  </a:lnTo>
                  <a:lnTo>
                    <a:pt x="666" y="1182"/>
                  </a:lnTo>
                  <a:lnTo>
                    <a:pt x="672" y="1134"/>
                  </a:lnTo>
                  <a:lnTo>
                    <a:pt x="666" y="1128"/>
                  </a:lnTo>
                  <a:lnTo>
                    <a:pt x="660" y="1092"/>
                  </a:lnTo>
                  <a:lnTo>
                    <a:pt x="654" y="1098"/>
                  </a:lnTo>
                  <a:lnTo>
                    <a:pt x="594" y="1098"/>
                  </a:lnTo>
                  <a:lnTo>
                    <a:pt x="576" y="1098"/>
                  </a:lnTo>
                  <a:lnTo>
                    <a:pt x="570" y="1104"/>
                  </a:lnTo>
                  <a:lnTo>
                    <a:pt x="564" y="1110"/>
                  </a:lnTo>
                  <a:lnTo>
                    <a:pt x="558" y="1110"/>
                  </a:lnTo>
                  <a:lnTo>
                    <a:pt x="552" y="1110"/>
                  </a:lnTo>
                  <a:lnTo>
                    <a:pt x="546" y="1110"/>
                  </a:lnTo>
                  <a:lnTo>
                    <a:pt x="546" y="1116"/>
                  </a:lnTo>
                  <a:lnTo>
                    <a:pt x="546" y="1122"/>
                  </a:lnTo>
                  <a:lnTo>
                    <a:pt x="540" y="1128"/>
                  </a:lnTo>
                  <a:lnTo>
                    <a:pt x="510" y="1128"/>
                  </a:lnTo>
                  <a:lnTo>
                    <a:pt x="522" y="1104"/>
                  </a:lnTo>
                  <a:lnTo>
                    <a:pt x="510" y="1098"/>
                  </a:lnTo>
                  <a:lnTo>
                    <a:pt x="510" y="1074"/>
                  </a:lnTo>
                  <a:lnTo>
                    <a:pt x="504" y="1068"/>
                  </a:lnTo>
                  <a:lnTo>
                    <a:pt x="498" y="1068"/>
                  </a:lnTo>
                  <a:lnTo>
                    <a:pt x="492" y="1068"/>
                  </a:lnTo>
                  <a:lnTo>
                    <a:pt x="474" y="1080"/>
                  </a:lnTo>
                  <a:lnTo>
                    <a:pt x="474" y="1086"/>
                  </a:lnTo>
                  <a:lnTo>
                    <a:pt x="474" y="1092"/>
                  </a:lnTo>
                  <a:lnTo>
                    <a:pt x="468" y="1098"/>
                  </a:lnTo>
                  <a:lnTo>
                    <a:pt x="462" y="1104"/>
                  </a:lnTo>
                  <a:lnTo>
                    <a:pt x="456" y="1110"/>
                  </a:lnTo>
                  <a:lnTo>
                    <a:pt x="456" y="1122"/>
                  </a:lnTo>
                  <a:lnTo>
                    <a:pt x="456" y="1128"/>
                  </a:lnTo>
                  <a:lnTo>
                    <a:pt x="450" y="1140"/>
                  </a:lnTo>
                  <a:lnTo>
                    <a:pt x="444" y="1146"/>
                  </a:lnTo>
                  <a:lnTo>
                    <a:pt x="426" y="1170"/>
                  </a:lnTo>
                  <a:lnTo>
                    <a:pt x="408" y="1176"/>
                  </a:lnTo>
                  <a:lnTo>
                    <a:pt x="402" y="1170"/>
                  </a:lnTo>
                  <a:lnTo>
                    <a:pt x="396" y="1170"/>
                  </a:lnTo>
                  <a:lnTo>
                    <a:pt x="396" y="1158"/>
                  </a:lnTo>
                  <a:lnTo>
                    <a:pt x="384" y="1152"/>
                  </a:lnTo>
                  <a:lnTo>
                    <a:pt x="372" y="1140"/>
                  </a:lnTo>
                  <a:lnTo>
                    <a:pt x="354" y="1140"/>
                  </a:lnTo>
                  <a:lnTo>
                    <a:pt x="306" y="1146"/>
                  </a:lnTo>
                  <a:lnTo>
                    <a:pt x="294" y="1134"/>
                  </a:lnTo>
                  <a:lnTo>
                    <a:pt x="294" y="1128"/>
                  </a:lnTo>
                  <a:lnTo>
                    <a:pt x="288" y="1122"/>
                  </a:lnTo>
                  <a:lnTo>
                    <a:pt x="276" y="1122"/>
                  </a:lnTo>
                  <a:lnTo>
                    <a:pt x="276" y="1110"/>
                  </a:lnTo>
                  <a:lnTo>
                    <a:pt x="276" y="1104"/>
                  </a:lnTo>
                  <a:lnTo>
                    <a:pt x="270" y="1098"/>
                  </a:lnTo>
                  <a:lnTo>
                    <a:pt x="264" y="1086"/>
                  </a:lnTo>
                  <a:lnTo>
                    <a:pt x="264" y="1074"/>
                  </a:lnTo>
                  <a:lnTo>
                    <a:pt x="258" y="1068"/>
                  </a:lnTo>
                  <a:lnTo>
                    <a:pt x="252" y="1056"/>
                  </a:lnTo>
                  <a:lnTo>
                    <a:pt x="246" y="1056"/>
                  </a:lnTo>
                  <a:lnTo>
                    <a:pt x="246" y="1050"/>
                  </a:lnTo>
                  <a:lnTo>
                    <a:pt x="234" y="1038"/>
                  </a:lnTo>
                  <a:lnTo>
                    <a:pt x="228" y="1038"/>
                  </a:lnTo>
                  <a:lnTo>
                    <a:pt x="222" y="1038"/>
                  </a:lnTo>
                  <a:lnTo>
                    <a:pt x="216" y="1038"/>
                  </a:lnTo>
                  <a:lnTo>
                    <a:pt x="216" y="1032"/>
                  </a:lnTo>
                  <a:lnTo>
                    <a:pt x="216" y="1026"/>
                  </a:lnTo>
                  <a:lnTo>
                    <a:pt x="210" y="1020"/>
                  </a:lnTo>
                  <a:lnTo>
                    <a:pt x="204" y="1014"/>
                  </a:lnTo>
                  <a:lnTo>
                    <a:pt x="204" y="1008"/>
                  </a:lnTo>
                  <a:lnTo>
                    <a:pt x="198" y="1002"/>
                  </a:lnTo>
                  <a:lnTo>
                    <a:pt x="198" y="996"/>
                  </a:lnTo>
                  <a:lnTo>
                    <a:pt x="198" y="990"/>
                  </a:lnTo>
                  <a:lnTo>
                    <a:pt x="204" y="990"/>
                  </a:lnTo>
                  <a:lnTo>
                    <a:pt x="204" y="984"/>
                  </a:lnTo>
                  <a:lnTo>
                    <a:pt x="210" y="978"/>
                  </a:lnTo>
                  <a:lnTo>
                    <a:pt x="210" y="972"/>
                  </a:lnTo>
                  <a:lnTo>
                    <a:pt x="210" y="966"/>
                  </a:lnTo>
                  <a:lnTo>
                    <a:pt x="216" y="960"/>
                  </a:lnTo>
                  <a:lnTo>
                    <a:pt x="216" y="954"/>
                  </a:lnTo>
                  <a:lnTo>
                    <a:pt x="210" y="954"/>
                  </a:lnTo>
                  <a:lnTo>
                    <a:pt x="204" y="954"/>
                  </a:lnTo>
                  <a:lnTo>
                    <a:pt x="216" y="954"/>
                  </a:lnTo>
                  <a:lnTo>
                    <a:pt x="216" y="948"/>
                  </a:lnTo>
                  <a:lnTo>
                    <a:pt x="210" y="948"/>
                  </a:lnTo>
                  <a:lnTo>
                    <a:pt x="210" y="942"/>
                  </a:lnTo>
                  <a:lnTo>
                    <a:pt x="216" y="942"/>
                  </a:lnTo>
                  <a:lnTo>
                    <a:pt x="222" y="942"/>
                  </a:lnTo>
                  <a:lnTo>
                    <a:pt x="222" y="936"/>
                  </a:lnTo>
                  <a:lnTo>
                    <a:pt x="216" y="936"/>
                  </a:lnTo>
                  <a:lnTo>
                    <a:pt x="210" y="936"/>
                  </a:lnTo>
                  <a:lnTo>
                    <a:pt x="210" y="930"/>
                  </a:lnTo>
                  <a:lnTo>
                    <a:pt x="216" y="930"/>
                  </a:lnTo>
                  <a:lnTo>
                    <a:pt x="222" y="930"/>
                  </a:lnTo>
                  <a:lnTo>
                    <a:pt x="222" y="918"/>
                  </a:lnTo>
                  <a:lnTo>
                    <a:pt x="228" y="912"/>
                  </a:lnTo>
                  <a:lnTo>
                    <a:pt x="228" y="906"/>
                  </a:lnTo>
                  <a:lnTo>
                    <a:pt x="222" y="906"/>
                  </a:lnTo>
                  <a:lnTo>
                    <a:pt x="222" y="900"/>
                  </a:lnTo>
                  <a:lnTo>
                    <a:pt x="222" y="894"/>
                  </a:lnTo>
                  <a:lnTo>
                    <a:pt x="222" y="888"/>
                  </a:lnTo>
                  <a:lnTo>
                    <a:pt x="222" y="882"/>
                  </a:lnTo>
                  <a:lnTo>
                    <a:pt x="222" y="876"/>
                  </a:lnTo>
                  <a:lnTo>
                    <a:pt x="222" y="858"/>
                  </a:lnTo>
                  <a:lnTo>
                    <a:pt x="216" y="858"/>
                  </a:lnTo>
                  <a:lnTo>
                    <a:pt x="216" y="852"/>
                  </a:lnTo>
                  <a:lnTo>
                    <a:pt x="210" y="852"/>
                  </a:lnTo>
                  <a:lnTo>
                    <a:pt x="210" y="840"/>
                  </a:lnTo>
                  <a:lnTo>
                    <a:pt x="198" y="840"/>
                  </a:lnTo>
                  <a:lnTo>
                    <a:pt x="198" y="876"/>
                  </a:lnTo>
                  <a:lnTo>
                    <a:pt x="192" y="882"/>
                  </a:lnTo>
                  <a:lnTo>
                    <a:pt x="192" y="888"/>
                  </a:lnTo>
                  <a:lnTo>
                    <a:pt x="180" y="894"/>
                  </a:lnTo>
                  <a:lnTo>
                    <a:pt x="180" y="906"/>
                  </a:lnTo>
                  <a:lnTo>
                    <a:pt x="156" y="912"/>
                  </a:lnTo>
                  <a:lnTo>
                    <a:pt x="156" y="894"/>
                  </a:lnTo>
                  <a:lnTo>
                    <a:pt x="156" y="882"/>
                  </a:lnTo>
                  <a:lnTo>
                    <a:pt x="156" y="876"/>
                  </a:lnTo>
                  <a:lnTo>
                    <a:pt x="150" y="876"/>
                  </a:lnTo>
                  <a:lnTo>
                    <a:pt x="144" y="876"/>
                  </a:lnTo>
                  <a:lnTo>
                    <a:pt x="138" y="870"/>
                  </a:lnTo>
                  <a:lnTo>
                    <a:pt x="132" y="864"/>
                  </a:lnTo>
                  <a:lnTo>
                    <a:pt x="138" y="840"/>
                  </a:lnTo>
                  <a:lnTo>
                    <a:pt x="132" y="840"/>
                  </a:lnTo>
                  <a:lnTo>
                    <a:pt x="138" y="810"/>
                  </a:lnTo>
                  <a:lnTo>
                    <a:pt x="144" y="804"/>
                  </a:lnTo>
                  <a:lnTo>
                    <a:pt x="144" y="798"/>
                  </a:lnTo>
                  <a:lnTo>
                    <a:pt x="156" y="798"/>
                  </a:lnTo>
                  <a:lnTo>
                    <a:pt x="156" y="792"/>
                  </a:lnTo>
                  <a:lnTo>
                    <a:pt x="120" y="792"/>
                  </a:lnTo>
                  <a:lnTo>
                    <a:pt x="108" y="786"/>
                  </a:lnTo>
                  <a:lnTo>
                    <a:pt x="96" y="786"/>
                  </a:lnTo>
                  <a:lnTo>
                    <a:pt x="96" y="780"/>
                  </a:lnTo>
                  <a:lnTo>
                    <a:pt x="78" y="780"/>
                  </a:lnTo>
                  <a:lnTo>
                    <a:pt x="72" y="804"/>
                  </a:lnTo>
                  <a:lnTo>
                    <a:pt x="60" y="816"/>
                  </a:lnTo>
                  <a:lnTo>
                    <a:pt x="36" y="828"/>
                  </a:lnTo>
                  <a:lnTo>
                    <a:pt x="18" y="840"/>
                  </a:lnTo>
                  <a:lnTo>
                    <a:pt x="0" y="822"/>
                  </a:lnTo>
                  <a:lnTo>
                    <a:pt x="6" y="816"/>
                  </a:lnTo>
                  <a:lnTo>
                    <a:pt x="12" y="804"/>
                  </a:lnTo>
                  <a:lnTo>
                    <a:pt x="18" y="798"/>
                  </a:lnTo>
                  <a:lnTo>
                    <a:pt x="18" y="792"/>
                  </a:lnTo>
                  <a:lnTo>
                    <a:pt x="18" y="786"/>
                  </a:lnTo>
                  <a:lnTo>
                    <a:pt x="24" y="780"/>
                  </a:lnTo>
                  <a:lnTo>
                    <a:pt x="24" y="768"/>
                  </a:lnTo>
                  <a:lnTo>
                    <a:pt x="24" y="762"/>
                  </a:lnTo>
                  <a:lnTo>
                    <a:pt x="24" y="750"/>
                  </a:lnTo>
                  <a:lnTo>
                    <a:pt x="36" y="714"/>
                  </a:lnTo>
                  <a:lnTo>
                    <a:pt x="36" y="708"/>
                  </a:lnTo>
                  <a:lnTo>
                    <a:pt x="42" y="708"/>
                  </a:lnTo>
                  <a:lnTo>
                    <a:pt x="42" y="702"/>
                  </a:lnTo>
                  <a:lnTo>
                    <a:pt x="36" y="696"/>
                  </a:lnTo>
                  <a:lnTo>
                    <a:pt x="36" y="690"/>
                  </a:lnTo>
                  <a:lnTo>
                    <a:pt x="42" y="684"/>
                  </a:lnTo>
                  <a:lnTo>
                    <a:pt x="42" y="672"/>
                  </a:lnTo>
                  <a:lnTo>
                    <a:pt x="42" y="666"/>
                  </a:lnTo>
                  <a:lnTo>
                    <a:pt x="42" y="660"/>
                  </a:lnTo>
                  <a:lnTo>
                    <a:pt x="42" y="654"/>
                  </a:lnTo>
                  <a:lnTo>
                    <a:pt x="48" y="648"/>
                  </a:lnTo>
                  <a:lnTo>
                    <a:pt x="54" y="642"/>
                  </a:lnTo>
                  <a:lnTo>
                    <a:pt x="54" y="630"/>
                  </a:lnTo>
                  <a:lnTo>
                    <a:pt x="54" y="624"/>
                  </a:lnTo>
                  <a:lnTo>
                    <a:pt x="54" y="618"/>
                  </a:lnTo>
                  <a:lnTo>
                    <a:pt x="54" y="612"/>
                  </a:lnTo>
                  <a:lnTo>
                    <a:pt x="48" y="606"/>
                  </a:lnTo>
                  <a:lnTo>
                    <a:pt x="48" y="600"/>
                  </a:lnTo>
                  <a:lnTo>
                    <a:pt x="42" y="600"/>
                  </a:lnTo>
                  <a:lnTo>
                    <a:pt x="36" y="594"/>
                  </a:lnTo>
                  <a:lnTo>
                    <a:pt x="36" y="588"/>
                  </a:lnTo>
                  <a:lnTo>
                    <a:pt x="30" y="582"/>
                  </a:lnTo>
                  <a:lnTo>
                    <a:pt x="30" y="570"/>
                  </a:lnTo>
                  <a:lnTo>
                    <a:pt x="18" y="552"/>
                  </a:lnTo>
                  <a:lnTo>
                    <a:pt x="18" y="546"/>
                  </a:lnTo>
                  <a:lnTo>
                    <a:pt x="18" y="540"/>
                  </a:lnTo>
                  <a:lnTo>
                    <a:pt x="18" y="528"/>
                  </a:lnTo>
                  <a:lnTo>
                    <a:pt x="18" y="522"/>
                  </a:lnTo>
                  <a:lnTo>
                    <a:pt x="24" y="516"/>
                  </a:lnTo>
                  <a:lnTo>
                    <a:pt x="30" y="504"/>
                  </a:lnTo>
                  <a:lnTo>
                    <a:pt x="30" y="492"/>
                  </a:lnTo>
                  <a:lnTo>
                    <a:pt x="24" y="480"/>
                  </a:lnTo>
                  <a:lnTo>
                    <a:pt x="30" y="474"/>
                  </a:lnTo>
                  <a:lnTo>
                    <a:pt x="36" y="474"/>
                  </a:lnTo>
                  <a:lnTo>
                    <a:pt x="42" y="468"/>
                  </a:lnTo>
                  <a:lnTo>
                    <a:pt x="48" y="468"/>
                  </a:lnTo>
                  <a:lnTo>
                    <a:pt x="48" y="462"/>
                  </a:lnTo>
                  <a:lnTo>
                    <a:pt x="48" y="456"/>
                  </a:lnTo>
                  <a:lnTo>
                    <a:pt x="54" y="450"/>
                  </a:lnTo>
                  <a:lnTo>
                    <a:pt x="60" y="438"/>
                  </a:lnTo>
                  <a:lnTo>
                    <a:pt x="54" y="438"/>
                  </a:lnTo>
                  <a:lnTo>
                    <a:pt x="54" y="432"/>
                  </a:lnTo>
                  <a:lnTo>
                    <a:pt x="60" y="426"/>
                  </a:lnTo>
                  <a:lnTo>
                    <a:pt x="60" y="420"/>
                  </a:lnTo>
                  <a:lnTo>
                    <a:pt x="60" y="414"/>
                  </a:lnTo>
                  <a:lnTo>
                    <a:pt x="54" y="408"/>
                  </a:lnTo>
                  <a:lnTo>
                    <a:pt x="54" y="402"/>
                  </a:lnTo>
                  <a:lnTo>
                    <a:pt x="60" y="390"/>
                  </a:lnTo>
                  <a:lnTo>
                    <a:pt x="66" y="390"/>
                  </a:lnTo>
                  <a:lnTo>
                    <a:pt x="66" y="384"/>
                  </a:lnTo>
                  <a:lnTo>
                    <a:pt x="72" y="372"/>
                  </a:lnTo>
                  <a:lnTo>
                    <a:pt x="78" y="366"/>
                  </a:lnTo>
                  <a:lnTo>
                    <a:pt x="84" y="360"/>
                  </a:lnTo>
                  <a:lnTo>
                    <a:pt x="102" y="360"/>
                  </a:lnTo>
                  <a:lnTo>
                    <a:pt x="114" y="360"/>
                  </a:lnTo>
                  <a:lnTo>
                    <a:pt x="120" y="360"/>
                  </a:lnTo>
                  <a:lnTo>
                    <a:pt x="132" y="360"/>
                  </a:lnTo>
                  <a:lnTo>
                    <a:pt x="138" y="360"/>
                  </a:lnTo>
                  <a:lnTo>
                    <a:pt x="156" y="360"/>
                  </a:lnTo>
                  <a:lnTo>
                    <a:pt x="162" y="354"/>
                  </a:lnTo>
                  <a:lnTo>
                    <a:pt x="168" y="354"/>
                  </a:lnTo>
                  <a:lnTo>
                    <a:pt x="174" y="342"/>
                  </a:lnTo>
                  <a:lnTo>
                    <a:pt x="180" y="342"/>
                  </a:lnTo>
                  <a:lnTo>
                    <a:pt x="186" y="336"/>
                  </a:lnTo>
                  <a:lnTo>
                    <a:pt x="192" y="330"/>
                  </a:lnTo>
                  <a:lnTo>
                    <a:pt x="204" y="312"/>
                  </a:lnTo>
                  <a:lnTo>
                    <a:pt x="210" y="312"/>
                  </a:lnTo>
                  <a:lnTo>
                    <a:pt x="216" y="306"/>
                  </a:lnTo>
                  <a:lnTo>
                    <a:pt x="216" y="300"/>
                  </a:lnTo>
                  <a:lnTo>
                    <a:pt x="222" y="288"/>
                  </a:lnTo>
                  <a:lnTo>
                    <a:pt x="234" y="288"/>
                  </a:lnTo>
                  <a:lnTo>
                    <a:pt x="240" y="282"/>
                  </a:lnTo>
                  <a:lnTo>
                    <a:pt x="246" y="282"/>
                  </a:lnTo>
                  <a:lnTo>
                    <a:pt x="252" y="282"/>
                  </a:lnTo>
                  <a:lnTo>
                    <a:pt x="264" y="276"/>
                  </a:lnTo>
                  <a:lnTo>
                    <a:pt x="270" y="270"/>
                  </a:lnTo>
                  <a:lnTo>
                    <a:pt x="276" y="264"/>
                  </a:lnTo>
                  <a:lnTo>
                    <a:pt x="282" y="264"/>
                  </a:lnTo>
                  <a:lnTo>
                    <a:pt x="306" y="240"/>
                  </a:lnTo>
                  <a:lnTo>
                    <a:pt x="312" y="240"/>
                  </a:lnTo>
                  <a:lnTo>
                    <a:pt x="318" y="234"/>
                  </a:lnTo>
                  <a:lnTo>
                    <a:pt x="330" y="234"/>
                  </a:lnTo>
                  <a:lnTo>
                    <a:pt x="336" y="234"/>
                  </a:lnTo>
                  <a:lnTo>
                    <a:pt x="336" y="246"/>
                  </a:lnTo>
                  <a:lnTo>
                    <a:pt x="342" y="246"/>
                  </a:lnTo>
                  <a:lnTo>
                    <a:pt x="348" y="252"/>
                  </a:lnTo>
                  <a:lnTo>
                    <a:pt x="372" y="252"/>
                  </a:lnTo>
                  <a:lnTo>
                    <a:pt x="396" y="246"/>
                  </a:lnTo>
                  <a:lnTo>
                    <a:pt x="402" y="246"/>
                  </a:lnTo>
                  <a:lnTo>
                    <a:pt x="414" y="240"/>
                  </a:lnTo>
                  <a:lnTo>
                    <a:pt x="444" y="216"/>
                  </a:lnTo>
                  <a:lnTo>
                    <a:pt x="480" y="204"/>
                  </a:lnTo>
                  <a:lnTo>
                    <a:pt x="600" y="150"/>
                  </a:lnTo>
                  <a:lnTo>
                    <a:pt x="648" y="126"/>
                  </a:lnTo>
                  <a:lnTo>
                    <a:pt x="702" y="96"/>
                  </a:lnTo>
                  <a:lnTo>
                    <a:pt x="708" y="54"/>
                  </a:lnTo>
                  <a:lnTo>
                    <a:pt x="720" y="24"/>
                  </a:lnTo>
                  <a:lnTo>
                    <a:pt x="738" y="12"/>
                  </a:lnTo>
                  <a:lnTo>
                    <a:pt x="768" y="0"/>
                  </a:lnTo>
                  <a:lnTo>
                    <a:pt x="792" y="6"/>
                  </a:lnTo>
                  <a:lnTo>
                    <a:pt x="804" y="12"/>
                  </a:lnTo>
                  <a:lnTo>
                    <a:pt x="834" y="48"/>
                  </a:lnTo>
                  <a:lnTo>
                    <a:pt x="834" y="60"/>
                  </a:lnTo>
                  <a:lnTo>
                    <a:pt x="852" y="84"/>
                  </a:lnTo>
                  <a:lnTo>
                    <a:pt x="864" y="96"/>
                  </a:lnTo>
                  <a:lnTo>
                    <a:pt x="888" y="102"/>
                  </a:lnTo>
                  <a:lnTo>
                    <a:pt x="978" y="120"/>
                  </a:lnTo>
                  <a:lnTo>
                    <a:pt x="984" y="126"/>
                  </a:lnTo>
                  <a:lnTo>
                    <a:pt x="984" y="132"/>
                  </a:lnTo>
                  <a:lnTo>
                    <a:pt x="996" y="138"/>
                  </a:lnTo>
                  <a:lnTo>
                    <a:pt x="1038" y="126"/>
                  </a:lnTo>
                  <a:lnTo>
                    <a:pt x="1056" y="114"/>
                  </a:lnTo>
                  <a:lnTo>
                    <a:pt x="1068" y="126"/>
                  </a:lnTo>
                  <a:lnTo>
                    <a:pt x="1074" y="132"/>
                  </a:lnTo>
                  <a:lnTo>
                    <a:pt x="1068" y="138"/>
                  </a:lnTo>
                  <a:lnTo>
                    <a:pt x="1056" y="150"/>
                  </a:lnTo>
                  <a:lnTo>
                    <a:pt x="1038" y="162"/>
                  </a:lnTo>
                  <a:lnTo>
                    <a:pt x="1038" y="168"/>
                  </a:lnTo>
                  <a:lnTo>
                    <a:pt x="1020" y="174"/>
                  </a:lnTo>
                  <a:lnTo>
                    <a:pt x="1014" y="180"/>
                  </a:lnTo>
                  <a:lnTo>
                    <a:pt x="1008" y="186"/>
                  </a:lnTo>
                  <a:lnTo>
                    <a:pt x="1002" y="198"/>
                  </a:lnTo>
                  <a:lnTo>
                    <a:pt x="984" y="204"/>
                  </a:lnTo>
                  <a:lnTo>
                    <a:pt x="984" y="246"/>
                  </a:lnTo>
                  <a:lnTo>
                    <a:pt x="978" y="270"/>
                  </a:lnTo>
                  <a:lnTo>
                    <a:pt x="990" y="306"/>
                  </a:lnTo>
                  <a:lnTo>
                    <a:pt x="990" y="324"/>
                  </a:lnTo>
                  <a:lnTo>
                    <a:pt x="1002" y="336"/>
                  </a:lnTo>
                  <a:lnTo>
                    <a:pt x="1020" y="372"/>
                  </a:lnTo>
                  <a:lnTo>
                    <a:pt x="1014" y="378"/>
                  </a:lnTo>
                  <a:lnTo>
                    <a:pt x="1014" y="384"/>
                  </a:lnTo>
                  <a:lnTo>
                    <a:pt x="1020" y="384"/>
                  </a:lnTo>
                  <a:lnTo>
                    <a:pt x="1020" y="396"/>
                  </a:lnTo>
                  <a:lnTo>
                    <a:pt x="1062" y="468"/>
                  </a:lnTo>
                  <a:lnTo>
                    <a:pt x="1092" y="522"/>
                  </a:lnTo>
                  <a:lnTo>
                    <a:pt x="1110" y="546"/>
                  </a:lnTo>
                  <a:lnTo>
                    <a:pt x="1122" y="564"/>
                  </a:lnTo>
                  <a:lnTo>
                    <a:pt x="1134" y="576"/>
                  </a:lnTo>
                  <a:lnTo>
                    <a:pt x="1146" y="582"/>
                  </a:lnTo>
                  <a:lnTo>
                    <a:pt x="1146" y="588"/>
                  </a:lnTo>
                  <a:lnTo>
                    <a:pt x="1164" y="600"/>
                  </a:lnTo>
                  <a:lnTo>
                    <a:pt x="1170" y="612"/>
                  </a:lnTo>
                  <a:lnTo>
                    <a:pt x="1170" y="624"/>
                  </a:lnTo>
                  <a:lnTo>
                    <a:pt x="1176" y="654"/>
                  </a:lnTo>
                  <a:lnTo>
                    <a:pt x="1176" y="666"/>
                  </a:lnTo>
                  <a:lnTo>
                    <a:pt x="1182" y="684"/>
                  </a:lnTo>
                  <a:lnTo>
                    <a:pt x="1194" y="696"/>
                  </a:lnTo>
                  <a:lnTo>
                    <a:pt x="1212" y="696"/>
                  </a:lnTo>
                  <a:lnTo>
                    <a:pt x="1206" y="762"/>
                  </a:lnTo>
                  <a:lnTo>
                    <a:pt x="1200" y="768"/>
                  </a:lnTo>
                  <a:lnTo>
                    <a:pt x="1194" y="768"/>
                  </a:lnTo>
                  <a:lnTo>
                    <a:pt x="1194" y="774"/>
                  </a:lnTo>
                  <a:lnTo>
                    <a:pt x="1188" y="774"/>
                  </a:lnTo>
                  <a:lnTo>
                    <a:pt x="1182" y="780"/>
                  </a:lnTo>
                  <a:lnTo>
                    <a:pt x="1176" y="780"/>
                  </a:lnTo>
                  <a:lnTo>
                    <a:pt x="1170" y="780"/>
                  </a:lnTo>
                  <a:lnTo>
                    <a:pt x="1164" y="786"/>
                  </a:lnTo>
                  <a:lnTo>
                    <a:pt x="1158" y="786"/>
                  </a:lnTo>
                  <a:lnTo>
                    <a:pt x="1152" y="786"/>
                  </a:lnTo>
                  <a:lnTo>
                    <a:pt x="1140" y="786"/>
                  </a:lnTo>
                  <a:lnTo>
                    <a:pt x="1134" y="786"/>
                  </a:lnTo>
                  <a:lnTo>
                    <a:pt x="1134" y="780"/>
                  </a:lnTo>
                  <a:lnTo>
                    <a:pt x="1122" y="780"/>
                  </a:lnTo>
                  <a:lnTo>
                    <a:pt x="1116" y="786"/>
                  </a:lnTo>
                  <a:lnTo>
                    <a:pt x="1116" y="792"/>
                  </a:lnTo>
                  <a:lnTo>
                    <a:pt x="1122" y="804"/>
                  </a:lnTo>
                  <a:lnTo>
                    <a:pt x="1128" y="804"/>
                  </a:lnTo>
                  <a:lnTo>
                    <a:pt x="1128" y="816"/>
                  </a:lnTo>
                  <a:lnTo>
                    <a:pt x="1122" y="822"/>
                  </a:lnTo>
                  <a:lnTo>
                    <a:pt x="1116" y="816"/>
                  </a:lnTo>
                  <a:lnTo>
                    <a:pt x="1110" y="816"/>
                  </a:lnTo>
                  <a:lnTo>
                    <a:pt x="1104" y="816"/>
                  </a:lnTo>
                  <a:lnTo>
                    <a:pt x="1098" y="816"/>
                  </a:lnTo>
                  <a:lnTo>
                    <a:pt x="1098" y="822"/>
                  </a:lnTo>
                  <a:lnTo>
                    <a:pt x="1092" y="834"/>
                  </a:lnTo>
                  <a:lnTo>
                    <a:pt x="1092" y="840"/>
                  </a:lnTo>
                  <a:lnTo>
                    <a:pt x="1074" y="840"/>
                  </a:lnTo>
                  <a:lnTo>
                    <a:pt x="1074" y="828"/>
                  </a:lnTo>
                  <a:lnTo>
                    <a:pt x="1062" y="804"/>
                  </a:lnTo>
                  <a:lnTo>
                    <a:pt x="1056" y="792"/>
                  </a:lnTo>
                  <a:lnTo>
                    <a:pt x="1056" y="786"/>
                  </a:lnTo>
                  <a:lnTo>
                    <a:pt x="1026" y="780"/>
                  </a:lnTo>
                  <a:lnTo>
                    <a:pt x="1026" y="768"/>
                  </a:lnTo>
                  <a:lnTo>
                    <a:pt x="1008" y="768"/>
                  </a:lnTo>
                  <a:lnTo>
                    <a:pt x="1002" y="780"/>
                  </a:lnTo>
                  <a:lnTo>
                    <a:pt x="996" y="792"/>
                  </a:lnTo>
                  <a:lnTo>
                    <a:pt x="978" y="798"/>
                  </a:lnTo>
                  <a:lnTo>
                    <a:pt x="972" y="810"/>
                  </a:lnTo>
                  <a:lnTo>
                    <a:pt x="972" y="822"/>
                  </a:lnTo>
                  <a:lnTo>
                    <a:pt x="978" y="828"/>
                  </a:lnTo>
                  <a:lnTo>
                    <a:pt x="978" y="834"/>
                  </a:lnTo>
                  <a:lnTo>
                    <a:pt x="960" y="840"/>
                  </a:lnTo>
                  <a:lnTo>
                    <a:pt x="936" y="840"/>
                  </a:lnTo>
                  <a:lnTo>
                    <a:pt x="918" y="846"/>
                  </a:lnTo>
                  <a:lnTo>
                    <a:pt x="912" y="840"/>
                  </a:lnTo>
                  <a:lnTo>
                    <a:pt x="912" y="834"/>
                  </a:lnTo>
                  <a:lnTo>
                    <a:pt x="906" y="834"/>
                  </a:lnTo>
                  <a:lnTo>
                    <a:pt x="906" y="840"/>
                  </a:lnTo>
                  <a:lnTo>
                    <a:pt x="900" y="846"/>
                  </a:lnTo>
                  <a:lnTo>
                    <a:pt x="906" y="852"/>
                  </a:lnTo>
                  <a:lnTo>
                    <a:pt x="900" y="864"/>
                  </a:lnTo>
                  <a:lnTo>
                    <a:pt x="900" y="876"/>
                  </a:lnTo>
                  <a:lnTo>
                    <a:pt x="900" y="882"/>
                  </a:lnTo>
                  <a:lnTo>
                    <a:pt x="894" y="888"/>
                  </a:lnTo>
                  <a:lnTo>
                    <a:pt x="900" y="900"/>
                  </a:lnTo>
                  <a:lnTo>
                    <a:pt x="900" y="906"/>
                  </a:lnTo>
                  <a:lnTo>
                    <a:pt x="894" y="906"/>
                  </a:lnTo>
                  <a:lnTo>
                    <a:pt x="894" y="912"/>
                  </a:lnTo>
                  <a:lnTo>
                    <a:pt x="900" y="918"/>
                  </a:lnTo>
                  <a:lnTo>
                    <a:pt x="900" y="924"/>
                  </a:lnTo>
                  <a:lnTo>
                    <a:pt x="900" y="948"/>
                  </a:lnTo>
                  <a:lnTo>
                    <a:pt x="888" y="948"/>
                  </a:lnTo>
                  <a:lnTo>
                    <a:pt x="888" y="954"/>
                  </a:lnTo>
                  <a:lnTo>
                    <a:pt x="894" y="954"/>
                  </a:lnTo>
                  <a:lnTo>
                    <a:pt x="900" y="960"/>
                  </a:lnTo>
                  <a:lnTo>
                    <a:pt x="900" y="972"/>
                  </a:lnTo>
                  <a:lnTo>
                    <a:pt x="906" y="984"/>
                  </a:lnTo>
                  <a:lnTo>
                    <a:pt x="912" y="984"/>
                  </a:lnTo>
                  <a:lnTo>
                    <a:pt x="918" y="990"/>
                  </a:lnTo>
                  <a:lnTo>
                    <a:pt x="936" y="990"/>
                  </a:lnTo>
                  <a:lnTo>
                    <a:pt x="936" y="996"/>
                  </a:lnTo>
                  <a:lnTo>
                    <a:pt x="942" y="996"/>
                  </a:lnTo>
                  <a:lnTo>
                    <a:pt x="942" y="1002"/>
                  </a:lnTo>
                  <a:lnTo>
                    <a:pt x="942" y="1008"/>
                  </a:lnTo>
                  <a:lnTo>
                    <a:pt x="948" y="1008"/>
                  </a:lnTo>
                  <a:lnTo>
                    <a:pt x="948" y="1014"/>
                  </a:lnTo>
                  <a:lnTo>
                    <a:pt x="948" y="1020"/>
                  </a:lnTo>
                  <a:lnTo>
                    <a:pt x="954" y="1032"/>
                  </a:lnTo>
                  <a:lnTo>
                    <a:pt x="948" y="1038"/>
                  </a:lnTo>
                  <a:lnTo>
                    <a:pt x="954" y="1044"/>
                  </a:lnTo>
                  <a:lnTo>
                    <a:pt x="954" y="1056"/>
                  </a:lnTo>
                  <a:lnTo>
                    <a:pt x="960" y="1056"/>
                  </a:lnTo>
                  <a:lnTo>
                    <a:pt x="960" y="1062"/>
                  </a:lnTo>
                  <a:lnTo>
                    <a:pt x="954" y="1068"/>
                  </a:lnTo>
                  <a:lnTo>
                    <a:pt x="948" y="1074"/>
                  </a:lnTo>
                  <a:lnTo>
                    <a:pt x="948" y="1080"/>
                  </a:lnTo>
                  <a:lnTo>
                    <a:pt x="948" y="1086"/>
                  </a:lnTo>
                  <a:lnTo>
                    <a:pt x="942" y="1092"/>
                  </a:lnTo>
                  <a:lnTo>
                    <a:pt x="942" y="1098"/>
                  </a:lnTo>
                  <a:lnTo>
                    <a:pt x="942" y="1104"/>
                  </a:lnTo>
                  <a:lnTo>
                    <a:pt x="942" y="1110"/>
                  </a:lnTo>
                  <a:lnTo>
                    <a:pt x="936" y="1116"/>
                  </a:lnTo>
                  <a:lnTo>
                    <a:pt x="936" y="1122"/>
                  </a:lnTo>
                  <a:lnTo>
                    <a:pt x="936" y="1128"/>
                  </a:lnTo>
                  <a:lnTo>
                    <a:pt x="936" y="1134"/>
                  </a:lnTo>
                  <a:lnTo>
                    <a:pt x="942" y="1146"/>
                  </a:lnTo>
                  <a:lnTo>
                    <a:pt x="936" y="1158"/>
                  </a:lnTo>
                  <a:lnTo>
                    <a:pt x="936" y="1170"/>
                  </a:lnTo>
                  <a:lnTo>
                    <a:pt x="936" y="1194"/>
                  </a:lnTo>
                  <a:lnTo>
                    <a:pt x="930" y="1200"/>
                  </a:lnTo>
                  <a:lnTo>
                    <a:pt x="930" y="1212"/>
                  </a:lnTo>
                  <a:lnTo>
                    <a:pt x="918" y="1218"/>
                  </a:lnTo>
                  <a:lnTo>
                    <a:pt x="918" y="1230"/>
                  </a:lnTo>
                  <a:lnTo>
                    <a:pt x="906" y="1230"/>
                  </a:lnTo>
                  <a:lnTo>
                    <a:pt x="900" y="1254"/>
                  </a:lnTo>
                  <a:lnTo>
                    <a:pt x="900" y="1260"/>
                  </a:lnTo>
                  <a:lnTo>
                    <a:pt x="900" y="1266"/>
                  </a:lnTo>
                  <a:lnTo>
                    <a:pt x="900" y="1272"/>
                  </a:lnTo>
                  <a:lnTo>
                    <a:pt x="900" y="1278"/>
                  </a:lnTo>
                  <a:lnTo>
                    <a:pt x="900" y="1284"/>
                  </a:lnTo>
                  <a:lnTo>
                    <a:pt x="906" y="1290"/>
                  </a:lnTo>
                  <a:close/>
                </a:path>
              </a:pathLst>
            </a:custGeom>
            <a:solidFill>
              <a:srgbClr val="FFC000"/>
            </a:solidFill>
            <a:ln w="9525">
              <a:solidFill>
                <a:schemeClr val="bg1"/>
              </a:solidFill>
              <a:round/>
              <a:headEnd/>
              <a:tailEnd/>
            </a:ln>
          </p:spPr>
          <p:txBody>
            <a:bodyPr/>
            <a:lstStyle/>
            <a:p>
              <a:endParaRPr lang="en-GB"/>
            </a:p>
          </p:txBody>
        </p:sp>
        <p:sp>
          <p:nvSpPr>
            <p:cNvPr id="19481" name="Freeform 5"/>
            <p:cNvSpPr>
              <a:spLocks noEditPoints="1"/>
            </p:cNvSpPr>
            <p:nvPr/>
          </p:nvSpPr>
          <p:spPr bwMode="gray">
            <a:xfrm>
              <a:off x="2780090" y="5602114"/>
              <a:ext cx="614803" cy="574894"/>
            </a:xfrm>
            <a:custGeom>
              <a:avLst/>
              <a:gdLst>
                <a:gd name="T0" fmla="*/ 9386 w 786"/>
                <a:gd name="T1" fmla="*/ 15298 h 714"/>
                <a:gd name="T2" fmla="*/ 17208 w 786"/>
                <a:gd name="T3" fmla="*/ 14493 h 714"/>
                <a:gd name="T4" fmla="*/ 21119 w 786"/>
                <a:gd name="T5" fmla="*/ 13688 h 714"/>
                <a:gd name="T6" fmla="*/ 23466 w 786"/>
                <a:gd name="T7" fmla="*/ 11272 h 714"/>
                <a:gd name="T8" fmla="*/ 28941 w 786"/>
                <a:gd name="T9" fmla="*/ 12883 h 714"/>
                <a:gd name="T10" fmla="*/ 33634 w 786"/>
                <a:gd name="T11" fmla="*/ 10467 h 714"/>
                <a:gd name="T12" fmla="*/ 37545 w 786"/>
                <a:gd name="T13" fmla="*/ 6441 h 714"/>
                <a:gd name="T14" fmla="*/ 43021 w 786"/>
                <a:gd name="T15" fmla="*/ 3221 h 714"/>
                <a:gd name="T16" fmla="*/ 51625 w 786"/>
                <a:gd name="T17" fmla="*/ 0 h 714"/>
                <a:gd name="T18" fmla="*/ 49278 w 786"/>
                <a:gd name="T19" fmla="*/ 9662 h 714"/>
                <a:gd name="T20" fmla="*/ 46149 w 786"/>
                <a:gd name="T21" fmla="*/ 15298 h 714"/>
                <a:gd name="T22" fmla="*/ 44585 w 786"/>
                <a:gd name="T23" fmla="*/ 23350 h 714"/>
                <a:gd name="T24" fmla="*/ 46149 w 786"/>
                <a:gd name="T25" fmla="*/ 28986 h 714"/>
                <a:gd name="T26" fmla="*/ 51625 w 786"/>
                <a:gd name="T27" fmla="*/ 28181 h 714"/>
                <a:gd name="T28" fmla="*/ 50060 w 786"/>
                <a:gd name="T29" fmla="*/ 33012 h 714"/>
                <a:gd name="T30" fmla="*/ 50060 w 786"/>
                <a:gd name="T31" fmla="*/ 38648 h 714"/>
                <a:gd name="T32" fmla="*/ 49278 w 786"/>
                <a:gd name="T33" fmla="*/ 45090 h 714"/>
                <a:gd name="T34" fmla="*/ 46932 w 786"/>
                <a:gd name="T35" fmla="*/ 48310 h 714"/>
                <a:gd name="T36" fmla="*/ 44585 w 786"/>
                <a:gd name="T37" fmla="*/ 46700 h 714"/>
                <a:gd name="T38" fmla="*/ 42238 w 786"/>
                <a:gd name="T39" fmla="*/ 43479 h 714"/>
                <a:gd name="T40" fmla="*/ 41456 w 786"/>
                <a:gd name="T41" fmla="*/ 41064 h 714"/>
                <a:gd name="T42" fmla="*/ 39892 w 786"/>
                <a:gd name="T43" fmla="*/ 42674 h 714"/>
                <a:gd name="T44" fmla="*/ 38327 w 786"/>
                <a:gd name="T45" fmla="*/ 43479 h 714"/>
                <a:gd name="T46" fmla="*/ 36763 w 786"/>
                <a:gd name="T47" fmla="*/ 40259 h 714"/>
                <a:gd name="T48" fmla="*/ 37545 w 786"/>
                <a:gd name="T49" fmla="*/ 43479 h 714"/>
                <a:gd name="T50" fmla="*/ 36763 w 786"/>
                <a:gd name="T51" fmla="*/ 43479 h 714"/>
                <a:gd name="T52" fmla="*/ 35981 w 786"/>
                <a:gd name="T53" fmla="*/ 47505 h 714"/>
                <a:gd name="T54" fmla="*/ 36763 w 786"/>
                <a:gd name="T55" fmla="*/ 49921 h 714"/>
                <a:gd name="T56" fmla="*/ 32852 w 786"/>
                <a:gd name="T57" fmla="*/ 49921 h 714"/>
                <a:gd name="T58" fmla="*/ 30505 w 786"/>
                <a:gd name="T59" fmla="*/ 45895 h 714"/>
                <a:gd name="T60" fmla="*/ 31288 w 786"/>
                <a:gd name="T61" fmla="*/ 43479 h 714"/>
                <a:gd name="T62" fmla="*/ 33634 w 786"/>
                <a:gd name="T63" fmla="*/ 44285 h 714"/>
                <a:gd name="T64" fmla="*/ 31288 w 786"/>
                <a:gd name="T65" fmla="*/ 42674 h 714"/>
                <a:gd name="T66" fmla="*/ 29723 w 786"/>
                <a:gd name="T67" fmla="*/ 45895 h 714"/>
                <a:gd name="T68" fmla="*/ 28941 w 786"/>
                <a:gd name="T69" fmla="*/ 45895 h 714"/>
                <a:gd name="T70" fmla="*/ 28941 w 786"/>
                <a:gd name="T71" fmla="*/ 48310 h 714"/>
                <a:gd name="T72" fmla="*/ 25812 w 786"/>
                <a:gd name="T73" fmla="*/ 45090 h 714"/>
                <a:gd name="T74" fmla="*/ 25030 w 786"/>
                <a:gd name="T75" fmla="*/ 46700 h 714"/>
                <a:gd name="T76" fmla="*/ 20337 w 786"/>
                <a:gd name="T77" fmla="*/ 43479 h 714"/>
                <a:gd name="T78" fmla="*/ 20337 w 786"/>
                <a:gd name="T79" fmla="*/ 43479 h 714"/>
                <a:gd name="T80" fmla="*/ 18773 w 786"/>
                <a:gd name="T81" fmla="*/ 41064 h 714"/>
                <a:gd name="T82" fmla="*/ 17208 w 786"/>
                <a:gd name="T83" fmla="*/ 41064 h 714"/>
                <a:gd name="T84" fmla="*/ 15644 w 786"/>
                <a:gd name="T85" fmla="*/ 40259 h 714"/>
                <a:gd name="T86" fmla="*/ 15644 w 786"/>
                <a:gd name="T87" fmla="*/ 38648 h 714"/>
                <a:gd name="T88" fmla="*/ 14079 w 786"/>
                <a:gd name="T89" fmla="*/ 37843 h 714"/>
                <a:gd name="T90" fmla="*/ 11733 w 786"/>
                <a:gd name="T91" fmla="*/ 36233 h 714"/>
                <a:gd name="T92" fmla="*/ 8604 w 786"/>
                <a:gd name="T93" fmla="*/ 31402 h 714"/>
                <a:gd name="T94" fmla="*/ 9386 w 786"/>
                <a:gd name="T95" fmla="*/ 28986 h 714"/>
                <a:gd name="T96" fmla="*/ 5475 w 786"/>
                <a:gd name="T97" fmla="*/ 26571 h 714"/>
                <a:gd name="T98" fmla="*/ 3911 w 786"/>
                <a:gd name="T99" fmla="*/ 22545 h 714"/>
                <a:gd name="T100" fmla="*/ 5475 w 786"/>
                <a:gd name="T101" fmla="*/ 24155 h 714"/>
                <a:gd name="T102" fmla="*/ 3129 w 786"/>
                <a:gd name="T103" fmla="*/ 19324 h 714"/>
                <a:gd name="T104" fmla="*/ 1564 w 786"/>
                <a:gd name="T105" fmla="*/ 16103 h 714"/>
                <a:gd name="T106" fmla="*/ 0 w 786"/>
                <a:gd name="T107" fmla="*/ 12078 h 714"/>
                <a:gd name="T108" fmla="*/ 3129 w 786"/>
                <a:gd name="T109" fmla="*/ 12883 h 714"/>
                <a:gd name="T110" fmla="*/ 43021 w 786"/>
                <a:gd name="T111" fmla="*/ 48310 h 714"/>
                <a:gd name="T112" fmla="*/ 36763 w 786"/>
                <a:gd name="T113" fmla="*/ 48310 h 714"/>
                <a:gd name="T114" fmla="*/ 39892 w 786"/>
                <a:gd name="T115" fmla="*/ 43479 h 714"/>
                <a:gd name="T116" fmla="*/ 42238 w 786"/>
                <a:gd name="T117" fmla="*/ 45090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6"/>
                <a:gd name="T178" fmla="*/ 0 h 714"/>
                <a:gd name="T179" fmla="*/ 786 w 786"/>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6" h="714">
                  <a:moveTo>
                    <a:pt x="54" y="186"/>
                  </a:moveTo>
                  <a:lnTo>
                    <a:pt x="54" y="192"/>
                  </a:lnTo>
                  <a:lnTo>
                    <a:pt x="72" y="192"/>
                  </a:lnTo>
                  <a:lnTo>
                    <a:pt x="78" y="192"/>
                  </a:lnTo>
                  <a:lnTo>
                    <a:pt x="84" y="192"/>
                  </a:lnTo>
                  <a:lnTo>
                    <a:pt x="90" y="204"/>
                  </a:lnTo>
                  <a:lnTo>
                    <a:pt x="102" y="210"/>
                  </a:lnTo>
                  <a:lnTo>
                    <a:pt x="108" y="210"/>
                  </a:lnTo>
                  <a:lnTo>
                    <a:pt x="120" y="210"/>
                  </a:lnTo>
                  <a:lnTo>
                    <a:pt x="126" y="210"/>
                  </a:lnTo>
                  <a:lnTo>
                    <a:pt x="132" y="210"/>
                  </a:lnTo>
                  <a:lnTo>
                    <a:pt x="132" y="216"/>
                  </a:lnTo>
                  <a:lnTo>
                    <a:pt x="138" y="222"/>
                  </a:lnTo>
                  <a:lnTo>
                    <a:pt x="150" y="222"/>
                  </a:lnTo>
                  <a:lnTo>
                    <a:pt x="162" y="234"/>
                  </a:lnTo>
                  <a:lnTo>
                    <a:pt x="168" y="240"/>
                  </a:lnTo>
                  <a:lnTo>
                    <a:pt x="180" y="240"/>
                  </a:lnTo>
                  <a:lnTo>
                    <a:pt x="186" y="228"/>
                  </a:lnTo>
                  <a:lnTo>
                    <a:pt x="210" y="234"/>
                  </a:lnTo>
                  <a:lnTo>
                    <a:pt x="222" y="228"/>
                  </a:lnTo>
                  <a:lnTo>
                    <a:pt x="228" y="216"/>
                  </a:lnTo>
                  <a:lnTo>
                    <a:pt x="234" y="210"/>
                  </a:lnTo>
                  <a:lnTo>
                    <a:pt x="240" y="216"/>
                  </a:lnTo>
                  <a:lnTo>
                    <a:pt x="246" y="210"/>
                  </a:lnTo>
                  <a:lnTo>
                    <a:pt x="252" y="210"/>
                  </a:lnTo>
                  <a:lnTo>
                    <a:pt x="258" y="210"/>
                  </a:lnTo>
                  <a:lnTo>
                    <a:pt x="258" y="204"/>
                  </a:lnTo>
                  <a:lnTo>
                    <a:pt x="264" y="204"/>
                  </a:lnTo>
                  <a:lnTo>
                    <a:pt x="264" y="192"/>
                  </a:lnTo>
                  <a:lnTo>
                    <a:pt x="270" y="192"/>
                  </a:lnTo>
                  <a:lnTo>
                    <a:pt x="276" y="192"/>
                  </a:lnTo>
                  <a:lnTo>
                    <a:pt x="282" y="192"/>
                  </a:lnTo>
                  <a:lnTo>
                    <a:pt x="288" y="198"/>
                  </a:lnTo>
                  <a:lnTo>
                    <a:pt x="294" y="198"/>
                  </a:lnTo>
                  <a:lnTo>
                    <a:pt x="294" y="192"/>
                  </a:lnTo>
                  <a:lnTo>
                    <a:pt x="300" y="198"/>
                  </a:lnTo>
                  <a:lnTo>
                    <a:pt x="300" y="204"/>
                  </a:lnTo>
                  <a:lnTo>
                    <a:pt x="306" y="204"/>
                  </a:lnTo>
                  <a:lnTo>
                    <a:pt x="306" y="198"/>
                  </a:lnTo>
                  <a:lnTo>
                    <a:pt x="312" y="198"/>
                  </a:lnTo>
                  <a:lnTo>
                    <a:pt x="312" y="204"/>
                  </a:lnTo>
                  <a:lnTo>
                    <a:pt x="318" y="204"/>
                  </a:lnTo>
                  <a:lnTo>
                    <a:pt x="318" y="192"/>
                  </a:lnTo>
                  <a:lnTo>
                    <a:pt x="324" y="186"/>
                  </a:lnTo>
                  <a:lnTo>
                    <a:pt x="318" y="180"/>
                  </a:lnTo>
                  <a:lnTo>
                    <a:pt x="324" y="180"/>
                  </a:lnTo>
                  <a:lnTo>
                    <a:pt x="330" y="186"/>
                  </a:lnTo>
                  <a:lnTo>
                    <a:pt x="336" y="180"/>
                  </a:lnTo>
                  <a:lnTo>
                    <a:pt x="342" y="180"/>
                  </a:lnTo>
                  <a:lnTo>
                    <a:pt x="348" y="174"/>
                  </a:lnTo>
                  <a:lnTo>
                    <a:pt x="348" y="168"/>
                  </a:lnTo>
                  <a:lnTo>
                    <a:pt x="348" y="162"/>
                  </a:lnTo>
                  <a:lnTo>
                    <a:pt x="354" y="156"/>
                  </a:lnTo>
                  <a:lnTo>
                    <a:pt x="354" y="150"/>
                  </a:lnTo>
                  <a:lnTo>
                    <a:pt x="354" y="144"/>
                  </a:lnTo>
                  <a:lnTo>
                    <a:pt x="360" y="144"/>
                  </a:lnTo>
                  <a:lnTo>
                    <a:pt x="372" y="156"/>
                  </a:lnTo>
                  <a:lnTo>
                    <a:pt x="372" y="162"/>
                  </a:lnTo>
                  <a:lnTo>
                    <a:pt x="378" y="162"/>
                  </a:lnTo>
                  <a:lnTo>
                    <a:pt x="384" y="162"/>
                  </a:lnTo>
                  <a:lnTo>
                    <a:pt x="396" y="168"/>
                  </a:lnTo>
                  <a:lnTo>
                    <a:pt x="396" y="174"/>
                  </a:lnTo>
                  <a:lnTo>
                    <a:pt x="408" y="186"/>
                  </a:lnTo>
                  <a:lnTo>
                    <a:pt x="414" y="186"/>
                  </a:lnTo>
                  <a:lnTo>
                    <a:pt x="426" y="186"/>
                  </a:lnTo>
                  <a:lnTo>
                    <a:pt x="432" y="186"/>
                  </a:lnTo>
                  <a:lnTo>
                    <a:pt x="438" y="180"/>
                  </a:lnTo>
                  <a:lnTo>
                    <a:pt x="438" y="168"/>
                  </a:lnTo>
                  <a:lnTo>
                    <a:pt x="438" y="162"/>
                  </a:lnTo>
                  <a:lnTo>
                    <a:pt x="444" y="156"/>
                  </a:lnTo>
                  <a:lnTo>
                    <a:pt x="450" y="156"/>
                  </a:lnTo>
                  <a:lnTo>
                    <a:pt x="456" y="150"/>
                  </a:lnTo>
                  <a:lnTo>
                    <a:pt x="462" y="156"/>
                  </a:lnTo>
                  <a:lnTo>
                    <a:pt x="468" y="162"/>
                  </a:lnTo>
                  <a:lnTo>
                    <a:pt x="474" y="162"/>
                  </a:lnTo>
                  <a:lnTo>
                    <a:pt x="486" y="162"/>
                  </a:lnTo>
                  <a:lnTo>
                    <a:pt x="492" y="156"/>
                  </a:lnTo>
                  <a:lnTo>
                    <a:pt x="498" y="150"/>
                  </a:lnTo>
                  <a:lnTo>
                    <a:pt x="504" y="150"/>
                  </a:lnTo>
                  <a:lnTo>
                    <a:pt x="510" y="144"/>
                  </a:lnTo>
                  <a:lnTo>
                    <a:pt x="522" y="144"/>
                  </a:lnTo>
                  <a:lnTo>
                    <a:pt x="528" y="138"/>
                  </a:lnTo>
                  <a:lnTo>
                    <a:pt x="528" y="132"/>
                  </a:lnTo>
                  <a:lnTo>
                    <a:pt x="528" y="126"/>
                  </a:lnTo>
                  <a:lnTo>
                    <a:pt x="522" y="120"/>
                  </a:lnTo>
                  <a:lnTo>
                    <a:pt x="522" y="114"/>
                  </a:lnTo>
                  <a:lnTo>
                    <a:pt x="522" y="108"/>
                  </a:lnTo>
                  <a:lnTo>
                    <a:pt x="522" y="102"/>
                  </a:lnTo>
                  <a:lnTo>
                    <a:pt x="528" y="102"/>
                  </a:lnTo>
                  <a:lnTo>
                    <a:pt x="534" y="96"/>
                  </a:lnTo>
                  <a:lnTo>
                    <a:pt x="552" y="96"/>
                  </a:lnTo>
                  <a:lnTo>
                    <a:pt x="570" y="102"/>
                  </a:lnTo>
                  <a:lnTo>
                    <a:pt x="582" y="96"/>
                  </a:lnTo>
                  <a:lnTo>
                    <a:pt x="582" y="90"/>
                  </a:lnTo>
                  <a:lnTo>
                    <a:pt x="582" y="78"/>
                  </a:lnTo>
                  <a:lnTo>
                    <a:pt x="582" y="72"/>
                  </a:lnTo>
                  <a:lnTo>
                    <a:pt x="582" y="66"/>
                  </a:lnTo>
                  <a:lnTo>
                    <a:pt x="594" y="60"/>
                  </a:lnTo>
                  <a:lnTo>
                    <a:pt x="600" y="60"/>
                  </a:lnTo>
                  <a:lnTo>
                    <a:pt x="606" y="54"/>
                  </a:lnTo>
                  <a:lnTo>
                    <a:pt x="618" y="48"/>
                  </a:lnTo>
                  <a:lnTo>
                    <a:pt x="618" y="42"/>
                  </a:lnTo>
                  <a:lnTo>
                    <a:pt x="624" y="42"/>
                  </a:lnTo>
                  <a:lnTo>
                    <a:pt x="636" y="48"/>
                  </a:lnTo>
                  <a:lnTo>
                    <a:pt x="648" y="54"/>
                  </a:lnTo>
                  <a:lnTo>
                    <a:pt x="660" y="54"/>
                  </a:lnTo>
                  <a:lnTo>
                    <a:pt x="666" y="60"/>
                  </a:lnTo>
                  <a:lnTo>
                    <a:pt x="672" y="54"/>
                  </a:lnTo>
                  <a:lnTo>
                    <a:pt x="684" y="48"/>
                  </a:lnTo>
                  <a:lnTo>
                    <a:pt x="708" y="42"/>
                  </a:lnTo>
                  <a:lnTo>
                    <a:pt x="714" y="42"/>
                  </a:lnTo>
                  <a:lnTo>
                    <a:pt x="720" y="36"/>
                  </a:lnTo>
                  <a:lnTo>
                    <a:pt x="720" y="30"/>
                  </a:lnTo>
                  <a:lnTo>
                    <a:pt x="714" y="12"/>
                  </a:lnTo>
                  <a:lnTo>
                    <a:pt x="708" y="0"/>
                  </a:lnTo>
                  <a:lnTo>
                    <a:pt x="738" y="6"/>
                  </a:lnTo>
                  <a:lnTo>
                    <a:pt x="756" y="6"/>
                  </a:lnTo>
                  <a:lnTo>
                    <a:pt x="762" y="42"/>
                  </a:lnTo>
                  <a:lnTo>
                    <a:pt x="738" y="72"/>
                  </a:lnTo>
                  <a:lnTo>
                    <a:pt x="750" y="90"/>
                  </a:lnTo>
                  <a:lnTo>
                    <a:pt x="762" y="96"/>
                  </a:lnTo>
                  <a:lnTo>
                    <a:pt x="756" y="102"/>
                  </a:lnTo>
                  <a:lnTo>
                    <a:pt x="750" y="108"/>
                  </a:lnTo>
                  <a:lnTo>
                    <a:pt x="750" y="114"/>
                  </a:lnTo>
                  <a:lnTo>
                    <a:pt x="750" y="120"/>
                  </a:lnTo>
                  <a:lnTo>
                    <a:pt x="750" y="126"/>
                  </a:lnTo>
                  <a:lnTo>
                    <a:pt x="750" y="132"/>
                  </a:lnTo>
                  <a:lnTo>
                    <a:pt x="738" y="132"/>
                  </a:lnTo>
                  <a:lnTo>
                    <a:pt x="732" y="138"/>
                  </a:lnTo>
                  <a:lnTo>
                    <a:pt x="726" y="138"/>
                  </a:lnTo>
                  <a:lnTo>
                    <a:pt x="720" y="144"/>
                  </a:lnTo>
                  <a:lnTo>
                    <a:pt x="714" y="144"/>
                  </a:lnTo>
                  <a:lnTo>
                    <a:pt x="714" y="150"/>
                  </a:lnTo>
                  <a:lnTo>
                    <a:pt x="720" y="156"/>
                  </a:lnTo>
                  <a:lnTo>
                    <a:pt x="720" y="162"/>
                  </a:lnTo>
                  <a:lnTo>
                    <a:pt x="714" y="162"/>
                  </a:lnTo>
                  <a:lnTo>
                    <a:pt x="708" y="168"/>
                  </a:lnTo>
                  <a:lnTo>
                    <a:pt x="708" y="180"/>
                  </a:lnTo>
                  <a:lnTo>
                    <a:pt x="708" y="192"/>
                  </a:lnTo>
                  <a:lnTo>
                    <a:pt x="696" y="198"/>
                  </a:lnTo>
                  <a:lnTo>
                    <a:pt x="696" y="204"/>
                  </a:lnTo>
                  <a:lnTo>
                    <a:pt x="684" y="210"/>
                  </a:lnTo>
                  <a:lnTo>
                    <a:pt x="684" y="216"/>
                  </a:lnTo>
                  <a:lnTo>
                    <a:pt x="684" y="222"/>
                  </a:lnTo>
                  <a:lnTo>
                    <a:pt x="678" y="228"/>
                  </a:lnTo>
                  <a:lnTo>
                    <a:pt x="678" y="234"/>
                  </a:lnTo>
                  <a:lnTo>
                    <a:pt x="672" y="240"/>
                  </a:lnTo>
                  <a:lnTo>
                    <a:pt x="672" y="252"/>
                  </a:lnTo>
                  <a:lnTo>
                    <a:pt x="672" y="258"/>
                  </a:lnTo>
                  <a:lnTo>
                    <a:pt x="666" y="264"/>
                  </a:lnTo>
                  <a:lnTo>
                    <a:pt x="678" y="264"/>
                  </a:lnTo>
                  <a:lnTo>
                    <a:pt x="684" y="276"/>
                  </a:lnTo>
                  <a:lnTo>
                    <a:pt x="684" y="288"/>
                  </a:lnTo>
                  <a:lnTo>
                    <a:pt x="672" y="300"/>
                  </a:lnTo>
                  <a:lnTo>
                    <a:pt x="660" y="318"/>
                  </a:lnTo>
                  <a:lnTo>
                    <a:pt x="660" y="336"/>
                  </a:lnTo>
                  <a:lnTo>
                    <a:pt x="654" y="342"/>
                  </a:lnTo>
                  <a:lnTo>
                    <a:pt x="660" y="354"/>
                  </a:lnTo>
                  <a:lnTo>
                    <a:pt x="660" y="366"/>
                  </a:lnTo>
                  <a:lnTo>
                    <a:pt x="666" y="378"/>
                  </a:lnTo>
                  <a:lnTo>
                    <a:pt x="672" y="390"/>
                  </a:lnTo>
                  <a:lnTo>
                    <a:pt x="678" y="396"/>
                  </a:lnTo>
                  <a:lnTo>
                    <a:pt x="684" y="390"/>
                  </a:lnTo>
                  <a:lnTo>
                    <a:pt x="690" y="390"/>
                  </a:lnTo>
                  <a:lnTo>
                    <a:pt x="690" y="396"/>
                  </a:lnTo>
                  <a:lnTo>
                    <a:pt x="684" y="396"/>
                  </a:lnTo>
                  <a:lnTo>
                    <a:pt x="684" y="402"/>
                  </a:lnTo>
                  <a:lnTo>
                    <a:pt x="684" y="408"/>
                  </a:lnTo>
                  <a:lnTo>
                    <a:pt x="678" y="414"/>
                  </a:lnTo>
                  <a:lnTo>
                    <a:pt x="684" y="414"/>
                  </a:lnTo>
                  <a:lnTo>
                    <a:pt x="684" y="420"/>
                  </a:lnTo>
                  <a:lnTo>
                    <a:pt x="684" y="426"/>
                  </a:lnTo>
                  <a:lnTo>
                    <a:pt x="690" y="420"/>
                  </a:lnTo>
                  <a:lnTo>
                    <a:pt x="696" y="420"/>
                  </a:lnTo>
                  <a:lnTo>
                    <a:pt x="696" y="426"/>
                  </a:lnTo>
                  <a:lnTo>
                    <a:pt x="690" y="426"/>
                  </a:lnTo>
                  <a:lnTo>
                    <a:pt x="696" y="426"/>
                  </a:lnTo>
                  <a:lnTo>
                    <a:pt x="708" y="426"/>
                  </a:lnTo>
                  <a:lnTo>
                    <a:pt x="726" y="414"/>
                  </a:lnTo>
                  <a:lnTo>
                    <a:pt x="732" y="408"/>
                  </a:lnTo>
                  <a:lnTo>
                    <a:pt x="744" y="402"/>
                  </a:lnTo>
                  <a:lnTo>
                    <a:pt x="756" y="402"/>
                  </a:lnTo>
                  <a:lnTo>
                    <a:pt x="768" y="402"/>
                  </a:lnTo>
                  <a:lnTo>
                    <a:pt x="786" y="408"/>
                  </a:lnTo>
                  <a:lnTo>
                    <a:pt x="786" y="414"/>
                  </a:lnTo>
                  <a:lnTo>
                    <a:pt x="774" y="420"/>
                  </a:lnTo>
                  <a:lnTo>
                    <a:pt x="774" y="426"/>
                  </a:lnTo>
                  <a:lnTo>
                    <a:pt x="768" y="432"/>
                  </a:lnTo>
                  <a:lnTo>
                    <a:pt x="762" y="438"/>
                  </a:lnTo>
                  <a:lnTo>
                    <a:pt x="756" y="438"/>
                  </a:lnTo>
                  <a:lnTo>
                    <a:pt x="756" y="444"/>
                  </a:lnTo>
                  <a:lnTo>
                    <a:pt x="756" y="450"/>
                  </a:lnTo>
                  <a:lnTo>
                    <a:pt x="762" y="450"/>
                  </a:lnTo>
                  <a:lnTo>
                    <a:pt x="750" y="456"/>
                  </a:lnTo>
                  <a:lnTo>
                    <a:pt x="738" y="468"/>
                  </a:lnTo>
                  <a:lnTo>
                    <a:pt x="726" y="480"/>
                  </a:lnTo>
                  <a:lnTo>
                    <a:pt x="726" y="486"/>
                  </a:lnTo>
                  <a:lnTo>
                    <a:pt x="732" y="486"/>
                  </a:lnTo>
                  <a:lnTo>
                    <a:pt x="732" y="492"/>
                  </a:lnTo>
                  <a:lnTo>
                    <a:pt x="732" y="504"/>
                  </a:lnTo>
                  <a:lnTo>
                    <a:pt x="738" y="504"/>
                  </a:lnTo>
                  <a:lnTo>
                    <a:pt x="744" y="510"/>
                  </a:lnTo>
                  <a:lnTo>
                    <a:pt x="738" y="522"/>
                  </a:lnTo>
                  <a:lnTo>
                    <a:pt x="744" y="528"/>
                  </a:lnTo>
                  <a:lnTo>
                    <a:pt x="756" y="534"/>
                  </a:lnTo>
                  <a:lnTo>
                    <a:pt x="756" y="540"/>
                  </a:lnTo>
                  <a:lnTo>
                    <a:pt x="744" y="552"/>
                  </a:lnTo>
                  <a:lnTo>
                    <a:pt x="738" y="552"/>
                  </a:lnTo>
                  <a:lnTo>
                    <a:pt x="738" y="558"/>
                  </a:lnTo>
                  <a:lnTo>
                    <a:pt x="744" y="558"/>
                  </a:lnTo>
                  <a:lnTo>
                    <a:pt x="744" y="564"/>
                  </a:lnTo>
                  <a:lnTo>
                    <a:pt x="750" y="564"/>
                  </a:lnTo>
                  <a:lnTo>
                    <a:pt x="744" y="576"/>
                  </a:lnTo>
                  <a:lnTo>
                    <a:pt x="738" y="588"/>
                  </a:lnTo>
                  <a:lnTo>
                    <a:pt x="738" y="594"/>
                  </a:lnTo>
                  <a:lnTo>
                    <a:pt x="738" y="600"/>
                  </a:lnTo>
                  <a:lnTo>
                    <a:pt x="738" y="606"/>
                  </a:lnTo>
                  <a:lnTo>
                    <a:pt x="732" y="612"/>
                  </a:lnTo>
                  <a:lnTo>
                    <a:pt x="726" y="624"/>
                  </a:lnTo>
                  <a:lnTo>
                    <a:pt x="726" y="636"/>
                  </a:lnTo>
                  <a:lnTo>
                    <a:pt x="726" y="648"/>
                  </a:lnTo>
                  <a:lnTo>
                    <a:pt x="738" y="654"/>
                  </a:lnTo>
                  <a:lnTo>
                    <a:pt x="750" y="660"/>
                  </a:lnTo>
                  <a:lnTo>
                    <a:pt x="750" y="666"/>
                  </a:lnTo>
                  <a:lnTo>
                    <a:pt x="750" y="678"/>
                  </a:lnTo>
                  <a:lnTo>
                    <a:pt x="744" y="678"/>
                  </a:lnTo>
                  <a:lnTo>
                    <a:pt x="738" y="684"/>
                  </a:lnTo>
                  <a:lnTo>
                    <a:pt x="732" y="684"/>
                  </a:lnTo>
                  <a:lnTo>
                    <a:pt x="720" y="678"/>
                  </a:lnTo>
                  <a:lnTo>
                    <a:pt x="714" y="684"/>
                  </a:lnTo>
                  <a:lnTo>
                    <a:pt x="708" y="684"/>
                  </a:lnTo>
                  <a:lnTo>
                    <a:pt x="702" y="684"/>
                  </a:lnTo>
                  <a:lnTo>
                    <a:pt x="696" y="684"/>
                  </a:lnTo>
                  <a:lnTo>
                    <a:pt x="690" y="690"/>
                  </a:lnTo>
                  <a:lnTo>
                    <a:pt x="690" y="684"/>
                  </a:lnTo>
                  <a:lnTo>
                    <a:pt x="690" y="690"/>
                  </a:lnTo>
                  <a:lnTo>
                    <a:pt x="684" y="690"/>
                  </a:lnTo>
                  <a:lnTo>
                    <a:pt x="684" y="684"/>
                  </a:lnTo>
                  <a:lnTo>
                    <a:pt x="678" y="684"/>
                  </a:lnTo>
                  <a:lnTo>
                    <a:pt x="672" y="678"/>
                  </a:lnTo>
                  <a:lnTo>
                    <a:pt x="672" y="672"/>
                  </a:lnTo>
                  <a:lnTo>
                    <a:pt x="678" y="672"/>
                  </a:lnTo>
                  <a:lnTo>
                    <a:pt x="672" y="672"/>
                  </a:lnTo>
                  <a:lnTo>
                    <a:pt x="666" y="672"/>
                  </a:lnTo>
                  <a:lnTo>
                    <a:pt x="660" y="672"/>
                  </a:lnTo>
                  <a:lnTo>
                    <a:pt x="654" y="672"/>
                  </a:lnTo>
                  <a:lnTo>
                    <a:pt x="654" y="666"/>
                  </a:lnTo>
                  <a:lnTo>
                    <a:pt x="648" y="666"/>
                  </a:lnTo>
                  <a:lnTo>
                    <a:pt x="642" y="660"/>
                  </a:lnTo>
                  <a:lnTo>
                    <a:pt x="642" y="654"/>
                  </a:lnTo>
                  <a:lnTo>
                    <a:pt x="642" y="648"/>
                  </a:lnTo>
                  <a:lnTo>
                    <a:pt x="636" y="648"/>
                  </a:lnTo>
                  <a:lnTo>
                    <a:pt x="630" y="648"/>
                  </a:lnTo>
                  <a:lnTo>
                    <a:pt x="624" y="648"/>
                  </a:lnTo>
                  <a:lnTo>
                    <a:pt x="624" y="642"/>
                  </a:lnTo>
                  <a:lnTo>
                    <a:pt x="618" y="636"/>
                  </a:lnTo>
                  <a:lnTo>
                    <a:pt x="624" y="636"/>
                  </a:lnTo>
                  <a:lnTo>
                    <a:pt x="624" y="630"/>
                  </a:lnTo>
                  <a:lnTo>
                    <a:pt x="618" y="630"/>
                  </a:lnTo>
                  <a:lnTo>
                    <a:pt x="618" y="624"/>
                  </a:lnTo>
                  <a:lnTo>
                    <a:pt x="618" y="618"/>
                  </a:lnTo>
                  <a:lnTo>
                    <a:pt x="618" y="612"/>
                  </a:lnTo>
                  <a:lnTo>
                    <a:pt x="618" y="606"/>
                  </a:lnTo>
                  <a:lnTo>
                    <a:pt x="624" y="606"/>
                  </a:lnTo>
                  <a:lnTo>
                    <a:pt x="624" y="600"/>
                  </a:lnTo>
                  <a:lnTo>
                    <a:pt x="618" y="600"/>
                  </a:lnTo>
                  <a:lnTo>
                    <a:pt x="618" y="594"/>
                  </a:lnTo>
                  <a:lnTo>
                    <a:pt x="618" y="588"/>
                  </a:lnTo>
                  <a:lnTo>
                    <a:pt x="618" y="582"/>
                  </a:lnTo>
                  <a:lnTo>
                    <a:pt x="612" y="582"/>
                  </a:lnTo>
                  <a:lnTo>
                    <a:pt x="606" y="582"/>
                  </a:lnTo>
                  <a:lnTo>
                    <a:pt x="612" y="582"/>
                  </a:lnTo>
                  <a:lnTo>
                    <a:pt x="612" y="588"/>
                  </a:lnTo>
                  <a:lnTo>
                    <a:pt x="612" y="594"/>
                  </a:lnTo>
                  <a:lnTo>
                    <a:pt x="618" y="594"/>
                  </a:lnTo>
                  <a:lnTo>
                    <a:pt x="618" y="600"/>
                  </a:lnTo>
                  <a:lnTo>
                    <a:pt x="618" y="606"/>
                  </a:lnTo>
                  <a:lnTo>
                    <a:pt x="618" y="612"/>
                  </a:lnTo>
                  <a:lnTo>
                    <a:pt x="612" y="612"/>
                  </a:lnTo>
                  <a:lnTo>
                    <a:pt x="612" y="618"/>
                  </a:lnTo>
                  <a:lnTo>
                    <a:pt x="606" y="612"/>
                  </a:lnTo>
                  <a:lnTo>
                    <a:pt x="600" y="612"/>
                  </a:lnTo>
                  <a:lnTo>
                    <a:pt x="594" y="612"/>
                  </a:lnTo>
                  <a:lnTo>
                    <a:pt x="588" y="606"/>
                  </a:lnTo>
                  <a:lnTo>
                    <a:pt x="588" y="612"/>
                  </a:lnTo>
                  <a:lnTo>
                    <a:pt x="594" y="612"/>
                  </a:lnTo>
                  <a:lnTo>
                    <a:pt x="594" y="618"/>
                  </a:lnTo>
                  <a:lnTo>
                    <a:pt x="588" y="618"/>
                  </a:lnTo>
                  <a:lnTo>
                    <a:pt x="588" y="624"/>
                  </a:lnTo>
                  <a:lnTo>
                    <a:pt x="582" y="624"/>
                  </a:lnTo>
                  <a:lnTo>
                    <a:pt x="582" y="630"/>
                  </a:lnTo>
                  <a:lnTo>
                    <a:pt x="576" y="630"/>
                  </a:lnTo>
                  <a:lnTo>
                    <a:pt x="576" y="636"/>
                  </a:lnTo>
                  <a:lnTo>
                    <a:pt x="570" y="636"/>
                  </a:lnTo>
                  <a:lnTo>
                    <a:pt x="570" y="642"/>
                  </a:lnTo>
                  <a:lnTo>
                    <a:pt x="564" y="642"/>
                  </a:lnTo>
                  <a:lnTo>
                    <a:pt x="564" y="636"/>
                  </a:lnTo>
                  <a:lnTo>
                    <a:pt x="564" y="630"/>
                  </a:lnTo>
                  <a:lnTo>
                    <a:pt x="564" y="624"/>
                  </a:lnTo>
                  <a:lnTo>
                    <a:pt x="564" y="618"/>
                  </a:lnTo>
                  <a:lnTo>
                    <a:pt x="570" y="612"/>
                  </a:lnTo>
                  <a:lnTo>
                    <a:pt x="564" y="606"/>
                  </a:lnTo>
                  <a:lnTo>
                    <a:pt x="564" y="600"/>
                  </a:lnTo>
                  <a:lnTo>
                    <a:pt x="564" y="594"/>
                  </a:lnTo>
                  <a:lnTo>
                    <a:pt x="558" y="594"/>
                  </a:lnTo>
                  <a:lnTo>
                    <a:pt x="558" y="588"/>
                  </a:lnTo>
                  <a:lnTo>
                    <a:pt x="552" y="582"/>
                  </a:lnTo>
                  <a:lnTo>
                    <a:pt x="552" y="576"/>
                  </a:lnTo>
                  <a:lnTo>
                    <a:pt x="552" y="570"/>
                  </a:lnTo>
                  <a:lnTo>
                    <a:pt x="552" y="564"/>
                  </a:lnTo>
                  <a:lnTo>
                    <a:pt x="546" y="564"/>
                  </a:lnTo>
                  <a:lnTo>
                    <a:pt x="546" y="570"/>
                  </a:lnTo>
                  <a:lnTo>
                    <a:pt x="546" y="576"/>
                  </a:lnTo>
                  <a:lnTo>
                    <a:pt x="546" y="582"/>
                  </a:lnTo>
                  <a:lnTo>
                    <a:pt x="552" y="582"/>
                  </a:lnTo>
                  <a:lnTo>
                    <a:pt x="552" y="588"/>
                  </a:lnTo>
                  <a:lnTo>
                    <a:pt x="558" y="588"/>
                  </a:lnTo>
                  <a:lnTo>
                    <a:pt x="558" y="594"/>
                  </a:lnTo>
                  <a:lnTo>
                    <a:pt x="558" y="600"/>
                  </a:lnTo>
                  <a:lnTo>
                    <a:pt x="558" y="606"/>
                  </a:lnTo>
                  <a:lnTo>
                    <a:pt x="552" y="612"/>
                  </a:lnTo>
                  <a:lnTo>
                    <a:pt x="558" y="612"/>
                  </a:lnTo>
                  <a:lnTo>
                    <a:pt x="558" y="618"/>
                  </a:lnTo>
                  <a:lnTo>
                    <a:pt x="558" y="624"/>
                  </a:lnTo>
                  <a:lnTo>
                    <a:pt x="558" y="630"/>
                  </a:lnTo>
                  <a:lnTo>
                    <a:pt x="552" y="630"/>
                  </a:lnTo>
                  <a:lnTo>
                    <a:pt x="552" y="624"/>
                  </a:lnTo>
                  <a:lnTo>
                    <a:pt x="546" y="624"/>
                  </a:lnTo>
                  <a:lnTo>
                    <a:pt x="546" y="618"/>
                  </a:lnTo>
                  <a:lnTo>
                    <a:pt x="546" y="612"/>
                  </a:lnTo>
                  <a:lnTo>
                    <a:pt x="540" y="612"/>
                  </a:lnTo>
                  <a:lnTo>
                    <a:pt x="534" y="612"/>
                  </a:lnTo>
                  <a:lnTo>
                    <a:pt x="528" y="612"/>
                  </a:lnTo>
                  <a:lnTo>
                    <a:pt x="522" y="606"/>
                  </a:lnTo>
                  <a:lnTo>
                    <a:pt x="522" y="612"/>
                  </a:lnTo>
                  <a:lnTo>
                    <a:pt x="528" y="618"/>
                  </a:lnTo>
                  <a:lnTo>
                    <a:pt x="534" y="618"/>
                  </a:lnTo>
                  <a:lnTo>
                    <a:pt x="540" y="618"/>
                  </a:lnTo>
                  <a:lnTo>
                    <a:pt x="540" y="624"/>
                  </a:lnTo>
                  <a:lnTo>
                    <a:pt x="546" y="624"/>
                  </a:lnTo>
                  <a:lnTo>
                    <a:pt x="546" y="630"/>
                  </a:lnTo>
                  <a:lnTo>
                    <a:pt x="552" y="630"/>
                  </a:lnTo>
                  <a:lnTo>
                    <a:pt x="552" y="636"/>
                  </a:lnTo>
                  <a:lnTo>
                    <a:pt x="546" y="642"/>
                  </a:lnTo>
                  <a:lnTo>
                    <a:pt x="546" y="648"/>
                  </a:lnTo>
                  <a:lnTo>
                    <a:pt x="540" y="648"/>
                  </a:lnTo>
                  <a:lnTo>
                    <a:pt x="540" y="654"/>
                  </a:lnTo>
                  <a:lnTo>
                    <a:pt x="540" y="660"/>
                  </a:lnTo>
                  <a:lnTo>
                    <a:pt x="534" y="666"/>
                  </a:lnTo>
                  <a:lnTo>
                    <a:pt x="534" y="672"/>
                  </a:lnTo>
                  <a:lnTo>
                    <a:pt x="534" y="678"/>
                  </a:lnTo>
                  <a:lnTo>
                    <a:pt x="534" y="684"/>
                  </a:lnTo>
                  <a:lnTo>
                    <a:pt x="534" y="678"/>
                  </a:lnTo>
                  <a:lnTo>
                    <a:pt x="528" y="678"/>
                  </a:lnTo>
                  <a:lnTo>
                    <a:pt x="528" y="684"/>
                  </a:lnTo>
                  <a:lnTo>
                    <a:pt x="522" y="690"/>
                  </a:lnTo>
                  <a:lnTo>
                    <a:pt x="528" y="690"/>
                  </a:lnTo>
                  <a:lnTo>
                    <a:pt x="528" y="684"/>
                  </a:lnTo>
                  <a:lnTo>
                    <a:pt x="534" y="684"/>
                  </a:lnTo>
                  <a:lnTo>
                    <a:pt x="534" y="690"/>
                  </a:lnTo>
                  <a:lnTo>
                    <a:pt x="534" y="696"/>
                  </a:lnTo>
                  <a:lnTo>
                    <a:pt x="540" y="696"/>
                  </a:lnTo>
                  <a:lnTo>
                    <a:pt x="540" y="702"/>
                  </a:lnTo>
                  <a:lnTo>
                    <a:pt x="540" y="708"/>
                  </a:lnTo>
                  <a:lnTo>
                    <a:pt x="534" y="708"/>
                  </a:lnTo>
                  <a:lnTo>
                    <a:pt x="528" y="708"/>
                  </a:lnTo>
                  <a:lnTo>
                    <a:pt x="522" y="708"/>
                  </a:lnTo>
                  <a:lnTo>
                    <a:pt x="516" y="708"/>
                  </a:lnTo>
                  <a:lnTo>
                    <a:pt x="510" y="708"/>
                  </a:lnTo>
                  <a:lnTo>
                    <a:pt x="504" y="708"/>
                  </a:lnTo>
                  <a:lnTo>
                    <a:pt x="498" y="708"/>
                  </a:lnTo>
                  <a:lnTo>
                    <a:pt x="492" y="708"/>
                  </a:lnTo>
                  <a:lnTo>
                    <a:pt x="486" y="714"/>
                  </a:lnTo>
                  <a:lnTo>
                    <a:pt x="480" y="708"/>
                  </a:lnTo>
                  <a:lnTo>
                    <a:pt x="474" y="708"/>
                  </a:lnTo>
                  <a:lnTo>
                    <a:pt x="480" y="708"/>
                  </a:lnTo>
                  <a:lnTo>
                    <a:pt x="480" y="714"/>
                  </a:lnTo>
                  <a:lnTo>
                    <a:pt x="474" y="714"/>
                  </a:lnTo>
                  <a:lnTo>
                    <a:pt x="468" y="714"/>
                  </a:lnTo>
                  <a:lnTo>
                    <a:pt x="456" y="714"/>
                  </a:lnTo>
                  <a:lnTo>
                    <a:pt x="450" y="714"/>
                  </a:lnTo>
                  <a:lnTo>
                    <a:pt x="450" y="708"/>
                  </a:lnTo>
                  <a:lnTo>
                    <a:pt x="450" y="702"/>
                  </a:lnTo>
                  <a:lnTo>
                    <a:pt x="450" y="696"/>
                  </a:lnTo>
                  <a:lnTo>
                    <a:pt x="450" y="690"/>
                  </a:lnTo>
                  <a:lnTo>
                    <a:pt x="450" y="684"/>
                  </a:lnTo>
                  <a:lnTo>
                    <a:pt x="450" y="678"/>
                  </a:lnTo>
                  <a:lnTo>
                    <a:pt x="450" y="672"/>
                  </a:lnTo>
                  <a:lnTo>
                    <a:pt x="450" y="666"/>
                  </a:lnTo>
                  <a:lnTo>
                    <a:pt x="456" y="660"/>
                  </a:lnTo>
                  <a:lnTo>
                    <a:pt x="462" y="660"/>
                  </a:lnTo>
                  <a:lnTo>
                    <a:pt x="462" y="654"/>
                  </a:lnTo>
                  <a:lnTo>
                    <a:pt x="456" y="654"/>
                  </a:lnTo>
                  <a:lnTo>
                    <a:pt x="456" y="660"/>
                  </a:lnTo>
                  <a:lnTo>
                    <a:pt x="450" y="654"/>
                  </a:lnTo>
                  <a:lnTo>
                    <a:pt x="450" y="648"/>
                  </a:lnTo>
                  <a:lnTo>
                    <a:pt x="444" y="648"/>
                  </a:lnTo>
                  <a:lnTo>
                    <a:pt x="444" y="642"/>
                  </a:lnTo>
                  <a:lnTo>
                    <a:pt x="444" y="636"/>
                  </a:lnTo>
                  <a:lnTo>
                    <a:pt x="450" y="636"/>
                  </a:lnTo>
                  <a:lnTo>
                    <a:pt x="450" y="630"/>
                  </a:lnTo>
                  <a:lnTo>
                    <a:pt x="456" y="630"/>
                  </a:lnTo>
                  <a:lnTo>
                    <a:pt x="462" y="630"/>
                  </a:lnTo>
                  <a:lnTo>
                    <a:pt x="462" y="624"/>
                  </a:lnTo>
                  <a:lnTo>
                    <a:pt x="468" y="624"/>
                  </a:lnTo>
                  <a:lnTo>
                    <a:pt x="474" y="624"/>
                  </a:lnTo>
                  <a:lnTo>
                    <a:pt x="474" y="618"/>
                  </a:lnTo>
                  <a:lnTo>
                    <a:pt x="480" y="618"/>
                  </a:lnTo>
                  <a:lnTo>
                    <a:pt x="486" y="618"/>
                  </a:lnTo>
                  <a:lnTo>
                    <a:pt x="486" y="624"/>
                  </a:lnTo>
                  <a:lnTo>
                    <a:pt x="486" y="636"/>
                  </a:lnTo>
                  <a:lnTo>
                    <a:pt x="486" y="642"/>
                  </a:lnTo>
                  <a:lnTo>
                    <a:pt x="486" y="648"/>
                  </a:lnTo>
                  <a:lnTo>
                    <a:pt x="492" y="648"/>
                  </a:lnTo>
                  <a:lnTo>
                    <a:pt x="492" y="642"/>
                  </a:lnTo>
                  <a:lnTo>
                    <a:pt x="498" y="636"/>
                  </a:lnTo>
                  <a:lnTo>
                    <a:pt x="492" y="636"/>
                  </a:lnTo>
                  <a:lnTo>
                    <a:pt x="492" y="630"/>
                  </a:lnTo>
                  <a:lnTo>
                    <a:pt x="492" y="624"/>
                  </a:lnTo>
                  <a:lnTo>
                    <a:pt x="486" y="624"/>
                  </a:lnTo>
                  <a:lnTo>
                    <a:pt x="486" y="618"/>
                  </a:lnTo>
                  <a:lnTo>
                    <a:pt x="486" y="612"/>
                  </a:lnTo>
                  <a:lnTo>
                    <a:pt x="486" y="606"/>
                  </a:lnTo>
                  <a:lnTo>
                    <a:pt x="480" y="606"/>
                  </a:lnTo>
                  <a:lnTo>
                    <a:pt x="480" y="612"/>
                  </a:lnTo>
                  <a:lnTo>
                    <a:pt x="474" y="618"/>
                  </a:lnTo>
                  <a:lnTo>
                    <a:pt x="468" y="618"/>
                  </a:lnTo>
                  <a:lnTo>
                    <a:pt x="462" y="618"/>
                  </a:lnTo>
                  <a:lnTo>
                    <a:pt x="462" y="612"/>
                  </a:lnTo>
                  <a:lnTo>
                    <a:pt x="456" y="612"/>
                  </a:lnTo>
                  <a:lnTo>
                    <a:pt x="456" y="618"/>
                  </a:lnTo>
                  <a:lnTo>
                    <a:pt x="462" y="618"/>
                  </a:lnTo>
                  <a:lnTo>
                    <a:pt x="462" y="624"/>
                  </a:lnTo>
                  <a:lnTo>
                    <a:pt x="456" y="624"/>
                  </a:lnTo>
                  <a:lnTo>
                    <a:pt x="450" y="630"/>
                  </a:lnTo>
                  <a:lnTo>
                    <a:pt x="444" y="630"/>
                  </a:lnTo>
                  <a:lnTo>
                    <a:pt x="444" y="636"/>
                  </a:lnTo>
                  <a:lnTo>
                    <a:pt x="444" y="642"/>
                  </a:lnTo>
                  <a:lnTo>
                    <a:pt x="444" y="654"/>
                  </a:lnTo>
                  <a:lnTo>
                    <a:pt x="444" y="660"/>
                  </a:lnTo>
                  <a:lnTo>
                    <a:pt x="438" y="660"/>
                  </a:lnTo>
                  <a:lnTo>
                    <a:pt x="432" y="660"/>
                  </a:lnTo>
                  <a:lnTo>
                    <a:pt x="432" y="654"/>
                  </a:lnTo>
                  <a:lnTo>
                    <a:pt x="438" y="654"/>
                  </a:lnTo>
                  <a:lnTo>
                    <a:pt x="438" y="648"/>
                  </a:lnTo>
                  <a:lnTo>
                    <a:pt x="432" y="642"/>
                  </a:lnTo>
                  <a:lnTo>
                    <a:pt x="432" y="636"/>
                  </a:lnTo>
                  <a:lnTo>
                    <a:pt x="432" y="630"/>
                  </a:lnTo>
                  <a:lnTo>
                    <a:pt x="432" y="636"/>
                  </a:lnTo>
                  <a:lnTo>
                    <a:pt x="432" y="642"/>
                  </a:lnTo>
                  <a:lnTo>
                    <a:pt x="432" y="648"/>
                  </a:lnTo>
                  <a:lnTo>
                    <a:pt x="432" y="654"/>
                  </a:lnTo>
                  <a:lnTo>
                    <a:pt x="432" y="648"/>
                  </a:lnTo>
                  <a:lnTo>
                    <a:pt x="426" y="648"/>
                  </a:lnTo>
                  <a:lnTo>
                    <a:pt x="426" y="654"/>
                  </a:lnTo>
                  <a:lnTo>
                    <a:pt x="426" y="660"/>
                  </a:lnTo>
                  <a:lnTo>
                    <a:pt x="432" y="666"/>
                  </a:lnTo>
                  <a:lnTo>
                    <a:pt x="432" y="672"/>
                  </a:lnTo>
                  <a:lnTo>
                    <a:pt x="438" y="672"/>
                  </a:lnTo>
                  <a:lnTo>
                    <a:pt x="438" y="678"/>
                  </a:lnTo>
                  <a:lnTo>
                    <a:pt x="444" y="678"/>
                  </a:lnTo>
                  <a:lnTo>
                    <a:pt x="444" y="684"/>
                  </a:lnTo>
                  <a:lnTo>
                    <a:pt x="438" y="690"/>
                  </a:lnTo>
                  <a:lnTo>
                    <a:pt x="438" y="696"/>
                  </a:lnTo>
                  <a:lnTo>
                    <a:pt x="438" y="702"/>
                  </a:lnTo>
                  <a:lnTo>
                    <a:pt x="432" y="702"/>
                  </a:lnTo>
                  <a:lnTo>
                    <a:pt x="426" y="702"/>
                  </a:lnTo>
                  <a:lnTo>
                    <a:pt x="426" y="696"/>
                  </a:lnTo>
                  <a:lnTo>
                    <a:pt x="414" y="696"/>
                  </a:lnTo>
                  <a:lnTo>
                    <a:pt x="402" y="696"/>
                  </a:lnTo>
                  <a:lnTo>
                    <a:pt x="402" y="690"/>
                  </a:lnTo>
                  <a:lnTo>
                    <a:pt x="396" y="690"/>
                  </a:lnTo>
                  <a:lnTo>
                    <a:pt x="390" y="690"/>
                  </a:lnTo>
                  <a:lnTo>
                    <a:pt x="384" y="690"/>
                  </a:lnTo>
                  <a:lnTo>
                    <a:pt x="384" y="684"/>
                  </a:lnTo>
                  <a:lnTo>
                    <a:pt x="384" y="678"/>
                  </a:lnTo>
                  <a:lnTo>
                    <a:pt x="384" y="672"/>
                  </a:lnTo>
                  <a:lnTo>
                    <a:pt x="390" y="666"/>
                  </a:lnTo>
                  <a:lnTo>
                    <a:pt x="390" y="660"/>
                  </a:lnTo>
                  <a:lnTo>
                    <a:pt x="390" y="654"/>
                  </a:lnTo>
                  <a:lnTo>
                    <a:pt x="384" y="648"/>
                  </a:lnTo>
                  <a:lnTo>
                    <a:pt x="384" y="642"/>
                  </a:lnTo>
                  <a:lnTo>
                    <a:pt x="378" y="636"/>
                  </a:lnTo>
                  <a:lnTo>
                    <a:pt x="378" y="642"/>
                  </a:lnTo>
                  <a:lnTo>
                    <a:pt x="378" y="648"/>
                  </a:lnTo>
                  <a:lnTo>
                    <a:pt x="372" y="648"/>
                  </a:lnTo>
                  <a:lnTo>
                    <a:pt x="378" y="654"/>
                  </a:lnTo>
                  <a:lnTo>
                    <a:pt x="378" y="660"/>
                  </a:lnTo>
                  <a:lnTo>
                    <a:pt x="378" y="666"/>
                  </a:lnTo>
                  <a:lnTo>
                    <a:pt x="372" y="672"/>
                  </a:lnTo>
                  <a:lnTo>
                    <a:pt x="378" y="672"/>
                  </a:lnTo>
                  <a:lnTo>
                    <a:pt x="378" y="678"/>
                  </a:lnTo>
                  <a:lnTo>
                    <a:pt x="372" y="678"/>
                  </a:lnTo>
                  <a:lnTo>
                    <a:pt x="372" y="672"/>
                  </a:lnTo>
                  <a:lnTo>
                    <a:pt x="366" y="672"/>
                  </a:lnTo>
                  <a:lnTo>
                    <a:pt x="354" y="666"/>
                  </a:lnTo>
                  <a:lnTo>
                    <a:pt x="354" y="660"/>
                  </a:lnTo>
                  <a:lnTo>
                    <a:pt x="342" y="654"/>
                  </a:lnTo>
                  <a:lnTo>
                    <a:pt x="336" y="654"/>
                  </a:lnTo>
                  <a:lnTo>
                    <a:pt x="330" y="654"/>
                  </a:lnTo>
                  <a:lnTo>
                    <a:pt x="324" y="648"/>
                  </a:lnTo>
                  <a:lnTo>
                    <a:pt x="318" y="648"/>
                  </a:lnTo>
                  <a:lnTo>
                    <a:pt x="318" y="642"/>
                  </a:lnTo>
                  <a:lnTo>
                    <a:pt x="312" y="642"/>
                  </a:lnTo>
                  <a:lnTo>
                    <a:pt x="306" y="636"/>
                  </a:lnTo>
                  <a:lnTo>
                    <a:pt x="300" y="636"/>
                  </a:lnTo>
                  <a:lnTo>
                    <a:pt x="300" y="630"/>
                  </a:lnTo>
                  <a:lnTo>
                    <a:pt x="300" y="624"/>
                  </a:lnTo>
                  <a:lnTo>
                    <a:pt x="306" y="624"/>
                  </a:lnTo>
                  <a:lnTo>
                    <a:pt x="300" y="624"/>
                  </a:lnTo>
                  <a:lnTo>
                    <a:pt x="300" y="618"/>
                  </a:lnTo>
                  <a:lnTo>
                    <a:pt x="306" y="612"/>
                  </a:lnTo>
                  <a:lnTo>
                    <a:pt x="300" y="612"/>
                  </a:lnTo>
                  <a:lnTo>
                    <a:pt x="300" y="606"/>
                  </a:lnTo>
                  <a:lnTo>
                    <a:pt x="300" y="612"/>
                  </a:lnTo>
                  <a:lnTo>
                    <a:pt x="294" y="612"/>
                  </a:lnTo>
                  <a:lnTo>
                    <a:pt x="288" y="618"/>
                  </a:lnTo>
                  <a:lnTo>
                    <a:pt x="288" y="612"/>
                  </a:lnTo>
                  <a:lnTo>
                    <a:pt x="288" y="618"/>
                  </a:lnTo>
                  <a:lnTo>
                    <a:pt x="294" y="618"/>
                  </a:lnTo>
                  <a:lnTo>
                    <a:pt x="300" y="624"/>
                  </a:lnTo>
                  <a:lnTo>
                    <a:pt x="294" y="624"/>
                  </a:lnTo>
                  <a:lnTo>
                    <a:pt x="288" y="624"/>
                  </a:lnTo>
                  <a:lnTo>
                    <a:pt x="282" y="618"/>
                  </a:lnTo>
                  <a:lnTo>
                    <a:pt x="282" y="612"/>
                  </a:lnTo>
                  <a:lnTo>
                    <a:pt x="276" y="612"/>
                  </a:lnTo>
                  <a:lnTo>
                    <a:pt x="264" y="606"/>
                  </a:lnTo>
                  <a:lnTo>
                    <a:pt x="264" y="600"/>
                  </a:lnTo>
                  <a:lnTo>
                    <a:pt x="270" y="600"/>
                  </a:lnTo>
                  <a:lnTo>
                    <a:pt x="270" y="594"/>
                  </a:lnTo>
                  <a:lnTo>
                    <a:pt x="276" y="594"/>
                  </a:lnTo>
                  <a:lnTo>
                    <a:pt x="282" y="594"/>
                  </a:lnTo>
                  <a:lnTo>
                    <a:pt x="276" y="594"/>
                  </a:lnTo>
                  <a:lnTo>
                    <a:pt x="282" y="594"/>
                  </a:lnTo>
                  <a:lnTo>
                    <a:pt x="282" y="588"/>
                  </a:lnTo>
                  <a:lnTo>
                    <a:pt x="276" y="588"/>
                  </a:lnTo>
                  <a:lnTo>
                    <a:pt x="276" y="594"/>
                  </a:lnTo>
                  <a:lnTo>
                    <a:pt x="270" y="594"/>
                  </a:lnTo>
                  <a:lnTo>
                    <a:pt x="264" y="600"/>
                  </a:lnTo>
                  <a:lnTo>
                    <a:pt x="264" y="594"/>
                  </a:lnTo>
                  <a:lnTo>
                    <a:pt x="270" y="594"/>
                  </a:lnTo>
                  <a:lnTo>
                    <a:pt x="270" y="588"/>
                  </a:lnTo>
                  <a:lnTo>
                    <a:pt x="264" y="594"/>
                  </a:lnTo>
                  <a:lnTo>
                    <a:pt x="258" y="594"/>
                  </a:lnTo>
                  <a:lnTo>
                    <a:pt x="258" y="588"/>
                  </a:lnTo>
                  <a:lnTo>
                    <a:pt x="252" y="588"/>
                  </a:lnTo>
                  <a:lnTo>
                    <a:pt x="246" y="588"/>
                  </a:lnTo>
                  <a:lnTo>
                    <a:pt x="246" y="582"/>
                  </a:lnTo>
                  <a:lnTo>
                    <a:pt x="240" y="582"/>
                  </a:lnTo>
                  <a:lnTo>
                    <a:pt x="240" y="588"/>
                  </a:lnTo>
                  <a:lnTo>
                    <a:pt x="246" y="588"/>
                  </a:lnTo>
                  <a:lnTo>
                    <a:pt x="252" y="588"/>
                  </a:lnTo>
                  <a:lnTo>
                    <a:pt x="252" y="594"/>
                  </a:lnTo>
                  <a:lnTo>
                    <a:pt x="258" y="594"/>
                  </a:lnTo>
                  <a:lnTo>
                    <a:pt x="252" y="594"/>
                  </a:lnTo>
                  <a:lnTo>
                    <a:pt x="246" y="594"/>
                  </a:lnTo>
                  <a:lnTo>
                    <a:pt x="246" y="588"/>
                  </a:lnTo>
                  <a:lnTo>
                    <a:pt x="240" y="588"/>
                  </a:lnTo>
                  <a:lnTo>
                    <a:pt x="234" y="582"/>
                  </a:lnTo>
                  <a:lnTo>
                    <a:pt x="228" y="576"/>
                  </a:lnTo>
                  <a:lnTo>
                    <a:pt x="222" y="570"/>
                  </a:lnTo>
                  <a:lnTo>
                    <a:pt x="222" y="564"/>
                  </a:lnTo>
                  <a:lnTo>
                    <a:pt x="222" y="570"/>
                  </a:lnTo>
                  <a:lnTo>
                    <a:pt x="228" y="570"/>
                  </a:lnTo>
                  <a:lnTo>
                    <a:pt x="222" y="570"/>
                  </a:lnTo>
                  <a:lnTo>
                    <a:pt x="222" y="564"/>
                  </a:lnTo>
                  <a:lnTo>
                    <a:pt x="228" y="564"/>
                  </a:lnTo>
                  <a:lnTo>
                    <a:pt x="234" y="564"/>
                  </a:lnTo>
                  <a:lnTo>
                    <a:pt x="234" y="558"/>
                  </a:lnTo>
                  <a:lnTo>
                    <a:pt x="240" y="558"/>
                  </a:lnTo>
                  <a:lnTo>
                    <a:pt x="234" y="558"/>
                  </a:lnTo>
                  <a:lnTo>
                    <a:pt x="228" y="558"/>
                  </a:lnTo>
                  <a:lnTo>
                    <a:pt x="222" y="558"/>
                  </a:lnTo>
                  <a:lnTo>
                    <a:pt x="228" y="558"/>
                  </a:lnTo>
                  <a:lnTo>
                    <a:pt x="228" y="564"/>
                  </a:lnTo>
                  <a:lnTo>
                    <a:pt x="222" y="564"/>
                  </a:lnTo>
                  <a:lnTo>
                    <a:pt x="222" y="558"/>
                  </a:lnTo>
                  <a:lnTo>
                    <a:pt x="216" y="558"/>
                  </a:lnTo>
                  <a:lnTo>
                    <a:pt x="210" y="558"/>
                  </a:lnTo>
                  <a:lnTo>
                    <a:pt x="210" y="552"/>
                  </a:lnTo>
                  <a:lnTo>
                    <a:pt x="204" y="546"/>
                  </a:lnTo>
                  <a:lnTo>
                    <a:pt x="204" y="540"/>
                  </a:lnTo>
                  <a:lnTo>
                    <a:pt x="210" y="540"/>
                  </a:lnTo>
                  <a:lnTo>
                    <a:pt x="210" y="546"/>
                  </a:lnTo>
                  <a:lnTo>
                    <a:pt x="210" y="540"/>
                  </a:lnTo>
                  <a:lnTo>
                    <a:pt x="210" y="534"/>
                  </a:lnTo>
                  <a:lnTo>
                    <a:pt x="210" y="528"/>
                  </a:lnTo>
                  <a:lnTo>
                    <a:pt x="204" y="528"/>
                  </a:lnTo>
                  <a:lnTo>
                    <a:pt x="210" y="534"/>
                  </a:lnTo>
                  <a:lnTo>
                    <a:pt x="210" y="540"/>
                  </a:lnTo>
                  <a:lnTo>
                    <a:pt x="204" y="540"/>
                  </a:lnTo>
                  <a:lnTo>
                    <a:pt x="198" y="540"/>
                  </a:lnTo>
                  <a:lnTo>
                    <a:pt x="192" y="540"/>
                  </a:lnTo>
                  <a:lnTo>
                    <a:pt x="186" y="540"/>
                  </a:lnTo>
                  <a:lnTo>
                    <a:pt x="186" y="534"/>
                  </a:lnTo>
                  <a:lnTo>
                    <a:pt x="186" y="528"/>
                  </a:lnTo>
                  <a:lnTo>
                    <a:pt x="180" y="528"/>
                  </a:lnTo>
                  <a:lnTo>
                    <a:pt x="174" y="516"/>
                  </a:lnTo>
                  <a:lnTo>
                    <a:pt x="168" y="510"/>
                  </a:lnTo>
                  <a:lnTo>
                    <a:pt x="162" y="504"/>
                  </a:lnTo>
                  <a:lnTo>
                    <a:pt x="156" y="498"/>
                  </a:lnTo>
                  <a:lnTo>
                    <a:pt x="156" y="492"/>
                  </a:lnTo>
                  <a:lnTo>
                    <a:pt x="150" y="486"/>
                  </a:lnTo>
                  <a:lnTo>
                    <a:pt x="144" y="480"/>
                  </a:lnTo>
                  <a:lnTo>
                    <a:pt x="144" y="474"/>
                  </a:lnTo>
                  <a:lnTo>
                    <a:pt x="138" y="474"/>
                  </a:lnTo>
                  <a:lnTo>
                    <a:pt x="138" y="468"/>
                  </a:lnTo>
                  <a:lnTo>
                    <a:pt x="132" y="462"/>
                  </a:lnTo>
                  <a:lnTo>
                    <a:pt x="132" y="456"/>
                  </a:lnTo>
                  <a:lnTo>
                    <a:pt x="126" y="450"/>
                  </a:lnTo>
                  <a:lnTo>
                    <a:pt x="126" y="444"/>
                  </a:lnTo>
                  <a:lnTo>
                    <a:pt x="114" y="438"/>
                  </a:lnTo>
                  <a:lnTo>
                    <a:pt x="114" y="432"/>
                  </a:lnTo>
                  <a:lnTo>
                    <a:pt x="114" y="426"/>
                  </a:lnTo>
                  <a:lnTo>
                    <a:pt x="114" y="432"/>
                  </a:lnTo>
                  <a:lnTo>
                    <a:pt x="120" y="432"/>
                  </a:lnTo>
                  <a:lnTo>
                    <a:pt x="120" y="438"/>
                  </a:lnTo>
                  <a:lnTo>
                    <a:pt x="120" y="444"/>
                  </a:lnTo>
                  <a:lnTo>
                    <a:pt x="126" y="444"/>
                  </a:lnTo>
                  <a:lnTo>
                    <a:pt x="126" y="438"/>
                  </a:lnTo>
                  <a:lnTo>
                    <a:pt x="120" y="438"/>
                  </a:lnTo>
                  <a:lnTo>
                    <a:pt x="126" y="432"/>
                  </a:lnTo>
                  <a:lnTo>
                    <a:pt x="126" y="426"/>
                  </a:lnTo>
                  <a:lnTo>
                    <a:pt x="132" y="420"/>
                  </a:lnTo>
                  <a:lnTo>
                    <a:pt x="126" y="426"/>
                  </a:lnTo>
                  <a:lnTo>
                    <a:pt x="120" y="420"/>
                  </a:lnTo>
                  <a:lnTo>
                    <a:pt x="114" y="420"/>
                  </a:lnTo>
                  <a:lnTo>
                    <a:pt x="114" y="414"/>
                  </a:lnTo>
                  <a:lnTo>
                    <a:pt x="108" y="414"/>
                  </a:lnTo>
                  <a:lnTo>
                    <a:pt x="102" y="414"/>
                  </a:lnTo>
                  <a:lnTo>
                    <a:pt x="102" y="408"/>
                  </a:lnTo>
                  <a:lnTo>
                    <a:pt x="96" y="402"/>
                  </a:lnTo>
                  <a:lnTo>
                    <a:pt x="96" y="396"/>
                  </a:lnTo>
                  <a:lnTo>
                    <a:pt x="96" y="390"/>
                  </a:lnTo>
                  <a:lnTo>
                    <a:pt x="90" y="390"/>
                  </a:lnTo>
                  <a:lnTo>
                    <a:pt x="90" y="384"/>
                  </a:lnTo>
                  <a:lnTo>
                    <a:pt x="84" y="378"/>
                  </a:lnTo>
                  <a:lnTo>
                    <a:pt x="84" y="372"/>
                  </a:lnTo>
                  <a:lnTo>
                    <a:pt x="78" y="372"/>
                  </a:lnTo>
                  <a:lnTo>
                    <a:pt x="78" y="366"/>
                  </a:lnTo>
                  <a:lnTo>
                    <a:pt x="78" y="360"/>
                  </a:lnTo>
                  <a:lnTo>
                    <a:pt x="72" y="354"/>
                  </a:lnTo>
                  <a:lnTo>
                    <a:pt x="66" y="354"/>
                  </a:lnTo>
                  <a:lnTo>
                    <a:pt x="66" y="348"/>
                  </a:lnTo>
                  <a:lnTo>
                    <a:pt x="66" y="342"/>
                  </a:lnTo>
                  <a:lnTo>
                    <a:pt x="60" y="342"/>
                  </a:lnTo>
                  <a:lnTo>
                    <a:pt x="60" y="336"/>
                  </a:lnTo>
                  <a:lnTo>
                    <a:pt x="60" y="330"/>
                  </a:lnTo>
                  <a:lnTo>
                    <a:pt x="54" y="330"/>
                  </a:lnTo>
                  <a:lnTo>
                    <a:pt x="60" y="324"/>
                  </a:lnTo>
                  <a:lnTo>
                    <a:pt x="60" y="330"/>
                  </a:lnTo>
                  <a:lnTo>
                    <a:pt x="66" y="336"/>
                  </a:lnTo>
                  <a:lnTo>
                    <a:pt x="66" y="342"/>
                  </a:lnTo>
                  <a:lnTo>
                    <a:pt x="72" y="348"/>
                  </a:lnTo>
                  <a:lnTo>
                    <a:pt x="78" y="354"/>
                  </a:lnTo>
                  <a:lnTo>
                    <a:pt x="84" y="360"/>
                  </a:lnTo>
                  <a:lnTo>
                    <a:pt x="90" y="366"/>
                  </a:lnTo>
                  <a:lnTo>
                    <a:pt x="96" y="366"/>
                  </a:lnTo>
                  <a:lnTo>
                    <a:pt x="90" y="360"/>
                  </a:lnTo>
                  <a:lnTo>
                    <a:pt x="84" y="360"/>
                  </a:lnTo>
                  <a:lnTo>
                    <a:pt x="84" y="354"/>
                  </a:lnTo>
                  <a:lnTo>
                    <a:pt x="78" y="348"/>
                  </a:lnTo>
                  <a:lnTo>
                    <a:pt x="78" y="342"/>
                  </a:lnTo>
                  <a:lnTo>
                    <a:pt x="72" y="342"/>
                  </a:lnTo>
                  <a:lnTo>
                    <a:pt x="72" y="336"/>
                  </a:lnTo>
                  <a:lnTo>
                    <a:pt x="66" y="330"/>
                  </a:lnTo>
                  <a:lnTo>
                    <a:pt x="66" y="324"/>
                  </a:lnTo>
                  <a:lnTo>
                    <a:pt x="60" y="318"/>
                  </a:lnTo>
                  <a:lnTo>
                    <a:pt x="60" y="312"/>
                  </a:lnTo>
                  <a:lnTo>
                    <a:pt x="54" y="306"/>
                  </a:lnTo>
                  <a:lnTo>
                    <a:pt x="54" y="300"/>
                  </a:lnTo>
                  <a:lnTo>
                    <a:pt x="54" y="294"/>
                  </a:lnTo>
                  <a:lnTo>
                    <a:pt x="48" y="288"/>
                  </a:lnTo>
                  <a:lnTo>
                    <a:pt x="48" y="294"/>
                  </a:lnTo>
                  <a:lnTo>
                    <a:pt x="48" y="288"/>
                  </a:lnTo>
                  <a:lnTo>
                    <a:pt x="48" y="282"/>
                  </a:lnTo>
                  <a:lnTo>
                    <a:pt x="48" y="276"/>
                  </a:lnTo>
                  <a:lnTo>
                    <a:pt x="42" y="276"/>
                  </a:lnTo>
                  <a:lnTo>
                    <a:pt x="42" y="270"/>
                  </a:lnTo>
                  <a:lnTo>
                    <a:pt x="42" y="264"/>
                  </a:lnTo>
                  <a:lnTo>
                    <a:pt x="36" y="258"/>
                  </a:lnTo>
                  <a:lnTo>
                    <a:pt x="36" y="252"/>
                  </a:lnTo>
                  <a:lnTo>
                    <a:pt x="36" y="246"/>
                  </a:lnTo>
                  <a:lnTo>
                    <a:pt x="30" y="240"/>
                  </a:lnTo>
                  <a:lnTo>
                    <a:pt x="36" y="240"/>
                  </a:lnTo>
                  <a:lnTo>
                    <a:pt x="30" y="240"/>
                  </a:lnTo>
                  <a:lnTo>
                    <a:pt x="30" y="234"/>
                  </a:lnTo>
                  <a:lnTo>
                    <a:pt x="30" y="228"/>
                  </a:lnTo>
                  <a:lnTo>
                    <a:pt x="24" y="228"/>
                  </a:lnTo>
                  <a:lnTo>
                    <a:pt x="24" y="222"/>
                  </a:lnTo>
                  <a:lnTo>
                    <a:pt x="24" y="216"/>
                  </a:lnTo>
                  <a:lnTo>
                    <a:pt x="18" y="216"/>
                  </a:lnTo>
                  <a:lnTo>
                    <a:pt x="18" y="210"/>
                  </a:lnTo>
                  <a:lnTo>
                    <a:pt x="18" y="204"/>
                  </a:lnTo>
                  <a:lnTo>
                    <a:pt x="12" y="198"/>
                  </a:lnTo>
                  <a:lnTo>
                    <a:pt x="12" y="192"/>
                  </a:lnTo>
                  <a:lnTo>
                    <a:pt x="6" y="192"/>
                  </a:lnTo>
                  <a:lnTo>
                    <a:pt x="6" y="186"/>
                  </a:lnTo>
                  <a:lnTo>
                    <a:pt x="6" y="180"/>
                  </a:lnTo>
                  <a:lnTo>
                    <a:pt x="0" y="180"/>
                  </a:lnTo>
                  <a:lnTo>
                    <a:pt x="0" y="174"/>
                  </a:lnTo>
                  <a:lnTo>
                    <a:pt x="0" y="168"/>
                  </a:lnTo>
                  <a:lnTo>
                    <a:pt x="6" y="168"/>
                  </a:lnTo>
                  <a:lnTo>
                    <a:pt x="12" y="162"/>
                  </a:lnTo>
                  <a:lnTo>
                    <a:pt x="12" y="168"/>
                  </a:lnTo>
                  <a:lnTo>
                    <a:pt x="18" y="168"/>
                  </a:lnTo>
                  <a:lnTo>
                    <a:pt x="24" y="168"/>
                  </a:lnTo>
                  <a:lnTo>
                    <a:pt x="24" y="162"/>
                  </a:lnTo>
                  <a:lnTo>
                    <a:pt x="30" y="162"/>
                  </a:lnTo>
                  <a:lnTo>
                    <a:pt x="36" y="162"/>
                  </a:lnTo>
                  <a:lnTo>
                    <a:pt x="36" y="168"/>
                  </a:lnTo>
                  <a:lnTo>
                    <a:pt x="42" y="168"/>
                  </a:lnTo>
                  <a:lnTo>
                    <a:pt x="42" y="174"/>
                  </a:lnTo>
                  <a:lnTo>
                    <a:pt x="48" y="180"/>
                  </a:lnTo>
                  <a:lnTo>
                    <a:pt x="48" y="186"/>
                  </a:lnTo>
                  <a:lnTo>
                    <a:pt x="54" y="186"/>
                  </a:lnTo>
                  <a:close/>
                  <a:moveTo>
                    <a:pt x="642" y="660"/>
                  </a:moveTo>
                  <a:lnTo>
                    <a:pt x="642" y="666"/>
                  </a:lnTo>
                  <a:lnTo>
                    <a:pt x="648" y="666"/>
                  </a:lnTo>
                  <a:lnTo>
                    <a:pt x="648" y="672"/>
                  </a:lnTo>
                  <a:lnTo>
                    <a:pt x="648" y="678"/>
                  </a:lnTo>
                  <a:lnTo>
                    <a:pt x="654" y="678"/>
                  </a:lnTo>
                  <a:lnTo>
                    <a:pt x="654" y="684"/>
                  </a:lnTo>
                  <a:lnTo>
                    <a:pt x="660" y="684"/>
                  </a:lnTo>
                  <a:lnTo>
                    <a:pt x="660" y="690"/>
                  </a:lnTo>
                  <a:lnTo>
                    <a:pt x="654" y="690"/>
                  </a:lnTo>
                  <a:lnTo>
                    <a:pt x="648" y="690"/>
                  </a:lnTo>
                  <a:lnTo>
                    <a:pt x="636" y="696"/>
                  </a:lnTo>
                  <a:lnTo>
                    <a:pt x="630" y="696"/>
                  </a:lnTo>
                  <a:lnTo>
                    <a:pt x="624" y="696"/>
                  </a:lnTo>
                  <a:lnTo>
                    <a:pt x="618" y="696"/>
                  </a:lnTo>
                  <a:lnTo>
                    <a:pt x="612" y="696"/>
                  </a:lnTo>
                  <a:lnTo>
                    <a:pt x="594" y="696"/>
                  </a:lnTo>
                  <a:lnTo>
                    <a:pt x="588" y="696"/>
                  </a:lnTo>
                  <a:lnTo>
                    <a:pt x="582" y="696"/>
                  </a:lnTo>
                  <a:lnTo>
                    <a:pt x="570" y="702"/>
                  </a:lnTo>
                  <a:lnTo>
                    <a:pt x="564" y="702"/>
                  </a:lnTo>
                  <a:lnTo>
                    <a:pt x="558" y="702"/>
                  </a:lnTo>
                  <a:lnTo>
                    <a:pt x="552" y="702"/>
                  </a:lnTo>
                  <a:lnTo>
                    <a:pt x="552" y="696"/>
                  </a:lnTo>
                  <a:lnTo>
                    <a:pt x="546" y="696"/>
                  </a:lnTo>
                  <a:lnTo>
                    <a:pt x="546" y="690"/>
                  </a:lnTo>
                  <a:lnTo>
                    <a:pt x="552" y="684"/>
                  </a:lnTo>
                  <a:lnTo>
                    <a:pt x="552" y="678"/>
                  </a:lnTo>
                  <a:lnTo>
                    <a:pt x="558" y="672"/>
                  </a:lnTo>
                  <a:lnTo>
                    <a:pt x="558" y="666"/>
                  </a:lnTo>
                  <a:lnTo>
                    <a:pt x="564" y="666"/>
                  </a:lnTo>
                  <a:lnTo>
                    <a:pt x="570" y="666"/>
                  </a:lnTo>
                  <a:lnTo>
                    <a:pt x="570" y="654"/>
                  </a:lnTo>
                  <a:lnTo>
                    <a:pt x="570" y="648"/>
                  </a:lnTo>
                  <a:lnTo>
                    <a:pt x="582" y="642"/>
                  </a:lnTo>
                  <a:lnTo>
                    <a:pt x="582" y="636"/>
                  </a:lnTo>
                  <a:lnTo>
                    <a:pt x="588" y="636"/>
                  </a:lnTo>
                  <a:lnTo>
                    <a:pt x="588" y="630"/>
                  </a:lnTo>
                  <a:lnTo>
                    <a:pt x="594" y="624"/>
                  </a:lnTo>
                  <a:lnTo>
                    <a:pt x="594" y="618"/>
                  </a:lnTo>
                  <a:lnTo>
                    <a:pt x="600" y="618"/>
                  </a:lnTo>
                  <a:lnTo>
                    <a:pt x="600" y="612"/>
                  </a:lnTo>
                  <a:lnTo>
                    <a:pt x="606" y="612"/>
                  </a:lnTo>
                  <a:lnTo>
                    <a:pt x="606" y="618"/>
                  </a:lnTo>
                  <a:lnTo>
                    <a:pt x="612" y="618"/>
                  </a:lnTo>
                  <a:lnTo>
                    <a:pt x="618" y="618"/>
                  </a:lnTo>
                  <a:lnTo>
                    <a:pt x="618" y="624"/>
                  </a:lnTo>
                  <a:lnTo>
                    <a:pt x="618" y="630"/>
                  </a:lnTo>
                  <a:lnTo>
                    <a:pt x="624" y="630"/>
                  </a:lnTo>
                  <a:lnTo>
                    <a:pt x="618" y="636"/>
                  </a:lnTo>
                  <a:lnTo>
                    <a:pt x="618" y="642"/>
                  </a:lnTo>
                  <a:lnTo>
                    <a:pt x="618" y="648"/>
                  </a:lnTo>
                  <a:lnTo>
                    <a:pt x="624" y="648"/>
                  </a:lnTo>
                  <a:lnTo>
                    <a:pt x="630" y="648"/>
                  </a:lnTo>
                  <a:lnTo>
                    <a:pt x="636" y="654"/>
                  </a:lnTo>
                  <a:lnTo>
                    <a:pt x="642" y="654"/>
                  </a:lnTo>
                  <a:lnTo>
                    <a:pt x="642" y="660"/>
                  </a:lnTo>
                  <a:close/>
                </a:path>
              </a:pathLst>
            </a:custGeom>
            <a:solidFill>
              <a:srgbClr val="FFC000"/>
            </a:solidFill>
            <a:ln w="9525">
              <a:solidFill>
                <a:schemeClr val="bg1"/>
              </a:solidFill>
              <a:round/>
              <a:headEnd/>
              <a:tailEnd/>
            </a:ln>
          </p:spPr>
          <p:txBody>
            <a:bodyPr/>
            <a:lstStyle/>
            <a:p>
              <a:endParaRPr lang="en-GB"/>
            </a:p>
          </p:txBody>
        </p:sp>
        <p:sp>
          <p:nvSpPr>
            <p:cNvPr id="19482" name="Freeform 6"/>
            <p:cNvSpPr>
              <a:spLocks noEditPoints="1"/>
            </p:cNvSpPr>
            <p:nvPr/>
          </p:nvSpPr>
          <p:spPr bwMode="gray">
            <a:xfrm>
              <a:off x="3292426" y="5425644"/>
              <a:ext cx="597135" cy="727713"/>
            </a:xfrm>
            <a:custGeom>
              <a:avLst/>
              <a:gdLst>
                <a:gd name="T0" fmla="*/ 7053 w 762"/>
                <a:gd name="T1" fmla="*/ 46897 h 900"/>
                <a:gd name="T2" fmla="*/ 3135 w 762"/>
                <a:gd name="T3" fmla="*/ 45280 h 900"/>
                <a:gd name="T4" fmla="*/ 0 w 762"/>
                <a:gd name="T5" fmla="*/ 39620 h 900"/>
                <a:gd name="T6" fmla="*/ 3135 w 762"/>
                <a:gd name="T7" fmla="*/ 29109 h 900"/>
                <a:gd name="T8" fmla="*/ 6269 w 762"/>
                <a:gd name="T9" fmla="*/ 22640 h 900"/>
                <a:gd name="T10" fmla="*/ 5485 w 762"/>
                <a:gd name="T11" fmla="*/ 10511 h 900"/>
                <a:gd name="T12" fmla="*/ 11755 w 762"/>
                <a:gd name="T13" fmla="*/ 0 h 900"/>
                <a:gd name="T14" fmla="*/ 12538 w 762"/>
                <a:gd name="T15" fmla="*/ 10511 h 900"/>
                <a:gd name="T16" fmla="*/ 24293 w 762"/>
                <a:gd name="T17" fmla="*/ 22640 h 900"/>
                <a:gd name="T18" fmla="*/ 38398 w 762"/>
                <a:gd name="T19" fmla="*/ 26683 h 900"/>
                <a:gd name="T20" fmla="*/ 32913 w 762"/>
                <a:gd name="T21" fmla="*/ 38811 h 900"/>
                <a:gd name="T22" fmla="*/ 39966 w 762"/>
                <a:gd name="T23" fmla="*/ 38811 h 900"/>
                <a:gd name="T24" fmla="*/ 47802 w 762"/>
                <a:gd name="T25" fmla="*/ 41237 h 900"/>
                <a:gd name="T26" fmla="*/ 49369 w 762"/>
                <a:gd name="T27" fmla="*/ 48514 h 900"/>
                <a:gd name="T28" fmla="*/ 49369 w 762"/>
                <a:gd name="T29" fmla="*/ 53366 h 900"/>
                <a:gd name="T30" fmla="*/ 50937 w 762"/>
                <a:gd name="T31" fmla="*/ 55791 h 900"/>
                <a:gd name="T32" fmla="*/ 51720 w 762"/>
                <a:gd name="T33" fmla="*/ 58217 h 900"/>
                <a:gd name="T34" fmla="*/ 43884 w 762"/>
                <a:gd name="T35" fmla="*/ 59026 h 900"/>
                <a:gd name="T36" fmla="*/ 43100 w 762"/>
                <a:gd name="T37" fmla="*/ 55791 h 900"/>
                <a:gd name="T38" fmla="*/ 44668 w 762"/>
                <a:gd name="T39" fmla="*/ 54174 h 900"/>
                <a:gd name="T40" fmla="*/ 43100 w 762"/>
                <a:gd name="T41" fmla="*/ 52557 h 900"/>
                <a:gd name="T42" fmla="*/ 41533 w 762"/>
                <a:gd name="T43" fmla="*/ 54983 h 900"/>
                <a:gd name="T44" fmla="*/ 38398 w 762"/>
                <a:gd name="T45" fmla="*/ 54983 h 900"/>
                <a:gd name="T46" fmla="*/ 34480 w 762"/>
                <a:gd name="T47" fmla="*/ 50940 h 900"/>
                <a:gd name="T48" fmla="*/ 31346 w 762"/>
                <a:gd name="T49" fmla="*/ 47706 h 900"/>
                <a:gd name="T50" fmla="*/ 29778 w 762"/>
                <a:gd name="T51" fmla="*/ 46088 h 900"/>
                <a:gd name="T52" fmla="*/ 33697 w 762"/>
                <a:gd name="T53" fmla="*/ 50131 h 900"/>
                <a:gd name="T54" fmla="*/ 33697 w 762"/>
                <a:gd name="T55" fmla="*/ 53366 h 900"/>
                <a:gd name="T56" fmla="*/ 32129 w 762"/>
                <a:gd name="T57" fmla="*/ 57408 h 900"/>
                <a:gd name="T58" fmla="*/ 28995 w 762"/>
                <a:gd name="T59" fmla="*/ 55791 h 900"/>
                <a:gd name="T60" fmla="*/ 27427 w 762"/>
                <a:gd name="T61" fmla="*/ 51748 h 900"/>
                <a:gd name="T62" fmla="*/ 24293 w 762"/>
                <a:gd name="T63" fmla="*/ 46088 h 900"/>
                <a:gd name="T64" fmla="*/ 23509 w 762"/>
                <a:gd name="T65" fmla="*/ 50131 h 900"/>
                <a:gd name="T66" fmla="*/ 22726 w 762"/>
                <a:gd name="T67" fmla="*/ 49323 h 900"/>
                <a:gd name="T68" fmla="*/ 24293 w 762"/>
                <a:gd name="T69" fmla="*/ 53366 h 900"/>
                <a:gd name="T70" fmla="*/ 25860 w 762"/>
                <a:gd name="T71" fmla="*/ 58217 h 900"/>
                <a:gd name="T72" fmla="*/ 25077 w 762"/>
                <a:gd name="T73" fmla="*/ 61451 h 900"/>
                <a:gd name="T74" fmla="*/ 21942 w 762"/>
                <a:gd name="T75" fmla="*/ 60643 h 900"/>
                <a:gd name="T76" fmla="*/ 18807 w 762"/>
                <a:gd name="T77" fmla="*/ 55791 h 900"/>
                <a:gd name="T78" fmla="*/ 18807 w 762"/>
                <a:gd name="T79" fmla="*/ 50131 h 900"/>
                <a:gd name="T80" fmla="*/ 18024 w 762"/>
                <a:gd name="T81" fmla="*/ 50131 h 900"/>
                <a:gd name="T82" fmla="*/ 18024 w 762"/>
                <a:gd name="T83" fmla="*/ 54983 h 900"/>
                <a:gd name="T84" fmla="*/ 19591 w 762"/>
                <a:gd name="T85" fmla="*/ 62260 h 900"/>
                <a:gd name="T86" fmla="*/ 13322 w 762"/>
                <a:gd name="T87" fmla="*/ 59834 h 900"/>
                <a:gd name="T88" fmla="*/ 13322 w 762"/>
                <a:gd name="T89" fmla="*/ 54174 h 900"/>
                <a:gd name="T90" fmla="*/ 12538 w 762"/>
                <a:gd name="T91" fmla="*/ 54174 h 900"/>
                <a:gd name="T92" fmla="*/ 11755 w 762"/>
                <a:gd name="T93" fmla="*/ 57408 h 900"/>
                <a:gd name="T94" fmla="*/ 9404 w 762"/>
                <a:gd name="T95" fmla="*/ 54983 h 900"/>
                <a:gd name="T96" fmla="*/ 11755 w 762"/>
                <a:gd name="T97" fmla="*/ 58217 h 900"/>
                <a:gd name="T98" fmla="*/ 13322 w 762"/>
                <a:gd name="T99" fmla="*/ 62260 h 900"/>
                <a:gd name="T100" fmla="*/ 8620 w 762"/>
                <a:gd name="T101" fmla="*/ 62260 h 900"/>
                <a:gd name="T102" fmla="*/ 7836 w 762"/>
                <a:gd name="T103" fmla="*/ 55791 h 900"/>
                <a:gd name="T104" fmla="*/ 8620 w 762"/>
                <a:gd name="T105" fmla="*/ 58217 h 900"/>
                <a:gd name="T106" fmla="*/ 7053 w 762"/>
                <a:gd name="T107" fmla="*/ 63068 h 900"/>
                <a:gd name="T108" fmla="*/ 33697 w 762"/>
                <a:gd name="T109" fmla="*/ 57408 h 900"/>
                <a:gd name="T110" fmla="*/ 39966 w 762"/>
                <a:gd name="T111" fmla="*/ 55791 h 900"/>
                <a:gd name="T112" fmla="*/ 33697 w 762"/>
                <a:gd name="T113" fmla="*/ 61451 h 900"/>
                <a:gd name="T114" fmla="*/ 28211 w 762"/>
                <a:gd name="T115" fmla="*/ 52557 h 900"/>
                <a:gd name="T116" fmla="*/ 29778 w 762"/>
                <a:gd name="T117" fmla="*/ 58217 h 900"/>
                <a:gd name="T118" fmla="*/ 26644 w 762"/>
                <a:gd name="T119" fmla="*/ 55791 h 900"/>
                <a:gd name="T120" fmla="*/ 22726 w 762"/>
                <a:gd name="T121" fmla="*/ 51748 h 900"/>
                <a:gd name="T122" fmla="*/ 25077 w 762"/>
                <a:gd name="T123" fmla="*/ 53366 h 9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900"/>
                <a:gd name="T188" fmla="*/ 762 w 762"/>
                <a:gd name="T189" fmla="*/ 900 h 9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900">
                  <a:moveTo>
                    <a:pt x="90" y="768"/>
                  </a:moveTo>
                  <a:lnTo>
                    <a:pt x="102" y="756"/>
                  </a:lnTo>
                  <a:lnTo>
                    <a:pt x="102" y="750"/>
                  </a:lnTo>
                  <a:lnTo>
                    <a:pt x="90" y="744"/>
                  </a:lnTo>
                  <a:lnTo>
                    <a:pt x="84" y="738"/>
                  </a:lnTo>
                  <a:lnTo>
                    <a:pt x="90" y="726"/>
                  </a:lnTo>
                  <a:lnTo>
                    <a:pt x="84" y="720"/>
                  </a:lnTo>
                  <a:lnTo>
                    <a:pt x="78" y="720"/>
                  </a:lnTo>
                  <a:lnTo>
                    <a:pt x="78" y="708"/>
                  </a:lnTo>
                  <a:lnTo>
                    <a:pt x="78" y="702"/>
                  </a:lnTo>
                  <a:lnTo>
                    <a:pt x="72" y="702"/>
                  </a:lnTo>
                  <a:lnTo>
                    <a:pt x="72" y="696"/>
                  </a:lnTo>
                  <a:lnTo>
                    <a:pt x="84" y="684"/>
                  </a:lnTo>
                  <a:lnTo>
                    <a:pt x="96" y="672"/>
                  </a:lnTo>
                  <a:lnTo>
                    <a:pt x="108" y="666"/>
                  </a:lnTo>
                  <a:lnTo>
                    <a:pt x="102" y="666"/>
                  </a:lnTo>
                  <a:lnTo>
                    <a:pt x="102" y="660"/>
                  </a:lnTo>
                  <a:lnTo>
                    <a:pt x="102" y="654"/>
                  </a:lnTo>
                  <a:lnTo>
                    <a:pt x="108" y="654"/>
                  </a:lnTo>
                  <a:lnTo>
                    <a:pt x="114" y="648"/>
                  </a:lnTo>
                  <a:lnTo>
                    <a:pt x="120" y="642"/>
                  </a:lnTo>
                  <a:lnTo>
                    <a:pt x="120" y="636"/>
                  </a:lnTo>
                  <a:lnTo>
                    <a:pt x="132" y="630"/>
                  </a:lnTo>
                  <a:lnTo>
                    <a:pt x="132" y="624"/>
                  </a:lnTo>
                  <a:lnTo>
                    <a:pt x="114" y="618"/>
                  </a:lnTo>
                  <a:lnTo>
                    <a:pt x="102" y="618"/>
                  </a:lnTo>
                  <a:lnTo>
                    <a:pt x="90" y="618"/>
                  </a:lnTo>
                  <a:lnTo>
                    <a:pt x="78" y="624"/>
                  </a:lnTo>
                  <a:lnTo>
                    <a:pt x="72" y="630"/>
                  </a:lnTo>
                  <a:lnTo>
                    <a:pt x="54" y="642"/>
                  </a:lnTo>
                  <a:lnTo>
                    <a:pt x="42" y="642"/>
                  </a:lnTo>
                  <a:lnTo>
                    <a:pt x="36" y="642"/>
                  </a:lnTo>
                  <a:lnTo>
                    <a:pt x="42" y="642"/>
                  </a:lnTo>
                  <a:lnTo>
                    <a:pt x="42" y="636"/>
                  </a:lnTo>
                  <a:lnTo>
                    <a:pt x="36" y="636"/>
                  </a:lnTo>
                  <a:lnTo>
                    <a:pt x="30" y="642"/>
                  </a:lnTo>
                  <a:lnTo>
                    <a:pt x="30" y="636"/>
                  </a:lnTo>
                  <a:lnTo>
                    <a:pt x="30" y="630"/>
                  </a:lnTo>
                  <a:lnTo>
                    <a:pt x="24" y="630"/>
                  </a:lnTo>
                  <a:lnTo>
                    <a:pt x="30" y="624"/>
                  </a:lnTo>
                  <a:lnTo>
                    <a:pt x="30" y="618"/>
                  </a:lnTo>
                  <a:lnTo>
                    <a:pt x="30" y="612"/>
                  </a:lnTo>
                  <a:lnTo>
                    <a:pt x="36" y="612"/>
                  </a:lnTo>
                  <a:lnTo>
                    <a:pt x="36" y="606"/>
                  </a:lnTo>
                  <a:lnTo>
                    <a:pt x="30" y="606"/>
                  </a:lnTo>
                  <a:lnTo>
                    <a:pt x="24" y="612"/>
                  </a:lnTo>
                  <a:lnTo>
                    <a:pt x="18" y="606"/>
                  </a:lnTo>
                  <a:lnTo>
                    <a:pt x="12" y="594"/>
                  </a:lnTo>
                  <a:lnTo>
                    <a:pt x="6" y="582"/>
                  </a:lnTo>
                  <a:lnTo>
                    <a:pt x="6" y="570"/>
                  </a:lnTo>
                  <a:lnTo>
                    <a:pt x="0" y="558"/>
                  </a:lnTo>
                  <a:lnTo>
                    <a:pt x="6" y="552"/>
                  </a:lnTo>
                  <a:lnTo>
                    <a:pt x="6" y="534"/>
                  </a:lnTo>
                  <a:lnTo>
                    <a:pt x="18" y="516"/>
                  </a:lnTo>
                  <a:lnTo>
                    <a:pt x="30" y="504"/>
                  </a:lnTo>
                  <a:lnTo>
                    <a:pt x="30" y="492"/>
                  </a:lnTo>
                  <a:lnTo>
                    <a:pt x="24" y="480"/>
                  </a:lnTo>
                  <a:lnTo>
                    <a:pt x="12" y="480"/>
                  </a:lnTo>
                  <a:lnTo>
                    <a:pt x="18" y="474"/>
                  </a:lnTo>
                  <a:lnTo>
                    <a:pt x="18" y="468"/>
                  </a:lnTo>
                  <a:lnTo>
                    <a:pt x="18" y="456"/>
                  </a:lnTo>
                  <a:lnTo>
                    <a:pt x="24" y="450"/>
                  </a:lnTo>
                  <a:lnTo>
                    <a:pt x="24" y="444"/>
                  </a:lnTo>
                  <a:lnTo>
                    <a:pt x="30" y="438"/>
                  </a:lnTo>
                  <a:lnTo>
                    <a:pt x="30" y="432"/>
                  </a:lnTo>
                  <a:lnTo>
                    <a:pt x="30" y="426"/>
                  </a:lnTo>
                  <a:lnTo>
                    <a:pt x="42" y="420"/>
                  </a:lnTo>
                  <a:lnTo>
                    <a:pt x="42" y="414"/>
                  </a:lnTo>
                  <a:lnTo>
                    <a:pt x="54" y="408"/>
                  </a:lnTo>
                  <a:lnTo>
                    <a:pt x="54" y="396"/>
                  </a:lnTo>
                  <a:lnTo>
                    <a:pt x="54" y="384"/>
                  </a:lnTo>
                  <a:lnTo>
                    <a:pt x="60" y="378"/>
                  </a:lnTo>
                  <a:lnTo>
                    <a:pt x="66" y="378"/>
                  </a:lnTo>
                  <a:lnTo>
                    <a:pt x="66" y="372"/>
                  </a:lnTo>
                  <a:lnTo>
                    <a:pt x="60" y="366"/>
                  </a:lnTo>
                  <a:lnTo>
                    <a:pt x="60" y="360"/>
                  </a:lnTo>
                  <a:lnTo>
                    <a:pt x="66" y="360"/>
                  </a:lnTo>
                  <a:lnTo>
                    <a:pt x="72" y="354"/>
                  </a:lnTo>
                  <a:lnTo>
                    <a:pt x="78" y="354"/>
                  </a:lnTo>
                  <a:lnTo>
                    <a:pt x="84" y="348"/>
                  </a:lnTo>
                  <a:lnTo>
                    <a:pt x="96" y="348"/>
                  </a:lnTo>
                  <a:lnTo>
                    <a:pt x="96" y="342"/>
                  </a:lnTo>
                  <a:lnTo>
                    <a:pt x="96" y="336"/>
                  </a:lnTo>
                  <a:lnTo>
                    <a:pt x="96" y="330"/>
                  </a:lnTo>
                  <a:lnTo>
                    <a:pt x="96" y="324"/>
                  </a:lnTo>
                  <a:lnTo>
                    <a:pt x="102" y="318"/>
                  </a:lnTo>
                  <a:lnTo>
                    <a:pt x="108" y="312"/>
                  </a:lnTo>
                  <a:lnTo>
                    <a:pt x="96" y="306"/>
                  </a:lnTo>
                  <a:lnTo>
                    <a:pt x="84" y="288"/>
                  </a:lnTo>
                  <a:lnTo>
                    <a:pt x="108" y="258"/>
                  </a:lnTo>
                  <a:lnTo>
                    <a:pt x="102" y="222"/>
                  </a:lnTo>
                  <a:lnTo>
                    <a:pt x="84" y="222"/>
                  </a:lnTo>
                  <a:lnTo>
                    <a:pt x="54" y="216"/>
                  </a:lnTo>
                  <a:lnTo>
                    <a:pt x="54" y="204"/>
                  </a:lnTo>
                  <a:lnTo>
                    <a:pt x="54" y="198"/>
                  </a:lnTo>
                  <a:lnTo>
                    <a:pt x="60" y="192"/>
                  </a:lnTo>
                  <a:lnTo>
                    <a:pt x="72" y="192"/>
                  </a:lnTo>
                  <a:lnTo>
                    <a:pt x="84" y="186"/>
                  </a:lnTo>
                  <a:lnTo>
                    <a:pt x="90" y="186"/>
                  </a:lnTo>
                  <a:lnTo>
                    <a:pt x="90" y="174"/>
                  </a:lnTo>
                  <a:lnTo>
                    <a:pt x="84" y="162"/>
                  </a:lnTo>
                  <a:lnTo>
                    <a:pt x="84" y="150"/>
                  </a:lnTo>
                  <a:lnTo>
                    <a:pt x="84" y="126"/>
                  </a:lnTo>
                  <a:lnTo>
                    <a:pt x="84" y="114"/>
                  </a:lnTo>
                  <a:lnTo>
                    <a:pt x="90" y="102"/>
                  </a:lnTo>
                  <a:lnTo>
                    <a:pt x="96" y="96"/>
                  </a:lnTo>
                  <a:lnTo>
                    <a:pt x="108" y="96"/>
                  </a:lnTo>
                  <a:lnTo>
                    <a:pt x="120" y="90"/>
                  </a:lnTo>
                  <a:lnTo>
                    <a:pt x="126" y="78"/>
                  </a:lnTo>
                  <a:lnTo>
                    <a:pt x="138" y="66"/>
                  </a:lnTo>
                  <a:lnTo>
                    <a:pt x="138" y="48"/>
                  </a:lnTo>
                  <a:lnTo>
                    <a:pt x="138" y="42"/>
                  </a:lnTo>
                  <a:lnTo>
                    <a:pt x="126" y="30"/>
                  </a:lnTo>
                  <a:lnTo>
                    <a:pt x="120" y="18"/>
                  </a:lnTo>
                  <a:lnTo>
                    <a:pt x="132" y="12"/>
                  </a:lnTo>
                  <a:lnTo>
                    <a:pt x="144" y="0"/>
                  </a:lnTo>
                  <a:lnTo>
                    <a:pt x="150" y="6"/>
                  </a:lnTo>
                  <a:lnTo>
                    <a:pt x="162" y="6"/>
                  </a:lnTo>
                  <a:lnTo>
                    <a:pt x="174" y="6"/>
                  </a:lnTo>
                  <a:lnTo>
                    <a:pt x="168" y="54"/>
                  </a:lnTo>
                  <a:lnTo>
                    <a:pt x="162" y="48"/>
                  </a:lnTo>
                  <a:lnTo>
                    <a:pt x="156" y="48"/>
                  </a:lnTo>
                  <a:lnTo>
                    <a:pt x="156" y="54"/>
                  </a:lnTo>
                  <a:lnTo>
                    <a:pt x="162" y="54"/>
                  </a:lnTo>
                  <a:lnTo>
                    <a:pt x="162" y="60"/>
                  </a:lnTo>
                  <a:lnTo>
                    <a:pt x="168" y="60"/>
                  </a:lnTo>
                  <a:lnTo>
                    <a:pt x="174" y="60"/>
                  </a:lnTo>
                  <a:lnTo>
                    <a:pt x="168" y="66"/>
                  </a:lnTo>
                  <a:lnTo>
                    <a:pt x="174" y="66"/>
                  </a:lnTo>
                  <a:lnTo>
                    <a:pt x="174" y="72"/>
                  </a:lnTo>
                  <a:lnTo>
                    <a:pt x="174" y="78"/>
                  </a:lnTo>
                  <a:lnTo>
                    <a:pt x="168" y="72"/>
                  </a:lnTo>
                  <a:lnTo>
                    <a:pt x="156" y="150"/>
                  </a:lnTo>
                  <a:lnTo>
                    <a:pt x="168" y="144"/>
                  </a:lnTo>
                  <a:lnTo>
                    <a:pt x="180" y="150"/>
                  </a:lnTo>
                  <a:lnTo>
                    <a:pt x="186" y="150"/>
                  </a:lnTo>
                  <a:lnTo>
                    <a:pt x="186" y="144"/>
                  </a:lnTo>
                  <a:lnTo>
                    <a:pt x="192" y="150"/>
                  </a:lnTo>
                  <a:lnTo>
                    <a:pt x="222" y="150"/>
                  </a:lnTo>
                  <a:lnTo>
                    <a:pt x="222" y="168"/>
                  </a:lnTo>
                  <a:lnTo>
                    <a:pt x="222" y="186"/>
                  </a:lnTo>
                  <a:lnTo>
                    <a:pt x="234" y="198"/>
                  </a:lnTo>
                  <a:lnTo>
                    <a:pt x="234" y="234"/>
                  </a:lnTo>
                  <a:lnTo>
                    <a:pt x="228" y="270"/>
                  </a:lnTo>
                  <a:lnTo>
                    <a:pt x="246" y="282"/>
                  </a:lnTo>
                  <a:lnTo>
                    <a:pt x="258" y="294"/>
                  </a:lnTo>
                  <a:lnTo>
                    <a:pt x="270" y="300"/>
                  </a:lnTo>
                  <a:lnTo>
                    <a:pt x="294" y="300"/>
                  </a:lnTo>
                  <a:lnTo>
                    <a:pt x="288" y="306"/>
                  </a:lnTo>
                  <a:lnTo>
                    <a:pt x="300" y="312"/>
                  </a:lnTo>
                  <a:lnTo>
                    <a:pt x="306" y="318"/>
                  </a:lnTo>
                  <a:lnTo>
                    <a:pt x="324" y="324"/>
                  </a:lnTo>
                  <a:lnTo>
                    <a:pt x="354" y="318"/>
                  </a:lnTo>
                  <a:lnTo>
                    <a:pt x="354" y="312"/>
                  </a:lnTo>
                  <a:lnTo>
                    <a:pt x="366" y="312"/>
                  </a:lnTo>
                  <a:lnTo>
                    <a:pt x="384" y="312"/>
                  </a:lnTo>
                  <a:lnTo>
                    <a:pt x="390" y="306"/>
                  </a:lnTo>
                  <a:lnTo>
                    <a:pt x="396" y="306"/>
                  </a:lnTo>
                  <a:lnTo>
                    <a:pt x="408" y="306"/>
                  </a:lnTo>
                  <a:lnTo>
                    <a:pt x="426" y="312"/>
                  </a:lnTo>
                  <a:lnTo>
                    <a:pt x="456" y="324"/>
                  </a:lnTo>
                  <a:lnTo>
                    <a:pt x="504" y="330"/>
                  </a:lnTo>
                  <a:lnTo>
                    <a:pt x="510" y="336"/>
                  </a:lnTo>
                  <a:lnTo>
                    <a:pt x="534" y="336"/>
                  </a:lnTo>
                  <a:lnTo>
                    <a:pt x="540" y="336"/>
                  </a:lnTo>
                  <a:lnTo>
                    <a:pt x="546" y="324"/>
                  </a:lnTo>
                  <a:lnTo>
                    <a:pt x="558" y="330"/>
                  </a:lnTo>
                  <a:lnTo>
                    <a:pt x="564" y="330"/>
                  </a:lnTo>
                  <a:lnTo>
                    <a:pt x="570" y="354"/>
                  </a:lnTo>
                  <a:lnTo>
                    <a:pt x="564" y="378"/>
                  </a:lnTo>
                  <a:lnTo>
                    <a:pt x="558" y="396"/>
                  </a:lnTo>
                  <a:lnTo>
                    <a:pt x="546" y="414"/>
                  </a:lnTo>
                  <a:lnTo>
                    <a:pt x="546" y="438"/>
                  </a:lnTo>
                  <a:lnTo>
                    <a:pt x="540" y="456"/>
                  </a:lnTo>
                  <a:lnTo>
                    <a:pt x="540" y="474"/>
                  </a:lnTo>
                  <a:lnTo>
                    <a:pt x="528" y="480"/>
                  </a:lnTo>
                  <a:lnTo>
                    <a:pt x="522" y="492"/>
                  </a:lnTo>
                  <a:lnTo>
                    <a:pt x="504" y="498"/>
                  </a:lnTo>
                  <a:lnTo>
                    <a:pt x="498" y="498"/>
                  </a:lnTo>
                  <a:lnTo>
                    <a:pt x="492" y="504"/>
                  </a:lnTo>
                  <a:lnTo>
                    <a:pt x="486" y="510"/>
                  </a:lnTo>
                  <a:lnTo>
                    <a:pt x="480" y="510"/>
                  </a:lnTo>
                  <a:lnTo>
                    <a:pt x="480" y="516"/>
                  </a:lnTo>
                  <a:lnTo>
                    <a:pt x="474" y="522"/>
                  </a:lnTo>
                  <a:lnTo>
                    <a:pt x="474" y="528"/>
                  </a:lnTo>
                  <a:lnTo>
                    <a:pt x="474" y="534"/>
                  </a:lnTo>
                  <a:lnTo>
                    <a:pt x="480" y="540"/>
                  </a:lnTo>
                  <a:lnTo>
                    <a:pt x="492" y="540"/>
                  </a:lnTo>
                  <a:lnTo>
                    <a:pt x="498" y="546"/>
                  </a:lnTo>
                  <a:lnTo>
                    <a:pt x="504" y="552"/>
                  </a:lnTo>
                  <a:lnTo>
                    <a:pt x="510" y="552"/>
                  </a:lnTo>
                  <a:lnTo>
                    <a:pt x="516" y="558"/>
                  </a:lnTo>
                  <a:lnTo>
                    <a:pt x="528" y="558"/>
                  </a:lnTo>
                  <a:lnTo>
                    <a:pt x="534" y="552"/>
                  </a:lnTo>
                  <a:lnTo>
                    <a:pt x="540" y="552"/>
                  </a:lnTo>
                  <a:lnTo>
                    <a:pt x="546" y="552"/>
                  </a:lnTo>
                  <a:lnTo>
                    <a:pt x="558" y="546"/>
                  </a:lnTo>
                  <a:lnTo>
                    <a:pt x="564" y="540"/>
                  </a:lnTo>
                  <a:lnTo>
                    <a:pt x="564" y="546"/>
                  </a:lnTo>
                  <a:lnTo>
                    <a:pt x="570" y="546"/>
                  </a:lnTo>
                  <a:lnTo>
                    <a:pt x="570" y="540"/>
                  </a:lnTo>
                  <a:lnTo>
                    <a:pt x="570" y="546"/>
                  </a:lnTo>
                  <a:lnTo>
                    <a:pt x="576" y="546"/>
                  </a:lnTo>
                  <a:lnTo>
                    <a:pt x="582" y="546"/>
                  </a:lnTo>
                  <a:lnTo>
                    <a:pt x="588" y="540"/>
                  </a:lnTo>
                  <a:lnTo>
                    <a:pt x="594" y="546"/>
                  </a:lnTo>
                  <a:lnTo>
                    <a:pt x="606" y="546"/>
                  </a:lnTo>
                  <a:lnTo>
                    <a:pt x="612" y="546"/>
                  </a:lnTo>
                  <a:lnTo>
                    <a:pt x="612" y="552"/>
                  </a:lnTo>
                  <a:lnTo>
                    <a:pt x="618" y="552"/>
                  </a:lnTo>
                  <a:lnTo>
                    <a:pt x="624" y="552"/>
                  </a:lnTo>
                  <a:lnTo>
                    <a:pt x="630" y="552"/>
                  </a:lnTo>
                  <a:lnTo>
                    <a:pt x="648" y="546"/>
                  </a:lnTo>
                  <a:lnTo>
                    <a:pt x="654" y="546"/>
                  </a:lnTo>
                  <a:lnTo>
                    <a:pt x="654" y="552"/>
                  </a:lnTo>
                  <a:lnTo>
                    <a:pt x="660" y="558"/>
                  </a:lnTo>
                  <a:lnTo>
                    <a:pt x="666" y="564"/>
                  </a:lnTo>
                  <a:lnTo>
                    <a:pt x="672" y="564"/>
                  </a:lnTo>
                  <a:lnTo>
                    <a:pt x="678" y="564"/>
                  </a:lnTo>
                  <a:lnTo>
                    <a:pt x="696" y="576"/>
                  </a:lnTo>
                  <a:lnTo>
                    <a:pt x="696" y="582"/>
                  </a:lnTo>
                  <a:lnTo>
                    <a:pt x="708" y="588"/>
                  </a:lnTo>
                  <a:lnTo>
                    <a:pt x="708" y="594"/>
                  </a:lnTo>
                  <a:lnTo>
                    <a:pt x="720" y="606"/>
                  </a:lnTo>
                  <a:lnTo>
                    <a:pt x="720" y="618"/>
                  </a:lnTo>
                  <a:lnTo>
                    <a:pt x="720" y="624"/>
                  </a:lnTo>
                  <a:lnTo>
                    <a:pt x="726" y="630"/>
                  </a:lnTo>
                  <a:lnTo>
                    <a:pt x="732" y="636"/>
                  </a:lnTo>
                  <a:lnTo>
                    <a:pt x="732" y="642"/>
                  </a:lnTo>
                  <a:lnTo>
                    <a:pt x="732" y="648"/>
                  </a:lnTo>
                  <a:lnTo>
                    <a:pt x="726" y="654"/>
                  </a:lnTo>
                  <a:lnTo>
                    <a:pt x="720" y="660"/>
                  </a:lnTo>
                  <a:lnTo>
                    <a:pt x="714" y="666"/>
                  </a:lnTo>
                  <a:lnTo>
                    <a:pt x="714" y="672"/>
                  </a:lnTo>
                  <a:lnTo>
                    <a:pt x="714" y="678"/>
                  </a:lnTo>
                  <a:lnTo>
                    <a:pt x="720" y="678"/>
                  </a:lnTo>
                  <a:lnTo>
                    <a:pt x="720" y="684"/>
                  </a:lnTo>
                  <a:lnTo>
                    <a:pt x="714" y="690"/>
                  </a:lnTo>
                  <a:lnTo>
                    <a:pt x="714" y="696"/>
                  </a:lnTo>
                  <a:lnTo>
                    <a:pt x="714" y="702"/>
                  </a:lnTo>
                  <a:lnTo>
                    <a:pt x="714" y="708"/>
                  </a:lnTo>
                  <a:lnTo>
                    <a:pt x="720" y="708"/>
                  </a:lnTo>
                  <a:lnTo>
                    <a:pt x="720" y="720"/>
                  </a:lnTo>
                  <a:lnTo>
                    <a:pt x="720" y="726"/>
                  </a:lnTo>
                  <a:lnTo>
                    <a:pt x="726" y="726"/>
                  </a:lnTo>
                  <a:lnTo>
                    <a:pt x="726" y="732"/>
                  </a:lnTo>
                  <a:lnTo>
                    <a:pt x="732" y="732"/>
                  </a:lnTo>
                  <a:lnTo>
                    <a:pt x="732" y="738"/>
                  </a:lnTo>
                  <a:lnTo>
                    <a:pt x="726" y="738"/>
                  </a:lnTo>
                  <a:lnTo>
                    <a:pt x="720" y="738"/>
                  </a:lnTo>
                  <a:lnTo>
                    <a:pt x="720" y="744"/>
                  </a:lnTo>
                  <a:lnTo>
                    <a:pt x="720" y="750"/>
                  </a:lnTo>
                  <a:lnTo>
                    <a:pt x="714" y="750"/>
                  </a:lnTo>
                  <a:lnTo>
                    <a:pt x="714" y="756"/>
                  </a:lnTo>
                  <a:lnTo>
                    <a:pt x="720" y="756"/>
                  </a:lnTo>
                  <a:lnTo>
                    <a:pt x="714" y="762"/>
                  </a:lnTo>
                  <a:lnTo>
                    <a:pt x="720" y="762"/>
                  </a:lnTo>
                  <a:lnTo>
                    <a:pt x="726" y="768"/>
                  </a:lnTo>
                  <a:lnTo>
                    <a:pt x="726" y="774"/>
                  </a:lnTo>
                  <a:lnTo>
                    <a:pt x="732" y="774"/>
                  </a:lnTo>
                  <a:lnTo>
                    <a:pt x="732" y="780"/>
                  </a:lnTo>
                  <a:lnTo>
                    <a:pt x="726" y="780"/>
                  </a:lnTo>
                  <a:lnTo>
                    <a:pt x="726" y="786"/>
                  </a:lnTo>
                  <a:lnTo>
                    <a:pt x="720" y="786"/>
                  </a:lnTo>
                  <a:lnTo>
                    <a:pt x="726" y="786"/>
                  </a:lnTo>
                  <a:lnTo>
                    <a:pt x="732" y="780"/>
                  </a:lnTo>
                  <a:lnTo>
                    <a:pt x="738" y="780"/>
                  </a:lnTo>
                  <a:lnTo>
                    <a:pt x="744" y="780"/>
                  </a:lnTo>
                  <a:lnTo>
                    <a:pt x="744" y="786"/>
                  </a:lnTo>
                  <a:lnTo>
                    <a:pt x="750" y="786"/>
                  </a:lnTo>
                  <a:lnTo>
                    <a:pt x="744" y="786"/>
                  </a:lnTo>
                  <a:lnTo>
                    <a:pt x="744" y="792"/>
                  </a:lnTo>
                  <a:lnTo>
                    <a:pt x="744" y="786"/>
                  </a:lnTo>
                  <a:lnTo>
                    <a:pt x="738" y="792"/>
                  </a:lnTo>
                  <a:lnTo>
                    <a:pt x="744" y="792"/>
                  </a:lnTo>
                  <a:lnTo>
                    <a:pt x="750" y="792"/>
                  </a:lnTo>
                  <a:lnTo>
                    <a:pt x="750" y="786"/>
                  </a:lnTo>
                  <a:lnTo>
                    <a:pt x="756" y="786"/>
                  </a:lnTo>
                  <a:lnTo>
                    <a:pt x="756" y="792"/>
                  </a:lnTo>
                  <a:lnTo>
                    <a:pt x="762" y="792"/>
                  </a:lnTo>
                  <a:lnTo>
                    <a:pt x="756" y="798"/>
                  </a:lnTo>
                  <a:lnTo>
                    <a:pt x="756" y="804"/>
                  </a:lnTo>
                  <a:lnTo>
                    <a:pt x="756" y="810"/>
                  </a:lnTo>
                  <a:lnTo>
                    <a:pt x="750" y="810"/>
                  </a:lnTo>
                  <a:lnTo>
                    <a:pt x="756" y="810"/>
                  </a:lnTo>
                  <a:lnTo>
                    <a:pt x="756" y="804"/>
                  </a:lnTo>
                  <a:lnTo>
                    <a:pt x="756" y="810"/>
                  </a:lnTo>
                  <a:lnTo>
                    <a:pt x="756" y="816"/>
                  </a:lnTo>
                  <a:lnTo>
                    <a:pt x="750" y="816"/>
                  </a:lnTo>
                  <a:lnTo>
                    <a:pt x="738" y="810"/>
                  </a:lnTo>
                  <a:lnTo>
                    <a:pt x="732" y="810"/>
                  </a:lnTo>
                  <a:lnTo>
                    <a:pt x="732" y="816"/>
                  </a:lnTo>
                  <a:lnTo>
                    <a:pt x="726" y="810"/>
                  </a:lnTo>
                  <a:lnTo>
                    <a:pt x="714" y="816"/>
                  </a:lnTo>
                  <a:lnTo>
                    <a:pt x="708" y="816"/>
                  </a:lnTo>
                  <a:lnTo>
                    <a:pt x="702" y="816"/>
                  </a:lnTo>
                  <a:lnTo>
                    <a:pt x="696" y="816"/>
                  </a:lnTo>
                  <a:lnTo>
                    <a:pt x="690" y="822"/>
                  </a:lnTo>
                  <a:lnTo>
                    <a:pt x="684" y="822"/>
                  </a:lnTo>
                  <a:lnTo>
                    <a:pt x="678" y="822"/>
                  </a:lnTo>
                  <a:lnTo>
                    <a:pt x="672" y="822"/>
                  </a:lnTo>
                  <a:lnTo>
                    <a:pt x="666" y="822"/>
                  </a:lnTo>
                  <a:lnTo>
                    <a:pt x="666" y="828"/>
                  </a:lnTo>
                  <a:lnTo>
                    <a:pt x="654" y="828"/>
                  </a:lnTo>
                  <a:lnTo>
                    <a:pt x="648" y="828"/>
                  </a:lnTo>
                  <a:lnTo>
                    <a:pt x="642" y="828"/>
                  </a:lnTo>
                  <a:lnTo>
                    <a:pt x="630" y="828"/>
                  </a:lnTo>
                  <a:lnTo>
                    <a:pt x="624" y="822"/>
                  </a:lnTo>
                  <a:lnTo>
                    <a:pt x="618" y="822"/>
                  </a:lnTo>
                  <a:lnTo>
                    <a:pt x="612" y="822"/>
                  </a:lnTo>
                  <a:lnTo>
                    <a:pt x="606" y="822"/>
                  </a:lnTo>
                  <a:lnTo>
                    <a:pt x="600" y="822"/>
                  </a:lnTo>
                  <a:lnTo>
                    <a:pt x="594" y="822"/>
                  </a:lnTo>
                  <a:lnTo>
                    <a:pt x="594" y="816"/>
                  </a:lnTo>
                  <a:lnTo>
                    <a:pt x="594" y="810"/>
                  </a:lnTo>
                  <a:lnTo>
                    <a:pt x="600" y="804"/>
                  </a:lnTo>
                  <a:lnTo>
                    <a:pt x="600" y="798"/>
                  </a:lnTo>
                  <a:lnTo>
                    <a:pt x="600" y="792"/>
                  </a:lnTo>
                  <a:lnTo>
                    <a:pt x="606" y="792"/>
                  </a:lnTo>
                  <a:lnTo>
                    <a:pt x="612" y="792"/>
                  </a:lnTo>
                  <a:lnTo>
                    <a:pt x="612" y="786"/>
                  </a:lnTo>
                  <a:lnTo>
                    <a:pt x="618" y="786"/>
                  </a:lnTo>
                  <a:lnTo>
                    <a:pt x="624" y="786"/>
                  </a:lnTo>
                  <a:lnTo>
                    <a:pt x="624" y="780"/>
                  </a:lnTo>
                  <a:lnTo>
                    <a:pt x="630" y="780"/>
                  </a:lnTo>
                  <a:lnTo>
                    <a:pt x="630" y="774"/>
                  </a:lnTo>
                  <a:lnTo>
                    <a:pt x="636" y="774"/>
                  </a:lnTo>
                  <a:lnTo>
                    <a:pt x="642" y="780"/>
                  </a:lnTo>
                  <a:lnTo>
                    <a:pt x="642" y="786"/>
                  </a:lnTo>
                  <a:lnTo>
                    <a:pt x="642" y="792"/>
                  </a:lnTo>
                  <a:lnTo>
                    <a:pt x="648" y="792"/>
                  </a:lnTo>
                  <a:lnTo>
                    <a:pt x="648" y="786"/>
                  </a:lnTo>
                  <a:lnTo>
                    <a:pt x="642" y="786"/>
                  </a:lnTo>
                  <a:lnTo>
                    <a:pt x="642" y="780"/>
                  </a:lnTo>
                  <a:lnTo>
                    <a:pt x="642" y="774"/>
                  </a:lnTo>
                  <a:lnTo>
                    <a:pt x="648" y="768"/>
                  </a:lnTo>
                  <a:lnTo>
                    <a:pt x="642" y="768"/>
                  </a:lnTo>
                  <a:lnTo>
                    <a:pt x="648" y="768"/>
                  </a:lnTo>
                  <a:lnTo>
                    <a:pt x="648" y="762"/>
                  </a:lnTo>
                  <a:lnTo>
                    <a:pt x="654" y="762"/>
                  </a:lnTo>
                  <a:lnTo>
                    <a:pt x="660" y="762"/>
                  </a:lnTo>
                  <a:lnTo>
                    <a:pt x="654" y="762"/>
                  </a:lnTo>
                  <a:lnTo>
                    <a:pt x="660" y="762"/>
                  </a:lnTo>
                  <a:lnTo>
                    <a:pt x="666" y="762"/>
                  </a:lnTo>
                  <a:lnTo>
                    <a:pt x="672" y="756"/>
                  </a:lnTo>
                  <a:lnTo>
                    <a:pt x="666" y="756"/>
                  </a:lnTo>
                  <a:lnTo>
                    <a:pt x="660" y="756"/>
                  </a:lnTo>
                  <a:lnTo>
                    <a:pt x="660" y="750"/>
                  </a:lnTo>
                  <a:lnTo>
                    <a:pt x="654" y="750"/>
                  </a:lnTo>
                  <a:lnTo>
                    <a:pt x="648" y="750"/>
                  </a:lnTo>
                  <a:lnTo>
                    <a:pt x="648" y="756"/>
                  </a:lnTo>
                  <a:lnTo>
                    <a:pt x="642" y="756"/>
                  </a:lnTo>
                  <a:lnTo>
                    <a:pt x="642" y="750"/>
                  </a:lnTo>
                  <a:lnTo>
                    <a:pt x="642" y="744"/>
                  </a:lnTo>
                  <a:lnTo>
                    <a:pt x="642" y="750"/>
                  </a:lnTo>
                  <a:lnTo>
                    <a:pt x="636" y="750"/>
                  </a:lnTo>
                  <a:lnTo>
                    <a:pt x="636" y="744"/>
                  </a:lnTo>
                  <a:lnTo>
                    <a:pt x="630" y="744"/>
                  </a:lnTo>
                  <a:lnTo>
                    <a:pt x="630" y="738"/>
                  </a:lnTo>
                  <a:lnTo>
                    <a:pt x="630" y="744"/>
                  </a:lnTo>
                  <a:lnTo>
                    <a:pt x="630" y="750"/>
                  </a:lnTo>
                  <a:lnTo>
                    <a:pt x="636" y="750"/>
                  </a:lnTo>
                  <a:lnTo>
                    <a:pt x="636" y="756"/>
                  </a:lnTo>
                  <a:lnTo>
                    <a:pt x="630" y="756"/>
                  </a:lnTo>
                  <a:lnTo>
                    <a:pt x="636" y="762"/>
                  </a:lnTo>
                  <a:lnTo>
                    <a:pt x="630" y="762"/>
                  </a:lnTo>
                  <a:lnTo>
                    <a:pt x="624" y="762"/>
                  </a:lnTo>
                  <a:lnTo>
                    <a:pt x="624" y="774"/>
                  </a:lnTo>
                  <a:lnTo>
                    <a:pt x="624" y="780"/>
                  </a:lnTo>
                  <a:lnTo>
                    <a:pt x="624" y="786"/>
                  </a:lnTo>
                  <a:lnTo>
                    <a:pt x="618" y="786"/>
                  </a:lnTo>
                  <a:lnTo>
                    <a:pt x="618" y="780"/>
                  </a:lnTo>
                  <a:lnTo>
                    <a:pt x="618" y="786"/>
                  </a:lnTo>
                  <a:lnTo>
                    <a:pt x="612" y="780"/>
                  </a:lnTo>
                  <a:lnTo>
                    <a:pt x="612" y="774"/>
                  </a:lnTo>
                  <a:lnTo>
                    <a:pt x="612" y="780"/>
                  </a:lnTo>
                  <a:lnTo>
                    <a:pt x="606" y="780"/>
                  </a:lnTo>
                  <a:lnTo>
                    <a:pt x="600" y="780"/>
                  </a:lnTo>
                  <a:lnTo>
                    <a:pt x="600" y="774"/>
                  </a:lnTo>
                  <a:lnTo>
                    <a:pt x="594" y="768"/>
                  </a:lnTo>
                  <a:lnTo>
                    <a:pt x="594" y="762"/>
                  </a:lnTo>
                  <a:lnTo>
                    <a:pt x="594" y="756"/>
                  </a:lnTo>
                  <a:lnTo>
                    <a:pt x="594" y="762"/>
                  </a:lnTo>
                  <a:lnTo>
                    <a:pt x="594" y="768"/>
                  </a:lnTo>
                  <a:lnTo>
                    <a:pt x="594" y="774"/>
                  </a:lnTo>
                  <a:lnTo>
                    <a:pt x="594" y="780"/>
                  </a:lnTo>
                  <a:lnTo>
                    <a:pt x="588" y="780"/>
                  </a:lnTo>
                  <a:lnTo>
                    <a:pt x="582" y="780"/>
                  </a:lnTo>
                  <a:lnTo>
                    <a:pt x="576" y="780"/>
                  </a:lnTo>
                  <a:lnTo>
                    <a:pt x="570" y="780"/>
                  </a:lnTo>
                  <a:lnTo>
                    <a:pt x="564" y="780"/>
                  </a:lnTo>
                  <a:lnTo>
                    <a:pt x="564" y="786"/>
                  </a:lnTo>
                  <a:lnTo>
                    <a:pt x="558" y="786"/>
                  </a:lnTo>
                  <a:lnTo>
                    <a:pt x="552" y="786"/>
                  </a:lnTo>
                  <a:lnTo>
                    <a:pt x="552" y="780"/>
                  </a:lnTo>
                  <a:lnTo>
                    <a:pt x="552" y="774"/>
                  </a:lnTo>
                  <a:lnTo>
                    <a:pt x="552" y="768"/>
                  </a:lnTo>
                  <a:lnTo>
                    <a:pt x="546" y="768"/>
                  </a:lnTo>
                  <a:lnTo>
                    <a:pt x="540" y="762"/>
                  </a:lnTo>
                  <a:lnTo>
                    <a:pt x="540" y="756"/>
                  </a:lnTo>
                  <a:lnTo>
                    <a:pt x="534" y="756"/>
                  </a:lnTo>
                  <a:lnTo>
                    <a:pt x="534" y="750"/>
                  </a:lnTo>
                  <a:lnTo>
                    <a:pt x="534" y="744"/>
                  </a:lnTo>
                  <a:lnTo>
                    <a:pt x="528" y="738"/>
                  </a:lnTo>
                  <a:lnTo>
                    <a:pt x="522" y="738"/>
                  </a:lnTo>
                  <a:lnTo>
                    <a:pt x="522" y="732"/>
                  </a:lnTo>
                  <a:lnTo>
                    <a:pt x="510" y="726"/>
                  </a:lnTo>
                  <a:lnTo>
                    <a:pt x="510" y="720"/>
                  </a:lnTo>
                  <a:lnTo>
                    <a:pt x="504" y="720"/>
                  </a:lnTo>
                  <a:lnTo>
                    <a:pt x="504" y="714"/>
                  </a:lnTo>
                  <a:lnTo>
                    <a:pt x="504" y="708"/>
                  </a:lnTo>
                  <a:lnTo>
                    <a:pt x="498" y="708"/>
                  </a:lnTo>
                  <a:lnTo>
                    <a:pt x="498" y="702"/>
                  </a:lnTo>
                  <a:lnTo>
                    <a:pt x="498" y="696"/>
                  </a:lnTo>
                  <a:lnTo>
                    <a:pt x="492" y="690"/>
                  </a:lnTo>
                  <a:lnTo>
                    <a:pt x="492" y="684"/>
                  </a:lnTo>
                  <a:lnTo>
                    <a:pt x="486" y="684"/>
                  </a:lnTo>
                  <a:lnTo>
                    <a:pt x="486" y="690"/>
                  </a:lnTo>
                  <a:lnTo>
                    <a:pt x="480" y="684"/>
                  </a:lnTo>
                  <a:lnTo>
                    <a:pt x="480" y="678"/>
                  </a:lnTo>
                  <a:lnTo>
                    <a:pt x="474" y="678"/>
                  </a:lnTo>
                  <a:lnTo>
                    <a:pt x="468" y="678"/>
                  </a:lnTo>
                  <a:lnTo>
                    <a:pt x="462" y="678"/>
                  </a:lnTo>
                  <a:lnTo>
                    <a:pt x="462" y="672"/>
                  </a:lnTo>
                  <a:lnTo>
                    <a:pt x="456" y="672"/>
                  </a:lnTo>
                  <a:lnTo>
                    <a:pt x="450" y="672"/>
                  </a:lnTo>
                  <a:lnTo>
                    <a:pt x="450" y="666"/>
                  </a:lnTo>
                  <a:lnTo>
                    <a:pt x="444" y="666"/>
                  </a:lnTo>
                  <a:lnTo>
                    <a:pt x="438" y="660"/>
                  </a:lnTo>
                  <a:lnTo>
                    <a:pt x="438" y="648"/>
                  </a:lnTo>
                  <a:lnTo>
                    <a:pt x="438" y="642"/>
                  </a:lnTo>
                  <a:lnTo>
                    <a:pt x="438" y="636"/>
                  </a:lnTo>
                  <a:lnTo>
                    <a:pt x="432" y="636"/>
                  </a:lnTo>
                  <a:lnTo>
                    <a:pt x="432" y="630"/>
                  </a:lnTo>
                  <a:lnTo>
                    <a:pt x="432" y="636"/>
                  </a:lnTo>
                  <a:lnTo>
                    <a:pt x="426" y="636"/>
                  </a:lnTo>
                  <a:lnTo>
                    <a:pt x="420" y="636"/>
                  </a:lnTo>
                  <a:lnTo>
                    <a:pt x="420" y="642"/>
                  </a:lnTo>
                  <a:lnTo>
                    <a:pt x="426" y="642"/>
                  </a:lnTo>
                  <a:lnTo>
                    <a:pt x="432" y="642"/>
                  </a:lnTo>
                  <a:lnTo>
                    <a:pt x="432" y="648"/>
                  </a:lnTo>
                  <a:lnTo>
                    <a:pt x="432" y="654"/>
                  </a:lnTo>
                  <a:lnTo>
                    <a:pt x="432" y="660"/>
                  </a:lnTo>
                  <a:lnTo>
                    <a:pt x="432" y="666"/>
                  </a:lnTo>
                  <a:lnTo>
                    <a:pt x="438" y="666"/>
                  </a:lnTo>
                  <a:lnTo>
                    <a:pt x="438" y="672"/>
                  </a:lnTo>
                  <a:lnTo>
                    <a:pt x="444" y="672"/>
                  </a:lnTo>
                  <a:lnTo>
                    <a:pt x="444" y="678"/>
                  </a:lnTo>
                  <a:lnTo>
                    <a:pt x="450" y="678"/>
                  </a:lnTo>
                  <a:lnTo>
                    <a:pt x="456" y="678"/>
                  </a:lnTo>
                  <a:lnTo>
                    <a:pt x="456" y="684"/>
                  </a:lnTo>
                  <a:lnTo>
                    <a:pt x="462" y="684"/>
                  </a:lnTo>
                  <a:lnTo>
                    <a:pt x="468" y="684"/>
                  </a:lnTo>
                  <a:lnTo>
                    <a:pt x="468" y="690"/>
                  </a:lnTo>
                  <a:lnTo>
                    <a:pt x="474" y="690"/>
                  </a:lnTo>
                  <a:lnTo>
                    <a:pt x="480" y="690"/>
                  </a:lnTo>
                  <a:lnTo>
                    <a:pt x="480" y="696"/>
                  </a:lnTo>
                  <a:lnTo>
                    <a:pt x="486" y="702"/>
                  </a:lnTo>
                  <a:lnTo>
                    <a:pt x="486" y="708"/>
                  </a:lnTo>
                  <a:lnTo>
                    <a:pt x="492" y="714"/>
                  </a:lnTo>
                  <a:lnTo>
                    <a:pt x="492" y="720"/>
                  </a:lnTo>
                  <a:lnTo>
                    <a:pt x="492" y="726"/>
                  </a:lnTo>
                  <a:lnTo>
                    <a:pt x="498" y="732"/>
                  </a:lnTo>
                  <a:lnTo>
                    <a:pt x="492" y="738"/>
                  </a:lnTo>
                  <a:lnTo>
                    <a:pt x="492" y="744"/>
                  </a:lnTo>
                  <a:lnTo>
                    <a:pt x="492" y="750"/>
                  </a:lnTo>
                  <a:lnTo>
                    <a:pt x="486" y="750"/>
                  </a:lnTo>
                  <a:lnTo>
                    <a:pt x="480" y="750"/>
                  </a:lnTo>
                  <a:lnTo>
                    <a:pt x="480" y="744"/>
                  </a:lnTo>
                  <a:lnTo>
                    <a:pt x="474" y="744"/>
                  </a:lnTo>
                  <a:lnTo>
                    <a:pt x="474" y="738"/>
                  </a:lnTo>
                  <a:lnTo>
                    <a:pt x="468" y="738"/>
                  </a:lnTo>
                  <a:lnTo>
                    <a:pt x="468" y="744"/>
                  </a:lnTo>
                  <a:lnTo>
                    <a:pt x="474" y="750"/>
                  </a:lnTo>
                  <a:lnTo>
                    <a:pt x="480" y="756"/>
                  </a:lnTo>
                  <a:lnTo>
                    <a:pt x="486" y="756"/>
                  </a:lnTo>
                  <a:lnTo>
                    <a:pt x="492" y="762"/>
                  </a:lnTo>
                  <a:lnTo>
                    <a:pt x="498" y="768"/>
                  </a:lnTo>
                  <a:lnTo>
                    <a:pt x="492" y="774"/>
                  </a:lnTo>
                  <a:lnTo>
                    <a:pt x="492" y="780"/>
                  </a:lnTo>
                  <a:lnTo>
                    <a:pt x="498" y="780"/>
                  </a:lnTo>
                  <a:lnTo>
                    <a:pt x="492" y="786"/>
                  </a:lnTo>
                  <a:lnTo>
                    <a:pt x="492" y="792"/>
                  </a:lnTo>
                  <a:lnTo>
                    <a:pt x="492" y="798"/>
                  </a:lnTo>
                  <a:lnTo>
                    <a:pt x="486" y="804"/>
                  </a:lnTo>
                  <a:lnTo>
                    <a:pt x="480" y="804"/>
                  </a:lnTo>
                  <a:lnTo>
                    <a:pt x="480" y="810"/>
                  </a:lnTo>
                  <a:lnTo>
                    <a:pt x="480" y="804"/>
                  </a:lnTo>
                  <a:lnTo>
                    <a:pt x="474" y="804"/>
                  </a:lnTo>
                  <a:lnTo>
                    <a:pt x="474" y="798"/>
                  </a:lnTo>
                  <a:lnTo>
                    <a:pt x="474" y="804"/>
                  </a:lnTo>
                  <a:lnTo>
                    <a:pt x="468" y="804"/>
                  </a:lnTo>
                  <a:lnTo>
                    <a:pt x="468" y="810"/>
                  </a:lnTo>
                  <a:lnTo>
                    <a:pt x="462" y="810"/>
                  </a:lnTo>
                  <a:lnTo>
                    <a:pt x="456" y="810"/>
                  </a:lnTo>
                  <a:lnTo>
                    <a:pt x="450" y="810"/>
                  </a:lnTo>
                  <a:lnTo>
                    <a:pt x="450" y="816"/>
                  </a:lnTo>
                  <a:lnTo>
                    <a:pt x="456" y="816"/>
                  </a:lnTo>
                  <a:lnTo>
                    <a:pt x="456" y="822"/>
                  </a:lnTo>
                  <a:lnTo>
                    <a:pt x="450" y="822"/>
                  </a:lnTo>
                  <a:lnTo>
                    <a:pt x="450" y="816"/>
                  </a:lnTo>
                  <a:lnTo>
                    <a:pt x="444" y="816"/>
                  </a:lnTo>
                  <a:lnTo>
                    <a:pt x="438" y="810"/>
                  </a:lnTo>
                  <a:lnTo>
                    <a:pt x="432" y="810"/>
                  </a:lnTo>
                  <a:lnTo>
                    <a:pt x="426" y="804"/>
                  </a:lnTo>
                  <a:lnTo>
                    <a:pt x="426" y="798"/>
                  </a:lnTo>
                  <a:lnTo>
                    <a:pt x="420" y="798"/>
                  </a:lnTo>
                  <a:lnTo>
                    <a:pt x="426" y="798"/>
                  </a:lnTo>
                  <a:lnTo>
                    <a:pt x="426" y="792"/>
                  </a:lnTo>
                  <a:lnTo>
                    <a:pt x="426" y="786"/>
                  </a:lnTo>
                  <a:lnTo>
                    <a:pt x="432" y="786"/>
                  </a:lnTo>
                  <a:lnTo>
                    <a:pt x="432" y="780"/>
                  </a:lnTo>
                  <a:lnTo>
                    <a:pt x="426" y="774"/>
                  </a:lnTo>
                  <a:lnTo>
                    <a:pt x="420" y="768"/>
                  </a:lnTo>
                  <a:lnTo>
                    <a:pt x="420" y="762"/>
                  </a:lnTo>
                  <a:lnTo>
                    <a:pt x="420" y="756"/>
                  </a:lnTo>
                  <a:lnTo>
                    <a:pt x="420" y="750"/>
                  </a:lnTo>
                  <a:lnTo>
                    <a:pt x="414" y="750"/>
                  </a:lnTo>
                  <a:lnTo>
                    <a:pt x="420" y="750"/>
                  </a:lnTo>
                  <a:lnTo>
                    <a:pt x="420" y="744"/>
                  </a:lnTo>
                  <a:lnTo>
                    <a:pt x="414" y="744"/>
                  </a:lnTo>
                  <a:lnTo>
                    <a:pt x="414" y="738"/>
                  </a:lnTo>
                  <a:lnTo>
                    <a:pt x="414" y="732"/>
                  </a:lnTo>
                  <a:lnTo>
                    <a:pt x="408" y="732"/>
                  </a:lnTo>
                  <a:lnTo>
                    <a:pt x="408" y="726"/>
                  </a:lnTo>
                  <a:lnTo>
                    <a:pt x="402" y="726"/>
                  </a:lnTo>
                  <a:lnTo>
                    <a:pt x="396" y="726"/>
                  </a:lnTo>
                  <a:lnTo>
                    <a:pt x="390" y="726"/>
                  </a:lnTo>
                  <a:lnTo>
                    <a:pt x="390" y="720"/>
                  </a:lnTo>
                  <a:lnTo>
                    <a:pt x="390" y="714"/>
                  </a:lnTo>
                  <a:lnTo>
                    <a:pt x="384" y="708"/>
                  </a:lnTo>
                  <a:lnTo>
                    <a:pt x="384" y="702"/>
                  </a:lnTo>
                  <a:lnTo>
                    <a:pt x="378" y="702"/>
                  </a:lnTo>
                  <a:lnTo>
                    <a:pt x="378" y="696"/>
                  </a:lnTo>
                  <a:lnTo>
                    <a:pt x="378" y="690"/>
                  </a:lnTo>
                  <a:lnTo>
                    <a:pt x="372" y="684"/>
                  </a:lnTo>
                  <a:lnTo>
                    <a:pt x="372" y="678"/>
                  </a:lnTo>
                  <a:lnTo>
                    <a:pt x="372" y="672"/>
                  </a:lnTo>
                  <a:lnTo>
                    <a:pt x="366" y="672"/>
                  </a:lnTo>
                  <a:lnTo>
                    <a:pt x="366" y="666"/>
                  </a:lnTo>
                  <a:lnTo>
                    <a:pt x="366" y="660"/>
                  </a:lnTo>
                  <a:lnTo>
                    <a:pt x="366" y="654"/>
                  </a:lnTo>
                  <a:lnTo>
                    <a:pt x="360" y="648"/>
                  </a:lnTo>
                  <a:lnTo>
                    <a:pt x="360" y="654"/>
                  </a:lnTo>
                  <a:lnTo>
                    <a:pt x="360" y="660"/>
                  </a:lnTo>
                  <a:lnTo>
                    <a:pt x="360" y="666"/>
                  </a:lnTo>
                  <a:lnTo>
                    <a:pt x="360" y="672"/>
                  </a:lnTo>
                  <a:lnTo>
                    <a:pt x="360" y="678"/>
                  </a:lnTo>
                  <a:lnTo>
                    <a:pt x="366" y="678"/>
                  </a:lnTo>
                  <a:lnTo>
                    <a:pt x="366" y="684"/>
                  </a:lnTo>
                  <a:lnTo>
                    <a:pt x="366" y="690"/>
                  </a:lnTo>
                  <a:lnTo>
                    <a:pt x="372" y="696"/>
                  </a:lnTo>
                  <a:lnTo>
                    <a:pt x="372" y="702"/>
                  </a:lnTo>
                  <a:lnTo>
                    <a:pt x="372" y="708"/>
                  </a:lnTo>
                  <a:lnTo>
                    <a:pt x="372" y="714"/>
                  </a:lnTo>
                  <a:lnTo>
                    <a:pt x="366" y="714"/>
                  </a:lnTo>
                  <a:lnTo>
                    <a:pt x="360" y="714"/>
                  </a:lnTo>
                  <a:lnTo>
                    <a:pt x="354" y="714"/>
                  </a:lnTo>
                  <a:lnTo>
                    <a:pt x="348" y="714"/>
                  </a:lnTo>
                  <a:lnTo>
                    <a:pt x="348" y="708"/>
                  </a:lnTo>
                  <a:lnTo>
                    <a:pt x="342" y="708"/>
                  </a:lnTo>
                  <a:lnTo>
                    <a:pt x="342" y="702"/>
                  </a:lnTo>
                  <a:lnTo>
                    <a:pt x="342" y="696"/>
                  </a:lnTo>
                  <a:lnTo>
                    <a:pt x="336" y="696"/>
                  </a:lnTo>
                  <a:lnTo>
                    <a:pt x="336" y="690"/>
                  </a:lnTo>
                  <a:lnTo>
                    <a:pt x="336" y="684"/>
                  </a:lnTo>
                  <a:lnTo>
                    <a:pt x="330" y="684"/>
                  </a:lnTo>
                  <a:lnTo>
                    <a:pt x="330" y="678"/>
                  </a:lnTo>
                  <a:lnTo>
                    <a:pt x="324" y="672"/>
                  </a:lnTo>
                  <a:lnTo>
                    <a:pt x="324" y="666"/>
                  </a:lnTo>
                  <a:lnTo>
                    <a:pt x="318" y="666"/>
                  </a:lnTo>
                  <a:lnTo>
                    <a:pt x="318" y="672"/>
                  </a:lnTo>
                  <a:lnTo>
                    <a:pt x="324" y="672"/>
                  </a:lnTo>
                  <a:lnTo>
                    <a:pt x="324" y="678"/>
                  </a:lnTo>
                  <a:lnTo>
                    <a:pt x="324" y="684"/>
                  </a:lnTo>
                  <a:lnTo>
                    <a:pt x="330" y="684"/>
                  </a:lnTo>
                  <a:lnTo>
                    <a:pt x="330" y="690"/>
                  </a:lnTo>
                  <a:lnTo>
                    <a:pt x="330" y="696"/>
                  </a:lnTo>
                  <a:lnTo>
                    <a:pt x="336" y="702"/>
                  </a:lnTo>
                  <a:lnTo>
                    <a:pt x="342" y="708"/>
                  </a:lnTo>
                  <a:lnTo>
                    <a:pt x="342" y="714"/>
                  </a:lnTo>
                  <a:lnTo>
                    <a:pt x="348" y="720"/>
                  </a:lnTo>
                  <a:lnTo>
                    <a:pt x="342" y="720"/>
                  </a:lnTo>
                  <a:lnTo>
                    <a:pt x="336" y="720"/>
                  </a:lnTo>
                  <a:lnTo>
                    <a:pt x="330" y="720"/>
                  </a:lnTo>
                  <a:lnTo>
                    <a:pt x="330" y="726"/>
                  </a:lnTo>
                  <a:lnTo>
                    <a:pt x="336" y="726"/>
                  </a:lnTo>
                  <a:lnTo>
                    <a:pt x="330" y="732"/>
                  </a:lnTo>
                  <a:lnTo>
                    <a:pt x="330" y="738"/>
                  </a:lnTo>
                  <a:lnTo>
                    <a:pt x="330" y="744"/>
                  </a:lnTo>
                  <a:lnTo>
                    <a:pt x="336" y="744"/>
                  </a:lnTo>
                  <a:lnTo>
                    <a:pt x="342" y="744"/>
                  </a:lnTo>
                  <a:lnTo>
                    <a:pt x="348" y="744"/>
                  </a:lnTo>
                  <a:lnTo>
                    <a:pt x="348" y="750"/>
                  </a:lnTo>
                  <a:lnTo>
                    <a:pt x="354" y="750"/>
                  </a:lnTo>
                  <a:lnTo>
                    <a:pt x="360" y="756"/>
                  </a:lnTo>
                  <a:lnTo>
                    <a:pt x="360" y="762"/>
                  </a:lnTo>
                  <a:lnTo>
                    <a:pt x="366" y="762"/>
                  </a:lnTo>
                  <a:lnTo>
                    <a:pt x="366" y="768"/>
                  </a:lnTo>
                  <a:lnTo>
                    <a:pt x="366" y="774"/>
                  </a:lnTo>
                  <a:lnTo>
                    <a:pt x="366" y="780"/>
                  </a:lnTo>
                  <a:lnTo>
                    <a:pt x="366" y="786"/>
                  </a:lnTo>
                  <a:lnTo>
                    <a:pt x="366" y="780"/>
                  </a:lnTo>
                  <a:lnTo>
                    <a:pt x="366" y="786"/>
                  </a:lnTo>
                  <a:lnTo>
                    <a:pt x="372" y="792"/>
                  </a:lnTo>
                  <a:lnTo>
                    <a:pt x="372" y="798"/>
                  </a:lnTo>
                  <a:lnTo>
                    <a:pt x="372" y="804"/>
                  </a:lnTo>
                  <a:lnTo>
                    <a:pt x="378" y="804"/>
                  </a:lnTo>
                  <a:lnTo>
                    <a:pt x="378" y="810"/>
                  </a:lnTo>
                  <a:lnTo>
                    <a:pt x="378" y="816"/>
                  </a:lnTo>
                  <a:lnTo>
                    <a:pt x="372" y="816"/>
                  </a:lnTo>
                  <a:lnTo>
                    <a:pt x="378" y="816"/>
                  </a:lnTo>
                  <a:lnTo>
                    <a:pt x="378" y="822"/>
                  </a:lnTo>
                  <a:lnTo>
                    <a:pt x="378" y="828"/>
                  </a:lnTo>
                  <a:lnTo>
                    <a:pt x="378" y="834"/>
                  </a:lnTo>
                  <a:lnTo>
                    <a:pt x="384" y="834"/>
                  </a:lnTo>
                  <a:lnTo>
                    <a:pt x="384" y="840"/>
                  </a:lnTo>
                  <a:lnTo>
                    <a:pt x="390" y="840"/>
                  </a:lnTo>
                  <a:lnTo>
                    <a:pt x="390" y="846"/>
                  </a:lnTo>
                  <a:lnTo>
                    <a:pt x="396" y="846"/>
                  </a:lnTo>
                  <a:lnTo>
                    <a:pt x="396" y="852"/>
                  </a:lnTo>
                  <a:lnTo>
                    <a:pt x="396" y="858"/>
                  </a:lnTo>
                  <a:lnTo>
                    <a:pt x="396" y="852"/>
                  </a:lnTo>
                  <a:lnTo>
                    <a:pt x="396" y="858"/>
                  </a:lnTo>
                  <a:lnTo>
                    <a:pt x="390" y="864"/>
                  </a:lnTo>
                  <a:lnTo>
                    <a:pt x="384" y="864"/>
                  </a:lnTo>
                  <a:lnTo>
                    <a:pt x="384" y="870"/>
                  </a:lnTo>
                  <a:lnTo>
                    <a:pt x="378" y="864"/>
                  </a:lnTo>
                  <a:lnTo>
                    <a:pt x="372" y="864"/>
                  </a:lnTo>
                  <a:lnTo>
                    <a:pt x="366" y="858"/>
                  </a:lnTo>
                  <a:lnTo>
                    <a:pt x="366" y="852"/>
                  </a:lnTo>
                  <a:lnTo>
                    <a:pt x="360" y="852"/>
                  </a:lnTo>
                  <a:lnTo>
                    <a:pt x="360" y="858"/>
                  </a:lnTo>
                  <a:lnTo>
                    <a:pt x="366" y="858"/>
                  </a:lnTo>
                  <a:lnTo>
                    <a:pt x="366" y="864"/>
                  </a:lnTo>
                  <a:lnTo>
                    <a:pt x="360" y="864"/>
                  </a:lnTo>
                  <a:lnTo>
                    <a:pt x="354" y="864"/>
                  </a:lnTo>
                  <a:lnTo>
                    <a:pt x="354" y="870"/>
                  </a:lnTo>
                  <a:lnTo>
                    <a:pt x="354" y="864"/>
                  </a:lnTo>
                  <a:lnTo>
                    <a:pt x="348" y="864"/>
                  </a:lnTo>
                  <a:lnTo>
                    <a:pt x="342" y="864"/>
                  </a:lnTo>
                  <a:lnTo>
                    <a:pt x="342" y="858"/>
                  </a:lnTo>
                  <a:lnTo>
                    <a:pt x="336" y="858"/>
                  </a:lnTo>
                  <a:lnTo>
                    <a:pt x="330" y="858"/>
                  </a:lnTo>
                  <a:lnTo>
                    <a:pt x="324" y="858"/>
                  </a:lnTo>
                  <a:lnTo>
                    <a:pt x="318" y="858"/>
                  </a:lnTo>
                  <a:lnTo>
                    <a:pt x="312" y="852"/>
                  </a:lnTo>
                  <a:lnTo>
                    <a:pt x="306" y="852"/>
                  </a:lnTo>
                  <a:lnTo>
                    <a:pt x="300" y="852"/>
                  </a:lnTo>
                  <a:lnTo>
                    <a:pt x="294" y="852"/>
                  </a:lnTo>
                  <a:lnTo>
                    <a:pt x="294" y="846"/>
                  </a:lnTo>
                  <a:lnTo>
                    <a:pt x="288" y="840"/>
                  </a:lnTo>
                  <a:lnTo>
                    <a:pt x="288" y="828"/>
                  </a:lnTo>
                  <a:lnTo>
                    <a:pt x="288" y="822"/>
                  </a:lnTo>
                  <a:lnTo>
                    <a:pt x="282" y="822"/>
                  </a:lnTo>
                  <a:lnTo>
                    <a:pt x="288" y="822"/>
                  </a:lnTo>
                  <a:lnTo>
                    <a:pt x="282" y="822"/>
                  </a:lnTo>
                  <a:lnTo>
                    <a:pt x="282" y="816"/>
                  </a:lnTo>
                  <a:lnTo>
                    <a:pt x="282" y="810"/>
                  </a:lnTo>
                  <a:lnTo>
                    <a:pt x="276" y="810"/>
                  </a:lnTo>
                  <a:lnTo>
                    <a:pt x="276" y="804"/>
                  </a:lnTo>
                  <a:lnTo>
                    <a:pt x="276" y="798"/>
                  </a:lnTo>
                  <a:lnTo>
                    <a:pt x="276" y="792"/>
                  </a:lnTo>
                  <a:lnTo>
                    <a:pt x="270" y="786"/>
                  </a:lnTo>
                  <a:lnTo>
                    <a:pt x="270" y="780"/>
                  </a:lnTo>
                  <a:lnTo>
                    <a:pt x="270" y="774"/>
                  </a:lnTo>
                  <a:lnTo>
                    <a:pt x="264" y="768"/>
                  </a:lnTo>
                  <a:lnTo>
                    <a:pt x="264" y="762"/>
                  </a:lnTo>
                  <a:lnTo>
                    <a:pt x="264" y="756"/>
                  </a:lnTo>
                  <a:lnTo>
                    <a:pt x="264" y="750"/>
                  </a:lnTo>
                  <a:lnTo>
                    <a:pt x="264" y="744"/>
                  </a:lnTo>
                  <a:lnTo>
                    <a:pt x="264" y="738"/>
                  </a:lnTo>
                  <a:lnTo>
                    <a:pt x="264" y="732"/>
                  </a:lnTo>
                  <a:lnTo>
                    <a:pt x="270" y="732"/>
                  </a:lnTo>
                  <a:lnTo>
                    <a:pt x="276" y="726"/>
                  </a:lnTo>
                  <a:lnTo>
                    <a:pt x="276" y="720"/>
                  </a:lnTo>
                  <a:lnTo>
                    <a:pt x="282" y="720"/>
                  </a:lnTo>
                  <a:lnTo>
                    <a:pt x="282" y="714"/>
                  </a:lnTo>
                  <a:lnTo>
                    <a:pt x="282" y="708"/>
                  </a:lnTo>
                  <a:lnTo>
                    <a:pt x="276" y="708"/>
                  </a:lnTo>
                  <a:lnTo>
                    <a:pt x="276" y="702"/>
                  </a:lnTo>
                  <a:lnTo>
                    <a:pt x="270" y="702"/>
                  </a:lnTo>
                  <a:lnTo>
                    <a:pt x="270" y="696"/>
                  </a:lnTo>
                  <a:lnTo>
                    <a:pt x="264" y="690"/>
                  </a:lnTo>
                  <a:lnTo>
                    <a:pt x="258" y="690"/>
                  </a:lnTo>
                  <a:lnTo>
                    <a:pt x="258" y="684"/>
                  </a:lnTo>
                  <a:lnTo>
                    <a:pt x="252" y="684"/>
                  </a:lnTo>
                  <a:lnTo>
                    <a:pt x="252" y="678"/>
                  </a:lnTo>
                  <a:lnTo>
                    <a:pt x="246" y="678"/>
                  </a:lnTo>
                  <a:lnTo>
                    <a:pt x="240" y="678"/>
                  </a:lnTo>
                  <a:lnTo>
                    <a:pt x="240" y="684"/>
                  </a:lnTo>
                  <a:lnTo>
                    <a:pt x="246" y="684"/>
                  </a:lnTo>
                  <a:lnTo>
                    <a:pt x="252" y="690"/>
                  </a:lnTo>
                  <a:lnTo>
                    <a:pt x="258" y="690"/>
                  </a:lnTo>
                  <a:lnTo>
                    <a:pt x="258" y="696"/>
                  </a:lnTo>
                  <a:lnTo>
                    <a:pt x="258" y="702"/>
                  </a:lnTo>
                  <a:lnTo>
                    <a:pt x="264" y="702"/>
                  </a:lnTo>
                  <a:lnTo>
                    <a:pt x="270" y="708"/>
                  </a:lnTo>
                  <a:lnTo>
                    <a:pt x="270" y="714"/>
                  </a:lnTo>
                  <a:lnTo>
                    <a:pt x="270" y="720"/>
                  </a:lnTo>
                  <a:lnTo>
                    <a:pt x="276" y="720"/>
                  </a:lnTo>
                  <a:lnTo>
                    <a:pt x="270" y="720"/>
                  </a:lnTo>
                  <a:lnTo>
                    <a:pt x="270" y="726"/>
                  </a:lnTo>
                  <a:lnTo>
                    <a:pt x="264" y="726"/>
                  </a:lnTo>
                  <a:lnTo>
                    <a:pt x="264" y="732"/>
                  </a:lnTo>
                  <a:lnTo>
                    <a:pt x="258" y="732"/>
                  </a:lnTo>
                  <a:lnTo>
                    <a:pt x="252" y="738"/>
                  </a:lnTo>
                  <a:lnTo>
                    <a:pt x="252" y="744"/>
                  </a:lnTo>
                  <a:lnTo>
                    <a:pt x="252" y="750"/>
                  </a:lnTo>
                  <a:lnTo>
                    <a:pt x="252" y="756"/>
                  </a:lnTo>
                  <a:lnTo>
                    <a:pt x="258" y="762"/>
                  </a:lnTo>
                  <a:lnTo>
                    <a:pt x="258" y="768"/>
                  </a:lnTo>
                  <a:lnTo>
                    <a:pt x="258" y="774"/>
                  </a:lnTo>
                  <a:lnTo>
                    <a:pt x="258" y="780"/>
                  </a:lnTo>
                  <a:lnTo>
                    <a:pt x="264" y="786"/>
                  </a:lnTo>
                  <a:lnTo>
                    <a:pt x="264" y="792"/>
                  </a:lnTo>
                  <a:lnTo>
                    <a:pt x="264" y="798"/>
                  </a:lnTo>
                  <a:lnTo>
                    <a:pt x="270" y="810"/>
                  </a:lnTo>
                  <a:lnTo>
                    <a:pt x="270" y="816"/>
                  </a:lnTo>
                  <a:lnTo>
                    <a:pt x="270" y="822"/>
                  </a:lnTo>
                  <a:lnTo>
                    <a:pt x="276" y="822"/>
                  </a:lnTo>
                  <a:lnTo>
                    <a:pt x="276" y="828"/>
                  </a:lnTo>
                  <a:lnTo>
                    <a:pt x="276" y="834"/>
                  </a:lnTo>
                  <a:lnTo>
                    <a:pt x="276" y="840"/>
                  </a:lnTo>
                  <a:lnTo>
                    <a:pt x="276" y="846"/>
                  </a:lnTo>
                  <a:lnTo>
                    <a:pt x="282" y="852"/>
                  </a:lnTo>
                  <a:lnTo>
                    <a:pt x="282" y="858"/>
                  </a:lnTo>
                  <a:lnTo>
                    <a:pt x="294" y="864"/>
                  </a:lnTo>
                  <a:lnTo>
                    <a:pt x="300" y="870"/>
                  </a:lnTo>
                  <a:lnTo>
                    <a:pt x="300" y="876"/>
                  </a:lnTo>
                  <a:lnTo>
                    <a:pt x="288" y="876"/>
                  </a:lnTo>
                  <a:lnTo>
                    <a:pt x="282" y="876"/>
                  </a:lnTo>
                  <a:lnTo>
                    <a:pt x="276" y="876"/>
                  </a:lnTo>
                  <a:lnTo>
                    <a:pt x="264" y="876"/>
                  </a:lnTo>
                  <a:lnTo>
                    <a:pt x="258" y="876"/>
                  </a:lnTo>
                  <a:lnTo>
                    <a:pt x="252" y="882"/>
                  </a:lnTo>
                  <a:lnTo>
                    <a:pt x="246" y="882"/>
                  </a:lnTo>
                  <a:lnTo>
                    <a:pt x="240" y="882"/>
                  </a:lnTo>
                  <a:lnTo>
                    <a:pt x="234" y="882"/>
                  </a:lnTo>
                  <a:lnTo>
                    <a:pt x="222" y="882"/>
                  </a:lnTo>
                  <a:lnTo>
                    <a:pt x="216" y="882"/>
                  </a:lnTo>
                  <a:lnTo>
                    <a:pt x="210" y="882"/>
                  </a:lnTo>
                  <a:lnTo>
                    <a:pt x="204" y="882"/>
                  </a:lnTo>
                  <a:lnTo>
                    <a:pt x="204" y="876"/>
                  </a:lnTo>
                  <a:lnTo>
                    <a:pt x="198" y="876"/>
                  </a:lnTo>
                  <a:lnTo>
                    <a:pt x="198" y="870"/>
                  </a:lnTo>
                  <a:lnTo>
                    <a:pt x="198" y="852"/>
                  </a:lnTo>
                  <a:lnTo>
                    <a:pt x="198" y="846"/>
                  </a:lnTo>
                  <a:lnTo>
                    <a:pt x="204" y="846"/>
                  </a:lnTo>
                  <a:lnTo>
                    <a:pt x="198" y="840"/>
                  </a:lnTo>
                  <a:lnTo>
                    <a:pt x="198" y="834"/>
                  </a:lnTo>
                  <a:lnTo>
                    <a:pt x="198" y="828"/>
                  </a:lnTo>
                  <a:lnTo>
                    <a:pt x="198" y="822"/>
                  </a:lnTo>
                  <a:lnTo>
                    <a:pt x="198" y="816"/>
                  </a:lnTo>
                  <a:lnTo>
                    <a:pt x="198" y="810"/>
                  </a:lnTo>
                  <a:lnTo>
                    <a:pt x="192" y="810"/>
                  </a:lnTo>
                  <a:lnTo>
                    <a:pt x="192" y="804"/>
                  </a:lnTo>
                  <a:lnTo>
                    <a:pt x="192" y="798"/>
                  </a:lnTo>
                  <a:lnTo>
                    <a:pt x="186" y="786"/>
                  </a:lnTo>
                  <a:lnTo>
                    <a:pt x="192" y="786"/>
                  </a:lnTo>
                  <a:lnTo>
                    <a:pt x="192" y="780"/>
                  </a:lnTo>
                  <a:lnTo>
                    <a:pt x="192" y="774"/>
                  </a:lnTo>
                  <a:lnTo>
                    <a:pt x="192" y="768"/>
                  </a:lnTo>
                  <a:lnTo>
                    <a:pt x="198" y="768"/>
                  </a:lnTo>
                  <a:lnTo>
                    <a:pt x="198" y="762"/>
                  </a:lnTo>
                  <a:lnTo>
                    <a:pt x="198" y="756"/>
                  </a:lnTo>
                  <a:lnTo>
                    <a:pt x="204" y="756"/>
                  </a:lnTo>
                  <a:lnTo>
                    <a:pt x="204" y="750"/>
                  </a:lnTo>
                  <a:lnTo>
                    <a:pt x="210" y="744"/>
                  </a:lnTo>
                  <a:lnTo>
                    <a:pt x="210" y="738"/>
                  </a:lnTo>
                  <a:lnTo>
                    <a:pt x="210" y="732"/>
                  </a:lnTo>
                  <a:lnTo>
                    <a:pt x="210" y="726"/>
                  </a:lnTo>
                  <a:lnTo>
                    <a:pt x="210" y="720"/>
                  </a:lnTo>
                  <a:lnTo>
                    <a:pt x="204" y="714"/>
                  </a:lnTo>
                  <a:lnTo>
                    <a:pt x="204" y="720"/>
                  </a:lnTo>
                  <a:lnTo>
                    <a:pt x="204" y="732"/>
                  </a:lnTo>
                  <a:lnTo>
                    <a:pt x="204" y="738"/>
                  </a:lnTo>
                  <a:lnTo>
                    <a:pt x="198" y="738"/>
                  </a:lnTo>
                  <a:lnTo>
                    <a:pt x="198" y="744"/>
                  </a:lnTo>
                  <a:lnTo>
                    <a:pt x="198" y="750"/>
                  </a:lnTo>
                  <a:lnTo>
                    <a:pt x="192" y="756"/>
                  </a:lnTo>
                  <a:lnTo>
                    <a:pt x="186" y="762"/>
                  </a:lnTo>
                  <a:lnTo>
                    <a:pt x="186" y="768"/>
                  </a:lnTo>
                  <a:lnTo>
                    <a:pt x="186" y="774"/>
                  </a:lnTo>
                  <a:lnTo>
                    <a:pt x="186" y="780"/>
                  </a:lnTo>
                  <a:lnTo>
                    <a:pt x="186" y="786"/>
                  </a:lnTo>
                  <a:lnTo>
                    <a:pt x="186" y="792"/>
                  </a:lnTo>
                  <a:lnTo>
                    <a:pt x="186" y="798"/>
                  </a:lnTo>
                  <a:lnTo>
                    <a:pt x="186" y="804"/>
                  </a:lnTo>
                  <a:lnTo>
                    <a:pt x="186" y="810"/>
                  </a:lnTo>
                  <a:lnTo>
                    <a:pt x="192" y="816"/>
                  </a:lnTo>
                  <a:lnTo>
                    <a:pt x="192" y="828"/>
                  </a:lnTo>
                  <a:lnTo>
                    <a:pt x="192" y="834"/>
                  </a:lnTo>
                  <a:lnTo>
                    <a:pt x="186" y="834"/>
                  </a:lnTo>
                  <a:lnTo>
                    <a:pt x="186" y="828"/>
                  </a:lnTo>
                  <a:lnTo>
                    <a:pt x="180" y="822"/>
                  </a:lnTo>
                  <a:lnTo>
                    <a:pt x="180" y="816"/>
                  </a:lnTo>
                  <a:lnTo>
                    <a:pt x="180" y="810"/>
                  </a:lnTo>
                  <a:lnTo>
                    <a:pt x="174" y="810"/>
                  </a:lnTo>
                  <a:lnTo>
                    <a:pt x="174" y="804"/>
                  </a:lnTo>
                  <a:lnTo>
                    <a:pt x="174" y="798"/>
                  </a:lnTo>
                  <a:lnTo>
                    <a:pt x="174" y="792"/>
                  </a:lnTo>
                  <a:lnTo>
                    <a:pt x="168" y="786"/>
                  </a:lnTo>
                  <a:lnTo>
                    <a:pt x="168" y="780"/>
                  </a:lnTo>
                  <a:lnTo>
                    <a:pt x="162" y="780"/>
                  </a:lnTo>
                  <a:lnTo>
                    <a:pt x="168" y="774"/>
                  </a:lnTo>
                  <a:lnTo>
                    <a:pt x="168" y="768"/>
                  </a:lnTo>
                  <a:lnTo>
                    <a:pt x="174" y="768"/>
                  </a:lnTo>
                  <a:lnTo>
                    <a:pt x="168" y="768"/>
                  </a:lnTo>
                  <a:lnTo>
                    <a:pt x="162" y="774"/>
                  </a:lnTo>
                  <a:lnTo>
                    <a:pt x="162" y="780"/>
                  </a:lnTo>
                  <a:lnTo>
                    <a:pt x="156" y="780"/>
                  </a:lnTo>
                  <a:lnTo>
                    <a:pt x="150" y="780"/>
                  </a:lnTo>
                  <a:lnTo>
                    <a:pt x="150" y="774"/>
                  </a:lnTo>
                  <a:lnTo>
                    <a:pt x="144" y="774"/>
                  </a:lnTo>
                  <a:lnTo>
                    <a:pt x="144" y="768"/>
                  </a:lnTo>
                  <a:lnTo>
                    <a:pt x="144" y="762"/>
                  </a:lnTo>
                  <a:lnTo>
                    <a:pt x="138" y="756"/>
                  </a:lnTo>
                  <a:lnTo>
                    <a:pt x="132" y="756"/>
                  </a:lnTo>
                  <a:lnTo>
                    <a:pt x="138" y="756"/>
                  </a:lnTo>
                  <a:lnTo>
                    <a:pt x="138" y="762"/>
                  </a:lnTo>
                  <a:lnTo>
                    <a:pt x="138" y="768"/>
                  </a:lnTo>
                  <a:lnTo>
                    <a:pt x="144" y="768"/>
                  </a:lnTo>
                  <a:lnTo>
                    <a:pt x="144" y="774"/>
                  </a:lnTo>
                  <a:lnTo>
                    <a:pt x="150" y="780"/>
                  </a:lnTo>
                  <a:lnTo>
                    <a:pt x="156" y="780"/>
                  </a:lnTo>
                  <a:lnTo>
                    <a:pt x="156" y="786"/>
                  </a:lnTo>
                  <a:lnTo>
                    <a:pt x="162" y="786"/>
                  </a:lnTo>
                  <a:lnTo>
                    <a:pt x="168" y="792"/>
                  </a:lnTo>
                  <a:lnTo>
                    <a:pt x="168" y="798"/>
                  </a:lnTo>
                  <a:lnTo>
                    <a:pt x="168" y="804"/>
                  </a:lnTo>
                  <a:lnTo>
                    <a:pt x="174" y="810"/>
                  </a:lnTo>
                  <a:lnTo>
                    <a:pt x="174" y="816"/>
                  </a:lnTo>
                  <a:lnTo>
                    <a:pt x="174" y="822"/>
                  </a:lnTo>
                  <a:lnTo>
                    <a:pt x="168" y="822"/>
                  </a:lnTo>
                  <a:lnTo>
                    <a:pt x="174" y="822"/>
                  </a:lnTo>
                  <a:lnTo>
                    <a:pt x="168" y="822"/>
                  </a:lnTo>
                  <a:lnTo>
                    <a:pt x="168" y="828"/>
                  </a:lnTo>
                  <a:lnTo>
                    <a:pt x="168" y="834"/>
                  </a:lnTo>
                  <a:lnTo>
                    <a:pt x="174" y="840"/>
                  </a:lnTo>
                  <a:lnTo>
                    <a:pt x="180" y="840"/>
                  </a:lnTo>
                  <a:lnTo>
                    <a:pt x="180" y="846"/>
                  </a:lnTo>
                  <a:lnTo>
                    <a:pt x="186" y="846"/>
                  </a:lnTo>
                  <a:lnTo>
                    <a:pt x="186" y="852"/>
                  </a:lnTo>
                  <a:lnTo>
                    <a:pt x="186" y="858"/>
                  </a:lnTo>
                  <a:lnTo>
                    <a:pt x="186" y="864"/>
                  </a:lnTo>
                  <a:lnTo>
                    <a:pt x="192" y="864"/>
                  </a:lnTo>
                  <a:lnTo>
                    <a:pt x="192" y="870"/>
                  </a:lnTo>
                  <a:lnTo>
                    <a:pt x="192" y="876"/>
                  </a:lnTo>
                  <a:lnTo>
                    <a:pt x="192" y="882"/>
                  </a:lnTo>
                  <a:lnTo>
                    <a:pt x="192" y="888"/>
                  </a:lnTo>
                  <a:lnTo>
                    <a:pt x="186" y="888"/>
                  </a:lnTo>
                  <a:lnTo>
                    <a:pt x="180" y="888"/>
                  </a:lnTo>
                  <a:lnTo>
                    <a:pt x="174" y="888"/>
                  </a:lnTo>
                  <a:lnTo>
                    <a:pt x="168" y="894"/>
                  </a:lnTo>
                  <a:lnTo>
                    <a:pt x="162" y="894"/>
                  </a:lnTo>
                  <a:lnTo>
                    <a:pt x="156" y="894"/>
                  </a:lnTo>
                  <a:lnTo>
                    <a:pt x="150" y="894"/>
                  </a:lnTo>
                  <a:lnTo>
                    <a:pt x="144" y="894"/>
                  </a:lnTo>
                  <a:lnTo>
                    <a:pt x="144" y="900"/>
                  </a:lnTo>
                  <a:lnTo>
                    <a:pt x="138" y="894"/>
                  </a:lnTo>
                  <a:lnTo>
                    <a:pt x="138" y="900"/>
                  </a:lnTo>
                  <a:lnTo>
                    <a:pt x="132" y="894"/>
                  </a:lnTo>
                  <a:lnTo>
                    <a:pt x="132" y="888"/>
                  </a:lnTo>
                  <a:lnTo>
                    <a:pt x="126" y="888"/>
                  </a:lnTo>
                  <a:lnTo>
                    <a:pt x="126" y="882"/>
                  </a:lnTo>
                  <a:lnTo>
                    <a:pt x="126" y="876"/>
                  </a:lnTo>
                  <a:lnTo>
                    <a:pt x="120" y="876"/>
                  </a:lnTo>
                  <a:lnTo>
                    <a:pt x="126" y="870"/>
                  </a:lnTo>
                  <a:lnTo>
                    <a:pt x="126" y="864"/>
                  </a:lnTo>
                  <a:lnTo>
                    <a:pt x="126" y="858"/>
                  </a:lnTo>
                  <a:lnTo>
                    <a:pt x="126" y="852"/>
                  </a:lnTo>
                  <a:lnTo>
                    <a:pt x="126" y="846"/>
                  </a:lnTo>
                  <a:lnTo>
                    <a:pt x="126" y="840"/>
                  </a:lnTo>
                  <a:lnTo>
                    <a:pt x="126" y="828"/>
                  </a:lnTo>
                  <a:lnTo>
                    <a:pt x="126" y="822"/>
                  </a:lnTo>
                  <a:lnTo>
                    <a:pt x="126" y="816"/>
                  </a:lnTo>
                  <a:lnTo>
                    <a:pt x="126" y="810"/>
                  </a:lnTo>
                  <a:lnTo>
                    <a:pt x="126" y="804"/>
                  </a:lnTo>
                  <a:lnTo>
                    <a:pt x="126" y="798"/>
                  </a:lnTo>
                  <a:lnTo>
                    <a:pt x="120" y="798"/>
                  </a:lnTo>
                  <a:lnTo>
                    <a:pt x="120" y="792"/>
                  </a:lnTo>
                  <a:lnTo>
                    <a:pt x="114" y="792"/>
                  </a:lnTo>
                  <a:lnTo>
                    <a:pt x="114" y="786"/>
                  </a:lnTo>
                  <a:lnTo>
                    <a:pt x="108" y="786"/>
                  </a:lnTo>
                  <a:lnTo>
                    <a:pt x="108" y="780"/>
                  </a:lnTo>
                  <a:lnTo>
                    <a:pt x="102" y="780"/>
                  </a:lnTo>
                  <a:lnTo>
                    <a:pt x="96" y="780"/>
                  </a:lnTo>
                  <a:lnTo>
                    <a:pt x="96" y="774"/>
                  </a:lnTo>
                  <a:lnTo>
                    <a:pt x="90" y="774"/>
                  </a:lnTo>
                  <a:lnTo>
                    <a:pt x="90" y="768"/>
                  </a:lnTo>
                  <a:close/>
                  <a:moveTo>
                    <a:pt x="96" y="780"/>
                  </a:moveTo>
                  <a:lnTo>
                    <a:pt x="102" y="780"/>
                  </a:lnTo>
                  <a:lnTo>
                    <a:pt x="102" y="786"/>
                  </a:lnTo>
                  <a:lnTo>
                    <a:pt x="108" y="786"/>
                  </a:lnTo>
                  <a:lnTo>
                    <a:pt x="114" y="792"/>
                  </a:lnTo>
                  <a:lnTo>
                    <a:pt x="120" y="798"/>
                  </a:lnTo>
                  <a:lnTo>
                    <a:pt x="120" y="804"/>
                  </a:lnTo>
                  <a:lnTo>
                    <a:pt x="126" y="810"/>
                  </a:lnTo>
                  <a:lnTo>
                    <a:pt x="126" y="816"/>
                  </a:lnTo>
                  <a:lnTo>
                    <a:pt x="126" y="822"/>
                  </a:lnTo>
                  <a:lnTo>
                    <a:pt x="120" y="828"/>
                  </a:lnTo>
                  <a:lnTo>
                    <a:pt x="120" y="840"/>
                  </a:lnTo>
                  <a:lnTo>
                    <a:pt x="120" y="852"/>
                  </a:lnTo>
                  <a:lnTo>
                    <a:pt x="120" y="858"/>
                  </a:lnTo>
                  <a:lnTo>
                    <a:pt x="120" y="864"/>
                  </a:lnTo>
                  <a:lnTo>
                    <a:pt x="120" y="870"/>
                  </a:lnTo>
                  <a:lnTo>
                    <a:pt x="114" y="870"/>
                  </a:lnTo>
                  <a:lnTo>
                    <a:pt x="108" y="870"/>
                  </a:lnTo>
                  <a:lnTo>
                    <a:pt x="108" y="876"/>
                  </a:lnTo>
                  <a:lnTo>
                    <a:pt x="114" y="876"/>
                  </a:lnTo>
                  <a:lnTo>
                    <a:pt x="120" y="876"/>
                  </a:lnTo>
                  <a:lnTo>
                    <a:pt x="120" y="882"/>
                  </a:lnTo>
                  <a:lnTo>
                    <a:pt x="114" y="888"/>
                  </a:lnTo>
                  <a:lnTo>
                    <a:pt x="120" y="888"/>
                  </a:lnTo>
                  <a:lnTo>
                    <a:pt x="120" y="894"/>
                  </a:lnTo>
                  <a:lnTo>
                    <a:pt x="114" y="894"/>
                  </a:lnTo>
                  <a:lnTo>
                    <a:pt x="108" y="894"/>
                  </a:lnTo>
                  <a:lnTo>
                    <a:pt x="96" y="894"/>
                  </a:lnTo>
                  <a:lnTo>
                    <a:pt x="96" y="882"/>
                  </a:lnTo>
                  <a:lnTo>
                    <a:pt x="96" y="876"/>
                  </a:lnTo>
                  <a:lnTo>
                    <a:pt x="84" y="870"/>
                  </a:lnTo>
                  <a:lnTo>
                    <a:pt x="72" y="864"/>
                  </a:lnTo>
                  <a:lnTo>
                    <a:pt x="72" y="852"/>
                  </a:lnTo>
                  <a:lnTo>
                    <a:pt x="72" y="840"/>
                  </a:lnTo>
                  <a:lnTo>
                    <a:pt x="78" y="828"/>
                  </a:lnTo>
                  <a:lnTo>
                    <a:pt x="84" y="822"/>
                  </a:lnTo>
                  <a:lnTo>
                    <a:pt x="84" y="816"/>
                  </a:lnTo>
                  <a:lnTo>
                    <a:pt x="84" y="810"/>
                  </a:lnTo>
                  <a:lnTo>
                    <a:pt x="84" y="804"/>
                  </a:lnTo>
                  <a:lnTo>
                    <a:pt x="90" y="792"/>
                  </a:lnTo>
                  <a:lnTo>
                    <a:pt x="96" y="780"/>
                  </a:lnTo>
                  <a:close/>
                  <a:moveTo>
                    <a:pt x="492" y="810"/>
                  </a:moveTo>
                  <a:lnTo>
                    <a:pt x="498" y="810"/>
                  </a:lnTo>
                  <a:lnTo>
                    <a:pt x="498" y="804"/>
                  </a:lnTo>
                  <a:lnTo>
                    <a:pt x="504" y="804"/>
                  </a:lnTo>
                  <a:lnTo>
                    <a:pt x="504" y="798"/>
                  </a:lnTo>
                  <a:lnTo>
                    <a:pt x="510" y="792"/>
                  </a:lnTo>
                  <a:lnTo>
                    <a:pt x="516" y="786"/>
                  </a:lnTo>
                  <a:lnTo>
                    <a:pt x="522" y="780"/>
                  </a:lnTo>
                  <a:lnTo>
                    <a:pt x="522" y="774"/>
                  </a:lnTo>
                  <a:lnTo>
                    <a:pt x="528" y="768"/>
                  </a:lnTo>
                  <a:lnTo>
                    <a:pt x="528" y="762"/>
                  </a:lnTo>
                  <a:lnTo>
                    <a:pt x="534" y="762"/>
                  </a:lnTo>
                  <a:lnTo>
                    <a:pt x="540" y="768"/>
                  </a:lnTo>
                  <a:lnTo>
                    <a:pt x="546" y="774"/>
                  </a:lnTo>
                  <a:lnTo>
                    <a:pt x="546" y="780"/>
                  </a:lnTo>
                  <a:lnTo>
                    <a:pt x="552" y="786"/>
                  </a:lnTo>
                  <a:lnTo>
                    <a:pt x="558" y="786"/>
                  </a:lnTo>
                  <a:lnTo>
                    <a:pt x="564" y="786"/>
                  </a:lnTo>
                  <a:lnTo>
                    <a:pt x="576" y="786"/>
                  </a:lnTo>
                  <a:lnTo>
                    <a:pt x="582" y="786"/>
                  </a:lnTo>
                  <a:lnTo>
                    <a:pt x="588" y="786"/>
                  </a:lnTo>
                  <a:lnTo>
                    <a:pt x="594" y="786"/>
                  </a:lnTo>
                  <a:lnTo>
                    <a:pt x="588" y="792"/>
                  </a:lnTo>
                  <a:lnTo>
                    <a:pt x="588" y="798"/>
                  </a:lnTo>
                  <a:lnTo>
                    <a:pt x="582" y="804"/>
                  </a:lnTo>
                  <a:lnTo>
                    <a:pt x="582" y="810"/>
                  </a:lnTo>
                  <a:lnTo>
                    <a:pt x="582" y="822"/>
                  </a:lnTo>
                  <a:lnTo>
                    <a:pt x="588" y="828"/>
                  </a:lnTo>
                  <a:lnTo>
                    <a:pt x="588" y="834"/>
                  </a:lnTo>
                  <a:lnTo>
                    <a:pt x="582" y="840"/>
                  </a:lnTo>
                  <a:lnTo>
                    <a:pt x="570" y="840"/>
                  </a:lnTo>
                  <a:lnTo>
                    <a:pt x="558" y="846"/>
                  </a:lnTo>
                  <a:lnTo>
                    <a:pt x="552" y="846"/>
                  </a:lnTo>
                  <a:lnTo>
                    <a:pt x="534" y="852"/>
                  </a:lnTo>
                  <a:lnTo>
                    <a:pt x="522" y="858"/>
                  </a:lnTo>
                  <a:lnTo>
                    <a:pt x="510" y="858"/>
                  </a:lnTo>
                  <a:lnTo>
                    <a:pt x="498" y="864"/>
                  </a:lnTo>
                  <a:lnTo>
                    <a:pt x="474" y="864"/>
                  </a:lnTo>
                  <a:lnTo>
                    <a:pt x="468" y="858"/>
                  </a:lnTo>
                  <a:lnTo>
                    <a:pt x="468" y="852"/>
                  </a:lnTo>
                  <a:lnTo>
                    <a:pt x="468" y="846"/>
                  </a:lnTo>
                  <a:lnTo>
                    <a:pt x="474" y="840"/>
                  </a:lnTo>
                  <a:lnTo>
                    <a:pt x="474" y="834"/>
                  </a:lnTo>
                  <a:lnTo>
                    <a:pt x="480" y="828"/>
                  </a:lnTo>
                  <a:lnTo>
                    <a:pt x="492" y="822"/>
                  </a:lnTo>
                  <a:lnTo>
                    <a:pt x="492" y="810"/>
                  </a:lnTo>
                  <a:close/>
                  <a:moveTo>
                    <a:pt x="384" y="720"/>
                  </a:moveTo>
                  <a:lnTo>
                    <a:pt x="384" y="726"/>
                  </a:lnTo>
                  <a:lnTo>
                    <a:pt x="390" y="726"/>
                  </a:lnTo>
                  <a:lnTo>
                    <a:pt x="396" y="726"/>
                  </a:lnTo>
                  <a:lnTo>
                    <a:pt x="402" y="732"/>
                  </a:lnTo>
                  <a:lnTo>
                    <a:pt x="408" y="732"/>
                  </a:lnTo>
                  <a:lnTo>
                    <a:pt x="414" y="732"/>
                  </a:lnTo>
                  <a:lnTo>
                    <a:pt x="414" y="738"/>
                  </a:lnTo>
                  <a:lnTo>
                    <a:pt x="414" y="744"/>
                  </a:lnTo>
                  <a:lnTo>
                    <a:pt x="414" y="750"/>
                  </a:lnTo>
                  <a:lnTo>
                    <a:pt x="414" y="756"/>
                  </a:lnTo>
                  <a:lnTo>
                    <a:pt x="414" y="762"/>
                  </a:lnTo>
                  <a:lnTo>
                    <a:pt x="420" y="768"/>
                  </a:lnTo>
                  <a:lnTo>
                    <a:pt x="420" y="774"/>
                  </a:lnTo>
                  <a:lnTo>
                    <a:pt x="426" y="780"/>
                  </a:lnTo>
                  <a:lnTo>
                    <a:pt x="426" y="786"/>
                  </a:lnTo>
                  <a:lnTo>
                    <a:pt x="420" y="786"/>
                  </a:lnTo>
                  <a:lnTo>
                    <a:pt x="420" y="792"/>
                  </a:lnTo>
                  <a:lnTo>
                    <a:pt x="420" y="798"/>
                  </a:lnTo>
                  <a:lnTo>
                    <a:pt x="420" y="804"/>
                  </a:lnTo>
                  <a:lnTo>
                    <a:pt x="426" y="804"/>
                  </a:lnTo>
                  <a:lnTo>
                    <a:pt x="426" y="810"/>
                  </a:lnTo>
                  <a:lnTo>
                    <a:pt x="426" y="816"/>
                  </a:lnTo>
                  <a:lnTo>
                    <a:pt x="432" y="816"/>
                  </a:lnTo>
                  <a:lnTo>
                    <a:pt x="438" y="816"/>
                  </a:lnTo>
                  <a:lnTo>
                    <a:pt x="438" y="822"/>
                  </a:lnTo>
                  <a:lnTo>
                    <a:pt x="432" y="822"/>
                  </a:lnTo>
                  <a:lnTo>
                    <a:pt x="426" y="828"/>
                  </a:lnTo>
                  <a:lnTo>
                    <a:pt x="420" y="828"/>
                  </a:lnTo>
                  <a:lnTo>
                    <a:pt x="414" y="828"/>
                  </a:lnTo>
                  <a:lnTo>
                    <a:pt x="408" y="828"/>
                  </a:lnTo>
                  <a:lnTo>
                    <a:pt x="402" y="828"/>
                  </a:lnTo>
                  <a:lnTo>
                    <a:pt x="402" y="822"/>
                  </a:lnTo>
                  <a:lnTo>
                    <a:pt x="396" y="822"/>
                  </a:lnTo>
                  <a:lnTo>
                    <a:pt x="402" y="822"/>
                  </a:lnTo>
                  <a:lnTo>
                    <a:pt x="402" y="816"/>
                  </a:lnTo>
                  <a:lnTo>
                    <a:pt x="396" y="816"/>
                  </a:lnTo>
                  <a:lnTo>
                    <a:pt x="396" y="810"/>
                  </a:lnTo>
                  <a:lnTo>
                    <a:pt x="396" y="804"/>
                  </a:lnTo>
                  <a:lnTo>
                    <a:pt x="390" y="798"/>
                  </a:lnTo>
                  <a:lnTo>
                    <a:pt x="390" y="792"/>
                  </a:lnTo>
                  <a:lnTo>
                    <a:pt x="390" y="786"/>
                  </a:lnTo>
                  <a:lnTo>
                    <a:pt x="390" y="780"/>
                  </a:lnTo>
                  <a:lnTo>
                    <a:pt x="390" y="774"/>
                  </a:lnTo>
                  <a:lnTo>
                    <a:pt x="390" y="768"/>
                  </a:lnTo>
                  <a:lnTo>
                    <a:pt x="390" y="762"/>
                  </a:lnTo>
                  <a:lnTo>
                    <a:pt x="384" y="756"/>
                  </a:lnTo>
                  <a:lnTo>
                    <a:pt x="384" y="750"/>
                  </a:lnTo>
                  <a:lnTo>
                    <a:pt x="384" y="744"/>
                  </a:lnTo>
                  <a:lnTo>
                    <a:pt x="378" y="744"/>
                  </a:lnTo>
                  <a:lnTo>
                    <a:pt x="384" y="744"/>
                  </a:lnTo>
                  <a:lnTo>
                    <a:pt x="384" y="738"/>
                  </a:lnTo>
                  <a:lnTo>
                    <a:pt x="378" y="738"/>
                  </a:lnTo>
                  <a:lnTo>
                    <a:pt x="378" y="732"/>
                  </a:lnTo>
                  <a:lnTo>
                    <a:pt x="378" y="726"/>
                  </a:lnTo>
                  <a:lnTo>
                    <a:pt x="378" y="720"/>
                  </a:lnTo>
                  <a:lnTo>
                    <a:pt x="384" y="720"/>
                  </a:lnTo>
                  <a:close/>
                  <a:moveTo>
                    <a:pt x="330" y="738"/>
                  </a:moveTo>
                  <a:lnTo>
                    <a:pt x="336" y="732"/>
                  </a:lnTo>
                  <a:lnTo>
                    <a:pt x="336" y="726"/>
                  </a:lnTo>
                  <a:lnTo>
                    <a:pt x="342" y="720"/>
                  </a:lnTo>
                  <a:lnTo>
                    <a:pt x="348" y="720"/>
                  </a:lnTo>
                  <a:lnTo>
                    <a:pt x="360" y="720"/>
                  </a:lnTo>
                  <a:lnTo>
                    <a:pt x="366" y="726"/>
                  </a:lnTo>
                  <a:lnTo>
                    <a:pt x="372" y="732"/>
                  </a:lnTo>
                  <a:lnTo>
                    <a:pt x="372" y="738"/>
                  </a:lnTo>
                  <a:lnTo>
                    <a:pt x="366" y="750"/>
                  </a:lnTo>
                  <a:lnTo>
                    <a:pt x="372" y="756"/>
                  </a:lnTo>
                  <a:lnTo>
                    <a:pt x="372" y="762"/>
                  </a:lnTo>
                  <a:lnTo>
                    <a:pt x="372" y="768"/>
                  </a:lnTo>
                  <a:lnTo>
                    <a:pt x="372" y="774"/>
                  </a:lnTo>
                  <a:lnTo>
                    <a:pt x="372" y="780"/>
                  </a:lnTo>
                  <a:lnTo>
                    <a:pt x="372" y="774"/>
                  </a:lnTo>
                  <a:lnTo>
                    <a:pt x="366" y="768"/>
                  </a:lnTo>
                  <a:lnTo>
                    <a:pt x="366" y="762"/>
                  </a:lnTo>
                  <a:lnTo>
                    <a:pt x="366" y="756"/>
                  </a:lnTo>
                  <a:lnTo>
                    <a:pt x="360" y="756"/>
                  </a:lnTo>
                  <a:lnTo>
                    <a:pt x="360" y="750"/>
                  </a:lnTo>
                  <a:lnTo>
                    <a:pt x="354" y="750"/>
                  </a:lnTo>
                  <a:lnTo>
                    <a:pt x="348" y="744"/>
                  </a:lnTo>
                  <a:lnTo>
                    <a:pt x="342" y="744"/>
                  </a:lnTo>
                  <a:lnTo>
                    <a:pt x="336" y="744"/>
                  </a:lnTo>
                  <a:lnTo>
                    <a:pt x="330" y="738"/>
                  </a:lnTo>
                  <a:close/>
                </a:path>
              </a:pathLst>
            </a:custGeom>
            <a:solidFill>
              <a:schemeClr val="accent2"/>
            </a:solidFill>
            <a:ln w="9525">
              <a:solidFill>
                <a:schemeClr val="bg1"/>
              </a:solidFill>
              <a:round/>
              <a:headEnd/>
              <a:tailEnd/>
            </a:ln>
          </p:spPr>
          <p:txBody>
            <a:bodyPr/>
            <a:lstStyle/>
            <a:p>
              <a:endParaRPr lang="en-GB"/>
            </a:p>
          </p:txBody>
        </p:sp>
        <p:sp>
          <p:nvSpPr>
            <p:cNvPr id="19483" name="Freeform 7"/>
            <p:cNvSpPr>
              <a:spLocks/>
            </p:cNvSpPr>
            <p:nvPr/>
          </p:nvSpPr>
          <p:spPr bwMode="gray">
            <a:xfrm>
              <a:off x="3414326" y="5321945"/>
              <a:ext cx="393968" cy="376592"/>
            </a:xfrm>
            <a:custGeom>
              <a:avLst/>
              <a:gdLst>
                <a:gd name="T0" fmla="*/ 25796 w 504"/>
                <a:gd name="T1" fmla="*/ 32992 h 468"/>
                <a:gd name="T2" fmla="*/ 20324 w 504"/>
                <a:gd name="T3" fmla="*/ 31383 h 468"/>
                <a:gd name="T4" fmla="*/ 16415 w 504"/>
                <a:gd name="T5" fmla="*/ 30578 h 468"/>
                <a:gd name="T6" fmla="*/ 14070 w 504"/>
                <a:gd name="T7" fmla="*/ 30578 h 468"/>
                <a:gd name="T8" fmla="*/ 11725 w 504"/>
                <a:gd name="T9" fmla="*/ 31383 h 468"/>
                <a:gd name="T10" fmla="*/ 9380 w 504"/>
                <a:gd name="T11" fmla="*/ 30578 h 468"/>
                <a:gd name="T12" fmla="*/ 7035 w 504"/>
                <a:gd name="T13" fmla="*/ 29773 h 468"/>
                <a:gd name="T14" fmla="*/ 5472 w 504"/>
                <a:gd name="T15" fmla="*/ 25750 h 468"/>
                <a:gd name="T16" fmla="*/ 4690 w 504"/>
                <a:gd name="T17" fmla="*/ 20922 h 468"/>
                <a:gd name="T18" fmla="*/ 2345 w 504"/>
                <a:gd name="T19" fmla="*/ 19312 h 468"/>
                <a:gd name="T20" fmla="*/ 782 w 504"/>
                <a:gd name="T21" fmla="*/ 19312 h 468"/>
                <a:gd name="T22" fmla="*/ 1563 w 504"/>
                <a:gd name="T23" fmla="*/ 14484 h 468"/>
                <a:gd name="T24" fmla="*/ 782 w 504"/>
                <a:gd name="T25" fmla="*/ 13680 h 468"/>
                <a:gd name="T26" fmla="*/ 0 w 504"/>
                <a:gd name="T27" fmla="*/ 13680 h 468"/>
                <a:gd name="T28" fmla="*/ 0 w 504"/>
                <a:gd name="T29" fmla="*/ 12070 h 468"/>
                <a:gd name="T30" fmla="*/ 1563 w 504"/>
                <a:gd name="T31" fmla="*/ 9656 h 468"/>
                <a:gd name="T32" fmla="*/ 3127 w 504"/>
                <a:gd name="T33" fmla="*/ 8047 h 468"/>
                <a:gd name="T34" fmla="*/ 4690 w 504"/>
                <a:gd name="T35" fmla="*/ 6437 h 468"/>
                <a:gd name="T36" fmla="*/ 6253 w 504"/>
                <a:gd name="T37" fmla="*/ 6437 h 468"/>
                <a:gd name="T38" fmla="*/ 7817 w 504"/>
                <a:gd name="T39" fmla="*/ 7242 h 468"/>
                <a:gd name="T40" fmla="*/ 9380 w 504"/>
                <a:gd name="T41" fmla="*/ 8047 h 468"/>
                <a:gd name="T42" fmla="*/ 9380 w 504"/>
                <a:gd name="T43" fmla="*/ 8852 h 468"/>
                <a:gd name="T44" fmla="*/ 10944 w 504"/>
                <a:gd name="T45" fmla="*/ 6437 h 468"/>
                <a:gd name="T46" fmla="*/ 11725 w 504"/>
                <a:gd name="T47" fmla="*/ 5633 h 468"/>
                <a:gd name="T48" fmla="*/ 13289 w 504"/>
                <a:gd name="T49" fmla="*/ 4828 h 468"/>
                <a:gd name="T50" fmla="*/ 14852 w 504"/>
                <a:gd name="T51" fmla="*/ 2414 h 468"/>
                <a:gd name="T52" fmla="*/ 15634 w 504"/>
                <a:gd name="T53" fmla="*/ 1609 h 468"/>
                <a:gd name="T54" fmla="*/ 17197 w 504"/>
                <a:gd name="T55" fmla="*/ 805 h 468"/>
                <a:gd name="T56" fmla="*/ 21105 w 504"/>
                <a:gd name="T57" fmla="*/ 805 h 468"/>
                <a:gd name="T58" fmla="*/ 23450 w 504"/>
                <a:gd name="T59" fmla="*/ 1609 h 468"/>
                <a:gd name="T60" fmla="*/ 24232 w 504"/>
                <a:gd name="T61" fmla="*/ 1609 h 468"/>
                <a:gd name="T62" fmla="*/ 26577 w 504"/>
                <a:gd name="T63" fmla="*/ 0 h 468"/>
                <a:gd name="T64" fmla="*/ 28922 w 504"/>
                <a:gd name="T65" fmla="*/ 805 h 468"/>
                <a:gd name="T66" fmla="*/ 32049 w 504"/>
                <a:gd name="T67" fmla="*/ 1609 h 468"/>
                <a:gd name="T68" fmla="*/ 32831 w 504"/>
                <a:gd name="T69" fmla="*/ 3219 h 468"/>
                <a:gd name="T70" fmla="*/ 32831 w 504"/>
                <a:gd name="T71" fmla="*/ 8047 h 468"/>
                <a:gd name="T72" fmla="*/ 32049 w 504"/>
                <a:gd name="T73" fmla="*/ 11266 h 468"/>
                <a:gd name="T74" fmla="*/ 32831 w 504"/>
                <a:gd name="T75" fmla="*/ 12070 h 468"/>
                <a:gd name="T76" fmla="*/ 34394 w 504"/>
                <a:gd name="T77" fmla="*/ 14484 h 468"/>
                <a:gd name="T78" fmla="*/ 33612 w 504"/>
                <a:gd name="T79" fmla="*/ 15289 h 468"/>
                <a:gd name="T80" fmla="*/ 32831 w 504"/>
                <a:gd name="T81" fmla="*/ 16898 h 468"/>
                <a:gd name="T82" fmla="*/ 32831 w 504"/>
                <a:gd name="T83" fmla="*/ 18508 h 468"/>
                <a:gd name="T84" fmla="*/ 30486 w 504"/>
                <a:gd name="T85" fmla="*/ 21726 h 468"/>
                <a:gd name="T86" fmla="*/ 29704 w 504"/>
                <a:gd name="T87" fmla="*/ 23336 h 468"/>
                <a:gd name="T88" fmla="*/ 29704 w 504"/>
                <a:gd name="T89" fmla="*/ 24945 h 468"/>
                <a:gd name="T90" fmla="*/ 28141 w 504"/>
                <a:gd name="T91" fmla="*/ 25750 h 468"/>
                <a:gd name="T92" fmla="*/ 27359 w 504"/>
                <a:gd name="T93" fmla="*/ 27359 h 468"/>
                <a:gd name="T94" fmla="*/ 26577 w 504"/>
                <a:gd name="T95" fmla="*/ 30578 h 4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4"/>
                <a:gd name="T145" fmla="*/ 0 h 468"/>
                <a:gd name="T146" fmla="*/ 504 w 504"/>
                <a:gd name="T147" fmla="*/ 468 h 4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4" h="468">
                  <a:moveTo>
                    <a:pt x="390" y="456"/>
                  </a:moveTo>
                  <a:lnTo>
                    <a:pt x="384" y="468"/>
                  </a:lnTo>
                  <a:lnTo>
                    <a:pt x="378" y="468"/>
                  </a:lnTo>
                  <a:lnTo>
                    <a:pt x="354" y="468"/>
                  </a:lnTo>
                  <a:lnTo>
                    <a:pt x="348" y="462"/>
                  </a:lnTo>
                  <a:lnTo>
                    <a:pt x="300" y="456"/>
                  </a:lnTo>
                  <a:lnTo>
                    <a:pt x="270" y="444"/>
                  </a:lnTo>
                  <a:lnTo>
                    <a:pt x="252" y="438"/>
                  </a:lnTo>
                  <a:lnTo>
                    <a:pt x="240" y="438"/>
                  </a:lnTo>
                  <a:lnTo>
                    <a:pt x="234" y="438"/>
                  </a:lnTo>
                  <a:lnTo>
                    <a:pt x="228" y="444"/>
                  </a:lnTo>
                  <a:lnTo>
                    <a:pt x="210" y="444"/>
                  </a:lnTo>
                  <a:lnTo>
                    <a:pt x="198" y="444"/>
                  </a:lnTo>
                  <a:lnTo>
                    <a:pt x="198" y="450"/>
                  </a:lnTo>
                  <a:lnTo>
                    <a:pt x="168" y="456"/>
                  </a:lnTo>
                  <a:lnTo>
                    <a:pt x="150" y="450"/>
                  </a:lnTo>
                  <a:lnTo>
                    <a:pt x="144" y="444"/>
                  </a:lnTo>
                  <a:lnTo>
                    <a:pt x="132" y="438"/>
                  </a:lnTo>
                  <a:lnTo>
                    <a:pt x="138" y="432"/>
                  </a:lnTo>
                  <a:lnTo>
                    <a:pt x="114" y="432"/>
                  </a:lnTo>
                  <a:lnTo>
                    <a:pt x="102" y="426"/>
                  </a:lnTo>
                  <a:lnTo>
                    <a:pt x="90" y="414"/>
                  </a:lnTo>
                  <a:lnTo>
                    <a:pt x="72" y="402"/>
                  </a:lnTo>
                  <a:lnTo>
                    <a:pt x="78" y="366"/>
                  </a:lnTo>
                  <a:lnTo>
                    <a:pt x="78" y="330"/>
                  </a:lnTo>
                  <a:lnTo>
                    <a:pt x="66" y="318"/>
                  </a:lnTo>
                  <a:lnTo>
                    <a:pt x="66" y="300"/>
                  </a:lnTo>
                  <a:lnTo>
                    <a:pt x="66" y="282"/>
                  </a:lnTo>
                  <a:lnTo>
                    <a:pt x="36" y="282"/>
                  </a:lnTo>
                  <a:lnTo>
                    <a:pt x="30" y="276"/>
                  </a:lnTo>
                  <a:lnTo>
                    <a:pt x="30" y="282"/>
                  </a:lnTo>
                  <a:lnTo>
                    <a:pt x="24" y="282"/>
                  </a:lnTo>
                  <a:lnTo>
                    <a:pt x="12" y="276"/>
                  </a:lnTo>
                  <a:lnTo>
                    <a:pt x="0" y="282"/>
                  </a:lnTo>
                  <a:lnTo>
                    <a:pt x="12" y="204"/>
                  </a:lnTo>
                  <a:lnTo>
                    <a:pt x="18" y="210"/>
                  </a:lnTo>
                  <a:lnTo>
                    <a:pt x="18" y="204"/>
                  </a:lnTo>
                  <a:lnTo>
                    <a:pt x="18" y="198"/>
                  </a:lnTo>
                  <a:lnTo>
                    <a:pt x="12" y="198"/>
                  </a:lnTo>
                  <a:lnTo>
                    <a:pt x="18" y="192"/>
                  </a:lnTo>
                  <a:lnTo>
                    <a:pt x="12" y="192"/>
                  </a:lnTo>
                  <a:lnTo>
                    <a:pt x="6" y="192"/>
                  </a:lnTo>
                  <a:lnTo>
                    <a:pt x="6" y="186"/>
                  </a:lnTo>
                  <a:lnTo>
                    <a:pt x="0" y="186"/>
                  </a:lnTo>
                  <a:lnTo>
                    <a:pt x="0" y="180"/>
                  </a:lnTo>
                  <a:lnTo>
                    <a:pt x="6" y="180"/>
                  </a:lnTo>
                  <a:lnTo>
                    <a:pt x="12" y="186"/>
                  </a:lnTo>
                  <a:lnTo>
                    <a:pt x="18" y="138"/>
                  </a:lnTo>
                  <a:lnTo>
                    <a:pt x="24" y="126"/>
                  </a:lnTo>
                  <a:lnTo>
                    <a:pt x="30" y="126"/>
                  </a:lnTo>
                  <a:lnTo>
                    <a:pt x="42" y="120"/>
                  </a:lnTo>
                  <a:lnTo>
                    <a:pt x="48" y="114"/>
                  </a:lnTo>
                  <a:lnTo>
                    <a:pt x="60" y="102"/>
                  </a:lnTo>
                  <a:lnTo>
                    <a:pt x="72" y="96"/>
                  </a:lnTo>
                  <a:lnTo>
                    <a:pt x="78" y="96"/>
                  </a:lnTo>
                  <a:lnTo>
                    <a:pt x="90" y="96"/>
                  </a:lnTo>
                  <a:lnTo>
                    <a:pt x="96" y="90"/>
                  </a:lnTo>
                  <a:lnTo>
                    <a:pt x="102" y="96"/>
                  </a:lnTo>
                  <a:lnTo>
                    <a:pt x="108" y="96"/>
                  </a:lnTo>
                  <a:lnTo>
                    <a:pt x="120" y="102"/>
                  </a:lnTo>
                  <a:lnTo>
                    <a:pt x="126" y="108"/>
                  </a:lnTo>
                  <a:lnTo>
                    <a:pt x="126" y="114"/>
                  </a:lnTo>
                  <a:lnTo>
                    <a:pt x="132" y="114"/>
                  </a:lnTo>
                  <a:lnTo>
                    <a:pt x="138" y="120"/>
                  </a:lnTo>
                  <a:lnTo>
                    <a:pt x="144" y="120"/>
                  </a:lnTo>
                  <a:lnTo>
                    <a:pt x="144" y="126"/>
                  </a:lnTo>
                  <a:lnTo>
                    <a:pt x="150" y="126"/>
                  </a:lnTo>
                  <a:lnTo>
                    <a:pt x="156" y="120"/>
                  </a:lnTo>
                  <a:lnTo>
                    <a:pt x="156" y="96"/>
                  </a:lnTo>
                  <a:lnTo>
                    <a:pt x="156" y="84"/>
                  </a:lnTo>
                  <a:lnTo>
                    <a:pt x="162" y="84"/>
                  </a:lnTo>
                  <a:lnTo>
                    <a:pt x="168" y="78"/>
                  </a:lnTo>
                  <a:lnTo>
                    <a:pt x="174" y="72"/>
                  </a:lnTo>
                  <a:lnTo>
                    <a:pt x="180" y="72"/>
                  </a:lnTo>
                  <a:lnTo>
                    <a:pt x="198" y="66"/>
                  </a:lnTo>
                  <a:lnTo>
                    <a:pt x="198" y="60"/>
                  </a:lnTo>
                  <a:lnTo>
                    <a:pt x="216" y="42"/>
                  </a:lnTo>
                  <a:lnTo>
                    <a:pt x="222" y="36"/>
                  </a:lnTo>
                  <a:lnTo>
                    <a:pt x="228" y="36"/>
                  </a:lnTo>
                  <a:lnTo>
                    <a:pt x="228" y="30"/>
                  </a:lnTo>
                  <a:lnTo>
                    <a:pt x="228" y="24"/>
                  </a:lnTo>
                  <a:lnTo>
                    <a:pt x="246" y="18"/>
                  </a:lnTo>
                  <a:lnTo>
                    <a:pt x="252" y="18"/>
                  </a:lnTo>
                  <a:lnTo>
                    <a:pt x="258" y="12"/>
                  </a:lnTo>
                  <a:lnTo>
                    <a:pt x="270" y="6"/>
                  </a:lnTo>
                  <a:lnTo>
                    <a:pt x="288" y="6"/>
                  </a:lnTo>
                  <a:lnTo>
                    <a:pt x="312" y="12"/>
                  </a:lnTo>
                  <a:lnTo>
                    <a:pt x="324" y="12"/>
                  </a:lnTo>
                  <a:lnTo>
                    <a:pt x="336" y="18"/>
                  </a:lnTo>
                  <a:lnTo>
                    <a:pt x="348" y="24"/>
                  </a:lnTo>
                  <a:lnTo>
                    <a:pt x="354" y="24"/>
                  </a:lnTo>
                  <a:lnTo>
                    <a:pt x="354" y="18"/>
                  </a:lnTo>
                  <a:lnTo>
                    <a:pt x="360" y="18"/>
                  </a:lnTo>
                  <a:lnTo>
                    <a:pt x="360" y="6"/>
                  </a:lnTo>
                  <a:lnTo>
                    <a:pt x="372" y="6"/>
                  </a:lnTo>
                  <a:lnTo>
                    <a:pt x="390" y="6"/>
                  </a:lnTo>
                  <a:lnTo>
                    <a:pt x="396" y="0"/>
                  </a:lnTo>
                  <a:lnTo>
                    <a:pt x="414" y="12"/>
                  </a:lnTo>
                  <a:lnTo>
                    <a:pt x="426" y="12"/>
                  </a:lnTo>
                  <a:lnTo>
                    <a:pt x="444" y="18"/>
                  </a:lnTo>
                  <a:lnTo>
                    <a:pt x="462" y="18"/>
                  </a:lnTo>
                  <a:lnTo>
                    <a:pt x="474" y="18"/>
                  </a:lnTo>
                  <a:lnTo>
                    <a:pt x="480" y="18"/>
                  </a:lnTo>
                  <a:lnTo>
                    <a:pt x="486" y="36"/>
                  </a:lnTo>
                  <a:lnTo>
                    <a:pt x="480" y="42"/>
                  </a:lnTo>
                  <a:lnTo>
                    <a:pt x="480" y="54"/>
                  </a:lnTo>
                  <a:lnTo>
                    <a:pt x="486" y="78"/>
                  </a:lnTo>
                  <a:lnTo>
                    <a:pt x="486" y="114"/>
                  </a:lnTo>
                  <a:lnTo>
                    <a:pt x="486" y="150"/>
                  </a:lnTo>
                  <a:lnTo>
                    <a:pt x="468" y="150"/>
                  </a:lnTo>
                  <a:lnTo>
                    <a:pt x="474" y="162"/>
                  </a:lnTo>
                  <a:lnTo>
                    <a:pt x="480" y="162"/>
                  </a:lnTo>
                  <a:lnTo>
                    <a:pt x="486" y="174"/>
                  </a:lnTo>
                  <a:lnTo>
                    <a:pt x="492" y="174"/>
                  </a:lnTo>
                  <a:lnTo>
                    <a:pt x="492" y="192"/>
                  </a:lnTo>
                  <a:lnTo>
                    <a:pt x="498" y="198"/>
                  </a:lnTo>
                  <a:lnTo>
                    <a:pt x="504" y="204"/>
                  </a:lnTo>
                  <a:lnTo>
                    <a:pt x="504" y="210"/>
                  </a:lnTo>
                  <a:lnTo>
                    <a:pt x="498" y="210"/>
                  </a:lnTo>
                  <a:lnTo>
                    <a:pt x="498" y="222"/>
                  </a:lnTo>
                  <a:lnTo>
                    <a:pt x="492" y="228"/>
                  </a:lnTo>
                  <a:lnTo>
                    <a:pt x="492" y="234"/>
                  </a:lnTo>
                  <a:lnTo>
                    <a:pt x="492" y="240"/>
                  </a:lnTo>
                  <a:lnTo>
                    <a:pt x="486" y="246"/>
                  </a:lnTo>
                  <a:lnTo>
                    <a:pt x="486" y="258"/>
                  </a:lnTo>
                  <a:lnTo>
                    <a:pt x="480" y="264"/>
                  </a:lnTo>
                  <a:lnTo>
                    <a:pt x="474" y="276"/>
                  </a:lnTo>
                  <a:lnTo>
                    <a:pt x="468" y="288"/>
                  </a:lnTo>
                  <a:lnTo>
                    <a:pt x="456" y="306"/>
                  </a:lnTo>
                  <a:lnTo>
                    <a:pt x="456" y="312"/>
                  </a:lnTo>
                  <a:lnTo>
                    <a:pt x="444" y="318"/>
                  </a:lnTo>
                  <a:lnTo>
                    <a:pt x="432" y="336"/>
                  </a:lnTo>
                  <a:lnTo>
                    <a:pt x="432" y="342"/>
                  </a:lnTo>
                  <a:lnTo>
                    <a:pt x="432" y="348"/>
                  </a:lnTo>
                  <a:lnTo>
                    <a:pt x="432" y="354"/>
                  </a:lnTo>
                  <a:lnTo>
                    <a:pt x="426" y="366"/>
                  </a:lnTo>
                  <a:lnTo>
                    <a:pt x="420" y="366"/>
                  </a:lnTo>
                  <a:lnTo>
                    <a:pt x="420" y="372"/>
                  </a:lnTo>
                  <a:lnTo>
                    <a:pt x="414" y="378"/>
                  </a:lnTo>
                  <a:lnTo>
                    <a:pt x="414" y="390"/>
                  </a:lnTo>
                  <a:lnTo>
                    <a:pt x="408" y="390"/>
                  </a:lnTo>
                  <a:lnTo>
                    <a:pt x="408" y="402"/>
                  </a:lnTo>
                  <a:lnTo>
                    <a:pt x="402" y="414"/>
                  </a:lnTo>
                  <a:lnTo>
                    <a:pt x="396" y="438"/>
                  </a:lnTo>
                  <a:lnTo>
                    <a:pt x="396" y="444"/>
                  </a:lnTo>
                  <a:lnTo>
                    <a:pt x="390" y="456"/>
                  </a:lnTo>
                  <a:close/>
                </a:path>
              </a:pathLst>
            </a:custGeom>
            <a:solidFill>
              <a:srgbClr val="FFC000"/>
            </a:solidFill>
            <a:ln w="9525">
              <a:solidFill>
                <a:schemeClr val="bg1"/>
              </a:solidFill>
              <a:round/>
              <a:headEnd/>
              <a:tailEnd/>
            </a:ln>
          </p:spPr>
          <p:txBody>
            <a:bodyPr/>
            <a:lstStyle/>
            <a:p>
              <a:endParaRPr lang="en-GB"/>
            </a:p>
          </p:txBody>
        </p:sp>
        <p:sp>
          <p:nvSpPr>
            <p:cNvPr id="19484" name="Freeform 8"/>
            <p:cNvSpPr>
              <a:spLocks/>
            </p:cNvSpPr>
            <p:nvPr/>
          </p:nvSpPr>
          <p:spPr bwMode="gray">
            <a:xfrm>
              <a:off x="3661661" y="5267366"/>
              <a:ext cx="420468" cy="624014"/>
            </a:xfrm>
            <a:custGeom>
              <a:avLst/>
              <a:gdLst>
                <a:gd name="T0" fmla="*/ 30708 w 534"/>
                <a:gd name="T1" fmla="*/ 28218 h 774"/>
                <a:gd name="T2" fmla="*/ 27559 w 534"/>
                <a:gd name="T3" fmla="*/ 24993 h 774"/>
                <a:gd name="T4" fmla="*/ 25197 w 534"/>
                <a:gd name="T5" fmla="*/ 23380 h 774"/>
                <a:gd name="T6" fmla="*/ 25197 w 534"/>
                <a:gd name="T7" fmla="*/ 24993 h 774"/>
                <a:gd name="T8" fmla="*/ 22834 w 534"/>
                <a:gd name="T9" fmla="*/ 26605 h 774"/>
                <a:gd name="T10" fmla="*/ 21260 w 534"/>
                <a:gd name="T11" fmla="*/ 29024 h 774"/>
                <a:gd name="T12" fmla="*/ 23622 w 534"/>
                <a:gd name="T13" fmla="*/ 30636 h 774"/>
                <a:gd name="T14" fmla="*/ 22834 w 534"/>
                <a:gd name="T15" fmla="*/ 32249 h 774"/>
                <a:gd name="T16" fmla="*/ 19685 w 534"/>
                <a:gd name="T17" fmla="*/ 32249 h 774"/>
                <a:gd name="T18" fmla="*/ 18110 w 534"/>
                <a:gd name="T19" fmla="*/ 33861 h 774"/>
                <a:gd name="T20" fmla="*/ 17323 w 534"/>
                <a:gd name="T21" fmla="*/ 37892 h 774"/>
                <a:gd name="T22" fmla="*/ 17323 w 534"/>
                <a:gd name="T23" fmla="*/ 41117 h 774"/>
                <a:gd name="T24" fmla="*/ 17323 w 534"/>
                <a:gd name="T25" fmla="*/ 43536 h 774"/>
                <a:gd name="T26" fmla="*/ 16535 w 534"/>
                <a:gd name="T27" fmla="*/ 45148 h 774"/>
                <a:gd name="T28" fmla="*/ 14960 w 534"/>
                <a:gd name="T29" fmla="*/ 46761 h 774"/>
                <a:gd name="T30" fmla="*/ 15748 w 534"/>
                <a:gd name="T31" fmla="*/ 47567 h 774"/>
                <a:gd name="T32" fmla="*/ 14960 w 534"/>
                <a:gd name="T33" fmla="*/ 49986 h 774"/>
                <a:gd name="T34" fmla="*/ 14960 w 534"/>
                <a:gd name="T35" fmla="*/ 51598 h 774"/>
                <a:gd name="T36" fmla="*/ 15748 w 534"/>
                <a:gd name="T37" fmla="*/ 53211 h 774"/>
                <a:gd name="T38" fmla="*/ 13386 w 534"/>
                <a:gd name="T39" fmla="*/ 53211 h 774"/>
                <a:gd name="T40" fmla="*/ 12598 w 534"/>
                <a:gd name="T41" fmla="*/ 52404 h 774"/>
                <a:gd name="T42" fmla="*/ 10236 w 534"/>
                <a:gd name="T43" fmla="*/ 52404 h 774"/>
                <a:gd name="T44" fmla="*/ 8661 w 534"/>
                <a:gd name="T45" fmla="*/ 52404 h 774"/>
                <a:gd name="T46" fmla="*/ 6299 w 534"/>
                <a:gd name="T47" fmla="*/ 52404 h 774"/>
                <a:gd name="T48" fmla="*/ 6299 w 534"/>
                <a:gd name="T49" fmla="*/ 51598 h 774"/>
                <a:gd name="T50" fmla="*/ 3937 w 534"/>
                <a:gd name="T51" fmla="*/ 52404 h 774"/>
                <a:gd name="T52" fmla="*/ 2362 w 534"/>
                <a:gd name="T53" fmla="*/ 52404 h 774"/>
                <a:gd name="T54" fmla="*/ 0 w 534"/>
                <a:gd name="T55" fmla="*/ 51598 h 774"/>
                <a:gd name="T56" fmla="*/ 0 w 534"/>
                <a:gd name="T57" fmla="*/ 49986 h 774"/>
                <a:gd name="T58" fmla="*/ 2362 w 534"/>
                <a:gd name="T59" fmla="*/ 48373 h 774"/>
                <a:gd name="T60" fmla="*/ 4724 w 534"/>
                <a:gd name="T61" fmla="*/ 45955 h 774"/>
                <a:gd name="T62" fmla="*/ 6299 w 534"/>
                <a:gd name="T63" fmla="*/ 40311 h 774"/>
                <a:gd name="T64" fmla="*/ 4724 w 534"/>
                <a:gd name="T65" fmla="*/ 36280 h 774"/>
                <a:gd name="T66" fmla="*/ 6299 w 534"/>
                <a:gd name="T67" fmla="*/ 33055 h 774"/>
                <a:gd name="T68" fmla="*/ 7087 w 534"/>
                <a:gd name="T69" fmla="*/ 30636 h 774"/>
                <a:gd name="T70" fmla="*/ 7874 w 534"/>
                <a:gd name="T71" fmla="*/ 29024 h 774"/>
                <a:gd name="T72" fmla="*/ 9449 w 534"/>
                <a:gd name="T73" fmla="*/ 26605 h 774"/>
                <a:gd name="T74" fmla="*/ 11024 w 534"/>
                <a:gd name="T75" fmla="*/ 23380 h 774"/>
                <a:gd name="T76" fmla="*/ 12598 w 534"/>
                <a:gd name="T77" fmla="*/ 20962 h 774"/>
                <a:gd name="T78" fmla="*/ 12598 w 534"/>
                <a:gd name="T79" fmla="*/ 19349 h 774"/>
                <a:gd name="T80" fmla="*/ 12598 w 534"/>
                <a:gd name="T81" fmla="*/ 16931 h 774"/>
                <a:gd name="T82" fmla="*/ 10236 w 534"/>
                <a:gd name="T83" fmla="*/ 15318 h 774"/>
                <a:gd name="T84" fmla="*/ 11024 w 534"/>
                <a:gd name="T85" fmla="*/ 8062 h 774"/>
                <a:gd name="T86" fmla="*/ 11024 w 534"/>
                <a:gd name="T87" fmla="*/ 5644 h 774"/>
                <a:gd name="T88" fmla="*/ 6299 w 534"/>
                <a:gd name="T89" fmla="*/ 5644 h 774"/>
                <a:gd name="T90" fmla="*/ 5512 w 534"/>
                <a:gd name="T91" fmla="*/ 2419 h 774"/>
                <a:gd name="T92" fmla="*/ 8661 w 534"/>
                <a:gd name="T93" fmla="*/ 806 h 774"/>
                <a:gd name="T94" fmla="*/ 9449 w 534"/>
                <a:gd name="T95" fmla="*/ 0 h 774"/>
                <a:gd name="T96" fmla="*/ 12598 w 534"/>
                <a:gd name="T97" fmla="*/ 1612 h 774"/>
                <a:gd name="T98" fmla="*/ 15748 w 534"/>
                <a:gd name="T99" fmla="*/ 1612 h 774"/>
                <a:gd name="T100" fmla="*/ 18110 w 534"/>
                <a:gd name="T101" fmla="*/ 2419 h 774"/>
                <a:gd name="T102" fmla="*/ 18110 w 534"/>
                <a:gd name="T103" fmla="*/ 8062 h 774"/>
                <a:gd name="T104" fmla="*/ 22834 w 534"/>
                <a:gd name="T105" fmla="*/ 9675 h 774"/>
                <a:gd name="T106" fmla="*/ 27559 w 534"/>
                <a:gd name="T107" fmla="*/ 9675 h 774"/>
                <a:gd name="T108" fmla="*/ 29921 w 534"/>
                <a:gd name="T109" fmla="*/ 13706 h 774"/>
                <a:gd name="T110" fmla="*/ 31496 w 534"/>
                <a:gd name="T111" fmla="*/ 15318 h 774"/>
                <a:gd name="T112" fmla="*/ 34645 w 534"/>
                <a:gd name="T113" fmla="*/ 18543 h 774"/>
                <a:gd name="T114" fmla="*/ 34645 w 534"/>
                <a:gd name="T115" fmla="*/ 24187 h 774"/>
                <a:gd name="T116" fmla="*/ 36220 w 534"/>
                <a:gd name="T117" fmla="*/ 29024 h 774"/>
                <a:gd name="T118" fmla="*/ 32283 w 534"/>
                <a:gd name="T119" fmla="*/ 29830 h 7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4"/>
                <a:gd name="T181" fmla="*/ 0 h 774"/>
                <a:gd name="T182" fmla="*/ 534 w 534"/>
                <a:gd name="T183" fmla="*/ 774 h 77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4" h="774">
                  <a:moveTo>
                    <a:pt x="462" y="426"/>
                  </a:moveTo>
                  <a:lnTo>
                    <a:pt x="462" y="414"/>
                  </a:lnTo>
                  <a:lnTo>
                    <a:pt x="450" y="402"/>
                  </a:lnTo>
                  <a:lnTo>
                    <a:pt x="444" y="396"/>
                  </a:lnTo>
                  <a:lnTo>
                    <a:pt x="420" y="396"/>
                  </a:lnTo>
                  <a:lnTo>
                    <a:pt x="408" y="390"/>
                  </a:lnTo>
                  <a:lnTo>
                    <a:pt x="402" y="366"/>
                  </a:lnTo>
                  <a:lnTo>
                    <a:pt x="390" y="354"/>
                  </a:lnTo>
                  <a:lnTo>
                    <a:pt x="384" y="336"/>
                  </a:lnTo>
                  <a:lnTo>
                    <a:pt x="378" y="336"/>
                  </a:lnTo>
                  <a:lnTo>
                    <a:pt x="366" y="336"/>
                  </a:lnTo>
                  <a:lnTo>
                    <a:pt x="360" y="336"/>
                  </a:lnTo>
                  <a:lnTo>
                    <a:pt x="354" y="336"/>
                  </a:lnTo>
                  <a:lnTo>
                    <a:pt x="348" y="336"/>
                  </a:lnTo>
                  <a:lnTo>
                    <a:pt x="348" y="348"/>
                  </a:lnTo>
                  <a:lnTo>
                    <a:pt x="360" y="354"/>
                  </a:lnTo>
                  <a:lnTo>
                    <a:pt x="360" y="390"/>
                  </a:lnTo>
                  <a:lnTo>
                    <a:pt x="348" y="390"/>
                  </a:lnTo>
                  <a:lnTo>
                    <a:pt x="342" y="384"/>
                  </a:lnTo>
                  <a:lnTo>
                    <a:pt x="330" y="378"/>
                  </a:lnTo>
                  <a:lnTo>
                    <a:pt x="324" y="378"/>
                  </a:lnTo>
                  <a:lnTo>
                    <a:pt x="318" y="390"/>
                  </a:lnTo>
                  <a:lnTo>
                    <a:pt x="312" y="402"/>
                  </a:lnTo>
                  <a:lnTo>
                    <a:pt x="306" y="420"/>
                  </a:lnTo>
                  <a:lnTo>
                    <a:pt x="324" y="414"/>
                  </a:lnTo>
                  <a:lnTo>
                    <a:pt x="330" y="414"/>
                  </a:lnTo>
                  <a:lnTo>
                    <a:pt x="336" y="420"/>
                  </a:lnTo>
                  <a:lnTo>
                    <a:pt x="336" y="432"/>
                  </a:lnTo>
                  <a:lnTo>
                    <a:pt x="330" y="438"/>
                  </a:lnTo>
                  <a:lnTo>
                    <a:pt x="330" y="444"/>
                  </a:lnTo>
                  <a:lnTo>
                    <a:pt x="330" y="450"/>
                  </a:lnTo>
                  <a:lnTo>
                    <a:pt x="324" y="456"/>
                  </a:lnTo>
                  <a:lnTo>
                    <a:pt x="318" y="456"/>
                  </a:lnTo>
                  <a:lnTo>
                    <a:pt x="300" y="456"/>
                  </a:lnTo>
                  <a:lnTo>
                    <a:pt x="288" y="462"/>
                  </a:lnTo>
                  <a:lnTo>
                    <a:pt x="276" y="462"/>
                  </a:lnTo>
                  <a:lnTo>
                    <a:pt x="270" y="462"/>
                  </a:lnTo>
                  <a:lnTo>
                    <a:pt x="270" y="468"/>
                  </a:lnTo>
                  <a:lnTo>
                    <a:pt x="252" y="468"/>
                  </a:lnTo>
                  <a:lnTo>
                    <a:pt x="258" y="480"/>
                  </a:lnTo>
                  <a:lnTo>
                    <a:pt x="258" y="492"/>
                  </a:lnTo>
                  <a:lnTo>
                    <a:pt x="258" y="498"/>
                  </a:lnTo>
                  <a:lnTo>
                    <a:pt x="258" y="510"/>
                  </a:lnTo>
                  <a:lnTo>
                    <a:pt x="252" y="540"/>
                  </a:lnTo>
                  <a:lnTo>
                    <a:pt x="246" y="564"/>
                  </a:lnTo>
                  <a:lnTo>
                    <a:pt x="246" y="570"/>
                  </a:lnTo>
                  <a:lnTo>
                    <a:pt x="252" y="576"/>
                  </a:lnTo>
                  <a:lnTo>
                    <a:pt x="246" y="582"/>
                  </a:lnTo>
                  <a:lnTo>
                    <a:pt x="252" y="600"/>
                  </a:lnTo>
                  <a:lnTo>
                    <a:pt x="258" y="606"/>
                  </a:lnTo>
                  <a:lnTo>
                    <a:pt x="258" y="612"/>
                  </a:lnTo>
                  <a:lnTo>
                    <a:pt x="252" y="618"/>
                  </a:lnTo>
                  <a:lnTo>
                    <a:pt x="246" y="624"/>
                  </a:lnTo>
                  <a:lnTo>
                    <a:pt x="246" y="630"/>
                  </a:lnTo>
                  <a:lnTo>
                    <a:pt x="246" y="636"/>
                  </a:lnTo>
                  <a:lnTo>
                    <a:pt x="240" y="642"/>
                  </a:lnTo>
                  <a:lnTo>
                    <a:pt x="234" y="654"/>
                  </a:lnTo>
                  <a:lnTo>
                    <a:pt x="228" y="654"/>
                  </a:lnTo>
                  <a:lnTo>
                    <a:pt x="222" y="660"/>
                  </a:lnTo>
                  <a:lnTo>
                    <a:pt x="216" y="666"/>
                  </a:lnTo>
                  <a:lnTo>
                    <a:pt x="210" y="666"/>
                  </a:lnTo>
                  <a:lnTo>
                    <a:pt x="204" y="678"/>
                  </a:lnTo>
                  <a:lnTo>
                    <a:pt x="210" y="678"/>
                  </a:lnTo>
                  <a:lnTo>
                    <a:pt x="222" y="684"/>
                  </a:lnTo>
                  <a:lnTo>
                    <a:pt x="222" y="690"/>
                  </a:lnTo>
                  <a:lnTo>
                    <a:pt x="222" y="696"/>
                  </a:lnTo>
                  <a:lnTo>
                    <a:pt x="222" y="702"/>
                  </a:lnTo>
                  <a:lnTo>
                    <a:pt x="216" y="708"/>
                  </a:lnTo>
                  <a:lnTo>
                    <a:pt x="210" y="720"/>
                  </a:lnTo>
                  <a:lnTo>
                    <a:pt x="216" y="732"/>
                  </a:lnTo>
                  <a:lnTo>
                    <a:pt x="210" y="732"/>
                  </a:lnTo>
                  <a:lnTo>
                    <a:pt x="216" y="738"/>
                  </a:lnTo>
                  <a:lnTo>
                    <a:pt x="216" y="744"/>
                  </a:lnTo>
                  <a:lnTo>
                    <a:pt x="222" y="750"/>
                  </a:lnTo>
                  <a:lnTo>
                    <a:pt x="228" y="756"/>
                  </a:lnTo>
                  <a:lnTo>
                    <a:pt x="222" y="762"/>
                  </a:lnTo>
                  <a:lnTo>
                    <a:pt x="228" y="768"/>
                  </a:lnTo>
                  <a:lnTo>
                    <a:pt x="222" y="774"/>
                  </a:lnTo>
                  <a:lnTo>
                    <a:pt x="204" y="762"/>
                  </a:lnTo>
                  <a:lnTo>
                    <a:pt x="198" y="762"/>
                  </a:lnTo>
                  <a:lnTo>
                    <a:pt x="192" y="762"/>
                  </a:lnTo>
                  <a:lnTo>
                    <a:pt x="186" y="756"/>
                  </a:lnTo>
                  <a:lnTo>
                    <a:pt x="180" y="750"/>
                  </a:lnTo>
                  <a:lnTo>
                    <a:pt x="180" y="744"/>
                  </a:lnTo>
                  <a:lnTo>
                    <a:pt x="174" y="744"/>
                  </a:lnTo>
                  <a:lnTo>
                    <a:pt x="156" y="750"/>
                  </a:lnTo>
                  <a:lnTo>
                    <a:pt x="150" y="750"/>
                  </a:lnTo>
                  <a:lnTo>
                    <a:pt x="144" y="750"/>
                  </a:lnTo>
                  <a:lnTo>
                    <a:pt x="138" y="750"/>
                  </a:lnTo>
                  <a:lnTo>
                    <a:pt x="138" y="744"/>
                  </a:lnTo>
                  <a:lnTo>
                    <a:pt x="132" y="744"/>
                  </a:lnTo>
                  <a:lnTo>
                    <a:pt x="120" y="744"/>
                  </a:lnTo>
                  <a:lnTo>
                    <a:pt x="114" y="738"/>
                  </a:lnTo>
                  <a:lnTo>
                    <a:pt x="108" y="744"/>
                  </a:lnTo>
                  <a:lnTo>
                    <a:pt x="102" y="744"/>
                  </a:lnTo>
                  <a:lnTo>
                    <a:pt x="96" y="744"/>
                  </a:lnTo>
                  <a:lnTo>
                    <a:pt x="96" y="738"/>
                  </a:lnTo>
                  <a:lnTo>
                    <a:pt x="96" y="744"/>
                  </a:lnTo>
                  <a:lnTo>
                    <a:pt x="90" y="744"/>
                  </a:lnTo>
                  <a:lnTo>
                    <a:pt x="90" y="738"/>
                  </a:lnTo>
                  <a:lnTo>
                    <a:pt x="84" y="744"/>
                  </a:lnTo>
                  <a:lnTo>
                    <a:pt x="72" y="750"/>
                  </a:lnTo>
                  <a:lnTo>
                    <a:pt x="66" y="750"/>
                  </a:lnTo>
                  <a:lnTo>
                    <a:pt x="60" y="750"/>
                  </a:lnTo>
                  <a:lnTo>
                    <a:pt x="54" y="756"/>
                  </a:lnTo>
                  <a:lnTo>
                    <a:pt x="42" y="756"/>
                  </a:lnTo>
                  <a:lnTo>
                    <a:pt x="36" y="750"/>
                  </a:lnTo>
                  <a:lnTo>
                    <a:pt x="30" y="750"/>
                  </a:lnTo>
                  <a:lnTo>
                    <a:pt x="24" y="744"/>
                  </a:lnTo>
                  <a:lnTo>
                    <a:pt x="18" y="738"/>
                  </a:lnTo>
                  <a:lnTo>
                    <a:pt x="6" y="738"/>
                  </a:lnTo>
                  <a:lnTo>
                    <a:pt x="0" y="732"/>
                  </a:lnTo>
                  <a:lnTo>
                    <a:pt x="0" y="726"/>
                  </a:lnTo>
                  <a:lnTo>
                    <a:pt x="0" y="720"/>
                  </a:lnTo>
                  <a:lnTo>
                    <a:pt x="6" y="714"/>
                  </a:lnTo>
                  <a:lnTo>
                    <a:pt x="6" y="708"/>
                  </a:lnTo>
                  <a:lnTo>
                    <a:pt x="12" y="708"/>
                  </a:lnTo>
                  <a:lnTo>
                    <a:pt x="18" y="702"/>
                  </a:lnTo>
                  <a:lnTo>
                    <a:pt x="24" y="696"/>
                  </a:lnTo>
                  <a:lnTo>
                    <a:pt x="30" y="696"/>
                  </a:lnTo>
                  <a:lnTo>
                    <a:pt x="48" y="690"/>
                  </a:lnTo>
                  <a:lnTo>
                    <a:pt x="54" y="678"/>
                  </a:lnTo>
                  <a:lnTo>
                    <a:pt x="66" y="672"/>
                  </a:lnTo>
                  <a:lnTo>
                    <a:pt x="66" y="654"/>
                  </a:lnTo>
                  <a:lnTo>
                    <a:pt x="72" y="636"/>
                  </a:lnTo>
                  <a:lnTo>
                    <a:pt x="72" y="612"/>
                  </a:lnTo>
                  <a:lnTo>
                    <a:pt x="84" y="594"/>
                  </a:lnTo>
                  <a:lnTo>
                    <a:pt x="90" y="576"/>
                  </a:lnTo>
                  <a:lnTo>
                    <a:pt x="96" y="552"/>
                  </a:lnTo>
                  <a:lnTo>
                    <a:pt x="90" y="528"/>
                  </a:lnTo>
                  <a:lnTo>
                    <a:pt x="84" y="528"/>
                  </a:lnTo>
                  <a:lnTo>
                    <a:pt x="72" y="522"/>
                  </a:lnTo>
                  <a:lnTo>
                    <a:pt x="78" y="510"/>
                  </a:lnTo>
                  <a:lnTo>
                    <a:pt x="78" y="504"/>
                  </a:lnTo>
                  <a:lnTo>
                    <a:pt x="84" y="480"/>
                  </a:lnTo>
                  <a:lnTo>
                    <a:pt x="90" y="468"/>
                  </a:lnTo>
                  <a:lnTo>
                    <a:pt x="90" y="456"/>
                  </a:lnTo>
                  <a:lnTo>
                    <a:pt x="96" y="456"/>
                  </a:lnTo>
                  <a:lnTo>
                    <a:pt x="96" y="444"/>
                  </a:lnTo>
                  <a:lnTo>
                    <a:pt x="102" y="438"/>
                  </a:lnTo>
                  <a:lnTo>
                    <a:pt x="102" y="432"/>
                  </a:lnTo>
                  <a:lnTo>
                    <a:pt x="108" y="432"/>
                  </a:lnTo>
                  <a:lnTo>
                    <a:pt x="114" y="420"/>
                  </a:lnTo>
                  <a:lnTo>
                    <a:pt x="114" y="414"/>
                  </a:lnTo>
                  <a:lnTo>
                    <a:pt x="114" y="408"/>
                  </a:lnTo>
                  <a:lnTo>
                    <a:pt x="114" y="402"/>
                  </a:lnTo>
                  <a:lnTo>
                    <a:pt x="126" y="384"/>
                  </a:lnTo>
                  <a:lnTo>
                    <a:pt x="138" y="378"/>
                  </a:lnTo>
                  <a:lnTo>
                    <a:pt x="138" y="372"/>
                  </a:lnTo>
                  <a:lnTo>
                    <a:pt x="150" y="354"/>
                  </a:lnTo>
                  <a:lnTo>
                    <a:pt x="156" y="342"/>
                  </a:lnTo>
                  <a:lnTo>
                    <a:pt x="162" y="330"/>
                  </a:lnTo>
                  <a:lnTo>
                    <a:pt x="168" y="324"/>
                  </a:lnTo>
                  <a:lnTo>
                    <a:pt x="168" y="312"/>
                  </a:lnTo>
                  <a:lnTo>
                    <a:pt x="174" y="306"/>
                  </a:lnTo>
                  <a:lnTo>
                    <a:pt x="174" y="300"/>
                  </a:lnTo>
                  <a:lnTo>
                    <a:pt x="174" y="294"/>
                  </a:lnTo>
                  <a:lnTo>
                    <a:pt x="180" y="288"/>
                  </a:lnTo>
                  <a:lnTo>
                    <a:pt x="180" y="276"/>
                  </a:lnTo>
                  <a:lnTo>
                    <a:pt x="186" y="276"/>
                  </a:lnTo>
                  <a:lnTo>
                    <a:pt x="186" y="270"/>
                  </a:lnTo>
                  <a:lnTo>
                    <a:pt x="180" y="264"/>
                  </a:lnTo>
                  <a:lnTo>
                    <a:pt x="174" y="258"/>
                  </a:lnTo>
                  <a:lnTo>
                    <a:pt x="174" y="240"/>
                  </a:lnTo>
                  <a:lnTo>
                    <a:pt x="168" y="240"/>
                  </a:lnTo>
                  <a:lnTo>
                    <a:pt x="162" y="228"/>
                  </a:lnTo>
                  <a:lnTo>
                    <a:pt x="156" y="228"/>
                  </a:lnTo>
                  <a:lnTo>
                    <a:pt x="150" y="216"/>
                  </a:lnTo>
                  <a:lnTo>
                    <a:pt x="168" y="216"/>
                  </a:lnTo>
                  <a:lnTo>
                    <a:pt x="168" y="180"/>
                  </a:lnTo>
                  <a:lnTo>
                    <a:pt x="168" y="144"/>
                  </a:lnTo>
                  <a:lnTo>
                    <a:pt x="162" y="120"/>
                  </a:lnTo>
                  <a:lnTo>
                    <a:pt x="162" y="108"/>
                  </a:lnTo>
                  <a:lnTo>
                    <a:pt x="168" y="102"/>
                  </a:lnTo>
                  <a:lnTo>
                    <a:pt x="162" y="84"/>
                  </a:lnTo>
                  <a:lnTo>
                    <a:pt x="156" y="84"/>
                  </a:lnTo>
                  <a:lnTo>
                    <a:pt x="144" y="84"/>
                  </a:lnTo>
                  <a:lnTo>
                    <a:pt x="126" y="84"/>
                  </a:lnTo>
                  <a:lnTo>
                    <a:pt x="108" y="78"/>
                  </a:lnTo>
                  <a:lnTo>
                    <a:pt x="96" y="78"/>
                  </a:lnTo>
                  <a:lnTo>
                    <a:pt x="78" y="66"/>
                  </a:lnTo>
                  <a:lnTo>
                    <a:pt x="84" y="60"/>
                  </a:lnTo>
                  <a:lnTo>
                    <a:pt x="78" y="54"/>
                  </a:lnTo>
                  <a:lnTo>
                    <a:pt x="78" y="36"/>
                  </a:lnTo>
                  <a:lnTo>
                    <a:pt x="96" y="24"/>
                  </a:lnTo>
                  <a:lnTo>
                    <a:pt x="120" y="24"/>
                  </a:lnTo>
                  <a:lnTo>
                    <a:pt x="126" y="18"/>
                  </a:lnTo>
                  <a:lnTo>
                    <a:pt x="126" y="12"/>
                  </a:lnTo>
                  <a:lnTo>
                    <a:pt x="126" y="6"/>
                  </a:lnTo>
                  <a:lnTo>
                    <a:pt x="132" y="6"/>
                  </a:lnTo>
                  <a:lnTo>
                    <a:pt x="138" y="6"/>
                  </a:lnTo>
                  <a:lnTo>
                    <a:pt x="138" y="0"/>
                  </a:lnTo>
                  <a:lnTo>
                    <a:pt x="156" y="0"/>
                  </a:lnTo>
                  <a:lnTo>
                    <a:pt x="156" y="6"/>
                  </a:lnTo>
                  <a:lnTo>
                    <a:pt x="168" y="24"/>
                  </a:lnTo>
                  <a:lnTo>
                    <a:pt x="180" y="24"/>
                  </a:lnTo>
                  <a:lnTo>
                    <a:pt x="192" y="18"/>
                  </a:lnTo>
                  <a:lnTo>
                    <a:pt x="198" y="18"/>
                  </a:lnTo>
                  <a:lnTo>
                    <a:pt x="210" y="18"/>
                  </a:lnTo>
                  <a:lnTo>
                    <a:pt x="222" y="18"/>
                  </a:lnTo>
                  <a:lnTo>
                    <a:pt x="234" y="12"/>
                  </a:lnTo>
                  <a:lnTo>
                    <a:pt x="252" y="18"/>
                  </a:lnTo>
                  <a:lnTo>
                    <a:pt x="252" y="24"/>
                  </a:lnTo>
                  <a:lnTo>
                    <a:pt x="258" y="36"/>
                  </a:lnTo>
                  <a:lnTo>
                    <a:pt x="258" y="66"/>
                  </a:lnTo>
                  <a:lnTo>
                    <a:pt x="252" y="84"/>
                  </a:lnTo>
                  <a:lnTo>
                    <a:pt x="252" y="120"/>
                  </a:lnTo>
                  <a:lnTo>
                    <a:pt x="258" y="120"/>
                  </a:lnTo>
                  <a:lnTo>
                    <a:pt x="282" y="126"/>
                  </a:lnTo>
                  <a:lnTo>
                    <a:pt x="294" y="132"/>
                  </a:lnTo>
                  <a:lnTo>
                    <a:pt x="306" y="138"/>
                  </a:lnTo>
                  <a:lnTo>
                    <a:pt x="324" y="138"/>
                  </a:lnTo>
                  <a:lnTo>
                    <a:pt x="348" y="138"/>
                  </a:lnTo>
                  <a:lnTo>
                    <a:pt x="354" y="138"/>
                  </a:lnTo>
                  <a:lnTo>
                    <a:pt x="360" y="144"/>
                  </a:lnTo>
                  <a:lnTo>
                    <a:pt x="396" y="144"/>
                  </a:lnTo>
                  <a:lnTo>
                    <a:pt x="408" y="150"/>
                  </a:lnTo>
                  <a:lnTo>
                    <a:pt x="414" y="180"/>
                  </a:lnTo>
                  <a:lnTo>
                    <a:pt x="420" y="186"/>
                  </a:lnTo>
                  <a:lnTo>
                    <a:pt x="426" y="192"/>
                  </a:lnTo>
                  <a:lnTo>
                    <a:pt x="426" y="198"/>
                  </a:lnTo>
                  <a:lnTo>
                    <a:pt x="432" y="198"/>
                  </a:lnTo>
                  <a:lnTo>
                    <a:pt x="438" y="210"/>
                  </a:lnTo>
                  <a:lnTo>
                    <a:pt x="450" y="216"/>
                  </a:lnTo>
                  <a:lnTo>
                    <a:pt x="468" y="228"/>
                  </a:lnTo>
                  <a:lnTo>
                    <a:pt x="492" y="234"/>
                  </a:lnTo>
                  <a:lnTo>
                    <a:pt x="492" y="246"/>
                  </a:lnTo>
                  <a:lnTo>
                    <a:pt x="492" y="270"/>
                  </a:lnTo>
                  <a:lnTo>
                    <a:pt x="486" y="294"/>
                  </a:lnTo>
                  <a:lnTo>
                    <a:pt x="486" y="312"/>
                  </a:lnTo>
                  <a:lnTo>
                    <a:pt x="486" y="330"/>
                  </a:lnTo>
                  <a:lnTo>
                    <a:pt x="492" y="348"/>
                  </a:lnTo>
                  <a:lnTo>
                    <a:pt x="498" y="360"/>
                  </a:lnTo>
                  <a:lnTo>
                    <a:pt x="510" y="366"/>
                  </a:lnTo>
                  <a:lnTo>
                    <a:pt x="516" y="384"/>
                  </a:lnTo>
                  <a:lnTo>
                    <a:pt x="522" y="414"/>
                  </a:lnTo>
                  <a:lnTo>
                    <a:pt x="528" y="414"/>
                  </a:lnTo>
                  <a:lnTo>
                    <a:pt x="534" y="426"/>
                  </a:lnTo>
                  <a:lnTo>
                    <a:pt x="528" y="432"/>
                  </a:lnTo>
                  <a:lnTo>
                    <a:pt x="468" y="426"/>
                  </a:lnTo>
                  <a:lnTo>
                    <a:pt x="462" y="426"/>
                  </a:lnTo>
                  <a:close/>
                </a:path>
              </a:pathLst>
            </a:custGeom>
            <a:solidFill>
              <a:srgbClr val="FFC000"/>
            </a:solidFill>
            <a:ln w="9525">
              <a:solidFill>
                <a:schemeClr val="bg1"/>
              </a:solidFill>
              <a:round/>
              <a:headEnd/>
              <a:tailEnd/>
            </a:ln>
          </p:spPr>
          <p:txBody>
            <a:bodyPr/>
            <a:lstStyle/>
            <a:p>
              <a:endParaRPr lang="en-GB"/>
            </a:p>
          </p:txBody>
        </p:sp>
        <p:sp>
          <p:nvSpPr>
            <p:cNvPr id="19485" name="Freeform 9"/>
            <p:cNvSpPr>
              <a:spLocks noEditPoints="1"/>
            </p:cNvSpPr>
            <p:nvPr/>
          </p:nvSpPr>
          <p:spPr bwMode="gray">
            <a:xfrm>
              <a:off x="3822428" y="5538439"/>
              <a:ext cx="432835" cy="531231"/>
            </a:xfrm>
            <a:custGeom>
              <a:avLst/>
              <a:gdLst>
                <a:gd name="T0" fmla="*/ 2352 w 552"/>
                <a:gd name="T1" fmla="*/ 37025 h 660"/>
                <a:gd name="T2" fmla="*/ 3136 w 552"/>
                <a:gd name="T3" fmla="*/ 33806 h 660"/>
                <a:gd name="T4" fmla="*/ 1568 w 552"/>
                <a:gd name="T5" fmla="*/ 30586 h 660"/>
                <a:gd name="T6" fmla="*/ 0 w 552"/>
                <a:gd name="T7" fmla="*/ 27366 h 660"/>
                <a:gd name="T8" fmla="*/ 1568 w 552"/>
                <a:gd name="T9" fmla="*/ 24147 h 660"/>
                <a:gd name="T10" fmla="*/ 2352 w 552"/>
                <a:gd name="T11" fmla="*/ 21732 h 660"/>
                <a:gd name="T12" fmla="*/ 3921 w 552"/>
                <a:gd name="T13" fmla="*/ 18513 h 660"/>
                <a:gd name="T14" fmla="*/ 3921 w 552"/>
                <a:gd name="T15" fmla="*/ 12073 h 660"/>
                <a:gd name="T16" fmla="*/ 4705 w 552"/>
                <a:gd name="T17" fmla="*/ 8854 h 660"/>
                <a:gd name="T18" fmla="*/ 8625 w 552"/>
                <a:gd name="T19" fmla="*/ 7244 h 660"/>
                <a:gd name="T20" fmla="*/ 7841 w 552"/>
                <a:gd name="T21" fmla="*/ 4024 h 660"/>
                <a:gd name="T22" fmla="*/ 9409 w 552"/>
                <a:gd name="T23" fmla="*/ 805 h 660"/>
                <a:gd name="T24" fmla="*/ 12546 w 552"/>
                <a:gd name="T25" fmla="*/ 1610 h 660"/>
                <a:gd name="T26" fmla="*/ 18035 w 552"/>
                <a:gd name="T27" fmla="*/ 6439 h 660"/>
                <a:gd name="T28" fmla="*/ 18035 w 552"/>
                <a:gd name="T29" fmla="*/ 8854 h 660"/>
                <a:gd name="T30" fmla="*/ 21171 w 552"/>
                <a:gd name="T31" fmla="*/ 9659 h 660"/>
                <a:gd name="T32" fmla="*/ 22740 w 552"/>
                <a:gd name="T33" fmla="*/ 13683 h 660"/>
                <a:gd name="T34" fmla="*/ 24308 w 552"/>
                <a:gd name="T35" fmla="*/ 12073 h 660"/>
                <a:gd name="T36" fmla="*/ 25876 w 552"/>
                <a:gd name="T37" fmla="*/ 13683 h 660"/>
                <a:gd name="T38" fmla="*/ 28228 w 552"/>
                <a:gd name="T39" fmla="*/ 18513 h 660"/>
                <a:gd name="T40" fmla="*/ 32149 w 552"/>
                <a:gd name="T41" fmla="*/ 26562 h 660"/>
                <a:gd name="T42" fmla="*/ 33717 w 552"/>
                <a:gd name="T43" fmla="*/ 28976 h 660"/>
                <a:gd name="T44" fmla="*/ 33717 w 552"/>
                <a:gd name="T45" fmla="*/ 29781 h 660"/>
                <a:gd name="T46" fmla="*/ 32149 w 552"/>
                <a:gd name="T47" fmla="*/ 28171 h 660"/>
                <a:gd name="T48" fmla="*/ 33717 w 552"/>
                <a:gd name="T49" fmla="*/ 29781 h 660"/>
                <a:gd name="T50" fmla="*/ 34501 w 552"/>
                <a:gd name="T51" fmla="*/ 31391 h 660"/>
                <a:gd name="T52" fmla="*/ 36854 w 552"/>
                <a:gd name="T53" fmla="*/ 33001 h 660"/>
                <a:gd name="T54" fmla="*/ 36854 w 552"/>
                <a:gd name="T55" fmla="*/ 35415 h 660"/>
                <a:gd name="T56" fmla="*/ 37638 w 552"/>
                <a:gd name="T57" fmla="*/ 37025 h 660"/>
                <a:gd name="T58" fmla="*/ 36854 w 552"/>
                <a:gd name="T59" fmla="*/ 37025 h 660"/>
                <a:gd name="T60" fmla="*/ 34501 w 552"/>
                <a:gd name="T61" fmla="*/ 37025 h 660"/>
                <a:gd name="T62" fmla="*/ 36854 w 552"/>
                <a:gd name="T63" fmla="*/ 37830 h 660"/>
                <a:gd name="T64" fmla="*/ 36854 w 552"/>
                <a:gd name="T65" fmla="*/ 39440 h 660"/>
                <a:gd name="T66" fmla="*/ 36854 w 552"/>
                <a:gd name="T67" fmla="*/ 41855 h 660"/>
                <a:gd name="T68" fmla="*/ 36070 w 552"/>
                <a:gd name="T69" fmla="*/ 42659 h 660"/>
                <a:gd name="T70" fmla="*/ 33717 w 552"/>
                <a:gd name="T71" fmla="*/ 43464 h 660"/>
                <a:gd name="T72" fmla="*/ 29012 w 552"/>
                <a:gd name="T73" fmla="*/ 43464 h 660"/>
                <a:gd name="T74" fmla="*/ 23524 w 552"/>
                <a:gd name="T75" fmla="*/ 43464 h 660"/>
                <a:gd name="T76" fmla="*/ 22740 w 552"/>
                <a:gd name="T77" fmla="*/ 42659 h 660"/>
                <a:gd name="T78" fmla="*/ 21171 w 552"/>
                <a:gd name="T79" fmla="*/ 42659 h 660"/>
                <a:gd name="T80" fmla="*/ 22740 w 552"/>
                <a:gd name="T81" fmla="*/ 42659 h 660"/>
                <a:gd name="T82" fmla="*/ 21955 w 552"/>
                <a:gd name="T83" fmla="*/ 43464 h 660"/>
                <a:gd name="T84" fmla="*/ 18819 w 552"/>
                <a:gd name="T85" fmla="*/ 43464 h 660"/>
                <a:gd name="T86" fmla="*/ 15682 w 552"/>
                <a:gd name="T87" fmla="*/ 44269 h 660"/>
                <a:gd name="T88" fmla="*/ 11762 w 552"/>
                <a:gd name="T89" fmla="*/ 45074 h 660"/>
                <a:gd name="T90" fmla="*/ 9409 w 552"/>
                <a:gd name="T91" fmla="*/ 45074 h 660"/>
                <a:gd name="T92" fmla="*/ 8625 w 552"/>
                <a:gd name="T93" fmla="*/ 45879 h 660"/>
                <a:gd name="T94" fmla="*/ 7057 w 552"/>
                <a:gd name="T95" fmla="*/ 45879 h 660"/>
                <a:gd name="T96" fmla="*/ 5489 w 552"/>
                <a:gd name="T97" fmla="*/ 45074 h 660"/>
                <a:gd name="T98" fmla="*/ 3921 w 552"/>
                <a:gd name="T99" fmla="*/ 44269 h 660"/>
                <a:gd name="T100" fmla="*/ 5489 w 552"/>
                <a:gd name="T101" fmla="*/ 43464 h 660"/>
                <a:gd name="T102" fmla="*/ 3921 w 552"/>
                <a:gd name="T103" fmla="*/ 43464 h 660"/>
                <a:gd name="T104" fmla="*/ 3921 w 552"/>
                <a:gd name="T105" fmla="*/ 42659 h 660"/>
                <a:gd name="T106" fmla="*/ 3136 w 552"/>
                <a:gd name="T107" fmla="*/ 39440 h 660"/>
                <a:gd name="T108" fmla="*/ 35285 w 552"/>
                <a:gd name="T109" fmla="*/ 30586 h 6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52"/>
                <a:gd name="T166" fmla="*/ 0 h 660"/>
                <a:gd name="T167" fmla="*/ 552 w 552"/>
                <a:gd name="T168" fmla="*/ 660 h 6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52" h="660">
                  <a:moveTo>
                    <a:pt x="36" y="564"/>
                  </a:moveTo>
                  <a:lnTo>
                    <a:pt x="36" y="558"/>
                  </a:lnTo>
                  <a:lnTo>
                    <a:pt x="36" y="552"/>
                  </a:lnTo>
                  <a:lnTo>
                    <a:pt x="42" y="546"/>
                  </a:lnTo>
                  <a:lnTo>
                    <a:pt x="42" y="540"/>
                  </a:lnTo>
                  <a:lnTo>
                    <a:pt x="36" y="540"/>
                  </a:lnTo>
                  <a:lnTo>
                    <a:pt x="36" y="534"/>
                  </a:lnTo>
                  <a:lnTo>
                    <a:pt x="36" y="528"/>
                  </a:lnTo>
                  <a:lnTo>
                    <a:pt x="42" y="522"/>
                  </a:lnTo>
                  <a:lnTo>
                    <a:pt x="48" y="516"/>
                  </a:lnTo>
                  <a:lnTo>
                    <a:pt x="54" y="510"/>
                  </a:lnTo>
                  <a:lnTo>
                    <a:pt x="54" y="504"/>
                  </a:lnTo>
                  <a:lnTo>
                    <a:pt x="54" y="498"/>
                  </a:lnTo>
                  <a:lnTo>
                    <a:pt x="48" y="492"/>
                  </a:lnTo>
                  <a:lnTo>
                    <a:pt x="42" y="486"/>
                  </a:lnTo>
                  <a:lnTo>
                    <a:pt x="42" y="480"/>
                  </a:lnTo>
                  <a:lnTo>
                    <a:pt x="42" y="468"/>
                  </a:lnTo>
                  <a:lnTo>
                    <a:pt x="30" y="456"/>
                  </a:lnTo>
                  <a:lnTo>
                    <a:pt x="30" y="450"/>
                  </a:lnTo>
                  <a:lnTo>
                    <a:pt x="18" y="444"/>
                  </a:lnTo>
                  <a:lnTo>
                    <a:pt x="18" y="438"/>
                  </a:lnTo>
                  <a:lnTo>
                    <a:pt x="24" y="432"/>
                  </a:lnTo>
                  <a:lnTo>
                    <a:pt x="18" y="426"/>
                  </a:lnTo>
                  <a:lnTo>
                    <a:pt x="24" y="420"/>
                  </a:lnTo>
                  <a:lnTo>
                    <a:pt x="18" y="414"/>
                  </a:lnTo>
                  <a:lnTo>
                    <a:pt x="12" y="408"/>
                  </a:lnTo>
                  <a:lnTo>
                    <a:pt x="12" y="402"/>
                  </a:lnTo>
                  <a:lnTo>
                    <a:pt x="6" y="396"/>
                  </a:lnTo>
                  <a:lnTo>
                    <a:pt x="12" y="396"/>
                  </a:lnTo>
                  <a:lnTo>
                    <a:pt x="6" y="384"/>
                  </a:lnTo>
                  <a:lnTo>
                    <a:pt x="12" y="372"/>
                  </a:lnTo>
                  <a:lnTo>
                    <a:pt x="18" y="366"/>
                  </a:lnTo>
                  <a:lnTo>
                    <a:pt x="18" y="360"/>
                  </a:lnTo>
                  <a:lnTo>
                    <a:pt x="18" y="354"/>
                  </a:lnTo>
                  <a:lnTo>
                    <a:pt x="18" y="348"/>
                  </a:lnTo>
                  <a:lnTo>
                    <a:pt x="6" y="342"/>
                  </a:lnTo>
                  <a:lnTo>
                    <a:pt x="0" y="342"/>
                  </a:lnTo>
                  <a:lnTo>
                    <a:pt x="6" y="330"/>
                  </a:lnTo>
                  <a:lnTo>
                    <a:pt x="12" y="330"/>
                  </a:lnTo>
                  <a:lnTo>
                    <a:pt x="18" y="324"/>
                  </a:lnTo>
                  <a:lnTo>
                    <a:pt x="24" y="318"/>
                  </a:lnTo>
                  <a:lnTo>
                    <a:pt x="30" y="318"/>
                  </a:lnTo>
                  <a:lnTo>
                    <a:pt x="36" y="306"/>
                  </a:lnTo>
                  <a:lnTo>
                    <a:pt x="42" y="300"/>
                  </a:lnTo>
                  <a:lnTo>
                    <a:pt x="42" y="294"/>
                  </a:lnTo>
                  <a:lnTo>
                    <a:pt x="42" y="288"/>
                  </a:lnTo>
                  <a:lnTo>
                    <a:pt x="48" y="282"/>
                  </a:lnTo>
                  <a:lnTo>
                    <a:pt x="54" y="276"/>
                  </a:lnTo>
                  <a:lnTo>
                    <a:pt x="54" y="270"/>
                  </a:lnTo>
                  <a:lnTo>
                    <a:pt x="48" y="264"/>
                  </a:lnTo>
                  <a:lnTo>
                    <a:pt x="42" y="246"/>
                  </a:lnTo>
                  <a:lnTo>
                    <a:pt x="48" y="240"/>
                  </a:lnTo>
                  <a:lnTo>
                    <a:pt x="42" y="234"/>
                  </a:lnTo>
                  <a:lnTo>
                    <a:pt x="42" y="228"/>
                  </a:lnTo>
                  <a:lnTo>
                    <a:pt x="48" y="204"/>
                  </a:lnTo>
                  <a:lnTo>
                    <a:pt x="54" y="174"/>
                  </a:lnTo>
                  <a:lnTo>
                    <a:pt x="54" y="162"/>
                  </a:lnTo>
                  <a:lnTo>
                    <a:pt x="54" y="156"/>
                  </a:lnTo>
                  <a:lnTo>
                    <a:pt x="54" y="144"/>
                  </a:lnTo>
                  <a:lnTo>
                    <a:pt x="48" y="132"/>
                  </a:lnTo>
                  <a:lnTo>
                    <a:pt x="66" y="132"/>
                  </a:lnTo>
                  <a:lnTo>
                    <a:pt x="66" y="126"/>
                  </a:lnTo>
                  <a:lnTo>
                    <a:pt x="72" y="126"/>
                  </a:lnTo>
                  <a:lnTo>
                    <a:pt x="84" y="126"/>
                  </a:lnTo>
                  <a:lnTo>
                    <a:pt x="96" y="120"/>
                  </a:lnTo>
                  <a:lnTo>
                    <a:pt x="114" y="120"/>
                  </a:lnTo>
                  <a:lnTo>
                    <a:pt x="120" y="120"/>
                  </a:lnTo>
                  <a:lnTo>
                    <a:pt x="126" y="114"/>
                  </a:lnTo>
                  <a:lnTo>
                    <a:pt x="126" y="108"/>
                  </a:lnTo>
                  <a:lnTo>
                    <a:pt x="126" y="102"/>
                  </a:lnTo>
                  <a:lnTo>
                    <a:pt x="132" y="96"/>
                  </a:lnTo>
                  <a:lnTo>
                    <a:pt x="132" y="84"/>
                  </a:lnTo>
                  <a:lnTo>
                    <a:pt x="126" y="78"/>
                  </a:lnTo>
                  <a:lnTo>
                    <a:pt x="120" y="78"/>
                  </a:lnTo>
                  <a:lnTo>
                    <a:pt x="102" y="84"/>
                  </a:lnTo>
                  <a:lnTo>
                    <a:pt x="108" y="66"/>
                  </a:lnTo>
                  <a:lnTo>
                    <a:pt x="114" y="54"/>
                  </a:lnTo>
                  <a:lnTo>
                    <a:pt x="120" y="42"/>
                  </a:lnTo>
                  <a:lnTo>
                    <a:pt x="126" y="42"/>
                  </a:lnTo>
                  <a:lnTo>
                    <a:pt x="138" y="48"/>
                  </a:lnTo>
                  <a:lnTo>
                    <a:pt x="144" y="54"/>
                  </a:lnTo>
                  <a:lnTo>
                    <a:pt x="156" y="54"/>
                  </a:lnTo>
                  <a:lnTo>
                    <a:pt x="156" y="18"/>
                  </a:lnTo>
                  <a:lnTo>
                    <a:pt x="144" y="12"/>
                  </a:lnTo>
                  <a:lnTo>
                    <a:pt x="144" y="0"/>
                  </a:lnTo>
                  <a:lnTo>
                    <a:pt x="150" y="0"/>
                  </a:lnTo>
                  <a:lnTo>
                    <a:pt x="156" y="0"/>
                  </a:lnTo>
                  <a:lnTo>
                    <a:pt x="162" y="0"/>
                  </a:lnTo>
                  <a:lnTo>
                    <a:pt x="174" y="0"/>
                  </a:lnTo>
                  <a:lnTo>
                    <a:pt x="180" y="0"/>
                  </a:lnTo>
                  <a:lnTo>
                    <a:pt x="186" y="18"/>
                  </a:lnTo>
                  <a:lnTo>
                    <a:pt x="198" y="30"/>
                  </a:lnTo>
                  <a:lnTo>
                    <a:pt x="204" y="54"/>
                  </a:lnTo>
                  <a:lnTo>
                    <a:pt x="216" y="60"/>
                  </a:lnTo>
                  <a:lnTo>
                    <a:pt x="240" y="60"/>
                  </a:lnTo>
                  <a:lnTo>
                    <a:pt x="246" y="66"/>
                  </a:lnTo>
                  <a:lnTo>
                    <a:pt x="258" y="78"/>
                  </a:lnTo>
                  <a:lnTo>
                    <a:pt x="258" y="90"/>
                  </a:lnTo>
                  <a:lnTo>
                    <a:pt x="252" y="96"/>
                  </a:lnTo>
                  <a:lnTo>
                    <a:pt x="258" y="102"/>
                  </a:lnTo>
                  <a:lnTo>
                    <a:pt x="258" y="108"/>
                  </a:lnTo>
                  <a:lnTo>
                    <a:pt x="252" y="120"/>
                  </a:lnTo>
                  <a:lnTo>
                    <a:pt x="252" y="126"/>
                  </a:lnTo>
                  <a:lnTo>
                    <a:pt x="258" y="126"/>
                  </a:lnTo>
                  <a:lnTo>
                    <a:pt x="264" y="126"/>
                  </a:lnTo>
                  <a:lnTo>
                    <a:pt x="276" y="126"/>
                  </a:lnTo>
                  <a:lnTo>
                    <a:pt x="282" y="120"/>
                  </a:lnTo>
                  <a:lnTo>
                    <a:pt x="282" y="126"/>
                  </a:lnTo>
                  <a:lnTo>
                    <a:pt x="294" y="126"/>
                  </a:lnTo>
                  <a:lnTo>
                    <a:pt x="300" y="132"/>
                  </a:lnTo>
                  <a:lnTo>
                    <a:pt x="306" y="144"/>
                  </a:lnTo>
                  <a:lnTo>
                    <a:pt x="312" y="144"/>
                  </a:lnTo>
                  <a:lnTo>
                    <a:pt x="312" y="150"/>
                  </a:lnTo>
                  <a:lnTo>
                    <a:pt x="312" y="162"/>
                  </a:lnTo>
                  <a:lnTo>
                    <a:pt x="312" y="174"/>
                  </a:lnTo>
                  <a:lnTo>
                    <a:pt x="324" y="180"/>
                  </a:lnTo>
                  <a:lnTo>
                    <a:pt x="324" y="186"/>
                  </a:lnTo>
                  <a:lnTo>
                    <a:pt x="324" y="192"/>
                  </a:lnTo>
                  <a:lnTo>
                    <a:pt x="330" y="192"/>
                  </a:lnTo>
                  <a:lnTo>
                    <a:pt x="336" y="198"/>
                  </a:lnTo>
                  <a:lnTo>
                    <a:pt x="342" y="192"/>
                  </a:lnTo>
                  <a:lnTo>
                    <a:pt x="348" y="192"/>
                  </a:lnTo>
                  <a:lnTo>
                    <a:pt x="348" y="186"/>
                  </a:lnTo>
                  <a:lnTo>
                    <a:pt x="348" y="180"/>
                  </a:lnTo>
                  <a:lnTo>
                    <a:pt x="354" y="180"/>
                  </a:lnTo>
                  <a:lnTo>
                    <a:pt x="354" y="174"/>
                  </a:lnTo>
                  <a:lnTo>
                    <a:pt x="360" y="168"/>
                  </a:lnTo>
                  <a:lnTo>
                    <a:pt x="366" y="168"/>
                  </a:lnTo>
                  <a:lnTo>
                    <a:pt x="372" y="174"/>
                  </a:lnTo>
                  <a:lnTo>
                    <a:pt x="372" y="180"/>
                  </a:lnTo>
                  <a:lnTo>
                    <a:pt x="378" y="186"/>
                  </a:lnTo>
                  <a:lnTo>
                    <a:pt x="378" y="192"/>
                  </a:lnTo>
                  <a:lnTo>
                    <a:pt x="384" y="192"/>
                  </a:lnTo>
                  <a:lnTo>
                    <a:pt x="390" y="204"/>
                  </a:lnTo>
                  <a:lnTo>
                    <a:pt x="390" y="210"/>
                  </a:lnTo>
                  <a:lnTo>
                    <a:pt x="390" y="216"/>
                  </a:lnTo>
                  <a:lnTo>
                    <a:pt x="384" y="234"/>
                  </a:lnTo>
                  <a:lnTo>
                    <a:pt x="390" y="240"/>
                  </a:lnTo>
                  <a:lnTo>
                    <a:pt x="408" y="252"/>
                  </a:lnTo>
                  <a:lnTo>
                    <a:pt x="414" y="264"/>
                  </a:lnTo>
                  <a:lnTo>
                    <a:pt x="408" y="300"/>
                  </a:lnTo>
                  <a:lnTo>
                    <a:pt x="414" y="312"/>
                  </a:lnTo>
                  <a:lnTo>
                    <a:pt x="426" y="336"/>
                  </a:lnTo>
                  <a:lnTo>
                    <a:pt x="438" y="354"/>
                  </a:lnTo>
                  <a:lnTo>
                    <a:pt x="444" y="366"/>
                  </a:lnTo>
                  <a:lnTo>
                    <a:pt x="456" y="366"/>
                  </a:lnTo>
                  <a:lnTo>
                    <a:pt x="474" y="378"/>
                  </a:lnTo>
                  <a:lnTo>
                    <a:pt x="474" y="384"/>
                  </a:lnTo>
                  <a:lnTo>
                    <a:pt x="480" y="390"/>
                  </a:lnTo>
                  <a:lnTo>
                    <a:pt x="486" y="396"/>
                  </a:lnTo>
                  <a:lnTo>
                    <a:pt x="486" y="402"/>
                  </a:lnTo>
                  <a:lnTo>
                    <a:pt x="480" y="408"/>
                  </a:lnTo>
                  <a:lnTo>
                    <a:pt x="486" y="408"/>
                  </a:lnTo>
                  <a:lnTo>
                    <a:pt x="486" y="414"/>
                  </a:lnTo>
                  <a:lnTo>
                    <a:pt x="492" y="414"/>
                  </a:lnTo>
                  <a:lnTo>
                    <a:pt x="492" y="420"/>
                  </a:lnTo>
                  <a:lnTo>
                    <a:pt x="498" y="426"/>
                  </a:lnTo>
                  <a:lnTo>
                    <a:pt x="498" y="432"/>
                  </a:lnTo>
                  <a:lnTo>
                    <a:pt x="498" y="438"/>
                  </a:lnTo>
                  <a:lnTo>
                    <a:pt x="492" y="432"/>
                  </a:lnTo>
                  <a:lnTo>
                    <a:pt x="486" y="426"/>
                  </a:lnTo>
                  <a:lnTo>
                    <a:pt x="486" y="420"/>
                  </a:lnTo>
                  <a:lnTo>
                    <a:pt x="486" y="414"/>
                  </a:lnTo>
                  <a:lnTo>
                    <a:pt x="480" y="414"/>
                  </a:lnTo>
                  <a:lnTo>
                    <a:pt x="480" y="408"/>
                  </a:lnTo>
                  <a:lnTo>
                    <a:pt x="474" y="408"/>
                  </a:lnTo>
                  <a:lnTo>
                    <a:pt x="468" y="408"/>
                  </a:lnTo>
                  <a:lnTo>
                    <a:pt x="468" y="402"/>
                  </a:lnTo>
                  <a:lnTo>
                    <a:pt x="462" y="402"/>
                  </a:lnTo>
                  <a:lnTo>
                    <a:pt x="462" y="408"/>
                  </a:lnTo>
                  <a:lnTo>
                    <a:pt x="468" y="408"/>
                  </a:lnTo>
                  <a:lnTo>
                    <a:pt x="474" y="414"/>
                  </a:lnTo>
                  <a:lnTo>
                    <a:pt x="480" y="420"/>
                  </a:lnTo>
                  <a:lnTo>
                    <a:pt x="480" y="426"/>
                  </a:lnTo>
                  <a:lnTo>
                    <a:pt x="486" y="426"/>
                  </a:lnTo>
                  <a:lnTo>
                    <a:pt x="486" y="432"/>
                  </a:lnTo>
                  <a:lnTo>
                    <a:pt x="492" y="438"/>
                  </a:lnTo>
                  <a:lnTo>
                    <a:pt x="498" y="438"/>
                  </a:lnTo>
                  <a:lnTo>
                    <a:pt x="504" y="444"/>
                  </a:lnTo>
                  <a:lnTo>
                    <a:pt x="510" y="444"/>
                  </a:lnTo>
                  <a:lnTo>
                    <a:pt x="510" y="450"/>
                  </a:lnTo>
                  <a:lnTo>
                    <a:pt x="510" y="456"/>
                  </a:lnTo>
                  <a:lnTo>
                    <a:pt x="516" y="456"/>
                  </a:lnTo>
                  <a:lnTo>
                    <a:pt x="516" y="462"/>
                  </a:lnTo>
                  <a:lnTo>
                    <a:pt x="522" y="462"/>
                  </a:lnTo>
                  <a:lnTo>
                    <a:pt x="522" y="468"/>
                  </a:lnTo>
                  <a:lnTo>
                    <a:pt x="528" y="468"/>
                  </a:lnTo>
                  <a:lnTo>
                    <a:pt x="534" y="468"/>
                  </a:lnTo>
                  <a:lnTo>
                    <a:pt x="534" y="474"/>
                  </a:lnTo>
                  <a:lnTo>
                    <a:pt x="540" y="474"/>
                  </a:lnTo>
                  <a:lnTo>
                    <a:pt x="540" y="480"/>
                  </a:lnTo>
                  <a:lnTo>
                    <a:pt x="546" y="486"/>
                  </a:lnTo>
                  <a:lnTo>
                    <a:pt x="546" y="492"/>
                  </a:lnTo>
                  <a:lnTo>
                    <a:pt x="546" y="498"/>
                  </a:lnTo>
                  <a:lnTo>
                    <a:pt x="546" y="504"/>
                  </a:lnTo>
                  <a:lnTo>
                    <a:pt x="540" y="504"/>
                  </a:lnTo>
                  <a:lnTo>
                    <a:pt x="546" y="504"/>
                  </a:lnTo>
                  <a:lnTo>
                    <a:pt x="540" y="510"/>
                  </a:lnTo>
                  <a:lnTo>
                    <a:pt x="546" y="510"/>
                  </a:lnTo>
                  <a:lnTo>
                    <a:pt x="552" y="510"/>
                  </a:lnTo>
                  <a:lnTo>
                    <a:pt x="552" y="516"/>
                  </a:lnTo>
                  <a:lnTo>
                    <a:pt x="552" y="522"/>
                  </a:lnTo>
                  <a:lnTo>
                    <a:pt x="552" y="528"/>
                  </a:lnTo>
                  <a:lnTo>
                    <a:pt x="552" y="534"/>
                  </a:lnTo>
                  <a:lnTo>
                    <a:pt x="552" y="540"/>
                  </a:lnTo>
                  <a:lnTo>
                    <a:pt x="546" y="540"/>
                  </a:lnTo>
                  <a:lnTo>
                    <a:pt x="546" y="546"/>
                  </a:lnTo>
                  <a:lnTo>
                    <a:pt x="546" y="540"/>
                  </a:lnTo>
                  <a:lnTo>
                    <a:pt x="546" y="534"/>
                  </a:lnTo>
                  <a:lnTo>
                    <a:pt x="540" y="534"/>
                  </a:lnTo>
                  <a:lnTo>
                    <a:pt x="540" y="528"/>
                  </a:lnTo>
                  <a:lnTo>
                    <a:pt x="534" y="528"/>
                  </a:lnTo>
                  <a:lnTo>
                    <a:pt x="528" y="528"/>
                  </a:lnTo>
                  <a:lnTo>
                    <a:pt x="522" y="528"/>
                  </a:lnTo>
                  <a:lnTo>
                    <a:pt x="516" y="528"/>
                  </a:lnTo>
                  <a:lnTo>
                    <a:pt x="510" y="528"/>
                  </a:lnTo>
                  <a:lnTo>
                    <a:pt x="510" y="534"/>
                  </a:lnTo>
                  <a:lnTo>
                    <a:pt x="510" y="528"/>
                  </a:lnTo>
                  <a:lnTo>
                    <a:pt x="516" y="528"/>
                  </a:lnTo>
                  <a:lnTo>
                    <a:pt x="522" y="528"/>
                  </a:lnTo>
                  <a:lnTo>
                    <a:pt x="528" y="528"/>
                  </a:lnTo>
                  <a:lnTo>
                    <a:pt x="534" y="534"/>
                  </a:lnTo>
                  <a:lnTo>
                    <a:pt x="540" y="534"/>
                  </a:lnTo>
                  <a:lnTo>
                    <a:pt x="540" y="540"/>
                  </a:lnTo>
                  <a:lnTo>
                    <a:pt x="540" y="546"/>
                  </a:lnTo>
                  <a:lnTo>
                    <a:pt x="546" y="546"/>
                  </a:lnTo>
                  <a:lnTo>
                    <a:pt x="546" y="552"/>
                  </a:lnTo>
                  <a:lnTo>
                    <a:pt x="552" y="552"/>
                  </a:lnTo>
                  <a:lnTo>
                    <a:pt x="552" y="558"/>
                  </a:lnTo>
                  <a:lnTo>
                    <a:pt x="552" y="564"/>
                  </a:lnTo>
                  <a:lnTo>
                    <a:pt x="546" y="564"/>
                  </a:lnTo>
                  <a:lnTo>
                    <a:pt x="546" y="570"/>
                  </a:lnTo>
                  <a:lnTo>
                    <a:pt x="546" y="576"/>
                  </a:lnTo>
                  <a:lnTo>
                    <a:pt x="540" y="576"/>
                  </a:lnTo>
                  <a:lnTo>
                    <a:pt x="540" y="582"/>
                  </a:lnTo>
                  <a:lnTo>
                    <a:pt x="540" y="588"/>
                  </a:lnTo>
                  <a:lnTo>
                    <a:pt x="534" y="594"/>
                  </a:lnTo>
                  <a:lnTo>
                    <a:pt x="534" y="600"/>
                  </a:lnTo>
                  <a:lnTo>
                    <a:pt x="528" y="600"/>
                  </a:lnTo>
                  <a:lnTo>
                    <a:pt x="522" y="594"/>
                  </a:lnTo>
                  <a:lnTo>
                    <a:pt x="528" y="600"/>
                  </a:lnTo>
                  <a:lnTo>
                    <a:pt x="534" y="600"/>
                  </a:lnTo>
                  <a:lnTo>
                    <a:pt x="534" y="606"/>
                  </a:lnTo>
                  <a:lnTo>
                    <a:pt x="528" y="606"/>
                  </a:lnTo>
                  <a:lnTo>
                    <a:pt x="528" y="612"/>
                  </a:lnTo>
                  <a:lnTo>
                    <a:pt x="522" y="612"/>
                  </a:lnTo>
                  <a:lnTo>
                    <a:pt x="522" y="618"/>
                  </a:lnTo>
                  <a:lnTo>
                    <a:pt x="522" y="624"/>
                  </a:lnTo>
                  <a:lnTo>
                    <a:pt x="510" y="624"/>
                  </a:lnTo>
                  <a:lnTo>
                    <a:pt x="498" y="624"/>
                  </a:lnTo>
                  <a:lnTo>
                    <a:pt x="492" y="624"/>
                  </a:lnTo>
                  <a:lnTo>
                    <a:pt x="486" y="624"/>
                  </a:lnTo>
                  <a:lnTo>
                    <a:pt x="480" y="624"/>
                  </a:lnTo>
                  <a:lnTo>
                    <a:pt x="474" y="624"/>
                  </a:lnTo>
                  <a:lnTo>
                    <a:pt x="468" y="618"/>
                  </a:lnTo>
                  <a:lnTo>
                    <a:pt x="456" y="618"/>
                  </a:lnTo>
                  <a:lnTo>
                    <a:pt x="450" y="618"/>
                  </a:lnTo>
                  <a:lnTo>
                    <a:pt x="426" y="618"/>
                  </a:lnTo>
                  <a:lnTo>
                    <a:pt x="420" y="618"/>
                  </a:lnTo>
                  <a:lnTo>
                    <a:pt x="414" y="618"/>
                  </a:lnTo>
                  <a:lnTo>
                    <a:pt x="408" y="618"/>
                  </a:lnTo>
                  <a:lnTo>
                    <a:pt x="396" y="618"/>
                  </a:lnTo>
                  <a:lnTo>
                    <a:pt x="366" y="618"/>
                  </a:lnTo>
                  <a:lnTo>
                    <a:pt x="348" y="624"/>
                  </a:lnTo>
                  <a:lnTo>
                    <a:pt x="342" y="624"/>
                  </a:lnTo>
                  <a:lnTo>
                    <a:pt x="342" y="618"/>
                  </a:lnTo>
                  <a:lnTo>
                    <a:pt x="336" y="618"/>
                  </a:lnTo>
                  <a:lnTo>
                    <a:pt x="336" y="612"/>
                  </a:lnTo>
                  <a:lnTo>
                    <a:pt x="342" y="612"/>
                  </a:lnTo>
                  <a:lnTo>
                    <a:pt x="348" y="612"/>
                  </a:lnTo>
                  <a:lnTo>
                    <a:pt x="342" y="612"/>
                  </a:lnTo>
                  <a:lnTo>
                    <a:pt x="336" y="612"/>
                  </a:lnTo>
                  <a:lnTo>
                    <a:pt x="336" y="606"/>
                  </a:lnTo>
                  <a:lnTo>
                    <a:pt x="330" y="606"/>
                  </a:lnTo>
                  <a:lnTo>
                    <a:pt x="330" y="600"/>
                  </a:lnTo>
                  <a:lnTo>
                    <a:pt x="324" y="600"/>
                  </a:lnTo>
                  <a:lnTo>
                    <a:pt x="324" y="606"/>
                  </a:lnTo>
                  <a:lnTo>
                    <a:pt x="318" y="606"/>
                  </a:lnTo>
                  <a:lnTo>
                    <a:pt x="318" y="612"/>
                  </a:lnTo>
                  <a:lnTo>
                    <a:pt x="312" y="612"/>
                  </a:lnTo>
                  <a:lnTo>
                    <a:pt x="306" y="606"/>
                  </a:lnTo>
                  <a:lnTo>
                    <a:pt x="306" y="612"/>
                  </a:lnTo>
                  <a:lnTo>
                    <a:pt x="312" y="612"/>
                  </a:lnTo>
                  <a:lnTo>
                    <a:pt x="318" y="612"/>
                  </a:lnTo>
                  <a:lnTo>
                    <a:pt x="324" y="612"/>
                  </a:lnTo>
                  <a:lnTo>
                    <a:pt x="324" y="606"/>
                  </a:lnTo>
                  <a:lnTo>
                    <a:pt x="330" y="606"/>
                  </a:lnTo>
                  <a:lnTo>
                    <a:pt x="336" y="612"/>
                  </a:lnTo>
                  <a:lnTo>
                    <a:pt x="336" y="618"/>
                  </a:lnTo>
                  <a:lnTo>
                    <a:pt x="330" y="618"/>
                  </a:lnTo>
                  <a:lnTo>
                    <a:pt x="336" y="618"/>
                  </a:lnTo>
                  <a:lnTo>
                    <a:pt x="336" y="624"/>
                  </a:lnTo>
                  <a:lnTo>
                    <a:pt x="330" y="624"/>
                  </a:lnTo>
                  <a:lnTo>
                    <a:pt x="318" y="624"/>
                  </a:lnTo>
                  <a:lnTo>
                    <a:pt x="306" y="624"/>
                  </a:lnTo>
                  <a:lnTo>
                    <a:pt x="300" y="624"/>
                  </a:lnTo>
                  <a:lnTo>
                    <a:pt x="306" y="624"/>
                  </a:lnTo>
                  <a:lnTo>
                    <a:pt x="300" y="624"/>
                  </a:lnTo>
                  <a:lnTo>
                    <a:pt x="288" y="624"/>
                  </a:lnTo>
                  <a:lnTo>
                    <a:pt x="282" y="624"/>
                  </a:lnTo>
                  <a:lnTo>
                    <a:pt x="270" y="630"/>
                  </a:lnTo>
                  <a:lnTo>
                    <a:pt x="264" y="630"/>
                  </a:lnTo>
                  <a:lnTo>
                    <a:pt x="258" y="630"/>
                  </a:lnTo>
                  <a:lnTo>
                    <a:pt x="252" y="630"/>
                  </a:lnTo>
                  <a:lnTo>
                    <a:pt x="246" y="630"/>
                  </a:lnTo>
                  <a:lnTo>
                    <a:pt x="240" y="630"/>
                  </a:lnTo>
                  <a:lnTo>
                    <a:pt x="228" y="636"/>
                  </a:lnTo>
                  <a:lnTo>
                    <a:pt x="222" y="636"/>
                  </a:lnTo>
                  <a:lnTo>
                    <a:pt x="210" y="636"/>
                  </a:lnTo>
                  <a:lnTo>
                    <a:pt x="204" y="636"/>
                  </a:lnTo>
                  <a:lnTo>
                    <a:pt x="198" y="636"/>
                  </a:lnTo>
                  <a:lnTo>
                    <a:pt x="192" y="642"/>
                  </a:lnTo>
                  <a:lnTo>
                    <a:pt x="186" y="642"/>
                  </a:lnTo>
                  <a:lnTo>
                    <a:pt x="180" y="642"/>
                  </a:lnTo>
                  <a:lnTo>
                    <a:pt x="168" y="642"/>
                  </a:lnTo>
                  <a:lnTo>
                    <a:pt x="162" y="642"/>
                  </a:lnTo>
                  <a:lnTo>
                    <a:pt x="162" y="648"/>
                  </a:lnTo>
                  <a:lnTo>
                    <a:pt x="156" y="648"/>
                  </a:lnTo>
                  <a:lnTo>
                    <a:pt x="150" y="648"/>
                  </a:lnTo>
                  <a:lnTo>
                    <a:pt x="144" y="648"/>
                  </a:lnTo>
                  <a:lnTo>
                    <a:pt x="138" y="648"/>
                  </a:lnTo>
                  <a:lnTo>
                    <a:pt x="132" y="648"/>
                  </a:lnTo>
                  <a:lnTo>
                    <a:pt x="126" y="642"/>
                  </a:lnTo>
                  <a:lnTo>
                    <a:pt x="126" y="636"/>
                  </a:lnTo>
                  <a:lnTo>
                    <a:pt x="120" y="636"/>
                  </a:lnTo>
                  <a:lnTo>
                    <a:pt x="126" y="642"/>
                  </a:lnTo>
                  <a:lnTo>
                    <a:pt x="126" y="648"/>
                  </a:lnTo>
                  <a:lnTo>
                    <a:pt x="132" y="648"/>
                  </a:lnTo>
                  <a:lnTo>
                    <a:pt x="126" y="654"/>
                  </a:lnTo>
                  <a:lnTo>
                    <a:pt x="120" y="654"/>
                  </a:lnTo>
                  <a:lnTo>
                    <a:pt x="114" y="654"/>
                  </a:lnTo>
                  <a:lnTo>
                    <a:pt x="108" y="654"/>
                  </a:lnTo>
                  <a:lnTo>
                    <a:pt x="108" y="660"/>
                  </a:lnTo>
                  <a:lnTo>
                    <a:pt x="108" y="654"/>
                  </a:lnTo>
                  <a:lnTo>
                    <a:pt x="102" y="654"/>
                  </a:lnTo>
                  <a:lnTo>
                    <a:pt x="102" y="660"/>
                  </a:lnTo>
                  <a:lnTo>
                    <a:pt x="108" y="660"/>
                  </a:lnTo>
                  <a:lnTo>
                    <a:pt x="102" y="660"/>
                  </a:lnTo>
                  <a:lnTo>
                    <a:pt x="96" y="660"/>
                  </a:lnTo>
                  <a:lnTo>
                    <a:pt x="90" y="660"/>
                  </a:lnTo>
                  <a:lnTo>
                    <a:pt x="90" y="654"/>
                  </a:lnTo>
                  <a:lnTo>
                    <a:pt x="84" y="648"/>
                  </a:lnTo>
                  <a:lnTo>
                    <a:pt x="84" y="642"/>
                  </a:lnTo>
                  <a:lnTo>
                    <a:pt x="78" y="642"/>
                  </a:lnTo>
                  <a:lnTo>
                    <a:pt x="72" y="642"/>
                  </a:lnTo>
                  <a:lnTo>
                    <a:pt x="72" y="636"/>
                  </a:lnTo>
                  <a:lnTo>
                    <a:pt x="78" y="636"/>
                  </a:lnTo>
                  <a:lnTo>
                    <a:pt x="72" y="636"/>
                  </a:lnTo>
                  <a:lnTo>
                    <a:pt x="66" y="636"/>
                  </a:lnTo>
                  <a:lnTo>
                    <a:pt x="60" y="636"/>
                  </a:lnTo>
                  <a:lnTo>
                    <a:pt x="54" y="630"/>
                  </a:lnTo>
                  <a:lnTo>
                    <a:pt x="54" y="624"/>
                  </a:lnTo>
                  <a:lnTo>
                    <a:pt x="54" y="618"/>
                  </a:lnTo>
                  <a:lnTo>
                    <a:pt x="60" y="618"/>
                  </a:lnTo>
                  <a:lnTo>
                    <a:pt x="66" y="618"/>
                  </a:lnTo>
                  <a:lnTo>
                    <a:pt x="72" y="618"/>
                  </a:lnTo>
                  <a:lnTo>
                    <a:pt x="78" y="618"/>
                  </a:lnTo>
                  <a:lnTo>
                    <a:pt x="78" y="612"/>
                  </a:lnTo>
                  <a:lnTo>
                    <a:pt x="72" y="612"/>
                  </a:lnTo>
                  <a:lnTo>
                    <a:pt x="72" y="618"/>
                  </a:lnTo>
                  <a:lnTo>
                    <a:pt x="66" y="618"/>
                  </a:lnTo>
                  <a:lnTo>
                    <a:pt x="66" y="612"/>
                  </a:lnTo>
                  <a:lnTo>
                    <a:pt x="66" y="618"/>
                  </a:lnTo>
                  <a:lnTo>
                    <a:pt x="60" y="618"/>
                  </a:lnTo>
                  <a:lnTo>
                    <a:pt x="54" y="618"/>
                  </a:lnTo>
                  <a:lnTo>
                    <a:pt x="54" y="624"/>
                  </a:lnTo>
                  <a:lnTo>
                    <a:pt x="48" y="618"/>
                  </a:lnTo>
                  <a:lnTo>
                    <a:pt x="42" y="618"/>
                  </a:lnTo>
                  <a:lnTo>
                    <a:pt x="42" y="612"/>
                  </a:lnTo>
                  <a:lnTo>
                    <a:pt x="48" y="606"/>
                  </a:lnTo>
                  <a:lnTo>
                    <a:pt x="54" y="606"/>
                  </a:lnTo>
                  <a:lnTo>
                    <a:pt x="54" y="600"/>
                  </a:lnTo>
                  <a:lnTo>
                    <a:pt x="54" y="594"/>
                  </a:lnTo>
                  <a:lnTo>
                    <a:pt x="54" y="588"/>
                  </a:lnTo>
                  <a:lnTo>
                    <a:pt x="48" y="588"/>
                  </a:lnTo>
                  <a:lnTo>
                    <a:pt x="48" y="582"/>
                  </a:lnTo>
                  <a:lnTo>
                    <a:pt x="42" y="582"/>
                  </a:lnTo>
                  <a:lnTo>
                    <a:pt x="42" y="570"/>
                  </a:lnTo>
                  <a:lnTo>
                    <a:pt x="42" y="564"/>
                  </a:lnTo>
                  <a:lnTo>
                    <a:pt x="36" y="564"/>
                  </a:lnTo>
                  <a:close/>
                  <a:moveTo>
                    <a:pt x="498" y="420"/>
                  </a:moveTo>
                  <a:lnTo>
                    <a:pt x="504" y="426"/>
                  </a:lnTo>
                  <a:lnTo>
                    <a:pt x="510" y="432"/>
                  </a:lnTo>
                  <a:lnTo>
                    <a:pt x="516" y="432"/>
                  </a:lnTo>
                  <a:lnTo>
                    <a:pt x="516" y="438"/>
                  </a:lnTo>
                  <a:lnTo>
                    <a:pt x="510" y="438"/>
                  </a:lnTo>
                  <a:lnTo>
                    <a:pt x="504" y="438"/>
                  </a:lnTo>
                  <a:lnTo>
                    <a:pt x="504" y="432"/>
                  </a:lnTo>
                  <a:lnTo>
                    <a:pt x="498" y="432"/>
                  </a:lnTo>
                  <a:lnTo>
                    <a:pt x="498" y="426"/>
                  </a:lnTo>
                  <a:lnTo>
                    <a:pt x="498" y="420"/>
                  </a:lnTo>
                  <a:close/>
                </a:path>
              </a:pathLst>
            </a:custGeom>
            <a:solidFill>
              <a:schemeClr val="accent2"/>
            </a:solidFill>
            <a:ln w="9525">
              <a:solidFill>
                <a:schemeClr val="bg1"/>
              </a:solidFill>
              <a:round/>
              <a:headEnd/>
              <a:tailEnd/>
            </a:ln>
          </p:spPr>
          <p:txBody>
            <a:bodyPr/>
            <a:lstStyle/>
            <a:p>
              <a:endParaRPr lang="en-GB"/>
            </a:p>
          </p:txBody>
        </p:sp>
        <p:sp>
          <p:nvSpPr>
            <p:cNvPr id="19486" name="Freeform 10"/>
            <p:cNvSpPr>
              <a:spLocks/>
            </p:cNvSpPr>
            <p:nvPr/>
          </p:nvSpPr>
          <p:spPr bwMode="gray">
            <a:xfrm>
              <a:off x="5756937" y="2749478"/>
              <a:ext cx="1178371" cy="1832019"/>
            </a:xfrm>
            <a:custGeom>
              <a:avLst/>
              <a:gdLst>
                <a:gd name="T0" fmla="*/ 18779 w 1506"/>
                <a:gd name="T1" fmla="*/ 153071 h 2274"/>
                <a:gd name="T2" fmla="*/ 19561 w 1506"/>
                <a:gd name="T3" fmla="*/ 145015 h 2274"/>
                <a:gd name="T4" fmla="*/ 16431 w 1506"/>
                <a:gd name="T5" fmla="*/ 140181 h 2274"/>
                <a:gd name="T6" fmla="*/ 13302 w 1506"/>
                <a:gd name="T7" fmla="*/ 136958 h 2274"/>
                <a:gd name="T8" fmla="*/ 9389 w 1506"/>
                <a:gd name="T9" fmla="*/ 135347 h 2274"/>
                <a:gd name="T10" fmla="*/ 7825 w 1506"/>
                <a:gd name="T11" fmla="*/ 139375 h 2274"/>
                <a:gd name="T12" fmla="*/ 5477 w 1506"/>
                <a:gd name="T13" fmla="*/ 140181 h 2274"/>
                <a:gd name="T14" fmla="*/ 0 w 1506"/>
                <a:gd name="T15" fmla="*/ 131319 h 2274"/>
                <a:gd name="T16" fmla="*/ 12519 w 1506"/>
                <a:gd name="T17" fmla="*/ 112789 h 2274"/>
                <a:gd name="T18" fmla="*/ 14867 w 1506"/>
                <a:gd name="T19" fmla="*/ 110372 h 2274"/>
                <a:gd name="T20" fmla="*/ 18779 w 1506"/>
                <a:gd name="T21" fmla="*/ 101510 h 2274"/>
                <a:gd name="T22" fmla="*/ 17996 w 1506"/>
                <a:gd name="T23" fmla="*/ 84592 h 2274"/>
                <a:gd name="T24" fmla="*/ 10954 w 1506"/>
                <a:gd name="T25" fmla="*/ 69285 h 2274"/>
                <a:gd name="T26" fmla="*/ 6260 w 1506"/>
                <a:gd name="T27" fmla="*/ 67674 h 2274"/>
                <a:gd name="T28" fmla="*/ 3912 w 1506"/>
                <a:gd name="T29" fmla="*/ 63645 h 2274"/>
                <a:gd name="T30" fmla="*/ 12519 w 1506"/>
                <a:gd name="T31" fmla="*/ 57200 h 2274"/>
                <a:gd name="T32" fmla="*/ 21909 w 1506"/>
                <a:gd name="T33" fmla="*/ 44310 h 2274"/>
                <a:gd name="T34" fmla="*/ 22691 w 1506"/>
                <a:gd name="T35" fmla="*/ 38671 h 2274"/>
                <a:gd name="T36" fmla="*/ 27386 w 1506"/>
                <a:gd name="T37" fmla="*/ 40282 h 2274"/>
                <a:gd name="T38" fmla="*/ 32863 w 1506"/>
                <a:gd name="T39" fmla="*/ 37865 h 2274"/>
                <a:gd name="T40" fmla="*/ 49294 w 1506"/>
                <a:gd name="T41" fmla="*/ 27392 h 2274"/>
                <a:gd name="T42" fmla="*/ 57901 w 1506"/>
                <a:gd name="T43" fmla="*/ 21752 h 2274"/>
                <a:gd name="T44" fmla="*/ 63379 w 1506"/>
                <a:gd name="T45" fmla="*/ 16113 h 2274"/>
                <a:gd name="T46" fmla="*/ 69638 w 1506"/>
                <a:gd name="T47" fmla="*/ 16113 h 2274"/>
                <a:gd name="T48" fmla="*/ 76680 w 1506"/>
                <a:gd name="T49" fmla="*/ 21752 h 2274"/>
                <a:gd name="T50" fmla="*/ 82940 w 1506"/>
                <a:gd name="T51" fmla="*/ 13696 h 2274"/>
                <a:gd name="T52" fmla="*/ 86852 w 1506"/>
                <a:gd name="T53" fmla="*/ 6445 h 2274"/>
                <a:gd name="T54" fmla="*/ 94677 w 1506"/>
                <a:gd name="T55" fmla="*/ 1611 h 2274"/>
                <a:gd name="T56" fmla="*/ 100936 w 1506"/>
                <a:gd name="T57" fmla="*/ 4028 h 2274"/>
                <a:gd name="T58" fmla="*/ 97806 w 1506"/>
                <a:gd name="T59" fmla="*/ 9668 h 2274"/>
                <a:gd name="T60" fmla="*/ 95459 w 1506"/>
                <a:gd name="T61" fmla="*/ 16113 h 2274"/>
                <a:gd name="T62" fmla="*/ 95459 w 1506"/>
                <a:gd name="T63" fmla="*/ 21752 h 2274"/>
                <a:gd name="T64" fmla="*/ 93894 w 1506"/>
                <a:gd name="T65" fmla="*/ 29003 h 2274"/>
                <a:gd name="T66" fmla="*/ 90764 w 1506"/>
                <a:gd name="T67" fmla="*/ 34642 h 2274"/>
                <a:gd name="T68" fmla="*/ 85287 w 1506"/>
                <a:gd name="T69" fmla="*/ 37865 h 2274"/>
                <a:gd name="T70" fmla="*/ 84505 w 1506"/>
                <a:gd name="T71" fmla="*/ 43504 h 2274"/>
                <a:gd name="T72" fmla="*/ 82940 w 1506"/>
                <a:gd name="T73" fmla="*/ 47533 h 2274"/>
                <a:gd name="T74" fmla="*/ 85287 w 1506"/>
                <a:gd name="T75" fmla="*/ 51561 h 2274"/>
                <a:gd name="T76" fmla="*/ 82940 w 1506"/>
                <a:gd name="T77" fmla="*/ 56395 h 2274"/>
                <a:gd name="T78" fmla="*/ 82157 w 1506"/>
                <a:gd name="T79" fmla="*/ 60423 h 2274"/>
                <a:gd name="T80" fmla="*/ 79028 w 1506"/>
                <a:gd name="T81" fmla="*/ 62840 h 2274"/>
                <a:gd name="T82" fmla="*/ 71985 w 1506"/>
                <a:gd name="T83" fmla="*/ 65257 h 2274"/>
                <a:gd name="T84" fmla="*/ 66508 w 1506"/>
                <a:gd name="T85" fmla="*/ 68479 h 2274"/>
                <a:gd name="T86" fmla="*/ 68073 w 1506"/>
                <a:gd name="T87" fmla="*/ 73313 h 2274"/>
                <a:gd name="T88" fmla="*/ 67291 w 1506"/>
                <a:gd name="T89" fmla="*/ 78952 h 2274"/>
                <a:gd name="T90" fmla="*/ 67291 w 1506"/>
                <a:gd name="T91" fmla="*/ 82981 h 2274"/>
                <a:gd name="T92" fmla="*/ 64161 w 1506"/>
                <a:gd name="T93" fmla="*/ 89426 h 2274"/>
                <a:gd name="T94" fmla="*/ 63379 w 1506"/>
                <a:gd name="T95" fmla="*/ 93454 h 2274"/>
                <a:gd name="T96" fmla="*/ 61031 w 1506"/>
                <a:gd name="T97" fmla="*/ 96676 h 2274"/>
                <a:gd name="T98" fmla="*/ 59466 w 1506"/>
                <a:gd name="T99" fmla="*/ 101510 h 2274"/>
                <a:gd name="T100" fmla="*/ 53207 w 1506"/>
                <a:gd name="T101" fmla="*/ 103927 h 2274"/>
                <a:gd name="T102" fmla="*/ 48512 w 1506"/>
                <a:gd name="T103" fmla="*/ 105538 h 2274"/>
                <a:gd name="T104" fmla="*/ 45382 w 1506"/>
                <a:gd name="T105" fmla="*/ 109567 h 2274"/>
                <a:gd name="T106" fmla="*/ 39905 w 1506"/>
                <a:gd name="T107" fmla="*/ 111178 h 2274"/>
                <a:gd name="T108" fmla="*/ 39905 w 1506"/>
                <a:gd name="T109" fmla="*/ 118429 h 2274"/>
                <a:gd name="T110" fmla="*/ 38340 w 1506"/>
                <a:gd name="T111" fmla="*/ 128096 h 2274"/>
                <a:gd name="T112" fmla="*/ 37558 w 1506"/>
                <a:gd name="T113" fmla="*/ 133736 h 2274"/>
                <a:gd name="T114" fmla="*/ 32080 w 1506"/>
                <a:gd name="T115" fmla="*/ 140181 h 2274"/>
                <a:gd name="T116" fmla="*/ 30516 w 1506"/>
                <a:gd name="T117" fmla="*/ 145820 h 2274"/>
                <a:gd name="T118" fmla="*/ 28951 w 1506"/>
                <a:gd name="T119" fmla="*/ 153071 h 2274"/>
                <a:gd name="T120" fmla="*/ 22691 w 1506"/>
                <a:gd name="T121" fmla="*/ 159516 h 22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06"/>
                <a:gd name="T184" fmla="*/ 0 h 2274"/>
                <a:gd name="T185" fmla="*/ 1506 w 1506"/>
                <a:gd name="T186" fmla="*/ 2274 h 22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06" h="2274">
                  <a:moveTo>
                    <a:pt x="330" y="2274"/>
                  </a:moveTo>
                  <a:lnTo>
                    <a:pt x="318" y="2262"/>
                  </a:lnTo>
                  <a:lnTo>
                    <a:pt x="312" y="2238"/>
                  </a:lnTo>
                  <a:lnTo>
                    <a:pt x="312" y="2232"/>
                  </a:lnTo>
                  <a:lnTo>
                    <a:pt x="294" y="2214"/>
                  </a:lnTo>
                  <a:lnTo>
                    <a:pt x="288" y="2208"/>
                  </a:lnTo>
                  <a:lnTo>
                    <a:pt x="288" y="2202"/>
                  </a:lnTo>
                  <a:lnTo>
                    <a:pt x="276" y="2196"/>
                  </a:lnTo>
                  <a:lnTo>
                    <a:pt x="276" y="2190"/>
                  </a:lnTo>
                  <a:lnTo>
                    <a:pt x="282" y="2190"/>
                  </a:lnTo>
                  <a:lnTo>
                    <a:pt x="282" y="2184"/>
                  </a:lnTo>
                  <a:lnTo>
                    <a:pt x="276" y="2172"/>
                  </a:lnTo>
                  <a:lnTo>
                    <a:pt x="276" y="2166"/>
                  </a:lnTo>
                  <a:lnTo>
                    <a:pt x="282" y="2166"/>
                  </a:lnTo>
                  <a:lnTo>
                    <a:pt x="282" y="2154"/>
                  </a:lnTo>
                  <a:lnTo>
                    <a:pt x="276" y="2136"/>
                  </a:lnTo>
                  <a:lnTo>
                    <a:pt x="276" y="2112"/>
                  </a:lnTo>
                  <a:lnTo>
                    <a:pt x="282" y="2088"/>
                  </a:lnTo>
                  <a:lnTo>
                    <a:pt x="282" y="2082"/>
                  </a:lnTo>
                  <a:lnTo>
                    <a:pt x="282" y="2076"/>
                  </a:lnTo>
                  <a:lnTo>
                    <a:pt x="282" y="2070"/>
                  </a:lnTo>
                  <a:lnTo>
                    <a:pt x="288" y="2070"/>
                  </a:lnTo>
                  <a:lnTo>
                    <a:pt x="288" y="2064"/>
                  </a:lnTo>
                  <a:lnTo>
                    <a:pt x="282" y="2052"/>
                  </a:lnTo>
                  <a:lnTo>
                    <a:pt x="282" y="2046"/>
                  </a:lnTo>
                  <a:lnTo>
                    <a:pt x="276" y="2040"/>
                  </a:lnTo>
                  <a:lnTo>
                    <a:pt x="270" y="2034"/>
                  </a:lnTo>
                  <a:lnTo>
                    <a:pt x="264" y="2022"/>
                  </a:lnTo>
                  <a:lnTo>
                    <a:pt x="258" y="2022"/>
                  </a:lnTo>
                  <a:lnTo>
                    <a:pt x="258" y="2016"/>
                  </a:lnTo>
                  <a:lnTo>
                    <a:pt x="252" y="2016"/>
                  </a:lnTo>
                  <a:lnTo>
                    <a:pt x="246" y="2016"/>
                  </a:lnTo>
                  <a:lnTo>
                    <a:pt x="240" y="2010"/>
                  </a:lnTo>
                  <a:lnTo>
                    <a:pt x="234" y="2004"/>
                  </a:lnTo>
                  <a:lnTo>
                    <a:pt x="228" y="2004"/>
                  </a:lnTo>
                  <a:lnTo>
                    <a:pt x="228" y="1998"/>
                  </a:lnTo>
                  <a:lnTo>
                    <a:pt x="228" y="1992"/>
                  </a:lnTo>
                  <a:lnTo>
                    <a:pt x="222" y="1992"/>
                  </a:lnTo>
                  <a:lnTo>
                    <a:pt x="222" y="1986"/>
                  </a:lnTo>
                  <a:lnTo>
                    <a:pt x="216" y="1986"/>
                  </a:lnTo>
                  <a:lnTo>
                    <a:pt x="210" y="1980"/>
                  </a:lnTo>
                  <a:lnTo>
                    <a:pt x="216" y="1974"/>
                  </a:lnTo>
                  <a:lnTo>
                    <a:pt x="210" y="1968"/>
                  </a:lnTo>
                  <a:lnTo>
                    <a:pt x="198" y="1956"/>
                  </a:lnTo>
                  <a:lnTo>
                    <a:pt x="192" y="1956"/>
                  </a:lnTo>
                  <a:lnTo>
                    <a:pt x="186" y="1956"/>
                  </a:lnTo>
                  <a:lnTo>
                    <a:pt x="180" y="1944"/>
                  </a:lnTo>
                  <a:lnTo>
                    <a:pt x="180" y="1938"/>
                  </a:lnTo>
                  <a:lnTo>
                    <a:pt x="174" y="1932"/>
                  </a:lnTo>
                  <a:lnTo>
                    <a:pt x="168" y="1932"/>
                  </a:lnTo>
                  <a:lnTo>
                    <a:pt x="162" y="1932"/>
                  </a:lnTo>
                  <a:lnTo>
                    <a:pt x="150" y="1932"/>
                  </a:lnTo>
                  <a:lnTo>
                    <a:pt x="150" y="1926"/>
                  </a:lnTo>
                  <a:lnTo>
                    <a:pt x="150" y="1932"/>
                  </a:lnTo>
                  <a:lnTo>
                    <a:pt x="144" y="1932"/>
                  </a:lnTo>
                  <a:lnTo>
                    <a:pt x="138" y="1932"/>
                  </a:lnTo>
                  <a:lnTo>
                    <a:pt x="132" y="1932"/>
                  </a:lnTo>
                  <a:lnTo>
                    <a:pt x="132" y="1938"/>
                  </a:lnTo>
                  <a:lnTo>
                    <a:pt x="126" y="1944"/>
                  </a:lnTo>
                  <a:lnTo>
                    <a:pt x="126" y="1956"/>
                  </a:lnTo>
                  <a:lnTo>
                    <a:pt x="120" y="1968"/>
                  </a:lnTo>
                  <a:lnTo>
                    <a:pt x="120" y="1974"/>
                  </a:lnTo>
                  <a:lnTo>
                    <a:pt x="120" y="1980"/>
                  </a:lnTo>
                  <a:lnTo>
                    <a:pt x="126" y="1980"/>
                  </a:lnTo>
                  <a:lnTo>
                    <a:pt x="120" y="1986"/>
                  </a:lnTo>
                  <a:lnTo>
                    <a:pt x="120" y="1992"/>
                  </a:lnTo>
                  <a:lnTo>
                    <a:pt x="114" y="1992"/>
                  </a:lnTo>
                  <a:lnTo>
                    <a:pt x="114" y="1986"/>
                  </a:lnTo>
                  <a:lnTo>
                    <a:pt x="108" y="1992"/>
                  </a:lnTo>
                  <a:lnTo>
                    <a:pt x="108" y="1998"/>
                  </a:lnTo>
                  <a:lnTo>
                    <a:pt x="114" y="2004"/>
                  </a:lnTo>
                  <a:lnTo>
                    <a:pt x="108" y="2004"/>
                  </a:lnTo>
                  <a:lnTo>
                    <a:pt x="102" y="2010"/>
                  </a:lnTo>
                  <a:lnTo>
                    <a:pt x="102" y="2004"/>
                  </a:lnTo>
                  <a:lnTo>
                    <a:pt x="90" y="2004"/>
                  </a:lnTo>
                  <a:lnTo>
                    <a:pt x="84" y="2004"/>
                  </a:lnTo>
                  <a:lnTo>
                    <a:pt x="78" y="1998"/>
                  </a:lnTo>
                  <a:lnTo>
                    <a:pt x="78" y="1992"/>
                  </a:lnTo>
                  <a:lnTo>
                    <a:pt x="78" y="1986"/>
                  </a:lnTo>
                  <a:lnTo>
                    <a:pt x="72" y="1986"/>
                  </a:lnTo>
                  <a:lnTo>
                    <a:pt x="66" y="1980"/>
                  </a:lnTo>
                  <a:lnTo>
                    <a:pt x="66" y="1968"/>
                  </a:lnTo>
                  <a:lnTo>
                    <a:pt x="60" y="1956"/>
                  </a:lnTo>
                  <a:lnTo>
                    <a:pt x="60" y="1950"/>
                  </a:lnTo>
                  <a:lnTo>
                    <a:pt x="48" y="1944"/>
                  </a:lnTo>
                  <a:lnTo>
                    <a:pt x="30" y="1926"/>
                  </a:lnTo>
                  <a:lnTo>
                    <a:pt x="12" y="1890"/>
                  </a:lnTo>
                  <a:lnTo>
                    <a:pt x="6" y="1872"/>
                  </a:lnTo>
                  <a:lnTo>
                    <a:pt x="0" y="1854"/>
                  </a:lnTo>
                  <a:lnTo>
                    <a:pt x="6" y="1824"/>
                  </a:lnTo>
                  <a:lnTo>
                    <a:pt x="30" y="1794"/>
                  </a:lnTo>
                  <a:lnTo>
                    <a:pt x="66" y="1752"/>
                  </a:lnTo>
                  <a:lnTo>
                    <a:pt x="72" y="1752"/>
                  </a:lnTo>
                  <a:lnTo>
                    <a:pt x="78" y="1746"/>
                  </a:lnTo>
                  <a:lnTo>
                    <a:pt x="84" y="1746"/>
                  </a:lnTo>
                  <a:lnTo>
                    <a:pt x="90" y="1746"/>
                  </a:lnTo>
                  <a:lnTo>
                    <a:pt x="138" y="1674"/>
                  </a:lnTo>
                  <a:lnTo>
                    <a:pt x="186" y="1620"/>
                  </a:lnTo>
                  <a:lnTo>
                    <a:pt x="186" y="1614"/>
                  </a:lnTo>
                  <a:lnTo>
                    <a:pt x="186" y="1608"/>
                  </a:lnTo>
                  <a:lnTo>
                    <a:pt x="192" y="1608"/>
                  </a:lnTo>
                  <a:lnTo>
                    <a:pt x="192" y="1614"/>
                  </a:lnTo>
                  <a:lnTo>
                    <a:pt x="198" y="1614"/>
                  </a:lnTo>
                  <a:lnTo>
                    <a:pt x="198" y="1608"/>
                  </a:lnTo>
                  <a:lnTo>
                    <a:pt x="198" y="1602"/>
                  </a:lnTo>
                  <a:lnTo>
                    <a:pt x="204" y="1602"/>
                  </a:lnTo>
                  <a:lnTo>
                    <a:pt x="204" y="1596"/>
                  </a:lnTo>
                  <a:lnTo>
                    <a:pt x="210" y="1590"/>
                  </a:lnTo>
                  <a:lnTo>
                    <a:pt x="216" y="1590"/>
                  </a:lnTo>
                  <a:lnTo>
                    <a:pt x="216" y="1584"/>
                  </a:lnTo>
                  <a:lnTo>
                    <a:pt x="222" y="1584"/>
                  </a:lnTo>
                  <a:lnTo>
                    <a:pt x="228" y="1572"/>
                  </a:lnTo>
                  <a:lnTo>
                    <a:pt x="222" y="1572"/>
                  </a:lnTo>
                  <a:lnTo>
                    <a:pt x="228" y="1566"/>
                  </a:lnTo>
                  <a:lnTo>
                    <a:pt x="228" y="1560"/>
                  </a:lnTo>
                  <a:lnTo>
                    <a:pt x="252" y="1548"/>
                  </a:lnTo>
                  <a:lnTo>
                    <a:pt x="276" y="1530"/>
                  </a:lnTo>
                  <a:lnTo>
                    <a:pt x="282" y="1512"/>
                  </a:lnTo>
                  <a:lnTo>
                    <a:pt x="282" y="1506"/>
                  </a:lnTo>
                  <a:lnTo>
                    <a:pt x="282" y="1494"/>
                  </a:lnTo>
                  <a:lnTo>
                    <a:pt x="282" y="1452"/>
                  </a:lnTo>
                  <a:lnTo>
                    <a:pt x="288" y="1440"/>
                  </a:lnTo>
                  <a:lnTo>
                    <a:pt x="294" y="1440"/>
                  </a:lnTo>
                  <a:lnTo>
                    <a:pt x="294" y="1428"/>
                  </a:lnTo>
                  <a:lnTo>
                    <a:pt x="324" y="1368"/>
                  </a:lnTo>
                  <a:lnTo>
                    <a:pt x="330" y="1362"/>
                  </a:lnTo>
                  <a:lnTo>
                    <a:pt x="330" y="1356"/>
                  </a:lnTo>
                  <a:lnTo>
                    <a:pt x="360" y="1338"/>
                  </a:lnTo>
                  <a:lnTo>
                    <a:pt x="366" y="1296"/>
                  </a:lnTo>
                  <a:lnTo>
                    <a:pt x="354" y="1278"/>
                  </a:lnTo>
                  <a:lnTo>
                    <a:pt x="336" y="1230"/>
                  </a:lnTo>
                  <a:lnTo>
                    <a:pt x="270" y="1212"/>
                  </a:lnTo>
                  <a:lnTo>
                    <a:pt x="264" y="1212"/>
                  </a:lnTo>
                  <a:lnTo>
                    <a:pt x="252" y="1200"/>
                  </a:lnTo>
                  <a:lnTo>
                    <a:pt x="234" y="1188"/>
                  </a:lnTo>
                  <a:lnTo>
                    <a:pt x="222" y="1182"/>
                  </a:lnTo>
                  <a:lnTo>
                    <a:pt x="228" y="1104"/>
                  </a:lnTo>
                  <a:lnTo>
                    <a:pt x="228" y="1098"/>
                  </a:lnTo>
                  <a:lnTo>
                    <a:pt x="198" y="1038"/>
                  </a:lnTo>
                  <a:lnTo>
                    <a:pt x="192" y="1032"/>
                  </a:lnTo>
                  <a:lnTo>
                    <a:pt x="180" y="1020"/>
                  </a:lnTo>
                  <a:lnTo>
                    <a:pt x="168" y="996"/>
                  </a:lnTo>
                  <a:lnTo>
                    <a:pt x="162" y="990"/>
                  </a:lnTo>
                  <a:lnTo>
                    <a:pt x="156" y="990"/>
                  </a:lnTo>
                  <a:lnTo>
                    <a:pt x="150" y="990"/>
                  </a:lnTo>
                  <a:lnTo>
                    <a:pt x="132" y="990"/>
                  </a:lnTo>
                  <a:lnTo>
                    <a:pt x="120" y="984"/>
                  </a:lnTo>
                  <a:lnTo>
                    <a:pt x="120" y="990"/>
                  </a:lnTo>
                  <a:lnTo>
                    <a:pt x="114" y="990"/>
                  </a:lnTo>
                  <a:lnTo>
                    <a:pt x="102" y="984"/>
                  </a:lnTo>
                  <a:lnTo>
                    <a:pt x="96" y="984"/>
                  </a:lnTo>
                  <a:lnTo>
                    <a:pt x="96" y="978"/>
                  </a:lnTo>
                  <a:lnTo>
                    <a:pt x="90" y="978"/>
                  </a:lnTo>
                  <a:lnTo>
                    <a:pt x="90" y="966"/>
                  </a:lnTo>
                  <a:lnTo>
                    <a:pt x="84" y="966"/>
                  </a:lnTo>
                  <a:lnTo>
                    <a:pt x="84" y="960"/>
                  </a:lnTo>
                  <a:lnTo>
                    <a:pt x="84" y="954"/>
                  </a:lnTo>
                  <a:lnTo>
                    <a:pt x="78" y="948"/>
                  </a:lnTo>
                  <a:lnTo>
                    <a:pt x="72" y="948"/>
                  </a:lnTo>
                  <a:lnTo>
                    <a:pt x="72" y="942"/>
                  </a:lnTo>
                  <a:lnTo>
                    <a:pt x="78" y="942"/>
                  </a:lnTo>
                  <a:lnTo>
                    <a:pt x="78" y="936"/>
                  </a:lnTo>
                  <a:lnTo>
                    <a:pt x="78" y="930"/>
                  </a:lnTo>
                  <a:lnTo>
                    <a:pt x="78" y="924"/>
                  </a:lnTo>
                  <a:lnTo>
                    <a:pt x="60" y="906"/>
                  </a:lnTo>
                  <a:lnTo>
                    <a:pt x="60" y="888"/>
                  </a:lnTo>
                  <a:lnTo>
                    <a:pt x="54" y="882"/>
                  </a:lnTo>
                  <a:lnTo>
                    <a:pt x="60" y="882"/>
                  </a:lnTo>
                  <a:lnTo>
                    <a:pt x="72" y="876"/>
                  </a:lnTo>
                  <a:lnTo>
                    <a:pt x="78" y="876"/>
                  </a:lnTo>
                  <a:lnTo>
                    <a:pt x="90" y="870"/>
                  </a:lnTo>
                  <a:lnTo>
                    <a:pt x="90" y="864"/>
                  </a:lnTo>
                  <a:lnTo>
                    <a:pt x="96" y="840"/>
                  </a:lnTo>
                  <a:lnTo>
                    <a:pt x="120" y="828"/>
                  </a:lnTo>
                  <a:lnTo>
                    <a:pt x="144" y="828"/>
                  </a:lnTo>
                  <a:lnTo>
                    <a:pt x="180" y="822"/>
                  </a:lnTo>
                  <a:lnTo>
                    <a:pt x="204" y="798"/>
                  </a:lnTo>
                  <a:lnTo>
                    <a:pt x="222" y="786"/>
                  </a:lnTo>
                  <a:lnTo>
                    <a:pt x="252" y="780"/>
                  </a:lnTo>
                  <a:lnTo>
                    <a:pt x="264" y="762"/>
                  </a:lnTo>
                  <a:lnTo>
                    <a:pt x="276" y="762"/>
                  </a:lnTo>
                  <a:lnTo>
                    <a:pt x="288" y="744"/>
                  </a:lnTo>
                  <a:lnTo>
                    <a:pt x="306" y="738"/>
                  </a:lnTo>
                  <a:lnTo>
                    <a:pt x="318" y="732"/>
                  </a:lnTo>
                  <a:lnTo>
                    <a:pt x="324" y="648"/>
                  </a:lnTo>
                  <a:lnTo>
                    <a:pt x="324" y="636"/>
                  </a:lnTo>
                  <a:lnTo>
                    <a:pt x="324" y="630"/>
                  </a:lnTo>
                  <a:lnTo>
                    <a:pt x="330" y="624"/>
                  </a:lnTo>
                  <a:lnTo>
                    <a:pt x="324" y="618"/>
                  </a:lnTo>
                  <a:lnTo>
                    <a:pt x="324" y="612"/>
                  </a:lnTo>
                  <a:lnTo>
                    <a:pt x="324" y="606"/>
                  </a:lnTo>
                  <a:lnTo>
                    <a:pt x="324" y="588"/>
                  </a:lnTo>
                  <a:lnTo>
                    <a:pt x="318" y="576"/>
                  </a:lnTo>
                  <a:lnTo>
                    <a:pt x="318" y="570"/>
                  </a:lnTo>
                  <a:lnTo>
                    <a:pt x="324" y="570"/>
                  </a:lnTo>
                  <a:lnTo>
                    <a:pt x="324" y="564"/>
                  </a:lnTo>
                  <a:lnTo>
                    <a:pt x="324" y="558"/>
                  </a:lnTo>
                  <a:lnTo>
                    <a:pt x="330" y="558"/>
                  </a:lnTo>
                  <a:lnTo>
                    <a:pt x="336" y="558"/>
                  </a:lnTo>
                  <a:lnTo>
                    <a:pt x="342" y="558"/>
                  </a:lnTo>
                  <a:lnTo>
                    <a:pt x="348" y="558"/>
                  </a:lnTo>
                  <a:lnTo>
                    <a:pt x="354" y="564"/>
                  </a:lnTo>
                  <a:lnTo>
                    <a:pt x="360" y="564"/>
                  </a:lnTo>
                  <a:lnTo>
                    <a:pt x="366" y="570"/>
                  </a:lnTo>
                  <a:lnTo>
                    <a:pt x="366" y="576"/>
                  </a:lnTo>
                  <a:lnTo>
                    <a:pt x="372" y="570"/>
                  </a:lnTo>
                  <a:lnTo>
                    <a:pt x="378" y="570"/>
                  </a:lnTo>
                  <a:lnTo>
                    <a:pt x="390" y="570"/>
                  </a:lnTo>
                  <a:lnTo>
                    <a:pt x="402" y="570"/>
                  </a:lnTo>
                  <a:lnTo>
                    <a:pt x="408" y="570"/>
                  </a:lnTo>
                  <a:lnTo>
                    <a:pt x="414" y="564"/>
                  </a:lnTo>
                  <a:lnTo>
                    <a:pt x="420" y="564"/>
                  </a:lnTo>
                  <a:lnTo>
                    <a:pt x="420" y="570"/>
                  </a:lnTo>
                  <a:lnTo>
                    <a:pt x="426" y="570"/>
                  </a:lnTo>
                  <a:lnTo>
                    <a:pt x="432" y="570"/>
                  </a:lnTo>
                  <a:lnTo>
                    <a:pt x="438" y="570"/>
                  </a:lnTo>
                  <a:lnTo>
                    <a:pt x="444" y="570"/>
                  </a:lnTo>
                  <a:lnTo>
                    <a:pt x="450" y="564"/>
                  </a:lnTo>
                  <a:lnTo>
                    <a:pt x="474" y="558"/>
                  </a:lnTo>
                  <a:lnTo>
                    <a:pt x="486" y="546"/>
                  </a:lnTo>
                  <a:lnTo>
                    <a:pt x="510" y="492"/>
                  </a:lnTo>
                  <a:lnTo>
                    <a:pt x="522" y="492"/>
                  </a:lnTo>
                  <a:lnTo>
                    <a:pt x="540" y="474"/>
                  </a:lnTo>
                  <a:lnTo>
                    <a:pt x="558" y="456"/>
                  </a:lnTo>
                  <a:lnTo>
                    <a:pt x="582" y="450"/>
                  </a:lnTo>
                  <a:lnTo>
                    <a:pt x="594" y="414"/>
                  </a:lnTo>
                  <a:lnTo>
                    <a:pt x="612" y="390"/>
                  </a:lnTo>
                  <a:lnTo>
                    <a:pt x="636" y="390"/>
                  </a:lnTo>
                  <a:lnTo>
                    <a:pt x="666" y="390"/>
                  </a:lnTo>
                  <a:lnTo>
                    <a:pt x="696" y="390"/>
                  </a:lnTo>
                  <a:lnTo>
                    <a:pt x="726" y="390"/>
                  </a:lnTo>
                  <a:lnTo>
                    <a:pt x="762" y="378"/>
                  </a:lnTo>
                  <a:lnTo>
                    <a:pt x="780" y="366"/>
                  </a:lnTo>
                  <a:lnTo>
                    <a:pt x="780" y="342"/>
                  </a:lnTo>
                  <a:lnTo>
                    <a:pt x="786" y="342"/>
                  </a:lnTo>
                  <a:lnTo>
                    <a:pt x="786" y="336"/>
                  </a:lnTo>
                  <a:lnTo>
                    <a:pt x="786" y="330"/>
                  </a:lnTo>
                  <a:lnTo>
                    <a:pt x="786" y="324"/>
                  </a:lnTo>
                  <a:lnTo>
                    <a:pt x="816" y="318"/>
                  </a:lnTo>
                  <a:lnTo>
                    <a:pt x="834" y="312"/>
                  </a:lnTo>
                  <a:lnTo>
                    <a:pt x="840" y="318"/>
                  </a:lnTo>
                  <a:lnTo>
                    <a:pt x="852" y="318"/>
                  </a:lnTo>
                  <a:lnTo>
                    <a:pt x="858" y="306"/>
                  </a:lnTo>
                  <a:lnTo>
                    <a:pt x="864" y="288"/>
                  </a:lnTo>
                  <a:lnTo>
                    <a:pt x="870" y="282"/>
                  </a:lnTo>
                  <a:lnTo>
                    <a:pt x="876" y="276"/>
                  </a:lnTo>
                  <a:lnTo>
                    <a:pt x="882" y="264"/>
                  </a:lnTo>
                  <a:lnTo>
                    <a:pt x="882" y="258"/>
                  </a:lnTo>
                  <a:lnTo>
                    <a:pt x="888" y="252"/>
                  </a:lnTo>
                  <a:lnTo>
                    <a:pt x="894" y="240"/>
                  </a:lnTo>
                  <a:lnTo>
                    <a:pt x="906" y="228"/>
                  </a:lnTo>
                  <a:lnTo>
                    <a:pt x="912" y="228"/>
                  </a:lnTo>
                  <a:lnTo>
                    <a:pt x="936" y="228"/>
                  </a:lnTo>
                  <a:lnTo>
                    <a:pt x="942" y="222"/>
                  </a:lnTo>
                  <a:lnTo>
                    <a:pt x="948" y="216"/>
                  </a:lnTo>
                  <a:lnTo>
                    <a:pt x="954" y="216"/>
                  </a:lnTo>
                  <a:lnTo>
                    <a:pt x="960" y="216"/>
                  </a:lnTo>
                  <a:lnTo>
                    <a:pt x="966" y="216"/>
                  </a:lnTo>
                  <a:lnTo>
                    <a:pt x="978" y="216"/>
                  </a:lnTo>
                  <a:lnTo>
                    <a:pt x="990" y="222"/>
                  </a:lnTo>
                  <a:lnTo>
                    <a:pt x="996" y="222"/>
                  </a:lnTo>
                  <a:lnTo>
                    <a:pt x="1002" y="228"/>
                  </a:lnTo>
                  <a:lnTo>
                    <a:pt x="1014" y="234"/>
                  </a:lnTo>
                  <a:lnTo>
                    <a:pt x="1020" y="234"/>
                  </a:lnTo>
                  <a:lnTo>
                    <a:pt x="1032" y="240"/>
                  </a:lnTo>
                  <a:lnTo>
                    <a:pt x="1044" y="240"/>
                  </a:lnTo>
                  <a:lnTo>
                    <a:pt x="1050" y="240"/>
                  </a:lnTo>
                  <a:lnTo>
                    <a:pt x="1056" y="246"/>
                  </a:lnTo>
                  <a:lnTo>
                    <a:pt x="1068" y="264"/>
                  </a:lnTo>
                  <a:lnTo>
                    <a:pt x="1086" y="276"/>
                  </a:lnTo>
                  <a:lnTo>
                    <a:pt x="1092" y="276"/>
                  </a:lnTo>
                  <a:lnTo>
                    <a:pt x="1104" y="282"/>
                  </a:lnTo>
                  <a:lnTo>
                    <a:pt x="1116" y="288"/>
                  </a:lnTo>
                  <a:lnTo>
                    <a:pt x="1122" y="300"/>
                  </a:lnTo>
                  <a:lnTo>
                    <a:pt x="1128" y="312"/>
                  </a:lnTo>
                  <a:lnTo>
                    <a:pt x="1152" y="324"/>
                  </a:lnTo>
                  <a:lnTo>
                    <a:pt x="1188" y="324"/>
                  </a:lnTo>
                  <a:lnTo>
                    <a:pt x="1206" y="318"/>
                  </a:lnTo>
                  <a:lnTo>
                    <a:pt x="1200" y="294"/>
                  </a:lnTo>
                  <a:lnTo>
                    <a:pt x="1206" y="252"/>
                  </a:lnTo>
                  <a:lnTo>
                    <a:pt x="1218" y="222"/>
                  </a:lnTo>
                  <a:lnTo>
                    <a:pt x="1212" y="222"/>
                  </a:lnTo>
                  <a:lnTo>
                    <a:pt x="1212" y="216"/>
                  </a:lnTo>
                  <a:lnTo>
                    <a:pt x="1218" y="204"/>
                  </a:lnTo>
                  <a:lnTo>
                    <a:pt x="1224" y="198"/>
                  </a:lnTo>
                  <a:lnTo>
                    <a:pt x="1224" y="192"/>
                  </a:lnTo>
                  <a:lnTo>
                    <a:pt x="1236" y="180"/>
                  </a:lnTo>
                  <a:lnTo>
                    <a:pt x="1254" y="156"/>
                  </a:lnTo>
                  <a:lnTo>
                    <a:pt x="1260" y="150"/>
                  </a:lnTo>
                  <a:lnTo>
                    <a:pt x="1260" y="144"/>
                  </a:lnTo>
                  <a:lnTo>
                    <a:pt x="1266" y="138"/>
                  </a:lnTo>
                  <a:lnTo>
                    <a:pt x="1272" y="138"/>
                  </a:lnTo>
                  <a:lnTo>
                    <a:pt x="1272" y="120"/>
                  </a:lnTo>
                  <a:lnTo>
                    <a:pt x="1278" y="114"/>
                  </a:lnTo>
                  <a:lnTo>
                    <a:pt x="1278" y="108"/>
                  </a:lnTo>
                  <a:lnTo>
                    <a:pt x="1278" y="102"/>
                  </a:lnTo>
                  <a:lnTo>
                    <a:pt x="1278" y="90"/>
                  </a:lnTo>
                  <a:lnTo>
                    <a:pt x="1278" y="84"/>
                  </a:lnTo>
                  <a:lnTo>
                    <a:pt x="1278" y="78"/>
                  </a:lnTo>
                  <a:lnTo>
                    <a:pt x="1278" y="72"/>
                  </a:lnTo>
                  <a:lnTo>
                    <a:pt x="1278" y="60"/>
                  </a:lnTo>
                  <a:lnTo>
                    <a:pt x="1284" y="48"/>
                  </a:lnTo>
                  <a:lnTo>
                    <a:pt x="1284" y="24"/>
                  </a:lnTo>
                  <a:lnTo>
                    <a:pt x="1284" y="18"/>
                  </a:lnTo>
                  <a:lnTo>
                    <a:pt x="1308" y="24"/>
                  </a:lnTo>
                  <a:lnTo>
                    <a:pt x="1332" y="30"/>
                  </a:lnTo>
                  <a:lnTo>
                    <a:pt x="1368" y="30"/>
                  </a:lnTo>
                  <a:lnTo>
                    <a:pt x="1392" y="24"/>
                  </a:lnTo>
                  <a:lnTo>
                    <a:pt x="1410" y="18"/>
                  </a:lnTo>
                  <a:lnTo>
                    <a:pt x="1416" y="6"/>
                  </a:lnTo>
                  <a:lnTo>
                    <a:pt x="1500" y="6"/>
                  </a:lnTo>
                  <a:lnTo>
                    <a:pt x="1506" y="0"/>
                  </a:lnTo>
                  <a:lnTo>
                    <a:pt x="1506" y="6"/>
                  </a:lnTo>
                  <a:lnTo>
                    <a:pt x="1506" y="18"/>
                  </a:lnTo>
                  <a:lnTo>
                    <a:pt x="1506" y="24"/>
                  </a:lnTo>
                  <a:lnTo>
                    <a:pt x="1500" y="30"/>
                  </a:lnTo>
                  <a:lnTo>
                    <a:pt x="1500" y="42"/>
                  </a:lnTo>
                  <a:lnTo>
                    <a:pt x="1494" y="54"/>
                  </a:lnTo>
                  <a:lnTo>
                    <a:pt x="1488" y="60"/>
                  </a:lnTo>
                  <a:lnTo>
                    <a:pt x="1482" y="60"/>
                  </a:lnTo>
                  <a:lnTo>
                    <a:pt x="1476" y="66"/>
                  </a:lnTo>
                  <a:lnTo>
                    <a:pt x="1476" y="72"/>
                  </a:lnTo>
                  <a:lnTo>
                    <a:pt x="1476" y="78"/>
                  </a:lnTo>
                  <a:lnTo>
                    <a:pt x="1470" y="78"/>
                  </a:lnTo>
                  <a:lnTo>
                    <a:pt x="1464" y="90"/>
                  </a:lnTo>
                  <a:lnTo>
                    <a:pt x="1458" y="96"/>
                  </a:lnTo>
                  <a:lnTo>
                    <a:pt x="1458" y="102"/>
                  </a:lnTo>
                  <a:lnTo>
                    <a:pt x="1452" y="120"/>
                  </a:lnTo>
                  <a:lnTo>
                    <a:pt x="1452" y="132"/>
                  </a:lnTo>
                  <a:lnTo>
                    <a:pt x="1446" y="144"/>
                  </a:lnTo>
                  <a:lnTo>
                    <a:pt x="1446" y="150"/>
                  </a:lnTo>
                  <a:lnTo>
                    <a:pt x="1440" y="150"/>
                  </a:lnTo>
                  <a:lnTo>
                    <a:pt x="1434" y="156"/>
                  </a:lnTo>
                  <a:lnTo>
                    <a:pt x="1428" y="168"/>
                  </a:lnTo>
                  <a:lnTo>
                    <a:pt x="1422" y="168"/>
                  </a:lnTo>
                  <a:lnTo>
                    <a:pt x="1416" y="174"/>
                  </a:lnTo>
                  <a:lnTo>
                    <a:pt x="1410" y="186"/>
                  </a:lnTo>
                  <a:lnTo>
                    <a:pt x="1410" y="204"/>
                  </a:lnTo>
                  <a:lnTo>
                    <a:pt x="1404" y="210"/>
                  </a:lnTo>
                  <a:lnTo>
                    <a:pt x="1404" y="216"/>
                  </a:lnTo>
                  <a:lnTo>
                    <a:pt x="1410" y="228"/>
                  </a:lnTo>
                  <a:lnTo>
                    <a:pt x="1410" y="234"/>
                  </a:lnTo>
                  <a:lnTo>
                    <a:pt x="1410" y="240"/>
                  </a:lnTo>
                  <a:lnTo>
                    <a:pt x="1416" y="252"/>
                  </a:lnTo>
                  <a:lnTo>
                    <a:pt x="1416" y="258"/>
                  </a:lnTo>
                  <a:lnTo>
                    <a:pt x="1422" y="264"/>
                  </a:lnTo>
                  <a:lnTo>
                    <a:pt x="1422" y="270"/>
                  </a:lnTo>
                  <a:lnTo>
                    <a:pt x="1422" y="282"/>
                  </a:lnTo>
                  <a:lnTo>
                    <a:pt x="1416" y="288"/>
                  </a:lnTo>
                  <a:lnTo>
                    <a:pt x="1410" y="294"/>
                  </a:lnTo>
                  <a:lnTo>
                    <a:pt x="1404" y="300"/>
                  </a:lnTo>
                  <a:lnTo>
                    <a:pt x="1404" y="306"/>
                  </a:lnTo>
                  <a:lnTo>
                    <a:pt x="1398" y="324"/>
                  </a:lnTo>
                  <a:lnTo>
                    <a:pt x="1404" y="330"/>
                  </a:lnTo>
                  <a:lnTo>
                    <a:pt x="1404" y="342"/>
                  </a:lnTo>
                  <a:lnTo>
                    <a:pt x="1392" y="354"/>
                  </a:lnTo>
                  <a:lnTo>
                    <a:pt x="1392" y="360"/>
                  </a:lnTo>
                  <a:lnTo>
                    <a:pt x="1392" y="372"/>
                  </a:lnTo>
                  <a:lnTo>
                    <a:pt x="1392" y="384"/>
                  </a:lnTo>
                  <a:lnTo>
                    <a:pt x="1392" y="396"/>
                  </a:lnTo>
                  <a:lnTo>
                    <a:pt x="1392" y="408"/>
                  </a:lnTo>
                  <a:lnTo>
                    <a:pt x="1386" y="414"/>
                  </a:lnTo>
                  <a:lnTo>
                    <a:pt x="1380" y="420"/>
                  </a:lnTo>
                  <a:lnTo>
                    <a:pt x="1380" y="426"/>
                  </a:lnTo>
                  <a:lnTo>
                    <a:pt x="1368" y="432"/>
                  </a:lnTo>
                  <a:lnTo>
                    <a:pt x="1362" y="444"/>
                  </a:lnTo>
                  <a:lnTo>
                    <a:pt x="1362" y="450"/>
                  </a:lnTo>
                  <a:lnTo>
                    <a:pt x="1362" y="462"/>
                  </a:lnTo>
                  <a:lnTo>
                    <a:pt x="1362" y="468"/>
                  </a:lnTo>
                  <a:lnTo>
                    <a:pt x="1362" y="474"/>
                  </a:lnTo>
                  <a:lnTo>
                    <a:pt x="1356" y="474"/>
                  </a:lnTo>
                  <a:lnTo>
                    <a:pt x="1350" y="480"/>
                  </a:lnTo>
                  <a:lnTo>
                    <a:pt x="1344" y="486"/>
                  </a:lnTo>
                  <a:lnTo>
                    <a:pt x="1338" y="498"/>
                  </a:lnTo>
                  <a:lnTo>
                    <a:pt x="1332" y="510"/>
                  </a:lnTo>
                  <a:lnTo>
                    <a:pt x="1320" y="510"/>
                  </a:lnTo>
                  <a:lnTo>
                    <a:pt x="1314" y="516"/>
                  </a:lnTo>
                  <a:lnTo>
                    <a:pt x="1302" y="522"/>
                  </a:lnTo>
                  <a:lnTo>
                    <a:pt x="1296" y="522"/>
                  </a:lnTo>
                  <a:lnTo>
                    <a:pt x="1284" y="516"/>
                  </a:lnTo>
                  <a:lnTo>
                    <a:pt x="1278" y="516"/>
                  </a:lnTo>
                  <a:lnTo>
                    <a:pt x="1272" y="522"/>
                  </a:lnTo>
                  <a:lnTo>
                    <a:pt x="1266" y="522"/>
                  </a:lnTo>
                  <a:lnTo>
                    <a:pt x="1266" y="528"/>
                  </a:lnTo>
                  <a:lnTo>
                    <a:pt x="1254" y="540"/>
                  </a:lnTo>
                  <a:lnTo>
                    <a:pt x="1248" y="546"/>
                  </a:lnTo>
                  <a:lnTo>
                    <a:pt x="1242" y="558"/>
                  </a:lnTo>
                  <a:lnTo>
                    <a:pt x="1230" y="576"/>
                  </a:lnTo>
                  <a:lnTo>
                    <a:pt x="1224" y="582"/>
                  </a:lnTo>
                  <a:lnTo>
                    <a:pt x="1224" y="588"/>
                  </a:lnTo>
                  <a:lnTo>
                    <a:pt x="1230" y="594"/>
                  </a:lnTo>
                  <a:lnTo>
                    <a:pt x="1230" y="600"/>
                  </a:lnTo>
                  <a:lnTo>
                    <a:pt x="1236" y="606"/>
                  </a:lnTo>
                  <a:lnTo>
                    <a:pt x="1242" y="606"/>
                  </a:lnTo>
                  <a:lnTo>
                    <a:pt x="1242" y="612"/>
                  </a:lnTo>
                  <a:lnTo>
                    <a:pt x="1242" y="618"/>
                  </a:lnTo>
                  <a:lnTo>
                    <a:pt x="1242" y="624"/>
                  </a:lnTo>
                  <a:lnTo>
                    <a:pt x="1236" y="630"/>
                  </a:lnTo>
                  <a:lnTo>
                    <a:pt x="1230" y="642"/>
                  </a:lnTo>
                  <a:lnTo>
                    <a:pt x="1230" y="648"/>
                  </a:lnTo>
                  <a:lnTo>
                    <a:pt x="1218" y="654"/>
                  </a:lnTo>
                  <a:lnTo>
                    <a:pt x="1212" y="654"/>
                  </a:lnTo>
                  <a:lnTo>
                    <a:pt x="1212" y="660"/>
                  </a:lnTo>
                  <a:lnTo>
                    <a:pt x="1212" y="666"/>
                  </a:lnTo>
                  <a:lnTo>
                    <a:pt x="1212" y="672"/>
                  </a:lnTo>
                  <a:lnTo>
                    <a:pt x="1212" y="678"/>
                  </a:lnTo>
                  <a:lnTo>
                    <a:pt x="1218" y="684"/>
                  </a:lnTo>
                  <a:lnTo>
                    <a:pt x="1218" y="690"/>
                  </a:lnTo>
                  <a:lnTo>
                    <a:pt x="1224" y="696"/>
                  </a:lnTo>
                  <a:lnTo>
                    <a:pt x="1230" y="702"/>
                  </a:lnTo>
                  <a:lnTo>
                    <a:pt x="1236" y="696"/>
                  </a:lnTo>
                  <a:lnTo>
                    <a:pt x="1242" y="702"/>
                  </a:lnTo>
                  <a:lnTo>
                    <a:pt x="1248" y="708"/>
                  </a:lnTo>
                  <a:lnTo>
                    <a:pt x="1254" y="714"/>
                  </a:lnTo>
                  <a:lnTo>
                    <a:pt x="1254" y="720"/>
                  </a:lnTo>
                  <a:lnTo>
                    <a:pt x="1260" y="720"/>
                  </a:lnTo>
                  <a:lnTo>
                    <a:pt x="1254" y="732"/>
                  </a:lnTo>
                  <a:lnTo>
                    <a:pt x="1248" y="738"/>
                  </a:lnTo>
                  <a:lnTo>
                    <a:pt x="1242" y="744"/>
                  </a:lnTo>
                  <a:lnTo>
                    <a:pt x="1236" y="750"/>
                  </a:lnTo>
                  <a:lnTo>
                    <a:pt x="1236" y="756"/>
                  </a:lnTo>
                  <a:lnTo>
                    <a:pt x="1236" y="762"/>
                  </a:lnTo>
                  <a:lnTo>
                    <a:pt x="1236" y="768"/>
                  </a:lnTo>
                  <a:lnTo>
                    <a:pt x="1236" y="780"/>
                  </a:lnTo>
                  <a:lnTo>
                    <a:pt x="1230" y="780"/>
                  </a:lnTo>
                  <a:lnTo>
                    <a:pt x="1230" y="786"/>
                  </a:lnTo>
                  <a:lnTo>
                    <a:pt x="1230" y="792"/>
                  </a:lnTo>
                  <a:lnTo>
                    <a:pt x="1230" y="804"/>
                  </a:lnTo>
                  <a:lnTo>
                    <a:pt x="1224" y="810"/>
                  </a:lnTo>
                  <a:lnTo>
                    <a:pt x="1218" y="816"/>
                  </a:lnTo>
                  <a:lnTo>
                    <a:pt x="1224" y="822"/>
                  </a:lnTo>
                  <a:lnTo>
                    <a:pt x="1224" y="828"/>
                  </a:lnTo>
                  <a:lnTo>
                    <a:pt x="1218" y="834"/>
                  </a:lnTo>
                  <a:lnTo>
                    <a:pt x="1224" y="834"/>
                  </a:lnTo>
                  <a:lnTo>
                    <a:pt x="1224" y="840"/>
                  </a:lnTo>
                  <a:lnTo>
                    <a:pt x="1224" y="846"/>
                  </a:lnTo>
                  <a:lnTo>
                    <a:pt x="1224" y="852"/>
                  </a:lnTo>
                  <a:lnTo>
                    <a:pt x="1218" y="858"/>
                  </a:lnTo>
                  <a:lnTo>
                    <a:pt x="1218" y="870"/>
                  </a:lnTo>
                  <a:lnTo>
                    <a:pt x="1212" y="870"/>
                  </a:lnTo>
                  <a:lnTo>
                    <a:pt x="1212" y="876"/>
                  </a:lnTo>
                  <a:lnTo>
                    <a:pt x="1206" y="888"/>
                  </a:lnTo>
                  <a:lnTo>
                    <a:pt x="1200" y="882"/>
                  </a:lnTo>
                  <a:lnTo>
                    <a:pt x="1194" y="888"/>
                  </a:lnTo>
                  <a:lnTo>
                    <a:pt x="1188" y="894"/>
                  </a:lnTo>
                  <a:lnTo>
                    <a:pt x="1182" y="894"/>
                  </a:lnTo>
                  <a:lnTo>
                    <a:pt x="1182" y="900"/>
                  </a:lnTo>
                  <a:lnTo>
                    <a:pt x="1176" y="900"/>
                  </a:lnTo>
                  <a:lnTo>
                    <a:pt x="1170" y="894"/>
                  </a:lnTo>
                  <a:lnTo>
                    <a:pt x="1164" y="900"/>
                  </a:lnTo>
                  <a:lnTo>
                    <a:pt x="1158" y="900"/>
                  </a:lnTo>
                  <a:lnTo>
                    <a:pt x="1152" y="900"/>
                  </a:lnTo>
                  <a:lnTo>
                    <a:pt x="1140" y="900"/>
                  </a:lnTo>
                  <a:lnTo>
                    <a:pt x="1134" y="900"/>
                  </a:lnTo>
                  <a:lnTo>
                    <a:pt x="1128" y="906"/>
                  </a:lnTo>
                  <a:lnTo>
                    <a:pt x="1110" y="906"/>
                  </a:lnTo>
                  <a:lnTo>
                    <a:pt x="1104" y="906"/>
                  </a:lnTo>
                  <a:lnTo>
                    <a:pt x="1098" y="906"/>
                  </a:lnTo>
                  <a:lnTo>
                    <a:pt x="1092" y="912"/>
                  </a:lnTo>
                  <a:lnTo>
                    <a:pt x="1080" y="918"/>
                  </a:lnTo>
                  <a:lnTo>
                    <a:pt x="1068" y="930"/>
                  </a:lnTo>
                  <a:lnTo>
                    <a:pt x="1062" y="930"/>
                  </a:lnTo>
                  <a:lnTo>
                    <a:pt x="1056" y="930"/>
                  </a:lnTo>
                  <a:lnTo>
                    <a:pt x="1050" y="930"/>
                  </a:lnTo>
                  <a:lnTo>
                    <a:pt x="1050" y="936"/>
                  </a:lnTo>
                  <a:lnTo>
                    <a:pt x="1038" y="942"/>
                  </a:lnTo>
                  <a:lnTo>
                    <a:pt x="1032" y="948"/>
                  </a:lnTo>
                  <a:lnTo>
                    <a:pt x="1026" y="954"/>
                  </a:lnTo>
                  <a:lnTo>
                    <a:pt x="1020" y="960"/>
                  </a:lnTo>
                  <a:lnTo>
                    <a:pt x="1014" y="966"/>
                  </a:lnTo>
                  <a:lnTo>
                    <a:pt x="1002" y="966"/>
                  </a:lnTo>
                  <a:lnTo>
                    <a:pt x="990" y="978"/>
                  </a:lnTo>
                  <a:lnTo>
                    <a:pt x="984" y="978"/>
                  </a:lnTo>
                  <a:lnTo>
                    <a:pt x="978" y="984"/>
                  </a:lnTo>
                  <a:lnTo>
                    <a:pt x="972" y="984"/>
                  </a:lnTo>
                  <a:lnTo>
                    <a:pt x="978" y="990"/>
                  </a:lnTo>
                  <a:lnTo>
                    <a:pt x="972" y="996"/>
                  </a:lnTo>
                  <a:lnTo>
                    <a:pt x="978" y="1002"/>
                  </a:lnTo>
                  <a:lnTo>
                    <a:pt x="1002" y="1002"/>
                  </a:lnTo>
                  <a:lnTo>
                    <a:pt x="1002" y="1008"/>
                  </a:lnTo>
                  <a:lnTo>
                    <a:pt x="1008" y="1020"/>
                  </a:lnTo>
                  <a:lnTo>
                    <a:pt x="1002" y="1026"/>
                  </a:lnTo>
                  <a:lnTo>
                    <a:pt x="1002" y="1032"/>
                  </a:lnTo>
                  <a:lnTo>
                    <a:pt x="1002" y="1050"/>
                  </a:lnTo>
                  <a:lnTo>
                    <a:pt x="1002" y="1056"/>
                  </a:lnTo>
                  <a:lnTo>
                    <a:pt x="1008" y="1062"/>
                  </a:lnTo>
                  <a:lnTo>
                    <a:pt x="1008" y="1074"/>
                  </a:lnTo>
                  <a:lnTo>
                    <a:pt x="1008" y="1086"/>
                  </a:lnTo>
                  <a:lnTo>
                    <a:pt x="996" y="1092"/>
                  </a:lnTo>
                  <a:lnTo>
                    <a:pt x="996" y="1098"/>
                  </a:lnTo>
                  <a:lnTo>
                    <a:pt x="996" y="1104"/>
                  </a:lnTo>
                  <a:lnTo>
                    <a:pt x="990" y="1110"/>
                  </a:lnTo>
                  <a:lnTo>
                    <a:pt x="990" y="1116"/>
                  </a:lnTo>
                  <a:lnTo>
                    <a:pt x="996" y="1122"/>
                  </a:lnTo>
                  <a:lnTo>
                    <a:pt x="990" y="1128"/>
                  </a:lnTo>
                  <a:lnTo>
                    <a:pt x="990" y="1134"/>
                  </a:lnTo>
                  <a:lnTo>
                    <a:pt x="990" y="1140"/>
                  </a:lnTo>
                  <a:lnTo>
                    <a:pt x="996" y="1140"/>
                  </a:lnTo>
                  <a:lnTo>
                    <a:pt x="996" y="1146"/>
                  </a:lnTo>
                  <a:lnTo>
                    <a:pt x="996" y="1152"/>
                  </a:lnTo>
                  <a:lnTo>
                    <a:pt x="996" y="1158"/>
                  </a:lnTo>
                  <a:lnTo>
                    <a:pt x="996" y="1164"/>
                  </a:lnTo>
                  <a:lnTo>
                    <a:pt x="996" y="1170"/>
                  </a:lnTo>
                  <a:lnTo>
                    <a:pt x="996" y="1176"/>
                  </a:lnTo>
                  <a:lnTo>
                    <a:pt x="990" y="1182"/>
                  </a:lnTo>
                  <a:lnTo>
                    <a:pt x="990" y="1188"/>
                  </a:lnTo>
                  <a:lnTo>
                    <a:pt x="984" y="1200"/>
                  </a:lnTo>
                  <a:lnTo>
                    <a:pt x="990" y="1206"/>
                  </a:lnTo>
                  <a:lnTo>
                    <a:pt x="990" y="1212"/>
                  </a:lnTo>
                  <a:lnTo>
                    <a:pt x="990" y="1218"/>
                  </a:lnTo>
                  <a:lnTo>
                    <a:pt x="978" y="1230"/>
                  </a:lnTo>
                  <a:lnTo>
                    <a:pt x="972" y="1236"/>
                  </a:lnTo>
                  <a:lnTo>
                    <a:pt x="972" y="1242"/>
                  </a:lnTo>
                  <a:lnTo>
                    <a:pt x="966" y="1248"/>
                  </a:lnTo>
                  <a:lnTo>
                    <a:pt x="960" y="1260"/>
                  </a:lnTo>
                  <a:lnTo>
                    <a:pt x="954" y="1266"/>
                  </a:lnTo>
                  <a:lnTo>
                    <a:pt x="942" y="1278"/>
                  </a:lnTo>
                  <a:lnTo>
                    <a:pt x="936" y="1278"/>
                  </a:lnTo>
                  <a:lnTo>
                    <a:pt x="936" y="1284"/>
                  </a:lnTo>
                  <a:lnTo>
                    <a:pt x="936" y="1296"/>
                  </a:lnTo>
                  <a:lnTo>
                    <a:pt x="936" y="1302"/>
                  </a:lnTo>
                  <a:lnTo>
                    <a:pt x="942" y="1302"/>
                  </a:lnTo>
                  <a:lnTo>
                    <a:pt x="942" y="1308"/>
                  </a:lnTo>
                  <a:lnTo>
                    <a:pt x="936" y="1314"/>
                  </a:lnTo>
                  <a:lnTo>
                    <a:pt x="930" y="1320"/>
                  </a:lnTo>
                  <a:lnTo>
                    <a:pt x="930" y="1326"/>
                  </a:lnTo>
                  <a:lnTo>
                    <a:pt x="930" y="1332"/>
                  </a:lnTo>
                  <a:lnTo>
                    <a:pt x="936" y="1338"/>
                  </a:lnTo>
                  <a:lnTo>
                    <a:pt x="936" y="1344"/>
                  </a:lnTo>
                  <a:lnTo>
                    <a:pt x="942" y="1356"/>
                  </a:lnTo>
                  <a:lnTo>
                    <a:pt x="948" y="1368"/>
                  </a:lnTo>
                  <a:lnTo>
                    <a:pt x="942" y="1380"/>
                  </a:lnTo>
                  <a:lnTo>
                    <a:pt x="936" y="1386"/>
                  </a:lnTo>
                  <a:lnTo>
                    <a:pt x="930" y="1392"/>
                  </a:lnTo>
                  <a:lnTo>
                    <a:pt x="924" y="1392"/>
                  </a:lnTo>
                  <a:lnTo>
                    <a:pt x="918" y="1386"/>
                  </a:lnTo>
                  <a:lnTo>
                    <a:pt x="912" y="1386"/>
                  </a:lnTo>
                  <a:lnTo>
                    <a:pt x="906" y="1386"/>
                  </a:lnTo>
                  <a:lnTo>
                    <a:pt x="900" y="1386"/>
                  </a:lnTo>
                  <a:lnTo>
                    <a:pt x="900" y="1392"/>
                  </a:lnTo>
                  <a:lnTo>
                    <a:pt x="894" y="1392"/>
                  </a:lnTo>
                  <a:lnTo>
                    <a:pt x="888" y="1392"/>
                  </a:lnTo>
                  <a:lnTo>
                    <a:pt x="888" y="1398"/>
                  </a:lnTo>
                  <a:lnTo>
                    <a:pt x="882" y="1404"/>
                  </a:lnTo>
                  <a:lnTo>
                    <a:pt x="882" y="1416"/>
                  </a:lnTo>
                  <a:lnTo>
                    <a:pt x="882" y="1428"/>
                  </a:lnTo>
                  <a:lnTo>
                    <a:pt x="882" y="1434"/>
                  </a:lnTo>
                  <a:lnTo>
                    <a:pt x="870" y="1440"/>
                  </a:lnTo>
                  <a:lnTo>
                    <a:pt x="864" y="1452"/>
                  </a:lnTo>
                  <a:lnTo>
                    <a:pt x="870" y="1452"/>
                  </a:lnTo>
                  <a:lnTo>
                    <a:pt x="864" y="1458"/>
                  </a:lnTo>
                  <a:lnTo>
                    <a:pt x="858" y="1464"/>
                  </a:lnTo>
                  <a:lnTo>
                    <a:pt x="852" y="1464"/>
                  </a:lnTo>
                  <a:lnTo>
                    <a:pt x="846" y="1458"/>
                  </a:lnTo>
                  <a:lnTo>
                    <a:pt x="840" y="1458"/>
                  </a:lnTo>
                  <a:lnTo>
                    <a:pt x="828" y="1470"/>
                  </a:lnTo>
                  <a:lnTo>
                    <a:pt x="810" y="1482"/>
                  </a:lnTo>
                  <a:lnTo>
                    <a:pt x="804" y="1488"/>
                  </a:lnTo>
                  <a:lnTo>
                    <a:pt x="798" y="1488"/>
                  </a:lnTo>
                  <a:lnTo>
                    <a:pt x="792" y="1488"/>
                  </a:lnTo>
                  <a:lnTo>
                    <a:pt x="786" y="1488"/>
                  </a:lnTo>
                  <a:lnTo>
                    <a:pt x="768" y="1482"/>
                  </a:lnTo>
                  <a:lnTo>
                    <a:pt x="762" y="1476"/>
                  </a:lnTo>
                  <a:lnTo>
                    <a:pt x="744" y="1476"/>
                  </a:lnTo>
                  <a:lnTo>
                    <a:pt x="738" y="1476"/>
                  </a:lnTo>
                  <a:lnTo>
                    <a:pt x="732" y="1476"/>
                  </a:lnTo>
                  <a:lnTo>
                    <a:pt x="726" y="1482"/>
                  </a:lnTo>
                  <a:lnTo>
                    <a:pt x="726" y="1488"/>
                  </a:lnTo>
                  <a:lnTo>
                    <a:pt x="726" y="1494"/>
                  </a:lnTo>
                  <a:lnTo>
                    <a:pt x="726" y="1500"/>
                  </a:lnTo>
                  <a:lnTo>
                    <a:pt x="720" y="1500"/>
                  </a:lnTo>
                  <a:lnTo>
                    <a:pt x="720" y="1506"/>
                  </a:lnTo>
                  <a:lnTo>
                    <a:pt x="714" y="1512"/>
                  </a:lnTo>
                  <a:lnTo>
                    <a:pt x="714" y="1518"/>
                  </a:lnTo>
                  <a:lnTo>
                    <a:pt x="708" y="1518"/>
                  </a:lnTo>
                  <a:lnTo>
                    <a:pt x="708" y="1530"/>
                  </a:lnTo>
                  <a:lnTo>
                    <a:pt x="708" y="1536"/>
                  </a:lnTo>
                  <a:lnTo>
                    <a:pt x="708" y="1542"/>
                  </a:lnTo>
                  <a:lnTo>
                    <a:pt x="696" y="1554"/>
                  </a:lnTo>
                  <a:lnTo>
                    <a:pt x="690" y="1560"/>
                  </a:lnTo>
                  <a:lnTo>
                    <a:pt x="684" y="1566"/>
                  </a:lnTo>
                  <a:lnTo>
                    <a:pt x="672" y="1566"/>
                  </a:lnTo>
                  <a:lnTo>
                    <a:pt x="666" y="1566"/>
                  </a:lnTo>
                  <a:lnTo>
                    <a:pt x="660" y="1566"/>
                  </a:lnTo>
                  <a:lnTo>
                    <a:pt x="654" y="1572"/>
                  </a:lnTo>
                  <a:lnTo>
                    <a:pt x="654" y="1578"/>
                  </a:lnTo>
                  <a:lnTo>
                    <a:pt x="642" y="1578"/>
                  </a:lnTo>
                  <a:lnTo>
                    <a:pt x="630" y="1572"/>
                  </a:lnTo>
                  <a:lnTo>
                    <a:pt x="624" y="1572"/>
                  </a:lnTo>
                  <a:lnTo>
                    <a:pt x="618" y="1578"/>
                  </a:lnTo>
                  <a:lnTo>
                    <a:pt x="612" y="1584"/>
                  </a:lnTo>
                  <a:lnTo>
                    <a:pt x="606" y="1584"/>
                  </a:lnTo>
                  <a:lnTo>
                    <a:pt x="600" y="1590"/>
                  </a:lnTo>
                  <a:lnTo>
                    <a:pt x="594" y="1590"/>
                  </a:lnTo>
                  <a:lnTo>
                    <a:pt x="588" y="1590"/>
                  </a:lnTo>
                  <a:lnTo>
                    <a:pt x="582" y="1590"/>
                  </a:lnTo>
                  <a:lnTo>
                    <a:pt x="582" y="1596"/>
                  </a:lnTo>
                  <a:lnTo>
                    <a:pt x="576" y="1614"/>
                  </a:lnTo>
                  <a:lnTo>
                    <a:pt x="570" y="1632"/>
                  </a:lnTo>
                  <a:lnTo>
                    <a:pt x="570" y="1638"/>
                  </a:lnTo>
                  <a:lnTo>
                    <a:pt x="576" y="1644"/>
                  </a:lnTo>
                  <a:lnTo>
                    <a:pt x="576" y="1650"/>
                  </a:lnTo>
                  <a:lnTo>
                    <a:pt x="582" y="1662"/>
                  </a:lnTo>
                  <a:lnTo>
                    <a:pt x="582" y="1668"/>
                  </a:lnTo>
                  <a:lnTo>
                    <a:pt x="588" y="1692"/>
                  </a:lnTo>
                  <a:lnTo>
                    <a:pt x="594" y="1728"/>
                  </a:lnTo>
                  <a:lnTo>
                    <a:pt x="594" y="1752"/>
                  </a:lnTo>
                  <a:lnTo>
                    <a:pt x="594" y="1764"/>
                  </a:lnTo>
                  <a:lnTo>
                    <a:pt x="582" y="1770"/>
                  </a:lnTo>
                  <a:lnTo>
                    <a:pt x="582" y="1782"/>
                  </a:lnTo>
                  <a:lnTo>
                    <a:pt x="576" y="1788"/>
                  </a:lnTo>
                  <a:lnTo>
                    <a:pt x="570" y="1794"/>
                  </a:lnTo>
                  <a:lnTo>
                    <a:pt x="564" y="1806"/>
                  </a:lnTo>
                  <a:lnTo>
                    <a:pt x="564" y="1812"/>
                  </a:lnTo>
                  <a:lnTo>
                    <a:pt x="558" y="1812"/>
                  </a:lnTo>
                  <a:lnTo>
                    <a:pt x="564" y="1824"/>
                  </a:lnTo>
                  <a:lnTo>
                    <a:pt x="564" y="1830"/>
                  </a:lnTo>
                  <a:lnTo>
                    <a:pt x="564" y="1842"/>
                  </a:lnTo>
                  <a:lnTo>
                    <a:pt x="564" y="1848"/>
                  </a:lnTo>
                  <a:lnTo>
                    <a:pt x="564" y="1854"/>
                  </a:lnTo>
                  <a:lnTo>
                    <a:pt x="570" y="1860"/>
                  </a:lnTo>
                  <a:lnTo>
                    <a:pt x="570" y="1866"/>
                  </a:lnTo>
                  <a:lnTo>
                    <a:pt x="570" y="1872"/>
                  </a:lnTo>
                  <a:lnTo>
                    <a:pt x="570" y="1878"/>
                  </a:lnTo>
                  <a:lnTo>
                    <a:pt x="564" y="1890"/>
                  </a:lnTo>
                  <a:lnTo>
                    <a:pt x="558" y="1896"/>
                  </a:lnTo>
                  <a:lnTo>
                    <a:pt x="552" y="1908"/>
                  </a:lnTo>
                  <a:lnTo>
                    <a:pt x="546" y="1914"/>
                  </a:lnTo>
                  <a:lnTo>
                    <a:pt x="540" y="1920"/>
                  </a:lnTo>
                  <a:lnTo>
                    <a:pt x="534" y="1932"/>
                  </a:lnTo>
                  <a:lnTo>
                    <a:pt x="528" y="1944"/>
                  </a:lnTo>
                  <a:lnTo>
                    <a:pt x="516" y="1950"/>
                  </a:lnTo>
                  <a:lnTo>
                    <a:pt x="510" y="1956"/>
                  </a:lnTo>
                  <a:lnTo>
                    <a:pt x="498" y="1962"/>
                  </a:lnTo>
                  <a:lnTo>
                    <a:pt x="492" y="1974"/>
                  </a:lnTo>
                  <a:lnTo>
                    <a:pt x="486" y="1980"/>
                  </a:lnTo>
                  <a:lnTo>
                    <a:pt x="480" y="1998"/>
                  </a:lnTo>
                  <a:lnTo>
                    <a:pt x="474" y="2004"/>
                  </a:lnTo>
                  <a:lnTo>
                    <a:pt x="474" y="2010"/>
                  </a:lnTo>
                  <a:lnTo>
                    <a:pt x="474" y="2016"/>
                  </a:lnTo>
                  <a:lnTo>
                    <a:pt x="468" y="2016"/>
                  </a:lnTo>
                  <a:lnTo>
                    <a:pt x="468" y="2028"/>
                  </a:lnTo>
                  <a:lnTo>
                    <a:pt x="462" y="2034"/>
                  </a:lnTo>
                  <a:lnTo>
                    <a:pt x="456" y="2040"/>
                  </a:lnTo>
                  <a:lnTo>
                    <a:pt x="456" y="2052"/>
                  </a:lnTo>
                  <a:lnTo>
                    <a:pt x="450" y="2058"/>
                  </a:lnTo>
                  <a:lnTo>
                    <a:pt x="450" y="2070"/>
                  </a:lnTo>
                  <a:lnTo>
                    <a:pt x="450" y="2076"/>
                  </a:lnTo>
                  <a:lnTo>
                    <a:pt x="450" y="2082"/>
                  </a:lnTo>
                  <a:lnTo>
                    <a:pt x="444" y="2088"/>
                  </a:lnTo>
                  <a:lnTo>
                    <a:pt x="438" y="2094"/>
                  </a:lnTo>
                  <a:lnTo>
                    <a:pt x="444" y="2100"/>
                  </a:lnTo>
                  <a:lnTo>
                    <a:pt x="444" y="2124"/>
                  </a:lnTo>
                  <a:lnTo>
                    <a:pt x="444" y="2142"/>
                  </a:lnTo>
                  <a:lnTo>
                    <a:pt x="444" y="2160"/>
                  </a:lnTo>
                  <a:lnTo>
                    <a:pt x="450" y="2166"/>
                  </a:lnTo>
                  <a:lnTo>
                    <a:pt x="456" y="2178"/>
                  </a:lnTo>
                  <a:lnTo>
                    <a:pt x="438" y="2184"/>
                  </a:lnTo>
                  <a:lnTo>
                    <a:pt x="432" y="2184"/>
                  </a:lnTo>
                  <a:lnTo>
                    <a:pt x="426" y="2190"/>
                  </a:lnTo>
                  <a:lnTo>
                    <a:pt x="408" y="2190"/>
                  </a:lnTo>
                  <a:lnTo>
                    <a:pt x="402" y="2196"/>
                  </a:lnTo>
                  <a:lnTo>
                    <a:pt x="396" y="2196"/>
                  </a:lnTo>
                  <a:lnTo>
                    <a:pt x="384" y="2208"/>
                  </a:lnTo>
                  <a:lnTo>
                    <a:pt x="378" y="2220"/>
                  </a:lnTo>
                  <a:lnTo>
                    <a:pt x="366" y="2232"/>
                  </a:lnTo>
                  <a:lnTo>
                    <a:pt x="366" y="2238"/>
                  </a:lnTo>
                  <a:lnTo>
                    <a:pt x="360" y="2238"/>
                  </a:lnTo>
                  <a:lnTo>
                    <a:pt x="360" y="2244"/>
                  </a:lnTo>
                  <a:lnTo>
                    <a:pt x="354" y="2244"/>
                  </a:lnTo>
                  <a:lnTo>
                    <a:pt x="330" y="2274"/>
                  </a:lnTo>
                  <a:close/>
                </a:path>
              </a:pathLst>
            </a:custGeom>
            <a:solidFill>
              <a:srgbClr val="FFC000"/>
            </a:solidFill>
            <a:ln w="9525">
              <a:solidFill>
                <a:schemeClr val="bg1"/>
              </a:solidFill>
              <a:round/>
              <a:headEnd/>
              <a:tailEnd/>
            </a:ln>
          </p:spPr>
          <p:txBody>
            <a:bodyPr/>
            <a:lstStyle/>
            <a:p>
              <a:endParaRPr lang="en-GB"/>
            </a:p>
          </p:txBody>
        </p:sp>
        <p:sp>
          <p:nvSpPr>
            <p:cNvPr id="19487" name="Freeform 11"/>
            <p:cNvSpPr>
              <a:spLocks/>
            </p:cNvSpPr>
            <p:nvPr/>
          </p:nvSpPr>
          <p:spPr bwMode="gray">
            <a:xfrm>
              <a:off x="4460198" y="1936259"/>
              <a:ext cx="1185438" cy="1575500"/>
            </a:xfrm>
            <a:custGeom>
              <a:avLst/>
              <a:gdLst>
                <a:gd name="T0" fmla="*/ 97218 w 1512"/>
                <a:gd name="T1" fmla="*/ 61216 h 1956"/>
                <a:gd name="T2" fmla="*/ 94082 w 1512"/>
                <a:gd name="T3" fmla="*/ 64438 h 1956"/>
                <a:gd name="T4" fmla="*/ 83106 w 1512"/>
                <a:gd name="T5" fmla="*/ 67660 h 1956"/>
                <a:gd name="T6" fmla="*/ 82322 w 1512"/>
                <a:gd name="T7" fmla="*/ 73298 h 1956"/>
                <a:gd name="T8" fmla="*/ 79186 w 1512"/>
                <a:gd name="T9" fmla="*/ 79742 h 1956"/>
                <a:gd name="T10" fmla="*/ 82322 w 1512"/>
                <a:gd name="T11" fmla="*/ 86185 h 1956"/>
                <a:gd name="T12" fmla="*/ 93298 w 1512"/>
                <a:gd name="T13" fmla="*/ 93435 h 1956"/>
                <a:gd name="T14" fmla="*/ 94866 w 1512"/>
                <a:gd name="T15" fmla="*/ 103100 h 1956"/>
                <a:gd name="T16" fmla="*/ 87810 w 1512"/>
                <a:gd name="T17" fmla="*/ 109544 h 1956"/>
                <a:gd name="T18" fmla="*/ 93298 w 1512"/>
                <a:gd name="T19" fmla="*/ 115182 h 1956"/>
                <a:gd name="T20" fmla="*/ 98786 w 1512"/>
                <a:gd name="T21" fmla="*/ 119210 h 1956"/>
                <a:gd name="T22" fmla="*/ 98786 w 1512"/>
                <a:gd name="T23" fmla="*/ 128875 h 1956"/>
                <a:gd name="T24" fmla="*/ 81538 w 1512"/>
                <a:gd name="T25" fmla="*/ 136930 h 1956"/>
                <a:gd name="T26" fmla="*/ 77618 w 1512"/>
                <a:gd name="T27" fmla="*/ 132097 h 1956"/>
                <a:gd name="T28" fmla="*/ 57233 w 1512"/>
                <a:gd name="T29" fmla="*/ 122432 h 1956"/>
                <a:gd name="T30" fmla="*/ 43905 w 1512"/>
                <a:gd name="T31" fmla="*/ 132903 h 1956"/>
                <a:gd name="T32" fmla="*/ 25873 w 1512"/>
                <a:gd name="T33" fmla="*/ 130486 h 1956"/>
                <a:gd name="T34" fmla="*/ 19600 w 1512"/>
                <a:gd name="T35" fmla="*/ 124848 h 1956"/>
                <a:gd name="T36" fmla="*/ 24305 w 1512"/>
                <a:gd name="T37" fmla="*/ 114377 h 1956"/>
                <a:gd name="T38" fmla="*/ 18816 w 1512"/>
                <a:gd name="T39" fmla="*/ 110349 h 1956"/>
                <a:gd name="T40" fmla="*/ 10976 w 1512"/>
                <a:gd name="T41" fmla="*/ 109544 h 1956"/>
                <a:gd name="T42" fmla="*/ 8624 w 1512"/>
                <a:gd name="T43" fmla="*/ 100684 h 1956"/>
                <a:gd name="T44" fmla="*/ 2352 w 1512"/>
                <a:gd name="T45" fmla="*/ 93435 h 1956"/>
                <a:gd name="T46" fmla="*/ 1568 w 1512"/>
                <a:gd name="T47" fmla="*/ 85380 h 1956"/>
                <a:gd name="T48" fmla="*/ 3920 w 1512"/>
                <a:gd name="T49" fmla="*/ 81353 h 1956"/>
                <a:gd name="T50" fmla="*/ 1568 w 1512"/>
                <a:gd name="T51" fmla="*/ 76520 h 1956"/>
                <a:gd name="T52" fmla="*/ 784 w 1512"/>
                <a:gd name="T53" fmla="*/ 70881 h 1956"/>
                <a:gd name="T54" fmla="*/ 3136 w 1512"/>
                <a:gd name="T55" fmla="*/ 64438 h 1956"/>
                <a:gd name="T56" fmla="*/ 9408 w 1512"/>
                <a:gd name="T57" fmla="*/ 58799 h 1956"/>
                <a:gd name="T58" fmla="*/ 12544 w 1512"/>
                <a:gd name="T59" fmla="*/ 54772 h 1956"/>
                <a:gd name="T60" fmla="*/ 17248 w 1512"/>
                <a:gd name="T61" fmla="*/ 53161 h 1956"/>
                <a:gd name="T62" fmla="*/ 25089 w 1512"/>
                <a:gd name="T63" fmla="*/ 52356 h 1956"/>
                <a:gd name="T64" fmla="*/ 35281 w 1512"/>
                <a:gd name="T65" fmla="*/ 53161 h 1956"/>
                <a:gd name="T66" fmla="*/ 39201 w 1512"/>
                <a:gd name="T67" fmla="*/ 56383 h 1956"/>
                <a:gd name="T68" fmla="*/ 43121 w 1512"/>
                <a:gd name="T69" fmla="*/ 56383 h 1956"/>
                <a:gd name="T70" fmla="*/ 49393 w 1512"/>
                <a:gd name="T71" fmla="*/ 57188 h 1956"/>
                <a:gd name="T72" fmla="*/ 47825 w 1512"/>
                <a:gd name="T73" fmla="*/ 60410 h 1956"/>
                <a:gd name="T74" fmla="*/ 51745 w 1512"/>
                <a:gd name="T75" fmla="*/ 67660 h 1956"/>
                <a:gd name="T76" fmla="*/ 63506 w 1512"/>
                <a:gd name="T77" fmla="*/ 68465 h 1956"/>
                <a:gd name="T78" fmla="*/ 65074 w 1512"/>
                <a:gd name="T79" fmla="*/ 63632 h 1956"/>
                <a:gd name="T80" fmla="*/ 69778 w 1512"/>
                <a:gd name="T81" fmla="*/ 62021 h 1956"/>
                <a:gd name="T82" fmla="*/ 69778 w 1512"/>
                <a:gd name="T83" fmla="*/ 58799 h 1956"/>
                <a:gd name="T84" fmla="*/ 65074 w 1512"/>
                <a:gd name="T85" fmla="*/ 57994 h 1956"/>
                <a:gd name="T86" fmla="*/ 60370 w 1512"/>
                <a:gd name="T87" fmla="*/ 56383 h 1956"/>
                <a:gd name="T88" fmla="*/ 55665 w 1512"/>
                <a:gd name="T89" fmla="*/ 56383 h 1956"/>
                <a:gd name="T90" fmla="*/ 46257 w 1512"/>
                <a:gd name="T91" fmla="*/ 46717 h 1956"/>
                <a:gd name="T92" fmla="*/ 42337 w 1512"/>
                <a:gd name="T93" fmla="*/ 36246 h 1956"/>
                <a:gd name="T94" fmla="*/ 38417 w 1512"/>
                <a:gd name="T95" fmla="*/ 33830 h 1956"/>
                <a:gd name="T96" fmla="*/ 39985 w 1512"/>
                <a:gd name="T97" fmla="*/ 31413 h 1956"/>
                <a:gd name="T98" fmla="*/ 43121 w 1512"/>
                <a:gd name="T99" fmla="*/ 28997 h 1956"/>
                <a:gd name="T100" fmla="*/ 49393 w 1512"/>
                <a:gd name="T101" fmla="*/ 27386 h 1956"/>
                <a:gd name="T102" fmla="*/ 53313 w 1512"/>
                <a:gd name="T103" fmla="*/ 25775 h 1956"/>
                <a:gd name="T104" fmla="*/ 57233 w 1512"/>
                <a:gd name="T105" fmla="*/ 23359 h 1956"/>
                <a:gd name="T106" fmla="*/ 61154 w 1512"/>
                <a:gd name="T107" fmla="*/ 21748 h 1956"/>
                <a:gd name="T108" fmla="*/ 63506 w 1512"/>
                <a:gd name="T109" fmla="*/ 13693 h 1956"/>
                <a:gd name="T110" fmla="*/ 65858 w 1512"/>
                <a:gd name="T111" fmla="*/ 4833 h 1956"/>
                <a:gd name="T112" fmla="*/ 74482 w 1512"/>
                <a:gd name="T113" fmla="*/ 4833 h 1956"/>
                <a:gd name="T114" fmla="*/ 77618 w 1512"/>
                <a:gd name="T115" fmla="*/ 2416 h 1956"/>
                <a:gd name="T116" fmla="*/ 80754 w 1512"/>
                <a:gd name="T117" fmla="*/ 0 h 1956"/>
                <a:gd name="T118" fmla="*/ 86242 w 1512"/>
                <a:gd name="T119" fmla="*/ 3222 h 1956"/>
                <a:gd name="T120" fmla="*/ 89378 w 1512"/>
                <a:gd name="T121" fmla="*/ 26581 h 1956"/>
                <a:gd name="T122" fmla="*/ 91730 w 1512"/>
                <a:gd name="T123" fmla="*/ 33024 h 1956"/>
                <a:gd name="T124" fmla="*/ 93298 w 1512"/>
                <a:gd name="T125" fmla="*/ 49939 h 1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12"/>
                <a:gd name="T190" fmla="*/ 0 h 1956"/>
                <a:gd name="T191" fmla="*/ 1512 w 1512"/>
                <a:gd name="T192" fmla="*/ 1956 h 1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12" h="1956">
                  <a:moveTo>
                    <a:pt x="1512" y="780"/>
                  </a:moveTo>
                  <a:lnTo>
                    <a:pt x="1482" y="786"/>
                  </a:lnTo>
                  <a:lnTo>
                    <a:pt x="1476" y="792"/>
                  </a:lnTo>
                  <a:lnTo>
                    <a:pt x="1476" y="798"/>
                  </a:lnTo>
                  <a:lnTo>
                    <a:pt x="1476" y="804"/>
                  </a:lnTo>
                  <a:lnTo>
                    <a:pt x="1476" y="816"/>
                  </a:lnTo>
                  <a:lnTo>
                    <a:pt x="1470" y="834"/>
                  </a:lnTo>
                  <a:lnTo>
                    <a:pt x="1464" y="840"/>
                  </a:lnTo>
                  <a:lnTo>
                    <a:pt x="1452" y="852"/>
                  </a:lnTo>
                  <a:lnTo>
                    <a:pt x="1440" y="864"/>
                  </a:lnTo>
                  <a:lnTo>
                    <a:pt x="1434" y="864"/>
                  </a:lnTo>
                  <a:lnTo>
                    <a:pt x="1434" y="870"/>
                  </a:lnTo>
                  <a:lnTo>
                    <a:pt x="1422" y="876"/>
                  </a:lnTo>
                  <a:lnTo>
                    <a:pt x="1410" y="894"/>
                  </a:lnTo>
                  <a:lnTo>
                    <a:pt x="1404" y="894"/>
                  </a:lnTo>
                  <a:lnTo>
                    <a:pt x="1404" y="900"/>
                  </a:lnTo>
                  <a:lnTo>
                    <a:pt x="1404" y="906"/>
                  </a:lnTo>
                  <a:lnTo>
                    <a:pt x="1410" y="918"/>
                  </a:lnTo>
                  <a:lnTo>
                    <a:pt x="1404" y="918"/>
                  </a:lnTo>
                  <a:lnTo>
                    <a:pt x="1392" y="924"/>
                  </a:lnTo>
                  <a:lnTo>
                    <a:pt x="1386" y="924"/>
                  </a:lnTo>
                  <a:lnTo>
                    <a:pt x="1380" y="924"/>
                  </a:lnTo>
                  <a:lnTo>
                    <a:pt x="1380" y="930"/>
                  </a:lnTo>
                  <a:lnTo>
                    <a:pt x="1374" y="930"/>
                  </a:lnTo>
                  <a:lnTo>
                    <a:pt x="1374" y="924"/>
                  </a:lnTo>
                  <a:lnTo>
                    <a:pt x="1374" y="918"/>
                  </a:lnTo>
                  <a:lnTo>
                    <a:pt x="1368" y="912"/>
                  </a:lnTo>
                  <a:lnTo>
                    <a:pt x="1368" y="906"/>
                  </a:lnTo>
                  <a:lnTo>
                    <a:pt x="1368" y="900"/>
                  </a:lnTo>
                  <a:lnTo>
                    <a:pt x="1368" y="894"/>
                  </a:lnTo>
                  <a:lnTo>
                    <a:pt x="1362" y="894"/>
                  </a:lnTo>
                  <a:lnTo>
                    <a:pt x="1326" y="894"/>
                  </a:lnTo>
                  <a:lnTo>
                    <a:pt x="1302" y="906"/>
                  </a:lnTo>
                  <a:lnTo>
                    <a:pt x="1284" y="918"/>
                  </a:lnTo>
                  <a:lnTo>
                    <a:pt x="1284" y="924"/>
                  </a:lnTo>
                  <a:lnTo>
                    <a:pt x="1278" y="930"/>
                  </a:lnTo>
                  <a:lnTo>
                    <a:pt x="1266" y="930"/>
                  </a:lnTo>
                  <a:lnTo>
                    <a:pt x="1236" y="954"/>
                  </a:lnTo>
                  <a:lnTo>
                    <a:pt x="1212" y="972"/>
                  </a:lnTo>
                  <a:lnTo>
                    <a:pt x="1218" y="996"/>
                  </a:lnTo>
                  <a:lnTo>
                    <a:pt x="1224" y="1008"/>
                  </a:lnTo>
                  <a:lnTo>
                    <a:pt x="1236" y="1014"/>
                  </a:lnTo>
                  <a:lnTo>
                    <a:pt x="1242" y="1026"/>
                  </a:lnTo>
                  <a:lnTo>
                    <a:pt x="1248" y="1038"/>
                  </a:lnTo>
                  <a:lnTo>
                    <a:pt x="1260" y="1050"/>
                  </a:lnTo>
                  <a:lnTo>
                    <a:pt x="1260" y="1056"/>
                  </a:lnTo>
                  <a:lnTo>
                    <a:pt x="1260" y="1074"/>
                  </a:lnTo>
                  <a:lnTo>
                    <a:pt x="1254" y="1074"/>
                  </a:lnTo>
                  <a:lnTo>
                    <a:pt x="1236" y="1056"/>
                  </a:lnTo>
                  <a:lnTo>
                    <a:pt x="1224" y="1050"/>
                  </a:lnTo>
                  <a:lnTo>
                    <a:pt x="1212" y="1050"/>
                  </a:lnTo>
                  <a:lnTo>
                    <a:pt x="1206" y="1050"/>
                  </a:lnTo>
                  <a:lnTo>
                    <a:pt x="1200" y="1056"/>
                  </a:lnTo>
                  <a:lnTo>
                    <a:pt x="1194" y="1062"/>
                  </a:lnTo>
                  <a:lnTo>
                    <a:pt x="1188" y="1068"/>
                  </a:lnTo>
                  <a:lnTo>
                    <a:pt x="1188" y="1074"/>
                  </a:lnTo>
                  <a:lnTo>
                    <a:pt x="1176" y="1086"/>
                  </a:lnTo>
                  <a:lnTo>
                    <a:pt x="1170" y="1086"/>
                  </a:lnTo>
                  <a:lnTo>
                    <a:pt x="1170" y="1092"/>
                  </a:lnTo>
                  <a:lnTo>
                    <a:pt x="1164" y="1098"/>
                  </a:lnTo>
                  <a:lnTo>
                    <a:pt x="1158" y="1110"/>
                  </a:lnTo>
                  <a:lnTo>
                    <a:pt x="1152" y="1116"/>
                  </a:lnTo>
                  <a:lnTo>
                    <a:pt x="1152" y="1122"/>
                  </a:lnTo>
                  <a:lnTo>
                    <a:pt x="1146" y="1128"/>
                  </a:lnTo>
                  <a:lnTo>
                    <a:pt x="1152" y="1140"/>
                  </a:lnTo>
                  <a:lnTo>
                    <a:pt x="1158" y="1140"/>
                  </a:lnTo>
                  <a:lnTo>
                    <a:pt x="1164" y="1146"/>
                  </a:lnTo>
                  <a:lnTo>
                    <a:pt x="1164" y="1152"/>
                  </a:lnTo>
                  <a:lnTo>
                    <a:pt x="1170" y="1164"/>
                  </a:lnTo>
                  <a:lnTo>
                    <a:pt x="1164" y="1176"/>
                  </a:lnTo>
                  <a:lnTo>
                    <a:pt x="1170" y="1182"/>
                  </a:lnTo>
                  <a:lnTo>
                    <a:pt x="1170" y="1194"/>
                  </a:lnTo>
                  <a:lnTo>
                    <a:pt x="1170" y="1200"/>
                  </a:lnTo>
                  <a:lnTo>
                    <a:pt x="1182" y="1218"/>
                  </a:lnTo>
                  <a:lnTo>
                    <a:pt x="1188" y="1218"/>
                  </a:lnTo>
                  <a:lnTo>
                    <a:pt x="1194" y="1218"/>
                  </a:lnTo>
                  <a:lnTo>
                    <a:pt x="1194" y="1224"/>
                  </a:lnTo>
                  <a:lnTo>
                    <a:pt x="1200" y="1230"/>
                  </a:lnTo>
                  <a:lnTo>
                    <a:pt x="1200" y="1248"/>
                  </a:lnTo>
                  <a:lnTo>
                    <a:pt x="1212" y="1266"/>
                  </a:lnTo>
                  <a:lnTo>
                    <a:pt x="1218" y="1278"/>
                  </a:lnTo>
                  <a:lnTo>
                    <a:pt x="1224" y="1284"/>
                  </a:lnTo>
                  <a:lnTo>
                    <a:pt x="1236" y="1296"/>
                  </a:lnTo>
                  <a:lnTo>
                    <a:pt x="1242" y="1302"/>
                  </a:lnTo>
                  <a:lnTo>
                    <a:pt x="1242" y="1308"/>
                  </a:lnTo>
                  <a:lnTo>
                    <a:pt x="1272" y="1308"/>
                  </a:lnTo>
                  <a:lnTo>
                    <a:pt x="1296" y="1314"/>
                  </a:lnTo>
                  <a:lnTo>
                    <a:pt x="1320" y="1320"/>
                  </a:lnTo>
                  <a:lnTo>
                    <a:pt x="1338" y="1320"/>
                  </a:lnTo>
                  <a:lnTo>
                    <a:pt x="1356" y="1332"/>
                  </a:lnTo>
                  <a:lnTo>
                    <a:pt x="1368" y="1344"/>
                  </a:lnTo>
                  <a:lnTo>
                    <a:pt x="1374" y="1362"/>
                  </a:lnTo>
                  <a:lnTo>
                    <a:pt x="1368" y="1362"/>
                  </a:lnTo>
                  <a:lnTo>
                    <a:pt x="1368" y="1398"/>
                  </a:lnTo>
                  <a:lnTo>
                    <a:pt x="1368" y="1410"/>
                  </a:lnTo>
                  <a:lnTo>
                    <a:pt x="1368" y="1428"/>
                  </a:lnTo>
                  <a:lnTo>
                    <a:pt x="1368" y="1434"/>
                  </a:lnTo>
                  <a:lnTo>
                    <a:pt x="1368" y="1440"/>
                  </a:lnTo>
                  <a:lnTo>
                    <a:pt x="1374" y="1446"/>
                  </a:lnTo>
                  <a:lnTo>
                    <a:pt x="1374" y="1452"/>
                  </a:lnTo>
                  <a:lnTo>
                    <a:pt x="1380" y="1458"/>
                  </a:lnTo>
                  <a:lnTo>
                    <a:pt x="1386" y="1464"/>
                  </a:lnTo>
                  <a:lnTo>
                    <a:pt x="1386" y="1470"/>
                  </a:lnTo>
                  <a:lnTo>
                    <a:pt x="1380" y="1476"/>
                  </a:lnTo>
                  <a:lnTo>
                    <a:pt x="1374" y="1482"/>
                  </a:lnTo>
                  <a:lnTo>
                    <a:pt x="1362" y="1500"/>
                  </a:lnTo>
                  <a:lnTo>
                    <a:pt x="1362" y="1506"/>
                  </a:lnTo>
                  <a:lnTo>
                    <a:pt x="1362" y="1512"/>
                  </a:lnTo>
                  <a:lnTo>
                    <a:pt x="1362" y="1518"/>
                  </a:lnTo>
                  <a:lnTo>
                    <a:pt x="1362" y="1524"/>
                  </a:lnTo>
                  <a:lnTo>
                    <a:pt x="1362" y="1536"/>
                  </a:lnTo>
                  <a:lnTo>
                    <a:pt x="1356" y="1542"/>
                  </a:lnTo>
                  <a:lnTo>
                    <a:pt x="1338" y="1548"/>
                  </a:lnTo>
                  <a:lnTo>
                    <a:pt x="1296" y="1548"/>
                  </a:lnTo>
                  <a:lnTo>
                    <a:pt x="1290" y="1554"/>
                  </a:lnTo>
                  <a:lnTo>
                    <a:pt x="1284" y="1560"/>
                  </a:lnTo>
                  <a:lnTo>
                    <a:pt x="1284" y="1566"/>
                  </a:lnTo>
                  <a:lnTo>
                    <a:pt x="1290" y="1578"/>
                  </a:lnTo>
                  <a:lnTo>
                    <a:pt x="1296" y="1590"/>
                  </a:lnTo>
                  <a:lnTo>
                    <a:pt x="1302" y="1590"/>
                  </a:lnTo>
                  <a:lnTo>
                    <a:pt x="1308" y="1596"/>
                  </a:lnTo>
                  <a:lnTo>
                    <a:pt x="1320" y="1602"/>
                  </a:lnTo>
                  <a:lnTo>
                    <a:pt x="1326" y="1602"/>
                  </a:lnTo>
                  <a:lnTo>
                    <a:pt x="1326" y="1608"/>
                  </a:lnTo>
                  <a:lnTo>
                    <a:pt x="1332" y="1614"/>
                  </a:lnTo>
                  <a:lnTo>
                    <a:pt x="1344" y="1620"/>
                  </a:lnTo>
                  <a:lnTo>
                    <a:pt x="1356" y="1626"/>
                  </a:lnTo>
                  <a:lnTo>
                    <a:pt x="1356" y="1632"/>
                  </a:lnTo>
                  <a:lnTo>
                    <a:pt x="1356" y="1638"/>
                  </a:lnTo>
                  <a:lnTo>
                    <a:pt x="1362" y="1644"/>
                  </a:lnTo>
                  <a:lnTo>
                    <a:pt x="1368" y="1644"/>
                  </a:lnTo>
                  <a:lnTo>
                    <a:pt x="1380" y="1650"/>
                  </a:lnTo>
                  <a:lnTo>
                    <a:pt x="1386" y="1650"/>
                  </a:lnTo>
                  <a:lnTo>
                    <a:pt x="1386" y="1656"/>
                  </a:lnTo>
                  <a:lnTo>
                    <a:pt x="1392" y="1656"/>
                  </a:lnTo>
                  <a:lnTo>
                    <a:pt x="1398" y="1662"/>
                  </a:lnTo>
                  <a:lnTo>
                    <a:pt x="1410" y="1674"/>
                  </a:lnTo>
                  <a:lnTo>
                    <a:pt x="1428" y="1680"/>
                  </a:lnTo>
                  <a:lnTo>
                    <a:pt x="1428" y="1686"/>
                  </a:lnTo>
                  <a:lnTo>
                    <a:pt x="1428" y="1698"/>
                  </a:lnTo>
                  <a:lnTo>
                    <a:pt x="1434" y="1704"/>
                  </a:lnTo>
                  <a:lnTo>
                    <a:pt x="1434" y="1710"/>
                  </a:lnTo>
                  <a:lnTo>
                    <a:pt x="1440" y="1710"/>
                  </a:lnTo>
                  <a:lnTo>
                    <a:pt x="1446" y="1710"/>
                  </a:lnTo>
                  <a:lnTo>
                    <a:pt x="1446" y="1716"/>
                  </a:lnTo>
                  <a:lnTo>
                    <a:pt x="1440" y="1722"/>
                  </a:lnTo>
                  <a:lnTo>
                    <a:pt x="1440" y="1728"/>
                  </a:lnTo>
                  <a:lnTo>
                    <a:pt x="1440" y="1734"/>
                  </a:lnTo>
                  <a:lnTo>
                    <a:pt x="1440" y="1740"/>
                  </a:lnTo>
                  <a:lnTo>
                    <a:pt x="1440" y="1746"/>
                  </a:lnTo>
                  <a:lnTo>
                    <a:pt x="1440" y="1788"/>
                  </a:lnTo>
                  <a:lnTo>
                    <a:pt x="1440" y="1800"/>
                  </a:lnTo>
                  <a:lnTo>
                    <a:pt x="1440" y="1806"/>
                  </a:lnTo>
                  <a:lnTo>
                    <a:pt x="1440" y="1836"/>
                  </a:lnTo>
                  <a:lnTo>
                    <a:pt x="1440" y="1848"/>
                  </a:lnTo>
                  <a:lnTo>
                    <a:pt x="1446" y="1848"/>
                  </a:lnTo>
                  <a:lnTo>
                    <a:pt x="1446" y="1854"/>
                  </a:lnTo>
                  <a:lnTo>
                    <a:pt x="1452" y="1848"/>
                  </a:lnTo>
                  <a:lnTo>
                    <a:pt x="1458" y="1854"/>
                  </a:lnTo>
                  <a:lnTo>
                    <a:pt x="1452" y="1860"/>
                  </a:lnTo>
                  <a:lnTo>
                    <a:pt x="1452" y="1866"/>
                  </a:lnTo>
                  <a:lnTo>
                    <a:pt x="1458" y="1872"/>
                  </a:lnTo>
                  <a:lnTo>
                    <a:pt x="1464" y="1884"/>
                  </a:lnTo>
                  <a:lnTo>
                    <a:pt x="1428" y="1878"/>
                  </a:lnTo>
                  <a:lnTo>
                    <a:pt x="1356" y="1890"/>
                  </a:lnTo>
                  <a:lnTo>
                    <a:pt x="1296" y="1926"/>
                  </a:lnTo>
                  <a:lnTo>
                    <a:pt x="1266" y="1944"/>
                  </a:lnTo>
                  <a:lnTo>
                    <a:pt x="1224" y="1944"/>
                  </a:lnTo>
                  <a:lnTo>
                    <a:pt x="1188" y="1956"/>
                  </a:lnTo>
                  <a:lnTo>
                    <a:pt x="1188" y="1950"/>
                  </a:lnTo>
                  <a:lnTo>
                    <a:pt x="1176" y="1944"/>
                  </a:lnTo>
                  <a:lnTo>
                    <a:pt x="1176" y="1938"/>
                  </a:lnTo>
                  <a:lnTo>
                    <a:pt x="1170" y="1938"/>
                  </a:lnTo>
                  <a:lnTo>
                    <a:pt x="1164" y="1932"/>
                  </a:lnTo>
                  <a:lnTo>
                    <a:pt x="1158" y="1926"/>
                  </a:lnTo>
                  <a:lnTo>
                    <a:pt x="1158" y="1920"/>
                  </a:lnTo>
                  <a:lnTo>
                    <a:pt x="1152" y="1920"/>
                  </a:lnTo>
                  <a:lnTo>
                    <a:pt x="1146" y="1914"/>
                  </a:lnTo>
                  <a:lnTo>
                    <a:pt x="1146" y="1908"/>
                  </a:lnTo>
                  <a:lnTo>
                    <a:pt x="1140" y="1908"/>
                  </a:lnTo>
                  <a:lnTo>
                    <a:pt x="1134" y="1902"/>
                  </a:lnTo>
                  <a:lnTo>
                    <a:pt x="1134" y="1896"/>
                  </a:lnTo>
                  <a:lnTo>
                    <a:pt x="1116" y="1896"/>
                  </a:lnTo>
                  <a:lnTo>
                    <a:pt x="1104" y="1884"/>
                  </a:lnTo>
                  <a:lnTo>
                    <a:pt x="1092" y="1860"/>
                  </a:lnTo>
                  <a:lnTo>
                    <a:pt x="1068" y="1854"/>
                  </a:lnTo>
                  <a:lnTo>
                    <a:pt x="1032" y="1842"/>
                  </a:lnTo>
                  <a:lnTo>
                    <a:pt x="1008" y="1836"/>
                  </a:lnTo>
                  <a:lnTo>
                    <a:pt x="978" y="1824"/>
                  </a:lnTo>
                  <a:lnTo>
                    <a:pt x="942" y="1818"/>
                  </a:lnTo>
                  <a:lnTo>
                    <a:pt x="924" y="1806"/>
                  </a:lnTo>
                  <a:lnTo>
                    <a:pt x="906" y="1788"/>
                  </a:lnTo>
                  <a:lnTo>
                    <a:pt x="894" y="1776"/>
                  </a:lnTo>
                  <a:lnTo>
                    <a:pt x="864" y="1758"/>
                  </a:lnTo>
                  <a:lnTo>
                    <a:pt x="834" y="1752"/>
                  </a:lnTo>
                  <a:lnTo>
                    <a:pt x="798" y="1746"/>
                  </a:lnTo>
                  <a:lnTo>
                    <a:pt x="792" y="1806"/>
                  </a:lnTo>
                  <a:lnTo>
                    <a:pt x="798" y="1812"/>
                  </a:lnTo>
                  <a:lnTo>
                    <a:pt x="810" y="1830"/>
                  </a:lnTo>
                  <a:lnTo>
                    <a:pt x="792" y="1842"/>
                  </a:lnTo>
                  <a:lnTo>
                    <a:pt x="768" y="1842"/>
                  </a:lnTo>
                  <a:lnTo>
                    <a:pt x="708" y="1848"/>
                  </a:lnTo>
                  <a:lnTo>
                    <a:pt x="690" y="1860"/>
                  </a:lnTo>
                  <a:lnTo>
                    <a:pt x="690" y="1866"/>
                  </a:lnTo>
                  <a:lnTo>
                    <a:pt x="678" y="1878"/>
                  </a:lnTo>
                  <a:lnTo>
                    <a:pt x="660" y="1884"/>
                  </a:lnTo>
                  <a:lnTo>
                    <a:pt x="660" y="1902"/>
                  </a:lnTo>
                  <a:lnTo>
                    <a:pt x="642" y="1902"/>
                  </a:lnTo>
                  <a:lnTo>
                    <a:pt x="582" y="1914"/>
                  </a:lnTo>
                  <a:lnTo>
                    <a:pt x="534" y="1908"/>
                  </a:lnTo>
                  <a:lnTo>
                    <a:pt x="510" y="1908"/>
                  </a:lnTo>
                  <a:lnTo>
                    <a:pt x="510" y="1896"/>
                  </a:lnTo>
                  <a:lnTo>
                    <a:pt x="492" y="1896"/>
                  </a:lnTo>
                  <a:lnTo>
                    <a:pt x="486" y="1902"/>
                  </a:lnTo>
                  <a:lnTo>
                    <a:pt x="474" y="1908"/>
                  </a:lnTo>
                  <a:lnTo>
                    <a:pt x="450" y="1908"/>
                  </a:lnTo>
                  <a:lnTo>
                    <a:pt x="432" y="1902"/>
                  </a:lnTo>
                  <a:lnTo>
                    <a:pt x="426" y="1896"/>
                  </a:lnTo>
                  <a:lnTo>
                    <a:pt x="402" y="1884"/>
                  </a:lnTo>
                  <a:lnTo>
                    <a:pt x="390" y="1872"/>
                  </a:lnTo>
                  <a:lnTo>
                    <a:pt x="384" y="1872"/>
                  </a:lnTo>
                  <a:lnTo>
                    <a:pt x="378" y="1872"/>
                  </a:lnTo>
                  <a:lnTo>
                    <a:pt x="378" y="1866"/>
                  </a:lnTo>
                  <a:lnTo>
                    <a:pt x="372" y="1860"/>
                  </a:lnTo>
                  <a:lnTo>
                    <a:pt x="372" y="1854"/>
                  </a:lnTo>
                  <a:lnTo>
                    <a:pt x="366" y="1842"/>
                  </a:lnTo>
                  <a:lnTo>
                    <a:pt x="366" y="1836"/>
                  </a:lnTo>
                  <a:lnTo>
                    <a:pt x="348" y="1830"/>
                  </a:lnTo>
                  <a:lnTo>
                    <a:pt x="348" y="1806"/>
                  </a:lnTo>
                  <a:lnTo>
                    <a:pt x="348" y="1800"/>
                  </a:lnTo>
                  <a:lnTo>
                    <a:pt x="348" y="1782"/>
                  </a:lnTo>
                  <a:lnTo>
                    <a:pt x="336" y="1788"/>
                  </a:lnTo>
                  <a:lnTo>
                    <a:pt x="312" y="1794"/>
                  </a:lnTo>
                  <a:lnTo>
                    <a:pt x="288" y="1788"/>
                  </a:lnTo>
                  <a:lnTo>
                    <a:pt x="264" y="1758"/>
                  </a:lnTo>
                  <a:lnTo>
                    <a:pt x="270" y="1758"/>
                  </a:lnTo>
                  <a:lnTo>
                    <a:pt x="270" y="1752"/>
                  </a:lnTo>
                  <a:lnTo>
                    <a:pt x="276" y="1752"/>
                  </a:lnTo>
                  <a:lnTo>
                    <a:pt x="282" y="1746"/>
                  </a:lnTo>
                  <a:lnTo>
                    <a:pt x="300" y="1746"/>
                  </a:lnTo>
                  <a:lnTo>
                    <a:pt x="312" y="1746"/>
                  </a:lnTo>
                  <a:lnTo>
                    <a:pt x="336" y="1710"/>
                  </a:lnTo>
                  <a:lnTo>
                    <a:pt x="342" y="1692"/>
                  </a:lnTo>
                  <a:lnTo>
                    <a:pt x="348" y="1680"/>
                  </a:lnTo>
                  <a:lnTo>
                    <a:pt x="342" y="1650"/>
                  </a:lnTo>
                  <a:lnTo>
                    <a:pt x="354" y="1644"/>
                  </a:lnTo>
                  <a:lnTo>
                    <a:pt x="354" y="1638"/>
                  </a:lnTo>
                  <a:lnTo>
                    <a:pt x="360" y="1632"/>
                  </a:lnTo>
                  <a:lnTo>
                    <a:pt x="354" y="1626"/>
                  </a:lnTo>
                  <a:lnTo>
                    <a:pt x="348" y="1626"/>
                  </a:lnTo>
                  <a:lnTo>
                    <a:pt x="348" y="1620"/>
                  </a:lnTo>
                  <a:lnTo>
                    <a:pt x="342" y="1620"/>
                  </a:lnTo>
                  <a:lnTo>
                    <a:pt x="348" y="1614"/>
                  </a:lnTo>
                  <a:lnTo>
                    <a:pt x="324" y="1566"/>
                  </a:lnTo>
                  <a:lnTo>
                    <a:pt x="318" y="1566"/>
                  </a:lnTo>
                  <a:lnTo>
                    <a:pt x="306" y="1572"/>
                  </a:lnTo>
                  <a:lnTo>
                    <a:pt x="300" y="1572"/>
                  </a:lnTo>
                  <a:lnTo>
                    <a:pt x="294" y="1578"/>
                  </a:lnTo>
                  <a:lnTo>
                    <a:pt x="288" y="1584"/>
                  </a:lnTo>
                  <a:lnTo>
                    <a:pt x="282" y="1584"/>
                  </a:lnTo>
                  <a:lnTo>
                    <a:pt x="282" y="1578"/>
                  </a:lnTo>
                  <a:lnTo>
                    <a:pt x="276" y="1578"/>
                  </a:lnTo>
                  <a:lnTo>
                    <a:pt x="270" y="1578"/>
                  </a:lnTo>
                  <a:lnTo>
                    <a:pt x="264" y="1578"/>
                  </a:lnTo>
                  <a:lnTo>
                    <a:pt x="258" y="1578"/>
                  </a:lnTo>
                  <a:lnTo>
                    <a:pt x="252" y="1578"/>
                  </a:lnTo>
                  <a:lnTo>
                    <a:pt x="252" y="1584"/>
                  </a:lnTo>
                  <a:lnTo>
                    <a:pt x="246" y="1584"/>
                  </a:lnTo>
                  <a:lnTo>
                    <a:pt x="210" y="1584"/>
                  </a:lnTo>
                  <a:lnTo>
                    <a:pt x="204" y="1584"/>
                  </a:lnTo>
                  <a:lnTo>
                    <a:pt x="192" y="1584"/>
                  </a:lnTo>
                  <a:lnTo>
                    <a:pt x="168" y="1596"/>
                  </a:lnTo>
                  <a:lnTo>
                    <a:pt x="156" y="1572"/>
                  </a:lnTo>
                  <a:lnTo>
                    <a:pt x="156" y="1566"/>
                  </a:lnTo>
                  <a:lnTo>
                    <a:pt x="156" y="1560"/>
                  </a:lnTo>
                  <a:lnTo>
                    <a:pt x="162" y="1548"/>
                  </a:lnTo>
                  <a:lnTo>
                    <a:pt x="162" y="1542"/>
                  </a:lnTo>
                  <a:lnTo>
                    <a:pt x="162" y="1536"/>
                  </a:lnTo>
                  <a:lnTo>
                    <a:pt x="168" y="1530"/>
                  </a:lnTo>
                  <a:lnTo>
                    <a:pt x="168" y="1524"/>
                  </a:lnTo>
                  <a:lnTo>
                    <a:pt x="168" y="1518"/>
                  </a:lnTo>
                  <a:lnTo>
                    <a:pt x="174" y="1518"/>
                  </a:lnTo>
                  <a:lnTo>
                    <a:pt x="174" y="1506"/>
                  </a:lnTo>
                  <a:lnTo>
                    <a:pt x="156" y="1470"/>
                  </a:lnTo>
                  <a:lnTo>
                    <a:pt x="138" y="1464"/>
                  </a:lnTo>
                  <a:lnTo>
                    <a:pt x="126" y="1446"/>
                  </a:lnTo>
                  <a:lnTo>
                    <a:pt x="126" y="1440"/>
                  </a:lnTo>
                  <a:lnTo>
                    <a:pt x="126" y="1434"/>
                  </a:lnTo>
                  <a:lnTo>
                    <a:pt x="120" y="1428"/>
                  </a:lnTo>
                  <a:lnTo>
                    <a:pt x="126" y="1398"/>
                  </a:lnTo>
                  <a:lnTo>
                    <a:pt x="120" y="1374"/>
                  </a:lnTo>
                  <a:lnTo>
                    <a:pt x="60" y="1374"/>
                  </a:lnTo>
                  <a:lnTo>
                    <a:pt x="60" y="1368"/>
                  </a:lnTo>
                  <a:lnTo>
                    <a:pt x="54" y="1362"/>
                  </a:lnTo>
                  <a:lnTo>
                    <a:pt x="48" y="1356"/>
                  </a:lnTo>
                  <a:lnTo>
                    <a:pt x="42" y="1356"/>
                  </a:lnTo>
                  <a:lnTo>
                    <a:pt x="42" y="1350"/>
                  </a:lnTo>
                  <a:lnTo>
                    <a:pt x="36" y="1344"/>
                  </a:lnTo>
                  <a:lnTo>
                    <a:pt x="36" y="1338"/>
                  </a:lnTo>
                  <a:lnTo>
                    <a:pt x="30" y="1332"/>
                  </a:lnTo>
                  <a:lnTo>
                    <a:pt x="30" y="1326"/>
                  </a:lnTo>
                  <a:lnTo>
                    <a:pt x="18" y="1326"/>
                  </a:lnTo>
                  <a:lnTo>
                    <a:pt x="18" y="1320"/>
                  </a:lnTo>
                  <a:lnTo>
                    <a:pt x="18" y="1326"/>
                  </a:lnTo>
                  <a:lnTo>
                    <a:pt x="6" y="1320"/>
                  </a:lnTo>
                  <a:lnTo>
                    <a:pt x="0" y="1314"/>
                  </a:lnTo>
                  <a:lnTo>
                    <a:pt x="12" y="1266"/>
                  </a:lnTo>
                  <a:lnTo>
                    <a:pt x="6" y="1242"/>
                  </a:lnTo>
                  <a:lnTo>
                    <a:pt x="12" y="1236"/>
                  </a:lnTo>
                  <a:lnTo>
                    <a:pt x="12" y="1230"/>
                  </a:lnTo>
                  <a:lnTo>
                    <a:pt x="18" y="1230"/>
                  </a:lnTo>
                  <a:lnTo>
                    <a:pt x="18" y="1224"/>
                  </a:lnTo>
                  <a:lnTo>
                    <a:pt x="24" y="1218"/>
                  </a:lnTo>
                  <a:lnTo>
                    <a:pt x="24" y="1212"/>
                  </a:lnTo>
                  <a:lnTo>
                    <a:pt x="30" y="1212"/>
                  </a:lnTo>
                  <a:lnTo>
                    <a:pt x="36" y="1200"/>
                  </a:lnTo>
                  <a:lnTo>
                    <a:pt x="42" y="1194"/>
                  </a:lnTo>
                  <a:lnTo>
                    <a:pt x="42" y="1188"/>
                  </a:lnTo>
                  <a:lnTo>
                    <a:pt x="48" y="1188"/>
                  </a:lnTo>
                  <a:lnTo>
                    <a:pt x="48" y="1182"/>
                  </a:lnTo>
                  <a:lnTo>
                    <a:pt x="48" y="1176"/>
                  </a:lnTo>
                  <a:lnTo>
                    <a:pt x="48" y="1170"/>
                  </a:lnTo>
                  <a:lnTo>
                    <a:pt x="54" y="1170"/>
                  </a:lnTo>
                  <a:lnTo>
                    <a:pt x="60" y="1164"/>
                  </a:lnTo>
                  <a:lnTo>
                    <a:pt x="60" y="1158"/>
                  </a:lnTo>
                  <a:lnTo>
                    <a:pt x="66" y="1152"/>
                  </a:lnTo>
                  <a:lnTo>
                    <a:pt x="60" y="1140"/>
                  </a:lnTo>
                  <a:lnTo>
                    <a:pt x="60" y="1134"/>
                  </a:lnTo>
                  <a:lnTo>
                    <a:pt x="54" y="1134"/>
                  </a:lnTo>
                  <a:lnTo>
                    <a:pt x="54" y="1128"/>
                  </a:lnTo>
                  <a:lnTo>
                    <a:pt x="48" y="1122"/>
                  </a:lnTo>
                  <a:lnTo>
                    <a:pt x="48" y="1116"/>
                  </a:lnTo>
                  <a:lnTo>
                    <a:pt x="48" y="1110"/>
                  </a:lnTo>
                  <a:lnTo>
                    <a:pt x="42" y="1104"/>
                  </a:lnTo>
                  <a:lnTo>
                    <a:pt x="42" y="1098"/>
                  </a:lnTo>
                  <a:lnTo>
                    <a:pt x="36" y="1092"/>
                  </a:lnTo>
                  <a:lnTo>
                    <a:pt x="30" y="1092"/>
                  </a:lnTo>
                  <a:lnTo>
                    <a:pt x="24" y="1092"/>
                  </a:lnTo>
                  <a:lnTo>
                    <a:pt x="24" y="1086"/>
                  </a:lnTo>
                  <a:lnTo>
                    <a:pt x="24" y="1080"/>
                  </a:lnTo>
                  <a:lnTo>
                    <a:pt x="18" y="1080"/>
                  </a:lnTo>
                  <a:lnTo>
                    <a:pt x="18" y="1074"/>
                  </a:lnTo>
                  <a:lnTo>
                    <a:pt x="12" y="1068"/>
                  </a:lnTo>
                  <a:lnTo>
                    <a:pt x="6" y="1068"/>
                  </a:lnTo>
                  <a:lnTo>
                    <a:pt x="12" y="1056"/>
                  </a:lnTo>
                  <a:lnTo>
                    <a:pt x="6" y="1056"/>
                  </a:lnTo>
                  <a:lnTo>
                    <a:pt x="6" y="1050"/>
                  </a:lnTo>
                  <a:lnTo>
                    <a:pt x="6" y="1044"/>
                  </a:lnTo>
                  <a:lnTo>
                    <a:pt x="6" y="1026"/>
                  </a:lnTo>
                  <a:lnTo>
                    <a:pt x="12" y="1020"/>
                  </a:lnTo>
                  <a:lnTo>
                    <a:pt x="12" y="1014"/>
                  </a:lnTo>
                  <a:lnTo>
                    <a:pt x="18" y="1014"/>
                  </a:lnTo>
                  <a:lnTo>
                    <a:pt x="18" y="1008"/>
                  </a:lnTo>
                  <a:lnTo>
                    <a:pt x="18" y="1002"/>
                  </a:lnTo>
                  <a:lnTo>
                    <a:pt x="18" y="990"/>
                  </a:lnTo>
                  <a:lnTo>
                    <a:pt x="12" y="972"/>
                  </a:lnTo>
                  <a:lnTo>
                    <a:pt x="18" y="954"/>
                  </a:lnTo>
                  <a:lnTo>
                    <a:pt x="18" y="948"/>
                  </a:lnTo>
                  <a:lnTo>
                    <a:pt x="24" y="948"/>
                  </a:lnTo>
                  <a:lnTo>
                    <a:pt x="24" y="930"/>
                  </a:lnTo>
                  <a:lnTo>
                    <a:pt x="30" y="930"/>
                  </a:lnTo>
                  <a:lnTo>
                    <a:pt x="36" y="918"/>
                  </a:lnTo>
                  <a:lnTo>
                    <a:pt x="42" y="918"/>
                  </a:lnTo>
                  <a:lnTo>
                    <a:pt x="48" y="918"/>
                  </a:lnTo>
                  <a:lnTo>
                    <a:pt x="78" y="912"/>
                  </a:lnTo>
                  <a:lnTo>
                    <a:pt x="90" y="894"/>
                  </a:lnTo>
                  <a:lnTo>
                    <a:pt x="96" y="894"/>
                  </a:lnTo>
                  <a:lnTo>
                    <a:pt x="102" y="888"/>
                  </a:lnTo>
                  <a:lnTo>
                    <a:pt x="102" y="882"/>
                  </a:lnTo>
                  <a:lnTo>
                    <a:pt x="114" y="870"/>
                  </a:lnTo>
                  <a:lnTo>
                    <a:pt x="120" y="864"/>
                  </a:lnTo>
                  <a:lnTo>
                    <a:pt x="120" y="852"/>
                  </a:lnTo>
                  <a:lnTo>
                    <a:pt x="120" y="846"/>
                  </a:lnTo>
                  <a:lnTo>
                    <a:pt x="126" y="846"/>
                  </a:lnTo>
                  <a:lnTo>
                    <a:pt x="126" y="840"/>
                  </a:lnTo>
                  <a:lnTo>
                    <a:pt x="132" y="840"/>
                  </a:lnTo>
                  <a:lnTo>
                    <a:pt x="138" y="840"/>
                  </a:lnTo>
                  <a:lnTo>
                    <a:pt x="138" y="834"/>
                  </a:lnTo>
                  <a:lnTo>
                    <a:pt x="144" y="834"/>
                  </a:lnTo>
                  <a:lnTo>
                    <a:pt x="144" y="828"/>
                  </a:lnTo>
                  <a:lnTo>
                    <a:pt x="150" y="828"/>
                  </a:lnTo>
                  <a:lnTo>
                    <a:pt x="156" y="822"/>
                  </a:lnTo>
                  <a:lnTo>
                    <a:pt x="162" y="816"/>
                  </a:lnTo>
                  <a:lnTo>
                    <a:pt x="162" y="822"/>
                  </a:lnTo>
                  <a:lnTo>
                    <a:pt x="162" y="816"/>
                  </a:lnTo>
                  <a:lnTo>
                    <a:pt x="162" y="810"/>
                  </a:lnTo>
                  <a:lnTo>
                    <a:pt x="168" y="810"/>
                  </a:lnTo>
                  <a:lnTo>
                    <a:pt x="174" y="804"/>
                  </a:lnTo>
                  <a:lnTo>
                    <a:pt x="180" y="798"/>
                  </a:lnTo>
                  <a:lnTo>
                    <a:pt x="180" y="786"/>
                  </a:lnTo>
                  <a:lnTo>
                    <a:pt x="186" y="786"/>
                  </a:lnTo>
                  <a:lnTo>
                    <a:pt x="192" y="786"/>
                  </a:lnTo>
                  <a:lnTo>
                    <a:pt x="192" y="780"/>
                  </a:lnTo>
                  <a:lnTo>
                    <a:pt x="198" y="780"/>
                  </a:lnTo>
                  <a:lnTo>
                    <a:pt x="204" y="774"/>
                  </a:lnTo>
                  <a:lnTo>
                    <a:pt x="210" y="774"/>
                  </a:lnTo>
                  <a:lnTo>
                    <a:pt x="216" y="768"/>
                  </a:lnTo>
                  <a:lnTo>
                    <a:pt x="222" y="762"/>
                  </a:lnTo>
                  <a:lnTo>
                    <a:pt x="228" y="762"/>
                  </a:lnTo>
                  <a:lnTo>
                    <a:pt x="228" y="768"/>
                  </a:lnTo>
                  <a:lnTo>
                    <a:pt x="234" y="768"/>
                  </a:lnTo>
                  <a:lnTo>
                    <a:pt x="240" y="762"/>
                  </a:lnTo>
                  <a:lnTo>
                    <a:pt x="252" y="762"/>
                  </a:lnTo>
                  <a:lnTo>
                    <a:pt x="264" y="768"/>
                  </a:lnTo>
                  <a:lnTo>
                    <a:pt x="294" y="756"/>
                  </a:lnTo>
                  <a:lnTo>
                    <a:pt x="294" y="750"/>
                  </a:lnTo>
                  <a:lnTo>
                    <a:pt x="300" y="750"/>
                  </a:lnTo>
                  <a:lnTo>
                    <a:pt x="306" y="744"/>
                  </a:lnTo>
                  <a:lnTo>
                    <a:pt x="342" y="750"/>
                  </a:lnTo>
                  <a:lnTo>
                    <a:pt x="348" y="750"/>
                  </a:lnTo>
                  <a:lnTo>
                    <a:pt x="348" y="744"/>
                  </a:lnTo>
                  <a:lnTo>
                    <a:pt x="354" y="744"/>
                  </a:lnTo>
                  <a:lnTo>
                    <a:pt x="360" y="744"/>
                  </a:lnTo>
                  <a:lnTo>
                    <a:pt x="360" y="750"/>
                  </a:lnTo>
                  <a:lnTo>
                    <a:pt x="366" y="750"/>
                  </a:lnTo>
                  <a:lnTo>
                    <a:pt x="366" y="744"/>
                  </a:lnTo>
                  <a:lnTo>
                    <a:pt x="366" y="738"/>
                  </a:lnTo>
                  <a:lnTo>
                    <a:pt x="372" y="744"/>
                  </a:lnTo>
                  <a:lnTo>
                    <a:pt x="378" y="744"/>
                  </a:lnTo>
                  <a:lnTo>
                    <a:pt x="384" y="750"/>
                  </a:lnTo>
                  <a:lnTo>
                    <a:pt x="444" y="774"/>
                  </a:lnTo>
                  <a:lnTo>
                    <a:pt x="450" y="774"/>
                  </a:lnTo>
                  <a:lnTo>
                    <a:pt x="456" y="768"/>
                  </a:lnTo>
                  <a:lnTo>
                    <a:pt x="462" y="768"/>
                  </a:lnTo>
                  <a:lnTo>
                    <a:pt x="462" y="762"/>
                  </a:lnTo>
                  <a:lnTo>
                    <a:pt x="468" y="762"/>
                  </a:lnTo>
                  <a:lnTo>
                    <a:pt x="474" y="756"/>
                  </a:lnTo>
                  <a:lnTo>
                    <a:pt x="480" y="750"/>
                  </a:lnTo>
                  <a:lnTo>
                    <a:pt x="516" y="756"/>
                  </a:lnTo>
                  <a:lnTo>
                    <a:pt x="522" y="756"/>
                  </a:lnTo>
                  <a:lnTo>
                    <a:pt x="522" y="762"/>
                  </a:lnTo>
                  <a:lnTo>
                    <a:pt x="522" y="768"/>
                  </a:lnTo>
                  <a:lnTo>
                    <a:pt x="522" y="774"/>
                  </a:lnTo>
                  <a:lnTo>
                    <a:pt x="528" y="780"/>
                  </a:lnTo>
                  <a:lnTo>
                    <a:pt x="540" y="780"/>
                  </a:lnTo>
                  <a:lnTo>
                    <a:pt x="540" y="804"/>
                  </a:lnTo>
                  <a:lnTo>
                    <a:pt x="540" y="810"/>
                  </a:lnTo>
                  <a:lnTo>
                    <a:pt x="546" y="810"/>
                  </a:lnTo>
                  <a:lnTo>
                    <a:pt x="552" y="810"/>
                  </a:lnTo>
                  <a:lnTo>
                    <a:pt x="558" y="810"/>
                  </a:lnTo>
                  <a:lnTo>
                    <a:pt x="564" y="810"/>
                  </a:lnTo>
                  <a:lnTo>
                    <a:pt x="570" y="810"/>
                  </a:lnTo>
                  <a:lnTo>
                    <a:pt x="576" y="810"/>
                  </a:lnTo>
                  <a:lnTo>
                    <a:pt x="576" y="816"/>
                  </a:lnTo>
                  <a:lnTo>
                    <a:pt x="588" y="816"/>
                  </a:lnTo>
                  <a:lnTo>
                    <a:pt x="594" y="816"/>
                  </a:lnTo>
                  <a:lnTo>
                    <a:pt x="600" y="822"/>
                  </a:lnTo>
                  <a:lnTo>
                    <a:pt x="606" y="816"/>
                  </a:lnTo>
                  <a:lnTo>
                    <a:pt x="612" y="816"/>
                  </a:lnTo>
                  <a:lnTo>
                    <a:pt x="612" y="810"/>
                  </a:lnTo>
                  <a:lnTo>
                    <a:pt x="624" y="810"/>
                  </a:lnTo>
                  <a:lnTo>
                    <a:pt x="624" y="804"/>
                  </a:lnTo>
                  <a:lnTo>
                    <a:pt x="630" y="798"/>
                  </a:lnTo>
                  <a:lnTo>
                    <a:pt x="636" y="798"/>
                  </a:lnTo>
                  <a:lnTo>
                    <a:pt x="636" y="804"/>
                  </a:lnTo>
                  <a:lnTo>
                    <a:pt x="642" y="804"/>
                  </a:lnTo>
                  <a:lnTo>
                    <a:pt x="648" y="804"/>
                  </a:lnTo>
                  <a:lnTo>
                    <a:pt x="654" y="804"/>
                  </a:lnTo>
                  <a:lnTo>
                    <a:pt x="660" y="804"/>
                  </a:lnTo>
                  <a:lnTo>
                    <a:pt x="678" y="798"/>
                  </a:lnTo>
                  <a:lnTo>
                    <a:pt x="714" y="786"/>
                  </a:lnTo>
                  <a:lnTo>
                    <a:pt x="714" y="792"/>
                  </a:lnTo>
                  <a:lnTo>
                    <a:pt x="714" y="798"/>
                  </a:lnTo>
                  <a:lnTo>
                    <a:pt x="714" y="804"/>
                  </a:lnTo>
                  <a:lnTo>
                    <a:pt x="720" y="804"/>
                  </a:lnTo>
                  <a:lnTo>
                    <a:pt x="720" y="810"/>
                  </a:lnTo>
                  <a:lnTo>
                    <a:pt x="720" y="816"/>
                  </a:lnTo>
                  <a:lnTo>
                    <a:pt x="726" y="822"/>
                  </a:lnTo>
                  <a:lnTo>
                    <a:pt x="732" y="828"/>
                  </a:lnTo>
                  <a:lnTo>
                    <a:pt x="732" y="834"/>
                  </a:lnTo>
                  <a:lnTo>
                    <a:pt x="732" y="846"/>
                  </a:lnTo>
                  <a:lnTo>
                    <a:pt x="732" y="858"/>
                  </a:lnTo>
                  <a:lnTo>
                    <a:pt x="738" y="858"/>
                  </a:lnTo>
                  <a:lnTo>
                    <a:pt x="732" y="864"/>
                  </a:lnTo>
                  <a:lnTo>
                    <a:pt x="732" y="870"/>
                  </a:lnTo>
                  <a:lnTo>
                    <a:pt x="726" y="870"/>
                  </a:lnTo>
                  <a:lnTo>
                    <a:pt x="726" y="876"/>
                  </a:lnTo>
                  <a:lnTo>
                    <a:pt x="720" y="882"/>
                  </a:lnTo>
                  <a:lnTo>
                    <a:pt x="714" y="876"/>
                  </a:lnTo>
                  <a:lnTo>
                    <a:pt x="708" y="870"/>
                  </a:lnTo>
                  <a:lnTo>
                    <a:pt x="702" y="870"/>
                  </a:lnTo>
                  <a:lnTo>
                    <a:pt x="690" y="882"/>
                  </a:lnTo>
                  <a:lnTo>
                    <a:pt x="690" y="912"/>
                  </a:lnTo>
                  <a:lnTo>
                    <a:pt x="696" y="936"/>
                  </a:lnTo>
                  <a:lnTo>
                    <a:pt x="702" y="936"/>
                  </a:lnTo>
                  <a:lnTo>
                    <a:pt x="702" y="930"/>
                  </a:lnTo>
                  <a:lnTo>
                    <a:pt x="708" y="930"/>
                  </a:lnTo>
                  <a:lnTo>
                    <a:pt x="708" y="924"/>
                  </a:lnTo>
                  <a:lnTo>
                    <a:pt x="708" y="918"/>
                  </a:lnTo>
                  <a:lnTo>
                    <a:pt x="714" y="918"/>
                  </a:lnTo>
                  <a:lnTo>
                    <a:pt x="720" y="954"/>
                  </a:lnTo>
                  <a:lnTo>
                    <a:pt x="726" y="966"/>
                  </a:lnTo>
                  <a:lnTo>
                    <a:pt x="744" y="966"/>
                  </a:lnTo>
                  <a:lnTo>
                    <a:pt x="756" y="972"/>
                  </a:lnTo>
                  <a:lnTo>
                    <a:pt x="792" y="990"/>
                  </a:lnTo>
                  <a:lnTo>
                    <a:pt x="828" y="978"/>
                  </a:lnTo>
                  <a:lnTo>
                    <a:pt x="834" y="978"/>
                  </a:lnTo>
                  <a:lnTo>
                    <a:pt x="840" y="978"/>
                  </a:lnTo>
                  <a:lnTo>
                    <a:pt x="840" y="984"/>
                  </a:lnTo>
                  <a:lnTo>
                    <a:pt x="846" y="984"/>
                  </a:lnTo>
                  <a:lnTo>
                    <a:pt x="858" y="972"/>
                  </a:lnTo>
                  <a:lnTo>
                    <a:pt x="882" y="972"/>
                  </a:lnTo>
                  <a:lnTo>
                    <a:pt x="888" y="984"/>
                  </a:lnTo>
                  <a:lnTo>
                    <a:pt x="900" y="990"/>
                  </a:lnTo>
                  <a:lnTo>
                    <a:pt x="924" y="996"/>
                  </a:lnTo>
                  <a:lnTo>
                    <a:pt x="930" y="990"/>
                  </a:lnTo>
                  <a:lnTo>
                    <a:pt x="930" y="984"/>
                  </a:lnTo>
                  <a:lnTo>
                    <a:pt x="924" y="978"/>
                  </a:lnTo>
                  <a:lnTo>
                    <a:pt x="906" y="972"/>
                  </a:lnTo>
                  <a:lnTo>
                    <a:pt x="900" y="966"/>
                  </a:lnTo>
                  <a:lnTo>
                    <a:pt x="900" y="960"/>
                  </a:lnTo>
                  <a:lnTo>
                    <a:pt x="900" y="954"/>
                  </a:lnTo>
                  <a:lnTo>
                    <a:pt x="900" y="948"/>
                  </a:lnTo>
                  <a:lnTo>
                    <a:pt x="912" y="936"/>
                  </a:lnTo>
                  <a:lnTo>
                    <a:pt x="912" y="924"/>
                  </a:lnTo>
                  <a:lnTo>
                    <a:pt x="918" y="924"/>
                  </a:lnTo>
                  <a:lnTo>
                    <a:pt x="918" y="918"/>
                  </a:lnTo>
                  <a:lnTo>
                    <a:pt x="936" y="906"/>
                  </a:lnTo>
                  <a:lnTo>
                    <a:pt x="942" y="906"/>
                  </a:lnTo>
                  <a:lnTo>
                    <a:pt x="948" y="906"/>
                  </a:lnTo>
                  <a:lnTo>
                    <a:pt x="954" y="906"/>
                  </a:lnTo>
                  <a:lnTo>
                    <a:pt x="960" y="906"/>
                  </a:lnTo>
                  <a:lnTo>
                    <a:pt x="966" y="912"/>
                  </a:lnTo>
                  <a:lnTo>
                    <a:pt x="972" y="906"/>
                  </a:lnTo>
                  <a:lnTo>
                    <a:pt x="978" y="906"/>
                  </a:lnTo>
                  <a:lnTo>
                    <a:pt x="984" y="900"/>
                  </a:lnTo>
                  <a:lnTo>
                    <a:pt x="984" y="894"/>
                  </a:lnTo>
                  <a:lnTo>
                    <a:pt x="990" y="894"/>
                  </a:lnTo>
                  <a:lnTo>
                    <a:pt x="996" y="888"/>
                  </a:lnTo>
                  <a:lnTo>
                    <a:pt x="1002" y="888"/>
                  </a:lnTo>
                  <a:lnTo>
                    <a:pt x="1008" y="882"/>
                  </a:lnTo>
                  <a:lnTo>
                    <a:pt x="1014" y="882"/>
                  </a:lnTo>
                  <a:lnTo>
                    <a:pt x="1020" y="882"/>
                  </a:lnTo>
                  <a:lnTo>
                    <a:pt x="1020" y="888"/>
                  </a:lnTo>
                  <a:lnTo>
                    <a:pt x="1026" y="882"/>
                  </a:lnTo>
                  <a:lnTo>
                    <a:pt x="1026" y="876"/>
                  </a:lnTo>
                  <a:lnTo>
                    <a:pt x="1026" y="870"/>
                  </a:lnTo>
                  <a:lnTo>
                    <a:pt x="1032" y="864"/>
                  </a:lnTo>
                  <a:lnTo>
                    <a:pt x="1038" y="858"/>
                  </a:lnTo>
                  <a:lnTo>
                    <a:pt x="1038" y="852"/>
                  </a:lnTo>
                  <a:lnTo>
                    <a:pt x="1044" y="852"/>
                  </a:lnTo>
                  <a:lnTo>
                    <a:pt x="1038" y="846"/>
                  </a:lnTo>
                  <a:lnTo>
                    <a:pt x="1038" y="840"/>
                  </a:lnTo>
                  <a:lnTo>
                    <a:pt x="1032" y="840"/>
                  </a:lnTo>
                  <a:lnTo>
                    <a:pt x="1026" y="840"/>
                  </a:lnTo>
                  <a:lnTo>
                    <a:pt x="1020" y="840"/>
                  </a:lnTo>
                  <a:lnTo>
                    <a:pt x="1014" y="846"/>
                  </a:lnTo>
                  <a:lnTo>
                    <a:pt x="1008" y="846"/>
                  </a:lnTo>
                  <a:lnTo>
                    <a:pt x="1002" y="840"/>
                  </a:lnTo>
                  <a:lnTo>
                    <a:pt x="996" y="840"/>
                  </a:lnTo>
                  <a:lnTo>
                    <a:pt x="990" y="834"/>
                  </a:lnTo>
                  <a:lnTo>
                    <a:pt x="984" y="834"/>
                  </a:lnTo>
                  <a:lnTo>
                    <a:pt x="978" y="834"/>
                  </a:lnTo>
                  <a:lnTo>
                    <a:pt x="972" y="834"/>
                  </a:lnTo>
                  <a:lnTo>
                    <a:pt x="966" y="834"/>
                  </a:lnTo>
                  <a:lnTo>
                    <a:pt x="966" y="828"/>
                  </a:lnTo>
                  <a:lnTo>
                    <a:pt x="960" y="828"/>
                  </a:lnTo>
                  <a:lnTo>
                    <a:pt x="954" y="828"/>
                  </a:lnTo>
                  <a:lnTo>
                    <a:pt x="942" y="828"/>
                  </a:lnTo>
                  <a:lnTo>
                    <a:pt x="936" y="828"/>
                  </a:lnTo>
                  <a:lnTo>
                    <a:pt x="930" y="828"/>
                  </a:lnTo>
                  <a:lnTo>
                    <a:pt x="918" y="828"/>
                  </a:lnTo>
                  <a:lnTo>
                    <a:pt x="918" y="822"/>
                  </a:lnTo>
                  <a:lnTo>
                    <a:pt x="912" y="828"/>
                  </a:lnTo>
                  <a:lnTo>
                    <a:pt x="912" y="822"/>
                  </a:lnTo>
                  <a:lnTo>
                    <a:pt x="906" y="816"/>
                  </a:lnTo>
                  <a:lnTo>
                    <a:pt x="900" y="816"/>
                  </a:lnTo>
                  <a:lnTo>
                    <a:pt x="894" y="816"/>
                  </a:lnTo>
                  <a:lnTo>
                    <a:pt x="888" y="816"/>
                  </a:lnTo>
                  <a:lnTo>
                    <a:pt x="882" y="816"/>
                  </a:lnTo>
                  <a:lnTo>
                    <a:pt x="882" y="810"/>
                  </a:lnTo>
                  <a:lnTo>
                    <a:pt x="876" y="804"/>
                  </a:lnTo>
                  <a:lnTo>
                    <a:pt x="870" y="804"/>
                  </a:lnTo>
                  <a:lnTo>
                    <a:pt x="864" y="798"/>
                  </a:lnTo>
                  <a:lnTo>
                    <a:pt x="858" y="798"/>
                  </a:lnTo>
                  <a:lnTo>
                    <a:pt x="858" y="804"/>
                  </a:lnTo>
                  <a:lnTo>
                    <a:pt x="852" y="804"/>
                  </a:lnTo>
                  <a:lnTo>
                    <a:pt x="846" y="804"/>
                  </a:lnTo>
                  <a:lnTo>
                    <a:pt x="846" y="798"/>
                  </a:lnTo>
                  <a:lnTo>
                    <a:pt x="840" y="804"/>
                  </a:lnTo>
                  <a:lnTo>
                    <a:pt x="834" y="804"/>
                  </a:lnTo>
                  <a:lnTo>
                    <a:pt x="828" y="804"/>
                  </a:lnTo>
                  <a:lnTo>
                    <a:pt x="828" y="810"/>
                  </a:lnTo>
                  <a:lnTo>
                    <a:pt x="822" y="810"/>
                  </a:lnTo>
                  <a:lnTo>
                    <a:pt x="810" y="804"/>
                  </a:lnTo>
                  <a:lnTo>
                    <a:pt x="810" y="798"/>
                  </a:lnTo>
                  <a:lnTo>
                    <a:pt x="780" y="798"/>
                  </a:lnTo>
                  <a:lnTo>
                    <a:pt x="756" y="774"/>
                  </a:lnTo>
                  <a:lnTo>
                    <a:pt x="750" y="768"/>
                  </a:lnTo>
                  <a:lnTo>
                    <a:pt x="750" y="744"/>
                  </a:lnTo>
                  <a:lnTo>
                    <a:pt x="732" y="738"/>
                  </a:lnTo>
                  <a:lnTo>
                    <a:pt x="732" y="720"/>
                  </a:lnTo>
                  <a:lnTo>
                    <a:pt x="714" y="690"/>
                  </a:lnTo>
                  <a:lnTo>
                    <a:pt x="702" y="684"/>
                  </a:lnTo>
                  <a:lnTo>
                    <a:pt x="696" y="684"/>
                  </a:lnTo>
                  <a:lnTo>
                    <a:pt x="696" y="666"/>
                  </a:lnTo>
                  <a:lnTo>
                    <a:pt x="690" y="666"/>
                  </a:lnTo>
                  <a:lnTo>
                    <a:pt x="678" y="672"/>
                  </a:lnTo>
                  <a:lnTo>
                    <a:pt x="678" y="654"/>
                  </a:lnTo>
                  <a:lnTo>
                    <a:pt x="684" y="630"/>
                  </a:lnTo>
                  <a:lnTo>
                    <a:pt x="690" y="618"/>
                  </a:lnTo>
                  <a:lnTo>
                    <a:pt x="696" y="612"/>
                  </a:lnTo>
                  <a:lnTo>
                    <a:pt x="696" y="588"/>
                  </a:lnTo>
                  <a:lnTo>
                    <a:pt x="690" y="576"/>
                  </a:lnTo>
                  <a:lnTo>
                    <a:pt x="696" y="552"/>
                  </a:lnTo>
                  <a:lnTo>
                    <a:pt x="684" y="522"/>
                  </a:lnTo>
                  <a:lnTo>
                    <a:pt x="672" y="504"/>
                  </a:lnTo>
                  <a:lnTo>
                    <a:pt x="654" y="504"/>
                  </a:lnTo>
                  <a:lnTo>
                    <a:pt x="642" y="504"/>
                  </a:lnTo>
                  <a:lnTo>
                    <a:pt x="624" y="510"/>
                  </a:lnTo>
                  <a:lnTo>
                    <a:pt x="612" y="516"/>
                  </a:lnTo>
                  <a:lnTo>
                    <a:pt x="594" y="516"/>
                  </a:lnTo>
                  <a:lnTo>
                    <a:pt x="588" y="516"/>
                  </a:lnTo>
                  <a:lnTo>
                    <a:pt x="588" y="522"/>
                  </a:lnTo>
                  <a:lnTo>
                    <a:pt x="582" y="516"/>
                  </a:lnTo>
                  <a:lnTo>
                    <a:pt x="588" y="510"/>
                  </a:lnTo>
                  <a:lnTo>
                    <a:pt x="582" y="510"/>
                  </a:lnTo>
                  <a:lnTo>
                    <a:pt x="582" y="504"/>
                  </a:lnTo>
                  <a:lnTo>
                    <a:pt x="576" y="498"/>
                  </a:lnTo>
                  <a:lnTo>
                    <a:pt x="570" y="498"/>
                  </a:lnTo>
                  <a:lnTo>
                    <a:pt x="570" y="492"/>
                  </a:lnTo>
                  <a:lnTo>
                    <a:pt x="564" y="492"/>
                  </a:lnTo>
                  <a:lnTo>
                    <a:pt x="570" y="486"/>
                  </a:lnTo>
                  <a:lnTo>
                    <a:pt x="564" y="486"/>
                  </a:lnTo>
                  <a:lnTo>
                    <a:pt x="564" y="480"/>
                  </a:lnTo>
                  <a:lnTo>
                    <a:pt x="564" y="474"/>
                  </a:lnTo>
                  <a:lnTo>
                    <a:pt x="558" y="468"/>
                  </a:lnTo>
                  <a:lnTo>
                    <a:pt x="564" y="468"/>
                  </a:lnTo>
                  <a:lnTo>
                    <a:pt x="564" y="462"/>
                  </a:lnTo>
                  <a:lnTo>
                    <a:pt x="570" y="462"/>
                  </a:lnTo>
                  <a:lnTo>
                    <a:pt x="570" y="456"/>
                  </a:lnTo>
                  <a:lnTo>
                    <a:pt x="570" y="450"/>
                  </a:lnTo>
                  <a:lnTo>
                    <a:pt x="576" y="450"/>
                  </a:lnTo>
                  <a:lnTo>
                    <a:pt x="576" y="444"/>
                  </a:lnTo>
                  <a:lnTo>
                    <a:pt x="582" y="438"/>
                  </a:lnTo>
                  <a:lnTo>
                    <a:pt x="588" y="438"/>
                  </a:lnTo>
                  <a:lnTo>
                    <a:pt x="588" y="444"/>
                  </a:lnTo>
                  <a:lnTo>
                    <a:pt x="594" y="438"/>
                  </a:lnTo>
                  <a:lnTo>
                    <a:pt x="594" y="432"/>
                  </a:lnTo>
                  <a:lnTo>
                    <a:pt x="600" y="432"/>
                  </a:lnTo>
                  <a:lnTo>
                    <a:pt x="600" y="426"/>
                  </a:lnTo>
                  <a:lnTo>
                    <a:pt x="600" y="420"/>
                  </a:lnTo>
                  <a:lnTo>
                    <a:pt x="606" y="420"/>
                  </a:lnTo>
                  <a:lnTo>
                    <a:pt x="600" y="420"/>
                  </a:lnTo>
                  <a:lnTo>
                    <a:pt x="600" y="414"/>
                  </a:lnTo>
                  <a:lnTo>
                    <a:pt x="606" y="408"/>
                  </a:lnTo>
                  <a:lnTo>
                    <a:pt x="612" y="408"/>
                  </a:lnTo>
                  <a:lnTo>
                    <a:pt x="612" y="414"/>
                  </a:lnTo>
                  <a:lnTo>
                    <a:pt x="618" y="414"/>
                  </a:lnTo>
                  <a:lnTo>
                    <a:pt x="624" y="414"/>
                  </a:lnTo>
                  <a:lnTo>
                    <a:pt x="630" y="414"/>
                  </a:lnTo>
                  <a:lnTo>
                    <a:pt x="636" y="414"/>
                  </a:lnTo>
                  <a:lnTo>
                    <a:pt x="642" y="408"/>
                  </a:lnTo>
                  <a:lnTo>
                    <a:pt x="648" y="408"/>
                  </a:lnTo>
                  <a:lnTo>
                    <a:pt x="660" y="408"/>
                  </a:lnTo>
                  <a:lnTo>
                    <a:pt x="666" y="402"/>
                  </a:lnTo>
                  <a:lnTo>
                    <a:pt x="672" y="402"/>
                  </a:lnTo>
                  <a:lnTo>
                    <a:pt x="684" y="396"/>
                  </a:lnTo>
                  <a:lnTo>
                    <a:pt x="690" y="396"/>
                  </a:lnTo>
                  <a:lnTo>
                    <a:pt x="696" y="396"/>
                  </a:lnTo>
                  <a:lnTo>
                    <a:pt x="702" y="396"/>
                  </a:lnTo>
                  <a:lnTo>
                    <a:pt x="708" y="396"/>
                  </a:lnTo>
                  <a:lnTo>
                    <a:pt x="714" y="390"/>
                  </a:lnTo>
                  <a:lnTo>
                    <a:pt x="714" y="384"/>
                  </a:lnTo>
                  <a:lnTo>
                    <a:pt x="720" y="384"/>
                  </a:lnTo>
                  <a:lnTo>
                    <a:pt x="726" y="384"/>
                  </a:lnTo>
                  <a:lnTo>
                    <a:pt x="732" y="384"/>
                  </a:lnTo>
                  <a:lnTo>
                    <a:pt x="738" y="378"/>
                  </a:lnTo>
                  <a:lnTo>
                    <a:pt x="744" y="378"/>
                  </a:lnTo>
                  <a:lnTo>
                    <a:pt x="750" y="372"/>
                  </a:lnTo>
                  <a:lnTo>
                    <a:pt x="756" y="372"/>
                  </a:lnTo>
                  <a:lnTo>
                    <a:pt x="762" y="366"/>
                  </a:lnTo>
                  <a:lnTo>
                    <a:pt x="768" y="366"/>
                  </a:lnTo>
                  <a:lnTo>
                    <a:pt x="774" y="366"/>
                  </a:lnTo>
                  <a:lnTo>
                    <a:pt x="774" y="360"/>
                  </a:lnTo>
                  <a:lnTo>
                    <a:pt x="780" y="366"/>
                  </a:lnTo>
                  <a:lnTo>
                    <a:pt x="786" y="366"/>
                  </a:lnTo>
                  <a:lnTo>
                    <a:pt x="786" y="360"/>
                  </a:lnTo>
                  <a:lnTo>
                    <a:pt x="792" y="354"/>
                  </a:lnTo>
                  <a:lnTo>
                    <a:pt x="786" y="354"/>
                  </a:lnTo>
                  <a:lnTo>
                    <a:pt x="792" y="348"/>
                  </a:lnTo>
                  <a:lnTo>
                    <a:pt x="798" y="348"/>
                  </a:lnTo>
                  <a:lnTo>
                    <a:pt x="804" y="348"/>
                  </a:lnTo>
                  <a:lnTo>
                    <a:pt x="810" y="342"/>
                  </a:lnTo>
                  <a:lnTo>
                    <a:pt x="816" y="342"/>
                  </a:lnTo>
                  <a:lnTo>
                    <a:pt x="822" y="342"/>
                  </a:lnTo>
                  <a:lnTo>
                    <a:pt x="822" y="336"/>
                  </a:lnTo>
                  <a:lnTo>
                    <a:pt x="828" y="336"/>
                  </a:lnTo>
                  <a:lnTo>
                    <a:pt x="834" y="336"/>
                  </a:lnTo>
                  <a:lnTo>
                    <a:pt x="840" y="336"/>
                  </a:lnTo>
                  <a:lnTo>
                    <a:pt x="846" y="330"/>
                  </a:lnTo>
                  <a:lnTo>
                    <a:pt x="852" y="330"/>
                  </a:lnTo>
                  <a:lnTo>
                    <a:pt x="858" y="330"/>
                  </a:lnTo>
                  <a:lnTo>
                    <a:pt x="864" y="324"/>
                  </a:lnTo>
                  <a:lnTo>
                    <a:pt x="864" y="318"/>
                  </a:lnTo>
                  <a:lnTo>
                    <a:pt x="870" y="318"/>
                  </a:lnTo>
                  <a:lnTo>
                    <a:pt x="870" y="312"/>
                  </a:lnTo>
                  <a:lnTo>
                    <a:pt x="876" y="312"/>
                  </a:lnTo>
                  <a:lnTo>
                    <a:pt x="882" y="312"/>
                  </a:lnTo>
                  <a:lnTo>
                    <a:pt x="882" y="318"/>
                  </a:lnTo>
                  <a:lnTo>
                    <a:pt x="888" y="312"/>
                  </a:lnTo>
                  <a:lnTo>
                    <a:pt x="894" y="306"/>
                  </a:lnTo>
                  <a:lnTo>
                    <a:pt x="900" y="306"/>
                  </a:lnTo>
                  <a:lnTo>
                    <a:pt x="906" y="306"/>
                  </a:lnTo>
                  <a:lnTo>
                    <a:pt x="912" y="300"/>
                  </a:lnTo>
                  <a:lnTo>
                    <a:pt x="906" y="294"/>
                  </a:lnTo>
                  <a:lnTo>
                    <a:pt x="912" y="276"/>
                  </a:lnTo>
                  <a:lnTo>
                    <a:pt x="912" y="252"/>
                  </a:lnTo>
                  <a:lnTo>
                    <a:pt x="906" y="234"/>
                  </a:lnTo>
                  <a:lnTo>
                    <a:pt x="912" y="228"/>
                  </a:lnTo>
                  <a:lnTo>
                    <a:pt x="912" y="216"/>
                  </a:lnTo>
                  <a:lnTo>
                    <a:pt x="918" y="192"/>
                  </a:lnTo>
                  <a:lnTo>
                    <a:pt x="918" y="186"/>
                  </a:lnTo>
                  <a:lnTo>
                    <a:pt x="924" y="192"/>
                  </a:lnTo>
                  <a:lnTo>
                    <a:pt x="930" y="192"/>
                  </a:lnTo>
                  <a:lnTo>
                    <a:pt x="930" y="186"/>
                  </a:lnTo>
                  <a:lnTo>
                    <a:pt x="936" y="186"/>
                  </a:lnTo>
                  <a:lnTo>
                    <a:pt x="930" y="180"/>
                  </a:lnTo>
                  <a:lnTo>
                    <a:pt x="930" y="174"/>
                  </a:lnTo>
                  <a:lnTo>
                    <a:pt x="936" y="156"/>
                  </a:lnTo>
                  <a:lnTo>
                    <a:pt x="930" y="156"/>
                  </a:lnTo>
                  <a:lnTo>
                    <a:pt x="924" y="150"/>
                  </a:lnTo>
                  <a:lnTo>
                    <a:pt x="942" y="78"/>
                  </a:lnTo>
                  <a:lnTo>
                    <a:pt x="948" y="78"/>
                  </a:lnTo>
                  <a:lnTo>
                    <a:pt x="954" y="66"/>
                  </a:lnTo>
                  <a:lnTo>
                    <a:pt x="954" y="72"/>
                  </a:lnTo>
                  <a:lnTo>
                    <a:pt x="954" y="66"/>
                  </a:lnTo>
                  <a:lnTo>
                    <a:pt x="960" y="66"/>
                  </a:lnTo>
                  <a:lnTo>
                    <a:pt x="966" y="66"/>
                  </a:lnTo>
                  <a:lnTo>
                    <a:pt x="972" y="66"/>
                  </a:lnTo>
                  <a:lnTo>
                    <a:pt x="972" y="60"/>
                  </a:lnTo>
                  <a:lnTo>
                    <a:pt x="978" y="54"/>
                  </a:lnTo>
                  <a:lnTo>
                    <a:pt x="984" y="54"/>
                  </a:lnTo>
                  <a:lnTo>
                    <a:pt x="990" y="54"/>
                  </a:lnTo>
                  <a:lnTo>
                    <a:pt x="996" y="48"/>
                  </a:lnTo>
                  <a:lnTo>
                    <a:pt x="1002" y="48"/>
                  </a:lnTo>
                  <a:lnTo>
                    <a:pt x="1032" y="48"/>
                  </a:lnTo>
                  <a:lnTo>
                    <a:pt x="1062" y="48"/>
                  </a:lnTo>
                  <a:lnTo>
                    <a:pt x="1068" y="78"/>
                  </a:lnTo>
                  <a:lnTo>
                    <a:pt x="1086" y="78"/>
                  </a:lnTo>
                  <a:lnTo>
                    <a:pt x="1092" y="66"/>
                  </a:lnTo>
                  <a:lnTo>
                    <a:pt x="1092" y="60"/>
                  </a:lnTo>
                  <a:lnTo>
                    <a:pt x="1092" y="54"/>
                  </a:lnTo>
                  <a:lnTo>
                    <a:pt x="1092" y="48"/>
                  </a:lnTo>
                  <a:lnTo>
                    <a:pt x="1098" y="48"/>
                  </a:lnTo>
                  <a:lnTo>
                    <a:pt x="1104" y="48"/>
                  </a:lnTo>
                  <a:lnTo>
                    <a:pt x="1110" y="48"/>
                  </a:lnTo>
                  <a:lnTo>
                    <a:pt x="1110" y="42"/>
                  </a:lnTo>
                  <a:lnTo>
                    <a:pt x="1110" y="36"/>
                  </a:lnTo>
                  <a:lnTo>
                    <a:pt x="1116" y="36"/>
                  </a:lnTo>
                  <a:lnTo>
                    <a:pt x="1116" y="30"/>
                  </a:lnTo>
                  <a:lnTo>
                    <a:pt x="1122" y="30"/>
                  </a:lnTo>
                  <a:lnTo>
                    <a:pt x="1128" y="30"/>
                  </a:lnTo>
                  <a:lnTo>
                    <a:pt x="1134" y="30"/>
                  </a:lnTo>
                  <a:lnTo>
                    <a:pt x="1140" y="24"/>
                  </a:lnTo>
                  <a:lnTo>
                    <a:pt x="1152" y="18"/>
                  </a:lnTo>
                  <a:lnTo>
                    <a:pt x="1158" y="18"/>
                  </a:lnTo>
                  <a:lnTo>
                    <a:pt x="1152" y="12"/>
                  </a:lnTo>
                  <a:lnTo>
                    <a:pt x="1152" y="6"/>
                  </a:lnTo>
                  <a:lnTo>
                    <a:pt x="1158" y="6"/>
                  </a:lnTo>
                  <a:lnTo>
                    <a:pt x="1164" y="6"/>
                  </a:lnTo>
                  <a:lnTo>
                    <a:pt x="1164" y="12"/>
                  </a:lnTo>
                  <a:lnTo>
                    <a:pt x="1170" y="18"/>
                  </a:lnTo>
                  <a:lnTo>
                    <a:pt x="1170" y="12"/>
                  </a:lnTo>
                  <a:lnTo>
                    <a:pt x="1170" y="6"/>
                  </a:lnTo>
                  <a:lnTo>
                    <a:pt x="1176" y="6"/>
                  </a:lnTo>
                  <a:lnTo>
                    <a:pt x="1176" y="0"/>
                  </a:lnTo>
                  <a:lnTo>
                    <a:pt x="1182" y="6"/>
                  </a:lnTo>
                  <a:lnTo>
                    <a:pt x="1188" y="6"/>
                  </a:lnTo>
                  <a:lnTo>
                    <a:pt x="1188" y="0"/>
                  </a:lnTo>
                  <a:lnTo>
                    <a:pt x="1194" y="6"/>
                  </a:lnTo>
                  <a:lnTo>
                    <a:pt x="1200" y="12"/>
                  </a:lnTo>
                  <a:lnTo>
                    <a:pt x="1206" y="18"/>
                  </a:lnTo>
                  <a:lnTo>
                    <a:pt x="1212" y="18"/>
                  </a:lnTo>
                  <a:lnTo>
                    <a:pt x="1218" y="24"/>
                  </a:lnTo>
                  <a:lnTo>
                    <a:pt x="1236" y="36"/>
                  </a:lnTo>
                  <a:lnTo>
                    <a:pt x="1242" y="36"/>
                  </a:lnTo>
                  <a:lnTo>
                    <a:pt x="1248" y="42"/>
                  </a:lnTo>
                  <a:lnTo>
                    <a:pt x="1248" y="48"/>
                  </a:lnTo>
                  <a:lnTo>
                    <a:pt x="1260" y="48"/>
                  </a:lnTo>
                  <a:lnTo>
                    <a:pt x="1260" y="108"/>
                  </a:lnTo>
                  <a:lnTo>
                    <a:pt x="1266" y="168"/>
                  </a:lnTo>
                  <a:lnTo>
                    <a:pt x="1278" y="234"/>
                  </a:lnTo>
                  <a:lnTo>
                    <a:pt x="1284" y="240"/>
                  </a:lnTo>
                  <a:lnTo>
                    <a:pt x="1290" y="264"/>
                  </a:lnTo>
                  <a:lnTo>
                    <a:pt x="1296" y="288"/>
                  </a:lnTo>
                  <a:lnTo>
                    <a:pt x="1296" y="300"/>
                  </a:lnTo>
                  <a:lnTo>
                    <a:pt x="1296" y="312"/>
                  </a:lnTo>
                  <a:lnTo>
                    <a:pt x="1296" y="324"/>
                  </a:lnTo>
                  <a:lnTo>
                    <a:pt x="1296" y="354"/>
                  </a:lnTo>
                  <a:lnTo>
                    <a:pt x="1302" y="366"/>
                  </a:lnTo>
                  <a:lnTo>
                    <a:pt x="1308" y="372"/>
                  </a:lnTo>
                  <a:lnTo>
                    <a:pt x="1308" y="384"/>
                  </a:lnTo>
                  <a:lnTo>
                    <a:pt x="1314" y="390"/>
                  </a:lnTo>
                  <a:lnTo>
                    <a:pt x="1308" y="408"/>
                  </a:lnTo>
                  <a:lnTo>
                    <a:pt x="1314" y="408"/>
                  </a:lnTo>
                  <a:lnTo>
                    <a:pt x="1314" y="414"/>
                  </a:lnTo>
                  <a:lnTo>
                    <a:pt x="1308" y="420"/>
                  </a:lnTo>
                  <a:lnTo>
                    <a:pt x="1308" y="432"/>
                  </a:lnTo>
                  <a:lnTo>
                    <a:pt x="1320" y="432"/>
                  </a:lnTo>
                  <a:lnTo>
                    <a:pt x="1320" y="444"/>
                  </a:lnTo>
                  <a:lnTo>
                    <a:pt x="1332" y="444"/>
                  </a:lnTo>
                  <a:lnTo>
                    <a:pt x="1338" y="450"/>
                  </a:lnTo>
                  <a:lnTo>
                    <a:pt x="1344" y="456"/>
                  </a:lnTo>
                  <a:lnTo>
                    <a:pt x="1344" y="462"/>
                  </a:lnTo>
                  <a:lnTo>
                    <a:pt x="1344" y="474"/>
                  </a:lnTo>
                  <a:lnTo>
                    <a:pt x="1350" y="474"/>
                  </a:lnTo>
                  <a:lnTo>
                    <a:pt x="1368" y="504"/>
                  </a:lnTo>
                  <a:lnTo>
                    <a:pt x="1374" y="534"/>
                  </a:lnTo>
                  <a:lnTo>
                    <a:pt x="1380" y="558"/>
                  </a:lnTo>
                  <a:lnTo>
                    <a:pt x="1386" y="576"/>
                  </a:lnTo>
                  <a:lnTo>
                    <a:pt x="1386" y="600"/>
                  </a:lnTo>
                  <a:lnTo>
                    <a:pt x="1386" y="624"/>
                  </a:lnTo>
                  <a:lnTo>
                    <a:pt x="1386" y="648"/>
                  </a:lnTo>
                  <a:lnTo>
                    <a:pt x="1386" y="684"/>
                  </a:lnTo>
                  <a:lnTo>
                    <a:pt x="1380" y="684"/>
                  </a:lnTo>
                  <a:lnTo>
                    <a:pt x="1374" y="696"/>
                  </a:lnTo>
                  <a:lnTo>
                    <a:pt x="1368" y="702"/>
                  </a:lnTo>
                  <a:lnTo>
                    <a:pt x="1362" y="708"/>
                  </a:lnTo>
                  <a:lnTo>
                    <a:pt x="1356" y="714"/>
                  </a:lnTo>
                  <a:lnTo>
                    <a:pt x="1350" y="720"/>
                  </a:lnTo>
                  <a:lnTo>
                    <a:pt x="1338" y="720"/>
                  </a:lnTo>
                  <a:lnTo>
                    <a:pt x="1338" y="738"/>
                  </a:lnTo>
                  <a:lnTo>
                    <a:pt x="1362" y="750"/>
                  </a:lnTo>
                  <a:lnTo>
                    <a:pt x="1362" y="756"/>
                  </a:lnTo>
                  <a:lnTo>
                    <a:pt x="1374" y="756"/>
                  </a:lnTo>
                  <a:lnTo>
                    <a:pt x="1410" y="774"/>
                  </a:lnTo>
                  <a:lnTo>
                    <a:pt x="1446" y="774"/>
                  </a:lnTo>
                  <a:lnTo>
                    <a:pt x="1482" y="768"/>
                  </a:lnTo>
                  <a:lnTo>
                    <a:pt x="1500" y="774"/>
                  </a:lnTo>
                  <a:lnTo>
                    <a:pt x="1512" y="78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9488" name="Freeform 12"/>
            <p:cNvSpPr>
              <a:spLocks/>
            </p:cNvSpPr>
            <p:nvPr/>
          </p:nvSpPr>
          <p:spPr bwMode="gray">
            <a:xfrm>
              <a:off x="5357668" y="2565730"/>
              <a:ext cx="657203" cy="913281"/>
            </a:xfrm>
            <a:custGeom>
              <a:avLst/>
              <a:gdLst>
                <a:gd name="T0" fmla="*/ 36772 w 840"/>
                <a:gd name="T1" fmla="*/ 78926 h 1134"/>
                <a:gd name="T2" fmla="*/ 32078 w 840"/>
                <a:gd name="T3" fmla="*/ 78926 h 1134"/>
                <a:gd name="T4" fmla="*/ 28948 w 840"/>
                <a:gd name="T5" fmla="*/ 78926 h 1134"/>
                <a:gd name="T6" fmla="*/ 22689 w 840"/>
                <a:gd name="T7" fmla="*/ 78120 h 1134"/>
                <a:gd name="T8" fmla="*/ 21124 w 840"/>
                <a:gd name="T9" fmla="*/ 75704 h 1134"/>
                <a:gd name="T10" fmla="*/ 20342 w 840"/>
                <a:gd name="T11" fmla="*/ 74899 h 1134"/>
                <a:gd name="T12" fmla="*/ 20342 w 840"/>
                <a:gd name="T13" fmla="*/ 66845 h 1134"/>
                <a:gd name="T14" fmla="*/ 20342 w 840"/>
                <a:gd name="T15" fmla="*/ 65234 h 1134"/>
                <a:gd name="T16" fmla="*/ 17995 w 840"/>
                <a:gd name="T17" fmla="*/ 62013 h 1134"/>
                <a:gd name="T18" fmla="*/ 14865 w 840"/>
                <a:gd name="T19" fmla="*/ 60402 h 1134"/>
                <a:gd name="T20" fmla="*/ 12518 w 840"/>
                <a:gd name="T21" fmla="*/ 57986 h 1134"/>
                <a:gd name="T22" fmla="*/ 10171 w 840"/>
                <a:gd name="T23" fmla="*/ 56375 h 1134"/>
                <a:gd name="T24" fmla="*/ 13301 w 840"/>
                <a:gd name="T25" fmla="*/ 53959 h 1134"/>
                <a:gd name="T26" fmla="*/ 14865 w 840"/>
                <a:gd name="T27" fmla="*/ 50738 h 1134"/>
                <a:gd name="T28" fmla="*/ 15648 w 840"/>
                <a:gd name="T29" fmla="*/ 47516 h 1134"/>
                <a:gd name="T30" fmla="*/ 14865 w 840"/>
                <a:gd name="T31" fmla="*/ 44295 h 1134"/>
                <a:gd name="T32" fmla="*/ 13301 w 840"/>
                <a:gd name="T33" fmla="*/ 37852 h 1134"/>
                <a:gd name="T34" fmla="*/ 6259 w 840"/>
                <a:gd name="T35" fmla="*/ 36241 h 1134"/>
                <a:gd name="T36" fmla="*/ 3130 w 840"/>
                <a:gd name="T37" fmla="*/ 31409 h 1134"/>
                <a:gd name="T38" fmla="*/ 1565 w 840"/>
                <a:gd name="T39" fmla="*/ 28188 h 1134"/>
                <a:gd name="T40" fmla="*/ 0 w 840"/>
                <a:gd name="T41" fmla="*/ 24966 h 1134"/>
                <a:gd name="T42" fmla="*/ 1565 w 840"/>
                <a:gd name="T43" fmla="*/ 21745 h 1134"/>
                <a:gd name="T44" fmla="*/ 3912 w 840"/>
                <a:gd name="T45" fmla="*/ 19329 h 1134"/>
                <a:gd name="T46" fmla="*/ 7824 w 840"/>
                <a:gd name="T47" fmla="*/ 20939 h 1134"/>
                <a:gd name="T48" fmla="*/ 5477 w 840"/>
                <a:gd name="T49" fmla="*/ 16107 h 1134"/>
                <a:gd name="T50" fmla="*/ 9389 w 840"/>
                <a:gd name="T51" fmla="*/ 9664 h 1134"/>
                <a:gd name="T52" fmla="*/ 14865 w 840"/>
                <a:gd name="T53" fmla="*/ 8054 h 1134"/>
                <a:gd name="T54" fmla="*/ 15648 w 840"/>
                <a:gd name="T55" fmla="*/ 10470 h 1134"/>
                <a:gd name="T56" fmla="*/ 17212 w 840"/>
                <a:gd name="T57" fmla="*/ 8859 h 1134"/>
                <a:gd name="T58" fmla="*/ 19560 w 840"/>
                <a:gd name="T59" fmla="*/ 5638 h 1134"/>
                <a:gd name="T60" fmla="*/ 22689 w 840"/>
                <a:gd name="T61" fmla="*/ 1611 h 1134"/>
                <a:gd name="T62" fmla="*/ 25819 w 840"/>
                <a:gd name="T63" fmla="*/ 805 h 1134"/>
                <a:gd name="T64" fmla="*/ 28948 w 840"/>
                <a:gd name="T65" fmla="*/ 1611 h 1134"/>
                <a:gd name="T66" fmla="*/ 30513 w 840"/>
                <a:gd name="T67" fmla="*/ 3221 h 1134"/>
                <a:gd name="T68" fmla="*/ 33643 w 840"/>
                <a:gd name="T69" fmla="*/ 4027 h 1134"/>
                <a:gd name="T70" fmla="*/ 35990 w 840"/>
                <a:gd name="T71" fmla="*/ 8859 h 1134"/>
                <a:gd name="T72" fmla="*/ 38337 w 840"/>
                <a:gd name="T73" fmla="*/ 9664 h 1134"/>
                <a:gd name="T74" fmla="*/ 40684 w 840"/>
                <a:gd name="T75" fmla="*/ 12080 h 1134"/>
                <a:gd name="T76" fmla="*/ 42249 w 840"/>
                <a:gd name="T77" fmla="*/ 14497 h 1134"/>
                <a:gd name="T78" fmla="*/ 43031 w 840"/>
                <a:gd name="T79" fmla="*/ 17718 h 1134"/>
                <a:gd name="T80" fmla="*/ 43814 w 840"/>
                <a:gd name="T81" fmla="*/ 20939 h 1134"/>
                <a:gd name="T82" fmla="*/ 43031 w 840"/>
                <a:gd name="T83" fmla="*/ 25772 h 1134"/>
                <a:gd name="T84" fmla="*/ 43031 w 840"/>
                <a:gd name="T85" fmla="*/ 28993 h 1134"/>
                <a:gd name="T86" fmla="*/ 42249 w 840"/>
                <a:gd name="T87" fmla="*/ 31409 h 1134"/>
                <a:gd name="T88" fmla="*/ 43814 w 840"/>
                <a:gd name="T89" fmla="*/ 31409 h 1134"/>
                <a:gd name="T90" fmla="*/ 45378 w 840"/>
                <a:gd name="T91" fmla="*/ 31409 h 1134"/>
                <a:gd name="T92" fmla="*/ 47725 w 840"/>
                <a:gd name="T93" fmla="*/ 31409 h 1134"/>
                <a:gd name="T94" fmla="*/ 46943 w 840"/>
                <a:gd name="T95" fmla="*/ 39463 h 1134"/>
                <a:gd name="T96" fmla="*/ 46161 w 840"/>
                <a:gd name="T97" fmla="*/ 42684 h 1134"/>
                <a:gd name="T98" fmla="*/ 46161 w 840"/>
                <a:gd name="T99" fmla="*/ 45100 h 1134"/>
                <a:gd name="T100" fmla="*/ 46943 w 840"/>
                <a:gd name="T101" fmla="*/ 47516 h 1134"/>
                <a:gd name="T102" fmla="*/ 50073 w 840"/>
                <a:gd name="T103" fmla="*/ 49127 h 1134"/>
                <a:gd name="T104" fmla="*/ 53985 w 840"/>
                <a:gd name="T105" fmla="*/ 50738 h 1134"/>
                <a:gd name="T106" fmla="*/ 56332 w 840"/>
                <a:gd name="T107" fmla="*/ 55570 h 1134"/>
                <a:gd name="T108" fmla="*/ 56332 w 840"/>
                <a:gd name="T109" fmla="*/ 58791 h 1134"/>
                <a:gd name="T110" fmla="*/ 56332 w 840"/>
                <a:gd name="T111" fmla="*/ 66845 h 1134"/>
                <a:gd name="T112" fmla="*/ 49290 w 840"/>
                <a:gd name="T113" fmla="*/ 70872 h 1134"/>
                <a:gd name="T114" fmla="*/ 40684 w 840"/>
                <a:gd name="T115" fmla="*/ 76509 h 11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40"/>
                <a:gd name="T175" fmla="*/ 0 h 1134"/>
                <a:gd name="T176" fmla="*/ 840 w 840"/>
                <a:gd name="T177" fmla="*/ 1134 h 11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40" h="1134">
                  <a:moveTo>
                    <a:pt x="564" y="1110"/>
                  </a:moveTo>
                  <a:lnTo>
                    <a:pt x="564" y="1104"/>
                  </a:lnTo>
                  <a:lnTo>
                    <a:pt x="558" y="1104"/>
                  </a:lnTo>
                  <a:lnTo>
                    <a:pt x="552" y="1110"/>
                  </a:lnTo>
                  <a:lnTo>
                    <a:pt x="546" y="1122"/>
                  </a:lnTo>
                  <a:lnTo>
                    <a:pt x="540" y="1128"/>
                  </a:lnTo>
                  <a:lnTo>
                    <a:pt x="528" y="1128"/>
                  </a:lnTo>
                  <a:lnTo>
                    <a:pt x="498" y="1128"/>
                  </a:lnTo>
                  <a:lnTo>
                    <a:pt x="492" y="1128"/>
                  </a:lnTo>
                  <a:lnTo>
                    <a:pt x="486" y="1128"/>
                  </a:lnTo>
                  <a:lnTo>
                    <a:pt x="480" y="1128"/>
                  </a:lnTo>
                  <a:lnTo>
                    <a:pt x="474" y="1134"/>
                  </a:lnTo>
                  <a:lnTo>
                    <a:pt x="468" y="1134"/>
                  </a:lnTo>
                  <a:lnTo>
                    <a:pt x="462" y="1134"/>
                  </a:lnTo>
                  <a:lnTo>
                    <a:pt x="456" y="1134"/>
                  </a:lnTo>
                  <a:lnTo>
                    <a:pt x="456" y="1128"/>
                  </a:lnTo>
                  <a:lnTo>
                    <a:pt x="450" y="1122"/>
                  </a:lnTo>
                  <a:lnTo>
                    <a:pt x="426" y="1128"/>
                  </a:lnTo>
                  <a:lnTo>
                    <a:pt x="414" y="1128"/>
                  </a:lnTo>
                  <a:lnTo>
                    <a:pt x="348" y="1134"/>
                  </a:lnTo>
                  <a:lnTo>
                    <a:pt x="348" y="1128"/>
                  </a:lnTo>
                  <a:lnTo>
                    <a:pt x="342" y="1128"/>
                  </a:lnTo>
                  <a:lnTo>
                    <a:pt x="336" y="1122"/>
                  </a:lnTo>
                  <a:lnTo>
                    <a:pt x="330" y="1122"/>
                  </a:lnTo>
                  <a:lnTo>
                    <a:pt x="324" y="1116"/>
                  </a:lnTo>
                  <a:lnTo>
                    <a:pt x="324" y="1110"/>
                  </a:lnTo>
                  <a:lnTo>
                    <a:pt x="318" y="1110"/>
                  </a:lnTo>
                  <a:lnTo>
                    <a:pt x="318" y="1104"/>
                  </a:lnTo>
                  <a:lnTo>
                    <a:pt x="312" y="1092"/>
                  </a:lnTo>
                  <a:lnTo>
                    <a:pt x="306" y="1086"/>
                  </a:lnTo>
                  <a:lnTo>
                    <a:pt x="306" y="1080"/>
                  </a:lnTo>
                  <a:lnTo>
                    <a:pt x="312" y="1074"/>
                  </a:lnTo>
                  <a:lnTo>
                    <a:pt x="306" y="1068"/>
                  </a:lnTo>
                  <a:lnTo>
                    <a:pt x="300" y="1074"/>
                  </a:lnTo>
                  <a:lnTo>
                    <a:pt x="300" y="1068"/>
                  </a:lnTo>
                  <a:lnTo>
                    <a:pt x="294" y="1068"/>
                  </a:lnTo>
                  <a:lnTo>
                    <a:pt x="294" y="1056"/>
                  </a:lnTo>
                  <a:lnTo>
                    <a:pt x="294" y="1026"/>
                  </a:lnTo>
                  <a:lnTo>
                    <a:pt x="294" y="1020"/>
                  </a:lnTo>
                  <a:lnTo>
                    <a:pt x="294" y="1008"/>
                  </a:lnTo>
                  <a:lnTo>
                    <a:pt x="294" y="966"/>
                  </a:lnTo>
                  <a:lnTo>
                    <a:pt x="294" y="960"/>
                  </a:lnTo>
                  <a:lnTo>
                    <a:pt x="294" y="954"/>
                  </a:lnTo>
                  <a:lnTo>
                    <a:pt x="294" y="948"/>
                  </a:lnTo>
                  <a:lnTo>
                    <a:pt x="294" y="942"/>
                  </a:lnTo>
                  <a:lnTo>
                    <a:pt x="300" y="936"/>
                  </a:lnTo>
                  <a:lnTo>
                    <a:pt x="300" y="930"/>
                  </a:lnTo>
                  <a:lnTo>
                    <a:pt x="294" y="930"/>
                  </a:lnTo>
                  <a:lnTo>
                    <a:pt x="288" y="930"/>
                  </a:lnTo>
                  <a:lnTo>
                    <a:pt x="288" y="924"/>
                  </a:lnTo>
                  <a:lnTo>
                    <a:pt x="282" y="918"/>
                  </a:lnTo>
                  <a:lnTo>
                    <a:pt x="282" y="906"/>
                  </a:lnTo>
                  <a:lnTo>
                    <a:pt x="282" y="900"/>
                  </a:lnTo>
                  <a:lnTo>
                    <a:pt x="264" y="894"/>
                  </a:lnTo>
                  <a:lnTo>
                    <a:pt x="252" y="882"/>
                  </a:lnTo>
                  <a:lnTo>
                    <a:pt x="246" y="876"/>
                  </a:lnTo>
                  <a:lnTo>
                    <a:pt x="240" y="876"/>
                  </a:lnTo>
                  <a:lnTo>
                    <a:pt x="240" y="870"/>
                  </a:lnTo>
                  <a:lnTo>
                    <a:pt x="234" y="870"/>
                  </a:lnTo>
                  <a:lnTo>
                    <a:pt x="222" y="864"/>
                  </a:lnTo>
                  <a:lnTo>
                    <a:pt x="216" y="864"/>
                  </a:lnTo>
                  <a:lnTo>
                    <a:pt x="210" y="858"/>
                  </a:lnTo>
                  <a:lnTo>
                    <a:pt x="210" y="852"/>
                  </a:lnTo>
                  <a:lnTo>
                    <a:pt x="210" y="846"/>
                  </a:lnTo>
                  <a:lnTo>
                    <a:pt x="198" y="840"/>
                  </a:lnTo>
                  <a:lnTo>
                    <a:pt x="186" y="834"/>
                  </a:lnTo>
                  <a:lnTo>
                    <a:pt x="180" y="828"/>
                  </a:lnTo>
                  <a:lnTo>
                    <a:pt x="180" y="822"/>
                  </a:lnTo>
                  <a:lnTo>
                    <a:pt x="174" y="822"/>
                  </a:lnTo>
                  <a:lnTo>
                    <a:pt x="162" y="816"/>
                  </a:lnTo>
                  <a:lnTo>
                    <a:pt x="156" y="810"/>
                  </a:lnTo>
                  <a:lnTo>
                    <a:pt x="150" y="810"/>
                  </a:lnTo>
                  <a:lnTo>
                    <a:pt x="144" y="798"/>
                  </a:lnTo>
                  <a:lnTo>
                    <a:pt x="138" y="786"/>
                  </a:lnTo>
                  <a:lnTo>
                    <a:pt x="138" y="780"/>
                  </a:lnTo>
                  <a:lnTo>
                    <a:pt x="144" y="774"/>
                  </a:lnTo>
                  <a:lnTo>
                    <a:pt x="150" y="768"/>
                  </a:lnTo>
                  <a:lnTo>
                    <a:pt x="192" y="768"/>
                  </a:lnTo>
                  <a:lnTo>
                    <a:pt x="210" y="762"/>
                  </a:lnTo>
                  <a:lnTo>
                    <a:pt x="216" y="756"/>
                  </a:lnTo>
                  <a:lnTo>
                    <a:pt x="216" y="744"/>
                  </a:lnTo>
                  <a:lnTo>
                    <a:pt x="216" y="738"/>
                  </a:lnTo>
                  <a:lnTo>
                    <a:pt x="216" y="732"/>
                  </a:lnTo>
                  <a:lnTo>
                    <a:pt x="216" y="726"/>
                  </a:lnTo>
                  <a:lnTo>
                    <a:pt x="216" y="720"/>
                  </a:lnTo>
                  <a:lnTo>
                    <a:pt x="228" y="702"/>
                  </a:lnTo>
                  <a:lnTo>
                    <a:pt x="234" y="696"/>
                  </a:lnTo>
                  <a:lnTo>
                    <a:pt x="240" y="690"/>
                  </a:lnTo>
                  <a:lnTo>
                    <a:pt x="240" y="684"/>
                  </a:lnTo>
                  <a:lnTo>
                    <a:pt x="234" y="678"/>
                  </a:lnTo>
                  <a:lnTo>
                    <a:pt x="228" y="672"/>
                  </a:lnTo>
                  <a:lnTo>
                    <a:pt x="228" y="666"/>
                  </a:lnTo>
                  <a:lnTo>
                    <a:pt x="222" y="660"/>
                  </a:lnTo>
                  <a:lnTo>
                    <a:pt x="222" y="654"/>
                  </a:lnTo>
                  <a:lnTo>
                    <a:pt x="222" y="648"/>
                  </a:lnTo>
                  <a:lnTo>
                    <a:pt x="222" y="630"/>
                  </a:lnTo>
                  <a:lnTo>
                    <a:pt x="222" y="618"/>
                  </a:lnTo>
                  <a:lnTo>
                    <a:pt x="222" y="582"/>
                  </a:lnTo>
                  <a:lnTo>
                    <a:pt x="228" y="582"/>
                  </a:lnTo>
                  <a:lnTo>
                    <a:pt x="222" y="564"/>
                  </a:lnTo>
                  <a:lnTo>
                    <a:pt x="210" y="552"/>
                  </a:lnTo>
                  <a:lnTo>
                    <a:pt x="192" y="540"/>
                  </a:lnTo>
                  <a:lnTo>
                    <a:pt x="174" y="540"/>
                  </a:lnTo>
                  <a:lnTo>
                    <a:pt x="150" y="534"/>
                  </a:lnTo>
                  <a:lnTo>
                    <a:pt x="126" y="528"/>
                  </a:lnTo>
                  <a:lnTo>
                    <a:pt x="96" y="528"/>
                  </a:lnTo>
                  <a:lnTo>
                    <a:pt x="96" y="522"/>
                  </a:lnTo>
                  <a:lnTo>
                    <a:pt x="90" y="516"/>
                  </a:lnTo>
                  <a:lnTo>
                    <a:pt x="78" y="504"/>
                  </a:lnTo>
                  <a:lnTo>
                    <a:pt x="72" y="498"/>
                  </a:lnTo>
                  <a:lnTo>
                    <a:pt x="66" y="486"/>
                  </a:lnTo>
                  <a:lnTo>
                    <a:pt x="54" y="468"/>
                  </a:lnTo>
                  <a:lnTo>
                    <a:pt x="54" y="450"/>
                  </a:lnTo>
                  <a:lnTo>
                    <a:pt x="48" y="444"/>
                  </a:lnTo>
                  <a:lnTo>
                    <a:pt x="48" y="438"/>
                  </a:lnTo>
                  <a:lnTo>
                    <a:pt x="42" y="438"/>
                  </a:lnTo>
                  <a:lnTo>
                    <a:pt x="36" y="438"/>
                  </a:lnTo>
                  <a:lnTo>
                    <a:pt x="24" y="420"/>
                  </a:lnTo>
                  <a:lnTo>
                    <a:pt x="24" y="414"/>
                  </a:lnTo>
                  <a:lnTo>
                    <a:pt x="24" y="402"/>
                  </a:lnTo>
                  <a:lnTo>
                    <a:pt x="18" y="396"/>
                  </a:lnTo>
                  <a:lnTo>
                    <a:pt x="24" y="384"/>
                  </a:lnTo>
                  <a:lnTo>
                    <a:pt x="18" y="372"/>
                  </a:lnTo>
                  <a:lnTo>
                    <a:pt x="18" y="366"/>
                  </a:lnTo>
                  <a:lnTo>
                    <a:pt x="12" y="360"/>
                  </a:lnTo>
                  <a:lnTo>
                    <a:pt x="6" y="360"/>
                  </a:lnTo>
                  <a:lnTo>
                    <a:pt x="0" y="348"/>
                  </a:lnTo>
                  <a:lnTo>
                    <a:pt x="6" y="342"/>
                  </a:lnTo>
                  <a:lnTo>
                    <a:pt x="6" y="336"/>
                  </a:lnTo>
                  <a:lnTo>
                    <a:pt x="12" y="330"/>
                  </a:lnTo>
                  <a:lnTo>
                    <a:pt x="18" y="318"/>
                  </a:lnTo>
                  <a:lnTo>
                    <a:pt x="24" y="312"/>
                  </a:lnTo>
                  <a:lnTo>
                    <a:pt x="24" y="306"/>
                  </a:lnTo>
                  <a:lnTo>
                    <a:pt x="30" y="306"/>
                  </a:lnTo>
                  <a:lnTo>
                    <a:pt x="42" y="294"/>
                  </a:lnTo>
                  <a:lnTo>
                    <a:pt x="42" y="288"/>
                  </a:lnTo>
                  <a:lnTo>
                    <a:pt x="48" y="282"/>
                  </a:lnTo>
                  <a:lnTo>
                    <a:pt x="54" y="276"/>
                  </a:lnTo>
                  <a:lnTo>
                    <a:pt x="60" y="270"/>
                  </a:lnTo>
                  <a:lnTo>
                    <a:pt x="66" y="270"/>
                  </a:lnTo>
                  <a:lnTo>
                    <a:pt x="78" y="270"/>
                  </a:lnTo>
                  <a:lnTo>
                    <a:pt x="90" y="276"/>
                  </a:lnTo>
                  <a:lnTo>
                    <a:pt x="108" y="294"/>
                  </a:lnTo>
                  <a:lnTo>
                    <a:pt x="114" y="294"/>
                  </a:lnTo>
                  <a:lnTo>
                    <a:pt x="114" y="276"/>
                  </a:lnTo>
                  <a:lnTo>
                    <a:pt x="114" y="270"/>
                  </a:lnTo>
                  <a:lnTo>
                    <a:pt x="102" y="258"/>
                  </a:lnTo>
                  <a:lnTo>
                    <a:pt x="96" y="246"/>
                  </a:lnTo>
                  <a:lnTo>
                    <a:pt x="90" y="234"/>
                  </a:lnTo>
                  <a:lnTo>
                    <a:pt x="78" y="228"/>
                  </a:lnTo>
                  <a:lnTo>
                    <a:pt x="72" y="216"/>
                  </a:lnTo>
                  <a:lnTo>
                    <a:pt x="66" y="192"/>
                  </a:lnTo>
                  <a:lnTo>
                    <a:pt x="90" y="174"/>
                  </a:lnTo>
                  <a:lnTo>
                    <a:pt x="120" y="150"/>
                  </a:lnTo>
                  <a:lnTo>
                    <a:pt x="132" y="150"/>
                  </a:lnTo>
                  <a:lnTo>
                    <a:pt x="138" y="144"/>
                  </a:lnTo>
                  <a:lnTo>
                    <a:pt x="138" y="138"/>
                  </a:lnTo>
                  <a:lnTo>
                    <a:pt x="156" y="126"/>
                  </a:lnTo>
                  <a:lnTo>
                    <a:pt x="180" y="114"/>
                  </a:lnTo>
                  <a:lnTo>
                    <a:pt x="216" y="114"/>
                  </a:lnTo>
                  <a:lnTo>
                    <a:pt x="222" y="114"/>
                  </a:lnTo>
                  <a:lnTo>
                    <a:pt x="222" y="120"/>
                  </a:lnTo>
                  <a:lnTo>
                    <a:pt x="222" y="126"/>
                  </a:lnTo>
                  <a:lnTo>
                    <a:pt x="222" y="132"/>
                  </a:lnTo>
                  <a:lnTo>
                    <a:pt x="228" y="138"/>
                  </a:lnTo>
                  <a:lnTo>
                    <a:pt x="228" y="144"/>
                  </a:lnTo>
                  <a:lnTo>
                    <a:pt x="228" y="150"/>
                  </a:lnTo>
                  <a:lnTo>
                    <a:pt x="234" y="150"/>
                  </a:lnTo>
                  <a:lnTo>
                    <a:pt x="234" y="144"/>
                  </a:lnTo>
                  <a:lnTo>
                    <a:pt x="240" y="144"/>
                  </a:lnTo>
                  <a:lnTo>
                    <a:pt x="246" y="144"/>
                  </a:lnTo>
                  <a:lnTo>
                    <a:pt x="258" y="138"/>
                  </a:lnTo>
                  <a:lnTo>
                    <a:pt x="264" y="138"/>
                  </a:lnTo>
                  <a:lnTo>
                    <a:pt x="258" y="126"/>
                  </a:lnTo>
                  <a:lnTo>
                    <a:pt x="258" y="120"/>
                  </a:lnTo>
                  <a:lnTo>
                    <a:pt x="258" y="114"/>
                  </a:lnTo>
                  <a:lnTo>
                    <a:pt x="264" y="114"/>
                  </a:lnTo>
                  <a:lnTo>
                    <a:pt x="276" y="96"/>
                  </a:lnTo>
                  <a:lnTo>
                    <a:pt x="288" y="90"/>
                  </a:lnTo>
                  <a:lnTo>
                    <a:pt x="288" y="84"/>
                  </a:lnTo>
                  <a:lnTo>
                    <a:pt x="294" y="84"/>
                  </a:lnTo>
                  <a:lnTo>
                    <a:pt x="306" y="72"/>
                  </a:lnTo>
                  <a:lnTo>
                    <a:pt x="318" y="60"/>
                  </a:lnTo>
                  <a:lnTo>
                    <a:pt x="324" y="54"/>
                  </a:lnTo>
                  <a:lnTo>
                    <a:pt x="330" y="36"/>
                  </a:lnTo>
                  <a:lnTo>
                    <a:pt x="330" y="24"/>
                  </a:lnTo>
                  <a:lnTo>
                    <a:pt x="330" y="18"/>
                  </a:lnTo>
                  <a:lnTo>
                    <a:pt x="330" y="12"/>
                  </a:lnTo>
                  <a:lnTo>
                    <a:pt x="336" y="6"/>
                  </a:lnTo>
                  <a:lnTo>
                    <a:pt x="366" y="0"/>
                  </a:lnTo>
                  <a:lnTo>
                    <a:pt x="372" y="6"/>
                  </a:lnTo>
                  <a:lnTo>
                    <a:pt x="384" y="12"/>
                  </a:lnTo>
                  <a:lnTo>
                    <a:pt x="402" y="12"/>
                  </a:lnTo>
                  <a:lnTo>
                    <a:pt x="402" y="18"/>
                  </a:lnTo>
                  <a:lnTo>
                    <a:pt x="408" y="18"/>
                  </a:lnTo>
                  <a:lnTo>
                    <a:pt x="414" y="18"/>
                  </a:lnTo>
                  <a:lnTo>
                    <a:pt x="420" y="18"/>
                  </a:lnTo>
                  <a:lnTo>
                    <a:pt x="426" y="24"/>
                  </a:lnTo>
                  <a:lnTo>
                    <a:pt x="432" y="30"/>
                  </a:lnTo>
                  <a:lnTo>
                    <a:pt x="438" y="36"/>
                  </a:lnTo>
                  <a:lnTo>
                    <a:pt x="444" y="42"/>
                  </a:lnTo>
                  <a:lnTo>
                    <a:pt x="450" y="42"/>
                  </a:lnTo>
                  <a:lnTo>
                    <a:pt x="450" y="48"/>
                  </a:lnTo>
                  <a:lnTo>
                    <a:pt x="456" y="48"/>
                  </a:lnTo>
                  <a:lnTo>
                    <a:pt x="468" y="54"/>
                  </a:lnTo>
                  <a:lnTo>
                    <a:pt x="474" y="54"/>
                  </a:lnTo>
                  <a:lnTo>
                    <a:pt x="480" y="54"/>
                  </a:lnTo>
                  <a:lnTo>
                    <a:pt x="480" y="60"/>
                  </a:lnTo>
                  <a:lnTo>
                    <a:pt x="486" y="60"/>
                  </a:lnTo>
                  <a:lnTo>
                    <a:pt x="492" y="60"/>
                  </a:lnTo>
                  <a:lnTo>
                    <a:pt x="498" y="60"/>
                  </a:lnTo>
                  <a:lnTo>
                    <a:pt x="504" y="66"/>
                  </a:lnTo>
                  <a:lnTo>
                    <a:pt x="516" y="78"/>
                  </a:lnTo>
                  <a:lnTo>
                    <a:pt x="522" y="102"/>
                  </a:lnTo>
                  <a:lnTo>
                    <a:pt x="522" y="108"/>
                  </a:lnTo>
                  <a:lnTo>
                    <a:pt x="528" y="126"/>
                  </a:lnTo>
                  <a:lnTo>
                    <a:pt x="534" y="126"/>
                  </a:lnTo>
                  <a:lnTo>
                    <a:pt x="540" y="120"/>
                  </a:lnTo>
                  <a:lnTo>
                    <a:pt x="546" y="126"/>
                  </a:lnTo>
                  <a:lnTo>
                    <a:pt x="552" y="126"/>
                  </a:lnTo>
                  <a:lnTo>
                    <a:pt x="558" y="132"/>
                  </a:lnTo>
                  <a:lnTo>
                    <a:pt x="564" y="138"/>
                  </a:lnTo>
                  <a:lnTo>
                    <a:pt x="570" y="144"/>
                  </a:lnTo>
                  <a:lnTo>
                    <a:pt x="576" y="150"/>
                  </a:lnTo>
                  <a:lnTo>
                    <a:pt x="582" y="156"/>
                  </a:lnTo>
                  <a:lnTo>
                    <a:pt x="588" y="162"/>
                  </a:lnTo>
                  <a:lnTo>
                    <a:pt x="594" y="168"/>
                  </a:lnTo>
                  <a:lnTo>
                    <a:pt x="600" y="174"/>
                  </a:lnTo>
                  <a:lnTo>
                    <a:pt x="606" y="180"/>
                  </a:lnTo>
                  <a:lnTo>
                    <a:pt x="606" y="186"/>
                  </a:lnTo>
                  <a:lnTo>
                    <a:pt x="612" y="192"/>
                  </a:lnTo>
                  <a:lnTo>
                    <a:pt x="612" y="198"/>
                  </a:lnTo>
                  <a:lnTo>
                    <a:pt x="624" y="204"/>
                  </a:lnTo>
                  <a:lnTo>
                    <a:pt x="624" y="210"/>
                  </a:lnTo>
                  <a:lnTo>
                    <a:pt x="630" y="216"/>
                  </a:lnTo>
                  <a:lnTo>
                    <a:pt x="636" y="222"/>
                  </a:lnTo>
                  <a:lnTo>
                    <a:pt x="636" y="228"/>
                  </a:lnTo>
                  <a:lnTo>
                    <a:pt x="636" y="234"/>
                  </a:lnTo>
                  <a:lnTo>
                    <a:pt x="636" y="252"/>
                  </a:lnTo>
                  <a:lnTo>
                    <a:pt x="636" y="258"/>
                  </a:lnTo>
                  <a:lnTo>
                    <a:pt x="636" y="264"/>
                  </a:lnTo>
                  <a:lnTo>
                    <a:pt x="636" y="270"/>
                  </a:lnTo>
                  <a:lnTo>
                    <a:pt x="642" y="276"/>
                  </a:lnTo>
                  <a:lnTo>
                    <a:pt x="642" y="282"/>
                  </a:lnTo>
                  <a:lnTo>
                    <a:pt x="642" y="288"/>
                  </a:lnTo>
                  <a:lnTo>
                    <a:pt x="642" y="300"/>
                  </a:lnTo>
                  <a:lnTo>
                    <a:pt x="642" y="306"/>
                  </a:lnTo>
                  <a:lnTo>
                    <a:pt x="636" y="312"/>
                  </a:lnTo>
                  <a:lnTo>
                    <a:pt x="636" y="324"/>
                  </a:lnTo>
                  <a:lnTo>
                    <a:pt x="636" y="342"/>
                  </a:lnTo>
                  <a:lnTo>
                    <a:pt x="630" y="354"/>
                  </a:lnTo>
                  <a:lnTo>
                    <a:pt x="630" y="366"/>
                  </a:lnTo>
                  <a:lnTo>
                    <a:pt x="624" y="378"/>
                  </a:lnTo>
                  <a:lnTo>
                    <a:pt x="624" y="384"/>
                  </a:lnTo>
                  <a:lnTo>
                    <a:pt x="636" y="396"/>
                  </a:lnTo>
                  <a:lnTo>
                    <a:pt x="636" y="402"/>
                  </a:lnTo>
                  <a:lnTo>
                    <a:pt x="636" y="408"/>
                  </a:lnTo>
                  <a:lnTo>
                    <a:pt x="630" y="414"/>
                  </a:lnTo>
                  <a:lnTo>
                    <a:pt x="630" y="420"/>
                  </a:lnTo>
                  <a:lnTo>
                    <a:pt x="630" y="426"/>
                  </a:lnTo>
                  <a:lnTo>
                    <a:pt x="630" y="432"/>
                  </a:lnTo>
                  <a:lnTo>
                    <a:pt x="624" y="438"/>
                  </a:lnTo>
                  <a:lnTo>
                    <a:pt x="624" y="444"/>
                  </a:lnTo>
                  <a:lnTo>
                    <a:pt x="624" y="450"/>
                  </a:lnTo>
                  <a:lnTo>
                    <a:pt x="630" y="450"/>
                  </a:lnTo>
                  <a:lnTo>
                    <a:pt x="630" y="456"/>
                  </a:lnTo>
                  <a:lnTo>
                    <a:pt x="630" y="462"/>
                  </a:lnTo>
                  <a:lnTo>
                    <a:pt x="636" y="468"/>
                  </a:lnTo>
                  <a:lnTo>
                    <a:pt x="642" y="456"/>
                  </a:lnTo>
                  <a:lnTo>
                    <a:pt x="642" y="450"/>
                  </a:lnTo>
                  <a:lnTo>
                    <a:pt x="648" y="450"/>
                  </a:lnTo>
                  <a:lnTo>
                    <a:pt x="654" y="450"/>
                  </a:lnTo>
                  <a:lnTo>
                    <a:pt x="654" y="444"/>
                  </a:lnTo>
                  <a:lnTo>
                    <a:pt x="660" y="444"/>
                  </a:lnTo>
                  <a:lnTo>
                    <a:pt x="666" y="450"/>
                  </a:lnTo>
                  <a:lnTo>
                    <a:pt x="672" y="444"/>
                  </a:lnTo>
                  <a:lnTo>
                    <a:pt x="678" y="444"/>
                  </a:lnTo>
                  <a:lnTo>
                    <a:pt x="684" y="438"/>
                  </a:lnTo>
                  <a:lnTo>
                    <a:pt x="690" y="438"/>
                  </a:lnTo>
                  <a:lnTo>
                    <a:pt x="696" y="438"/>
                  </a:lnTo>
                  <a:lnTo>
                    <a:pt x="702" y="444"/>
                  </a:lnTo>
                  <a:lnTo>
                    <a:pt x="702" y="450"/>
                  </a:lnTo>
                  <a:lnTo>
                    <a:pt x="708" y="450"/>
                  </a:lnTo>
                  <a:lnTo>
                    <a:pt x="708" y="456"/>
                  </a:lnTo>
                  <a:lnTo>
                    <a:pt x="708" y="462"/>
                  </a:lnTo>
                  <a:lnTo>
                    <a:pt x="708" y="468"/>
                  </a:lnTo>
                  <a:lnTo>
                    <a:pt x="708" y="504"/>
                  </a:lnTo>
                  <a:lnTo>
                    <a:pt x="696" y="564"/>
                  </a:lnTo>
                  <a:lnTo>
                    <a:pt x="696" y="582"/>
                  </a:lnTo>
                  <a:lnTo>
                    <a:pt x="696" y="600"/>
                  </a:lnTo>
                  <a:lnTo>
                    <a:pt x="690" y="606"/>
                  </a:lnTo>
                  <a:lnTo>
                    <a:pt x="684" y="606"/>
                  </a:lnTo>
                  <a:lnTo>
                    <a:pt x="690" y="612"/>
                  </a:lnTo>
                  <a:lnTo>
                    <a:pt x="684" y="612"/>
                  </a:lnTo>
                  <a:lnTo>
                    <a:pt x="678" y="618"/>
                  </a:lnTo>
                  <a:lnTo>
                    <a:pt x="672" y="624"/>
                  </a:lnTo>
                  <a:lnTo>
                    <a:pt x="666" y="630"/>
                  </a:lnTo>
                  <a:lnTo>
                    <a:pt x="660" y="636"/>
                  </a:lnTo>
                  <a:lnTo>
                    <a:pt x="672" y="636"/>
                  </a:lnTo>
                  <a:lnTo>
                    <a:pt x="678" y="642"/>
                  </a:lnTo>
                  <a:lnTo>
                    <a:pt x="678" y="648"/>
                  </a:lnTo>
                  <a:lnTo>
                    <a:pt x="684" y="654"/>
                  </a:lnTo>
                  <a:lnTo>
                    <a:pt x="690" y="666"/>
                  </a:lnTo>
                  <a:lnTo>
                    <a:pt x="690" y="672"/>
                  </a:lnTo>
                  <a:lnTo>
                    <a:pt x="696" y="672"/>
                  </a:lnTo>
                  <a:lnTo>
                    <a:pt x="696" y="684"/>
                  </a:lnTo>
                  <a:lnTo>
                    <a:pt x="708" y="690"/>
                  </a:lnTo>
                  <a:lnTo>
                    <a:pt x="720" y="696"/>
                  </a:lnTo>
                  <a:lnTo>
                    <a:pt x="726" y="696"/>
                  </a:lnTo>
                  <a:lnTo>
                    <a:pt x="732" y="696"/>
                  </a:lnTo>
                  <a:lnTo>
                    <a:pt x="738" y="696"/>
                  </a:lnTo>
                  <a:lnTo>
                    <a:pt x="738" y="702"/>
                  </a:lnTo>
                  <a:lnTo>
                    <a:pt x="738" y="708"/>
                  </a:lnTo>
                  <a:lnTo>
                    <a:pt x="738" y="714"/>
                  </a:lnTo>
                  <a:lnTo>
                    <a:pt x="744" y="714"/>
                  </a:lnTo>
                  <a:lnTo>
                    <a:pt x="756" y="720"/>
                  </a:lnTo>
                  <a:lnTo>
                    <a:pt x="780" y="726"/>
                  </a:lnTo>
                  <a:lnTo>
                    <a:pt x="792" y="732"/>
                  </a:lnTo>
                  <a:lnTo>
                    <a:pt x="816" y="756"/>
                  </a:lnTo>
                  <a:lnTo>
                    <a:pt x="816" y="762"/>
                  </a:lnTo>
                  <a:lnTo>
                    <a:pt x="816" y="768"/>
                  </a:lnTo>
                  <a:lnTo>
                    <a:pt x="822" y="774"/>
                  </a:lnTo>
                  <a:lnTo>
                    <a:pt x="834" y="786"/>
                  </a:lnTo>
                  <a:lnTo>
                    <a:pt x="834" y="792"/>
                  </a:lnTo>
                  <a:lnTo>
                    <a:pt x="834" y="798"/>
                  </a:lnTo>
                  <a:lnTo>
                    <a:pt x="828" y="798"/>
                  </a:lnTo>
                  <a:lnTo>
                    <a:pt x="828" y="804"/>
                  </a:lnTo>
                  <a:lnTo>
                    <a:pt x="834" y="816"/>
                  </a:lnTo>
                  <a:lnTo>
                    <a:pt x="834" y="834"/>
                  </a:lnTo>
                  <a:lnTo>
                    <a:pt x="834" y="840"/>
                  </a:lnTo>
                  <a:lnTo>
                    <a:pt x="834" y="846"/>
                  </a:lnTo>
                  <a:lnTo>
                    <a:pt x="840" y="852"/>
                  </a:lnTo>
                  <a:lnTo>
                    <a:pt x="834" y="858"/>
                  </a:lnTo>
                  <a:lnTo>
                    <a:pt x="834" y="864"/>
                  </a:lnTo>
                  <a:lnTo>
                    <a:pt x="834" y="876"/>
                  </a:lnTo>
                  <a:lnTo>
                    <a:pt x="828" y="960"/>
                  </a:lnTo>
                  <a:lnTo>
                    <a:pt x="816" y="966"/>
                  </a:lnTo>
                  <a:lnTo>
                    <a:pt x="798" y="972"/>
                  </a:lnTo>
                  <a:lnTo>
                    <a:pt x="786" y="990"/>
                  </a:lnTo>
                  <a:lnTo>
                    <a:pt x="774" y="990"/>
                  </a:lnTo>
                  <a:lnTo>
                    <a:pt x="762" y="1008"/>
                  </a:lnTo>
                  <a:lnTo>
                    <a:pt x="732" y="1014"/>
                  </a:lnTo>
                  <a:lnTo>
                    <a:pt x="714" y="1026"/>
                  </a:lnTo>
                  <a:lnTo>
                    <a:pt x="690" y="1050"/>
                  </a:lnTo>
                  <a:lnTo>
                    <a:pt x="654" y="1056"/>
                  </a:lnTo>
                  <a:lnTo>
                    <a:pt x="630" y="1056"/>
                  </a:lnTo>
                  <a:lnTo>
                    <a:pt x="606" y="1068"/>
                  </a:lnTo>
                  <a:lnTo>
                    <a:pt x="600" y="1092"/>
                  </a:lnTo>
                  <a:lnTo>
                    <a:pt x="600" y="1098"/>
                  </a:lnTo>
                  <a:lnTo>
                    <a:pt x="588" y="1104"/>
                  </a:lnTo>
                  <a:lnTo>
                    <a:pt x="582" y="1104"/>
                  </a:lnTo>
                  <a:lnTo>
                    <a:pt x="570" y="1110"/>
                  </a:lnTo>
                  <a:lnTo>
                    <a:pt x="564" y="1110"/>
                  </a:lnTo>
                  <a:close/>
                </a:path>
              </a:pathLst>
            </a:custGeom>
            <a:solidFill>
              <a:srgbClr val="FFC000"/>
            </a:solidFill>
            <a:ln w="9525">
              <a:solidFill>
                <a:schemeClr val="bg1"/>
              </a:solidFill>
              <a:round/>
              <a:headEnd/>
              <a:tailEnd/>
            </a:ln>
          </p:spPr>
          <p:txBody>
            <a:bodyPr/>
            <a:lstStyle/>
            <a:p>
              <a:endParaRPr lang="en-GB">
                <a:solidFill>
                  <a:schemeClr val="bg1"/>
                </a:solidFill>
              </a:endParaRPr>
            </a:p>
          </p:txBody>
        </p:sp>
        <p:sp>
          <p:nvSpPr>
            <p:cNvPr id="19489" name="Freeform 13"/>
            <p:cNvSpPr>
              <a:spLocks/>
            </p:cNvSpPr>
            <p:nvPr/>
          </p:nvSpPr>
          <p:spPr bwMode="gray">
            <a:xfrm>
              <a:off x="3131659" y="2452935"/>
              <a:ext cx="1362105" cy="1282595"/>
            </a:xfrm>
            <a:custGeom>
              <a:avLst/>
              <a:gdLst>
                <a:gd name="T0" fmla="*/ 108029 w 1740"/>
                <a:gd name="T1" fmla="*/ 108093 h 1590"/>
                <a:gd name="T2" fmla="*/ 100201 w 1740"/>
                <a:gd name="T3" fmla="*/ 105673 h 1590"/>
                <a:gd name="T4" fmla="*/ 94721 w 1740"/>
                <a:gd name="T5" fmla="*/ 104866 h 1590"/>
                <a:gd name="T6" fmla="*/ 93155 w 1740"/>
                <a:gd name="T7" fmla="*/ 108093 h 1590"/>
                <a:gd name="T8" fmla="*/ 86110 w 1740"/>
                <a:gd name="T9" fmla="*/ 106480 h 1590"/>
                <a:gd name="T10" fmla="*/ 86893 w 1740"/>
                <a:gd name="T11" fmla="*/ 102446 h 1590"/>
                <a:gd name="T12" fmla="*/ 80630 w 1740"/>
                <a:gd name="T13" fmla="*/ 94380 h 1590"/>
                <a:gd name="T14" fmla="*/ 72802 w 1740"/>
                <a:gd name="T15" fmla="*/ 99220 h 1590"/>
                <a:gd name="T16" fmla="*/ 62626 w 1740"/>
                <a:gd name="T17" fmla="*/ 95186 h 1590"/>
                <a:gd name="T18" fmla="*/ 51666 w 1740"/>
                <a:gd name="T19" fmla="*/ 94380 h 1590"/>
                <a:gd name="T20" fmla="*/ 51666 w 1740"/>
                <a:gd name="T21" fmla="*/ 88733 h 1590"/>
                <a:gd name="T22" fmla="*/ 54015 w 1740"/>
                <a:gd name="T23" fmla="*/ 86313 h 1590"/>
                <a:gd name="T24" fmla="*/ 53232 w 1740"/>
                <a:gd name="T25" fmla="*/ 82280 h 1590"/>
                <a:gd name="T26" fmla="*/ 53232 w 1740"/>
                <a:gd name="T27" fmla="*/ 77440 h 1590"/>
                <a:gd name="T28" fmla="*/ 52449 w 1740"/>
                <a:gd name="T29" fmla="*/ 66146 h 1590"/>
                <a:gd name="T30" fmla="*/ 45403 w 1740"/>
                <a:gd name="T31" fmla="*/ 66146 h 1590"/>
                <a:gd name="T32" fmla="*/ 40707 w 1740"/>
                <a:gd name="T33" fmla="*/ 66146 h 1590"/>
                <a:gd name="T34" fmla="*/ 36010 w 1740"/>
                <a:gd name="T35" fmla="*/ 64533 h 1590"/>
                <a:gd name="T36" fmla="*/ 35227 w 1740"/>
                <a:gd name="T37" fmla="*/ 59693 h 1590"/>
                <a:gd name="T38" fmla="*/ 40707 w 1740"/>
                <a:gd name="T39" fmla="*/ 56466 h 1590"/>
                <a:gd name="T40" fmla="*/ 40707 w 1740"/>
                <a:gd name="T41" fmla="*/ 51626 h 1590"/>
                <a:gd name="T42" fmla="*/ 32878 w 1740"/>
                <a:gd name="T43" fmla="*/ 42753 h 1590"/>
                <a:gd name="T44" fmla="*/ 27399 w 1740"/>
                <a:gd name="T45" fmla="*/ 41947 h 1590"/>
                <a:gd name="T46" fmla="*/ 15656 w 1740"/>
                <a:gd name="T47" fmla="*/ 41140 h 1590"/>
                <a:gd name="T48" fmla="*/ 13308 w 1740"/>
                <a:gd name="T49" fmla="*/ 45173 h 1590"/>
                <a:gd name="T50" fmla="*/ 8611 w 1740"/>
                <a:gd name="T51" fmla="*/ 49206 h 1590"/>
                <a:gd name="T52" fmla="*/ 5480 w 1740"/>
                <a:gd name="T53" fmla="*/ 50820 h 1590"/>
                <a:gd name="T54" fmla="*/ 0 w 1740"/>
                <a:gd name="T55" fmla="*/ 44366 h 1590"/>
                <a:gd name="T56" fmla="*/ 1566 w 1740"/>
                <a:gd name="T57" fmla="*/ 40333 h 1590"/>
                <a:gd name="T58" fmla="*/ 0 w 1740"/>
                <a:gd name="T59" fmla="*/ 35493 h 1590"/>
                <a:gd name="T60" fmla="*/ 1566 w 1740"/>
                <a:gd name="T61" fmla="*/ 30653 h 1590"/>
                <a:gd name="T62" fmla="*/ 5480 w 1740"/>
                <a:gd name="T63" fmla="*/ 28233 h 1590"/>
                <a:gd name="T64" fmla="*/ 8611 w 1740"/>
                <a:gd name="T65" fmla="*/ 24200 h 1590"/>
                <a:gd name="T66" fmla="*/ 16439 w 1740"/>
                <a:gd name="T67" fmla="*/ 20973 h 1590"/>
                <a:gd name="T68" fmla="*/ 22702 w 1740"/>
                <a:gd name="T69" fmla="*/ 20167 h 1590"/>
                <a:gd name="T70" fmla="*/ 27399 w 1740"/>
                <a:gd name="T71" fmla="*/ 16940 h 1590"/>
                <a:gd name="T72" fmla="*/ 28181 w 1740"/>
                <a:gd name="T73" fmla="*/ 12907 h 1590"/>
                <a:gd name="T74" fmla="*/ 32096 w 1740"/>
                <a:gd name="T75" fmla="*/ 8873 h 1590"/>
                <a:gd name="T76" fmla="*/ 39924 w 1740"/>
                <a:gd name="T77" fmla="*/ 7260 h 1590"/>
                <a:gd name="T78" fmla="*/ 46186 w 1740"/>
                <a:gd name="T79" fmla="*/ 16940 h 1590"/>
                <a:gd name="T80" fmla="*/ 50883 w 1740"/>
                <a:gd name="T81" fmla="*/ 10487 h 1590"/>
                <a:gd name="T82" fmla="*/ 57146 w 1740"/>
                <a:gd name="T83" fmla="*/ 6453 h 1590"/>
                <a:gd name="T84" fmla="*/ 64191 w 1740"/>
                <a:gd name="T85" fmla="*/ 9680 h 1590"/>
                <a:gd name="T86" fmla="*/ 68888 w 1740"/>
                <a:gd name="T87" fmla="*/ 9680 h 1590"/>
                <a:gd name="T88" fmla="*/ 77499 w 1740"/>
                <a:gd name="T89" fmla="*/ 5647 h 1590"/>
                <a:gd name="T90" fmla="*/ 89241 w 1740"/>
                <a:gd name="T91" fmla="*/ 0 h 1590"/>
                <a:gd name="T92" fmla="*/ 91590 w 1740"/>
                <a:gd name="T93" fmla="*/ 8067 h 1590"/>
                <a:gd name="T94" fmla="*/ 103332 w 1740"/>
                <a:gd name="T95" fmla="*/ 13713 h 1590"/>
                <a:gd name="T96" fmla="*/ 109595 w 1740"/>
                <a:gd name="T97" fmla="*/ 20167 h 1590"/>
                <a:gd name="T98" fmla="*/ 109595 w 1740"/>
                <a:gd name="T99" fmla="*/ 26620 h 1590"/>
                <a:gd name="T100" fmla="*/ 109595 w 1740"/>
                <a:gd name="T101" fmla="*/ 35493 h 1590"/>
                <a:gd name="T102" fmla="*/ 108029 w 1740"/>
                <a:gd name="T103" fmla="*/ 38720 h 1590"/>
                <a:gd name="T104" fmla="*/ 110377 w 1740"/>
                <a:gd name="T105" fmla="*/ 39527 h 1590"/>
                <a:gd name="T106" fmla="*/ 114292 w 1740"/>
                <a:gd name="T107" fmla="*/ 40333 h 1590"/>
                <a:gd name="T108" fmla="*/ 116640 w 1740"/>
                <a:gd name="T109" fmla="*/ 47593 h 1590"/>
                <a:gd name="T110" fmla="*/ 115857 w 1740"/>
                <a:gd name="T111" fmla="*/ 54046 h 1590"/>
                <a:gd name="T112" fmla="*/ 110377 w 1740"/>
                <a:gd name="T113" fmla="*/ 62920 h 1590"/>
                <a:gd name="T114" fmla="*/ 110377 w 1740"/>
                <a:gd name="T115" fmla="*/ 73406 h 1590"/>
                <a:gd name="T116" fmla="*/ 108029 w 1740"/>
                <a:gd name="T117" fmla="*/ 82280 h 1590"/>
                <a:gd name="T118" fmla="*/ 108029 w 1740"/>
                <a:gd name="T119" fmla="*/ 88733 h 1590"/>
                <a:gd name="T120" fmla="*/ 112726 w 1740"/>
                <a:gd name="T121" fmla="*/ 95186 h 1590"/>
                <a:gd name="T122" fmla="*/ 111943 w 1740"/>
                <a:gd name="T123" fmla="*/ 100833 h 1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0"/>
                <a:gd name="T187" fmla="*/ 0 h 1590"/>
                <a:gd name="T188" fmla="*/ 1740 w 1740"/>
                <a:gd name="T189" fmla="*/ 1590 h 159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0" h="1590">
                  <a:moveTo>
                    <a:pt x="1638" y="1458"/>
                  </a:moveTo>
                  <a:lnTo>
                    <a:pt x="1638" y="1482"/>
                  </a:lnTo>
                  <a:lnTo>
                    <a:pt x="1638" y="1500"/>
                  </a:lnTo>
                  <a:lnTo>
                    <a:pt x="1626" y="1500"/>
                  </a:lnTo>
                  <a:lnTo>
                    <a:pt x="1620" y="1500"/>
                  </a:lnTo>
                  <a:lnTo>
                    <a:pt x="1614" y="1500"/>
                  </a:lnTo>
                  <a:lnTo>
                    <a:pt x="1614" y="1506"/>
                  </a:lnTo>
                  <a:lnTo>
                    <a:pt x="1614" y="1512"/>
                  </a:lnTo>
                  <a:lnTo>
                    <a:pt x="1620" y="1518"/>
                  </a:lnTo>
                  <a:lnTo>
                    <a:pt x="1614" y="1524"/>
                  </a:lnTo>
                  <a:lnTo>
                    <a:pt x="1590" y="1536"/>
                  </a:lnTo>
                  <a:lnTo>
                    <a:pt x="1584" y="1566"/>
                  </a:lnTo>
                  <a:lnTo>
                    <a:pt x="1578" y="1590"/>
                  </a:lnTo>
                  <a:lnTo>
                    <a:pt x="1548" y="1590"/>
                  </a:lnTo>
                  <a:lnTo>
                    <a:pt x="1542" y="1584"/>
                  </a:lnTo>
                  <a:lnTo>
                    <a:pt x="1542" y="1572"/>
                  </a:lnTo>
                  <a:lnTo>
                    <a:pt x="1536" y="1566"/>
                  </a:lnTo>
                  <a:lnTo>
                    <a:pt x="1536" y="1554"/>
                  </a:lnTo>
                  <a:lnTo>
                    <a:pt x="1536" y="1548"/>
                  </a:lnTo>
                  <a:lnTo>
                    <a:pt x="1506" y="1530"/>
                  </a:lnTo>
                  <a:lnTo>
                    <a:pt x="1488" y="1506"/>
                  </a:lnTo>
                  <a:lnTo>
                    <a:pt x="1464" y="1500"/>
                  </a:lnTo>
                  <a:lnTo>
                    <a:pt x="1470" y="1494"/>
                  </a:lnTo>
                  <a:lnTo>
                    <a:pt x="1470" y="1488"/>
                  </a:lnTo>
                  <a:lnTo>
                    <a:pt x="1470" y="1482"/>
                  </a:lnTo>
                  <a:lnTo>
                    <a:pt x="1428" y="1464"/>
                  </a:lnTo>
                  <a:lnTo>
                    <a:pt x="1404" y="1470"/>
                  </a:lnTo>
                  <a:lnTo>
                    <a:pt x="1398" y="1470"/>
                  </a:lnTo>
                  <a:lnTo>
                    <a:pt x="1392" y="1476"/>
                  </a:lnTo>
                  <a:lnTo>
                    <a:pt x="1386" y="1476"/>
                  </a:lnTo>
                  <a:lnTo>
                    <a:pt x="1386" y="1482"/>
                  </a:lnTo>
                  <a:lnTo>
                    <a:pt x="1392" y="1482"/>
                  </a:lnTo>
                  <a:lnTo>
                    <a:pt x="1386" y="1488"/>
                  </a:lnTo>
                  <a:lnTo>
                    <a:pt x="1386" y="1494"/>
                  </a:lnTo>
                  <a:lnTo>
                    <a:pt x="1380" y="1494"/>
                  </a:lnTo>
                  <a:lnTo>
                    <a:pt x="1380" y="1500"/>
                  </a:lnTo>
                  <a:lnTo>
                    <a:pt x="1380" y="1512"/>
                  </a:lnTo>
                  <a:lnTo>
                    <a:pt x="1380" y="1518"/>
                  </a:lnTo>
                  <a:lnTo>
                    <a:pt x="1380" y="1524"/>
                  </a:lnTo>
                  <a:lnTo>
                    <a:pt x="1380" y="1530"/>
                  </a:lnTo>
                  <a:lnTo>
                    <a:pt x="1374" y="1536"/>
                  </a:lnTo>
                  <a:lnTo>
                    <a:pt x="1374" y="1542"/>
                  </a:lnTo>
                  <a:lnTo>
                    <a:pt x="1368" y="1542"/>
                  </a:lnTo>
                  <a:lnTo>
                    <a:pt x="1362" y="1536"/>
                  </a:lnTo>
                  <a:lnTo>
                    <a:pt x="1356" y="1542"/>
                  </a:lnTo>
                  <a:lnTo>
                    <a:pt x="1344" y="1554"/>
                  </a:lnTo>
                  <a:lnTo>
                    <a:pt x="1332" y="1560"/>
                  </a:lnTo>
                  <a:lnTo>
                    <a:pt x="1302" y="1554"/>
                  </a:lnTo>
                  <a:lnTo>
                    <a:pt x="1290" y="1554"/>
                  </a:lnTo>
                  <a:lnTo>
                    <a:pt x="1278" y="1542"/>
                  </a:lnTo>
                  <a:lnTo>
                    <a:pt x="1272" y="1530"/>
                  </a:lnTo>
                  <a:lnTo>
                    <a:pt x="1272" y="1524"/>
                  </a:lnTo>
                  <a:lnTo>
                    <a:pt x="1272" y="1518"/>
                  </a:lnTo>
                  <a:lnTo>
                    <a:pt x="1266" y="1518"/>
                  </a:lnTo>
                  <a:lnTo>
                    <a:pt x="1266" y="1512"/>
                  </a:lnTo>
                  <a:lnTo>
                    <a:pt x="1266" y="1506"/>
                  </a:lnTo>
                  <a:lnTo>
                    <a:pt x="1272" y="1506"/>
                  </a:lnTo>
                  <a:lnTo>
                    <a:pt x="1272" y="1500"/>
                  </a:lnTo>
                  <a:lnTo>
                    <a:pt x="1278" y="1500"/>
                  </a:lnTo>
                  <a:lnTo>
                    <a:pt x="1278" y="1494"/>
                  </a:lnTo>
                  <a:lnTo>
                    <a:pt x="1278" y="1488"/>
                  </a:lnTo>
                  <a:lnTo>
                    <a:pt x="1284" y="1488"/>
                  </a:lnTo>
                  <a:lnTo>
                    <a:pt x="1284" y="1482"/>
                  </a:lnTo>
                  <a:lnTo>
                    <a:pt x="1290" y="1476"/>
                  </a:lnTo>
                  <a:lnTo>
                    <a:pt x="1284" y="1470"/>
                  </a:lnTo>
                  <a:lnTo>
                    <a:pt x="1278" y="1458"/>
                  </a:lnTo>
                  <a:lnTo>
                    <a:pt x="1278" y="1452"/>
                  </a:lnTo>
                  <a:lnTo>
                    <a:pt x="1260" y="1428"/>
                  </a:lnTo>
                  <a:lnTo>
                    <a:pt x="1254" y="1416"/>
                  </a:lnTo>
                  <a:lnTo>
                    <a:pt x="1254" y="1410"/>
                  </a:lnTo>
                  <a:lnTo>
                    <a:pt x="1248" y="1398"/>
                  </a:lnTo>
                  <a:lnTo>
                    <a:pt x="1242" y="1398"/>
                  </a:lnTo>
                  <a:lnTo>
                    <a:pt x="1236" y="1398"/>
                  </a:lnTo>
                  <a:lnTo>
                    <a:pt x="1218" y="1386"/>
                  </a:lnTo>
                  <a:lnTo>
                    <a:pt x="1212" y="1362"/>
                  </a:lnTo>
                  <a:lnTo>
                    <a:pt x="1200" y="1344"/>
                  </a:lnTo>
                  <a:lnTo>
                    <a:pt x="1188" y="1338"/>
                  </a:lnTo>
                  <a:lnTo>
                    <a:pt x="1164" y="1338"/>
                  </a:lnTo>
                  <a:lnTo>
                    <a:pt x="1158" y="1344"/>
                  </a:lnTo>
                  <a:lnTo>
                    <a:pt x="1152" y="1350"/>
                  </a:lnTo>
                  <a:lnTo>
                    <a:pt x="1152" y="1356"/>
                  </a:lnTo>
                  <a:lnTo>
                    <a:pt x="1140" y="1362"/>
                  </a:lnTo>
                  <a:lnTo>
                    <a:pt x="1134" y="1380"/>
                  </a:lnTo>
                  <a:lnTo>
                    <a:pt x="1116" y="1398"/>
                  </a:lnTo>
                  <a:lnTo>
                    <a:pt x="1110" y="1416"/>
                  </a:lnTo>
                  <a:lnTo>
                    <a:pt x="1086" y="1416"/>
                  </a:lnTo>
                  <a:lnTo>
                    <a:pt x="1080" y="1410"/>
                  </a:lnTo>
                  <a:lnTo>
                    <a:pt x="1074" y="1410"/>
                  </a:lnTo>
                  <a:lnTo>
                    <a:pt x="1074" y="1404"/>
                  </a:lnTo>
                  <a:lnTo>
                    <a:pt x="1062" y="1404"/>
                  </a:lnTo>
                  <a:lnTo>
                    <a:pt x="1062" y="1380"/>
                  </a:lnTo>
                  <a:lnTo>
                    <a:pt x="1038" y="1380"/>
                  </a:lnTo>
                  <a:lnTo>
                    <a:pt x="1026" y="1350"/>
                  </a:lnTo>
                  <a:lnTo>
                    <a:pt x="996" y="1326"/>
                  </a:lnTo>
                  <a:lnTo>
                    <a:pt x="966" y="1314"/>
                  </a:lnTo>
                  <a:lnTo>
                    <a:pt x="954" y="1320"/>
                  </a:lnTo>
                  <a:lnTo>
                    <a:pt x="942" y="1338"/>
                  </a:lnTo>
                  <a:lnTo>
                    <a:pt x="930" y="1338"/>
                  </a:lnTo>
                  <a:lnTo>
                    <a:pt x="924" y="1350"/>
                  </a:lnTo>
                  <a:lnTo>
                    <a:pt x="906" y="1356"/>
                  </a:lnTo>
                  <a:lnTo>
                    <a:pt x="846" y="1356"/>
                  </a:lnTo>
                  <a:lnTo>
                    <a:pt x="834" y="1368"/>
                  </a:lnTo>
                  <a:lnTo>
                    <a:pt x="810" y="1362"/>
                  </a:lnTo>
                  <a:lnTo>
                    <a:pt x="792" y="1362"/>
                  </a:lnTo>
                  <a:lnTo>
                    <a:pt x="780" y="1368"/>
                  </a:lnTo>
                  <a:lnTo>
                    <a:pt x="762" y="1368"/>
                  </a:lnTo>
                  <a:lnTo>
                    <a:pt x="762" y="1362"/>
                  </a:lnTo>
                  <a:lnTo>
                    <a:pt x="750" y="1362"/>
                  </a:lnTo>
                  <a:lnTo>
                    <a:pt x="750" y="1338"/>
                  </a:lnTo>
                  <a:lnTo>
                    <a:pt x="762" y="1338"/>
                  </a:lnTo>
                  <a:lnTo>
                    <a:pt x="762" y="1326"/>
                  </a:lnTo>
                  <a:lnTo>
                    <a:pt x="762" y="1314"/>
                  </a:lnTo>
                  <a:lnTo>
                    <a:pt x="732" y="1314"/>
                  </a:lnTo>
                  <a:lnTo>
                    <a:pt x="726" y="1308"/>
                  </a:lnTo>
                  <a:lnTo>
                    <a:pt x="732" y="1284"/>
                  </a:lnTo>
                  <a:lnTo>
                    <a:pt x="732" y="1278"/>
                  </a:lnTo>
                  <a:lnTo>
                    <a:pt x="738" y="1272"/>
                  </a:lnTo>
                  <a:lnTo>
                    <a:pt x="738" y="1266"/>
                  </a:lnTo>
                  <a:lnTo>
                    <a:pt x="744" y="1266"/>
                  </a:lnTo>
                  <a:lnTo>
                    <a:pt x="750" y="1272"/>
                  </a:lnTo>
                  <a:lnTo>
                    <a:pt x="756" y="1266"/>
                  </a:lnTo>
                  <a:lnTo>
                    <a:pt x="762" y="1266"/>
                  </a:lnTo>
                  <a:lnTo>
                    <a:pt x="768" y="1260"/>
                  </a:lnTo>
                  <a:lnTo>
                    <a:pt x="774" y="1260"/>
                  </a:lnTo>
                  <a:lnTo>
                    <a:pt x="780" y="1254"/>
                  </a:lnTo>
                  <a:lnTo>
                    <a:pt x="774" y="1254"/>
                  </a:lnTo>
                  <a:lnTo>
                    <a:pt x="768" y="1254"/>
                  </a:lnTo>
                  <a:lnTo>
                    <a:pt x="774" y="1248"/>
                  </a:lnTo>
                  <a:lnTo>
                    <a:pt x="774" y="1242"/>
                  </a:lnTo>
                  <a:lnTo>
                    <a:pt x="780" y="1236"/>
                  </a:lnTo>
                  <a:lnTo>
                    <a:pt x="786" y="1236"/>
                  </a:lnTo>
                  <a:lnTo>
                    <a:pt x="792" y="1230"/>
                  </a:lnTo>
                  <a:lnTo>
                    <a:pt x="792" y="1236"/>
                  </a:lnTo>
                  <a:lnTo>
                    <a:pt x="798" y="1236"/>
                  </a:lnTo>
                  <a:lnTo>
                    <a:pt x="798" y="1230"/>
                  </a:lnTo>
                  <a:lnTo>
                    <a:pt x="804" y="1230"/>
                  </a:lnTo>
                  <a:lnTo>
                    <a:pt x="804" y="1218"/>
                  </a:lnTo>
                  <a:lnTo>
                    <a:pt x="804" y="1206"/>
                  </a:lnTo>
                  <a:lnTo>
                    <a:pt x="792" y="1188"/>
                  </a:lnTo>
                  <a:lnTo>
                    <a:pt x="768" y="1182"/>
                  </a:lnTo>
                  <a:lnTo>
                    <a:pt x="768" y="1170"/>
                  </a:lnTo>
                  <a:lnTo>
                    <a:pt x="774" y="1170"/>
                  </a:lnTo>
                  <a:lnTo>
                    <a:pt x="780" y="1170"/>
                  </a:lnTo>
                  <a:lnTo>
                    <a:pt x="786" y="1170"/>
                  </a:lnTo>
                  <a:lnTo>
                    <a:pt x="780" y="1152"/>
                  </a:lnTo>
                  <a:lnTo>
                    <a:pt x="780" y="1146"/>
                  </a:lnTo>
                  <a:lnTo>
                    <a:pt x="744" y="1140"/>
                  </a:lnTo>
                  <a:lnTo>
                    <a:pt x="732" y="1128"/>
                  </a:lnTo>
                  <a:lnTo>
                    <a:pt x="720" y="1122"/>
                  </a:lnTo>
                  <a:lnTo>
                    <a:pt x="732" y="1116"/>
                  </a:lnTo>
                  <a:lnTo>
                    <a:pt x="750" y="1104"/>
                  </a:lnTo>
                  <a:lnTo>
                    <a:pt x="756" y="1116"/>
                  </a:lnTo>
                  <a:lnTo>
                    <a:pt x="774" y="1116"/>
                  </a:lnTo>
                  <a:lnTo>
                    <a:pt x="780" y="1104"/>
                  </a:lnTo>
                  <a:lnTo>
                    <a:pt x="780" y="1080"/>
                  </a:lnTo>
                  <a:lnTo>
                    <a:pt x="786" y="1080"/>
                  </a:lnTo>
                  <a:lnTo>
                    <a:pt x="786" y="1074"/>
                  </a:lnTo>
                  <a:lnTo>
                    <a:pt x="792" y="1074"/>
                  </a:lnTo>
                  <a:lnTo>
                    <a:pt x="786" y="1068"/>
                  </a:lnTo>
                  <a:lnTo>
                    <a:pt x="786" y="1062"/>
                  </a:lnTo>
                  <a:lnTo>
                    <a:pt x="786" y="1056"/>
                  </a:lnTo>
                  <a:lnTo>
                    <a:pt x="792" y="1050"/>
                  </a:lnTo>
                  <a:lnTo>
                    <a:pt x="786" y="1020"/>
                  </a:lnTo>
                  <a:lnTo>
                    <a:pt x="780" y="960"/>
                  </a:lnTo>
                  <a:lnTo>
                    <a:pt x="768" y="942"/>
                  </a:lnTo>
                  <a:lnTo>
                    <a:pt x="732" y="936"/>
                  </a:lnTo>
                  <a:lnTo>
                    <a:pt x="732" y="942"/>
                  </a:lnTo>
                  <a:lnTo>
                    <a:pt x="726" y="942"/>
                  </a:lnTo>
                  <a:lnTo>
                    <a:pt x="720" y="936"/>
                  </a:lnTo>
                  <a:lnTo>
                    <a:pt x="714" y="942"/>
                  </a:lnTo>
                  <a:lnTo>
                    <a:pt x="708" y="942"/>
                  </a:lnTo>
                  <a:lnTo>
                    <a:pt x="702" y="942"/>
                  </a:lnTo>
                  <a:lnTo>
                    <a:pt x="690" y="936"/>
                  </a:lnTo>
                  <a:lnTo>
                    <a:pt x="684" y="936"/>
                  </a:lnTo>
                  <a:lnTo>
                    <a:pt x="678" y="936"/>
                  </a:lnTo>
                  <a:lnTo>
                    <a:pt x="672" y="936"/>
                  </a:lnTo>
                  <a:lnTo>
                    <a:pt x="666" y="942"/>
                  </a:lnTo>
                  <a:lnTo>
                    <a:pt x="660" y="942"/>
                  </a:lnTo>
                  <a:lnTo>
                    <a:pt x="654" y="942"/>
                  </a:lnTo>
                  <a:lnTo>
                    <a:pt x="648" y="942"/>
                  </a:lnTo>
                  <a:lnTo>
                    <a:pt x="642" y="936"/>
                  </a:lnTo>
                  <a:lnTo>
                    <a:pt x="636" y="936"/>
                  </a:lnTo>
                  <a:lnTo>
                    <a:pt x="630" y="930"/>
                  </a:lnTo>
                  <a:lnTo>
                    <a:pt x="618" y="930"/>
                  </a:lnTo>
                  <a:lnTo>
                    <a:pt x="612" y="930"/>
                  </a:lnTo>
                  <a:lnTo>
                    <a:pt x="606" y="936"/>
                  </a:lnTo>
                  <a:lnTo>
                    <a:pt x="600" y="942"/>
                  </a:lnTo>
                  <a:lnTo>
                    <a:pt x="600" y="936"/>
                  </a:lnTo>
                  <a:lnTo>
                    <a:pt x="594" y="930"/>
                  </a:lnTo>
                  <a:lnTo>
                    <a:pt x="588" y="930"/>
                  </a:lnTo>
                  <a:lnTo>
                    <a:pt x="582" y="930"/>
                  </a:lnTo>
                  <a:lnTo>
                    <a:pt x="576" y="930"/>
                  </a:lnTo>
                  <a:lnTo>
                    <a:pt x="564" y="936"/>
                  </a:lnTo>
                  <a:lnTo>
                    <a:pt x="558" y="936"/>
                  </a:lnTo>
                  <a:lnTo>
                    <a:pt x="546" y="924"/>
                  </a:lnTo>
                  <a:lnTo>
                    <a:pt x="540" y="924"/>
                  </a:lnTo>
                  <a:lnTo>
                    <a:pt x="534" y="918"/>
                  </a:lnTo>
                  <a:lnTo>
                    <a:pt x="528" y="918"/>
                  </a:lnTo>
                  <a:lnTo>
                    <a:pt x="516" y="918"/>
                  </a:lnTo>
                  <a:lnTo>
                    <a:pt x="516" y="924"/>
                  </a:lnTo>
                  <a:lnTo>
                    <a:pt x="516" y="918"/>
                  </a:lnTo>
                  <a:lnTo>
                    <a:pt x="516" y="912"/>
                  </a:lnTo>
                  <a:lnTo>
                    <a:pt x="510" y="894"/>
                  </a:lnTo>
                  <a:lnTo>
                    <a:pt x="510" y="882"/>
                  </a:lnTo>
                  <a:lnTo>
                    <a:pt x="510" y="876"/>
                  </a:lnTo>
                  <a:lnTo>
                    <a:pt x="516" y="870"/>
                  </a:lnTo>
                  <a:lnTo>
                    <a:pt x="510" y="864"/>
                  </a:lnTo>
                  <a:lnTo>
                    <a:pt x="516" y="858"/>
                  </a:lnTo>
                  <a:lnTo>
                    <a:pt x="522" y="858"/>
                  </a:lnTo>
                  <a:lnTo>
                    <a:pt x="528" y="858"/>
                  </a:lnTo>
                  <a:lnTo>
                    <a:pt x="522" y="852"/>
                  </a:lnTo>
                  <a:lnTo>
                    <a:pt x="528" y="852"/>
                  </a:lnTo>
                  <a:lnTo>
                    <a:pt x="528" y="846"/>
                  </a:lnTo>
                  <a:lnTo>
                    <a:pt x="552" y="846"/>
                  </a:lnTo>
                  <a:lnTo>
                    <a:pt x="558" y="840"/>
                  </a:lnTo>
                  <a:lnTo>
                    <a:pt x="564" y="828"/>
                  </a:lnTo>
                  <a:lnTo>
                    <a:pt x="570" y="816"/>
                  </a:lnTo>
                  <a:lnTo>
                    <a:pt x="582" y="810"/>
                  </a:lnTo>
                  <a:lnTo>
                    <a:pt x="588" y="804"/>
                  </a:lnTo>
                  <a:lnTo>
                    <a:pt x="594" y="804"/>
                  </a:lnTo>
                  <a:lnTo>
                    <a:pt x="594" y="792"/>
                  </a:lnTo>
                  <a:lnTo>
                    <a:pt x="600" y="786"/>
                  </a:lnTo>
                  <a:lnTo>
                    <a:pt x="606" y="780"/>
                  </a:lnTo>
                  <a:lnTo>
                    <a:pt x="612" y="774"/>
                  </a:lnTo>
                  <a:lnTo>
                    <a:pt x="618" y="774"/>
                  </a:lnTo>
                  <a:lnTo>
                    <a:pt x="618" y="768"/>
                  </a:lnTo>
                  <a:lnTo>
                    <a:pt x="618" y="762"/>
                  </a:lnTo>
                  <a:lnTo>
                    <a:pt x="624" y="756"/>
                  </a:lnTo>
                  <a:lnTo>
                    <a:pt x="618" y="750"/>
                  </a:lnTo>
                  <a:lnTo>
                    <a:pt x="618" y="744"/>
                  </a:lnTo>
                  <a:lnTo>
                    <a:pt x="600" y="738"/>
                  </a:lnTo>
                  <a:lnTo>
                    <a:pt x="558" y="744"/>
                  </a:lnTo>
                  <a:lnTo>
                    <a:pt x="552" y="732"/>
                  </a:lnTo>
                  <a:lnTo>
                    <a:pt x="546" y="720"/>
                  </a:lnTo>
                  <a:lnTo>
                    <a:pt x="564" y="702"/>
                  </a:lnTo>
                  <a:lnTo>
                    <a:pt x="570" y="684"/>
                  </a:lnTo>
                  <a:lnTo>
                    <a:pt x="564" y="648"/>
                  </a:lnTo>
                  <a:lnTo>
                    <a:pt x="534" y="624"/>
                  </a:lnTo>
                  <a:lnTo>
                    <a:pt x="504" y="612"/>
                  </a:lnTo>
                  <a:lnTo>
                    <a:pt x="498" y="606"/>
                  </a:lnTo>
                  <a:lnTo>
                    <a:pt x="492" y="600"/>
                  </a:lnTo>
                  <a:lnTo>
                    <a:pt x="486" y="606"/>
                  </a:lnTo>
                  <a:lnTo>
                    <a:pt x="480" y="558"/>
                  </a:lnTo>
                  <a:lnTo>
                    <a:pt x="462" y="546"/>
                  </a:lnTo>
                  <a:lnTo>
                    <a:pt x="408" y="540"/>
                  </a:lnTo>
                  <a:lnTo>
                    <a:pt x="408" y="546"/>
                  </a:lnTo>
                  <a:lnTo>
                    <a:pt x="408" y="558"/>
                  </a:lnTo>
                  <a:lnTo>
                    <a:pt x="408" y="564"/>
                  </a:lnTo>
                  <a:lnTo>
                    <a:pt x="408" y="570"/>
                  </a:lnTo>
                  <a:lnTo>
                    <a:pt x="414" y="582"/>
                  </a:lnTo>
                  <a:lnTo>
                    <a:pt x="408" y="594"/>
                  </a:lnTo>
                  <a:lnTo>
                    <a:pt x="414" y="594"/>
                  </a:lnTo>
                  <a:lnTo>
                    <a:pt x="408" y="600"/>
                  </a:lnTo>
                  <a:lnTo>
                    <a:pt x="348" y="600"/>
                  </a:lnTo>
                  <a:lnTo>
                    <a:pt x="324" y="600"/>
                  </a:lnTo>
                  <a:lnTo>
                    <a:pt x="324" y="612"/>
                  </a:lnTo>
                  <a:lnTo>
                    <a:pt x="306" y="618"/>
                  </a:lnTo>
                  <a:lnTo>
                    <a:pt x="312" y="618"/>
                  </a:lnTo>
                  <a:lnTo>
                    <a:pt x="294" y="588"/>
                  </a:lnTo>
                  <a:lnTo>
                    <a:pt x="258" y="564"/>
                  </a:lnTo>
                  <a:lnTo>
                    <a:pt x="252" y="564"/>
                  </a:lnTo>
                  <a:lnTo>
                    <a:pt x="252" y="576"/>
                  </a:lnTo>
                  <a:lnTo>
                    <a:pt x="240" y="582"/>
                  </a:lnTo>
                  <a:lnTo>
                    <a:pt x="234" y="582"/>
                  </a:lnTo>
                  <a:lnTo>
                    <a:pt x="228" y="588"/>
                  </a:lnTo>
                  <a:lnTo>
                    <a:pt x="222" y="588"/>
                  </a:lnTo>
                  <a:lnTo>
                    <a:pt x="216" y="594"/>
                  </a:lnTo>
                  <a:lnTo>
                    <a:pt x="204" y="594"/>
                  </a:lnTo>
                  <a:lnTo>
                    <a:pt x="198" y="600"/>
                  </a:lnTo>
                  <a:lnTo>
                    <a:pt x="192" y="612"/>
                  </a:lnTo>
                  <a:lnTo>
                    <a:pt x="192" y="618"/>
                  </a:lnTo>
                  <a:lnTo>
                    <a:pt x="198" y="624"/>
                  </a:lnTo>
                  <a:lnTo>
                    <a:pt x="192" y="624"/>
                  </a:lnTo>
                  <a:lnTo>
                    <a:pt x="192" y="630"/>
                  </a:lnTo>
                  <a:lnTo>
                    <a:pt x="192" y="642"/>
                  </a:lnTo>
                  <a:lnTo>
                    <a:pt x="180" y="648"/>
                  </a:lnTo>
                  <a:lnTo>
                    <a:pt x="174" y="654"/>
                  </a:lnTo>
                  <a:lnTo>
                    <a:pt x="168" y="660"/>
                  </a:lnTo>
                  <a:lnTo>
                    <a:pt x="162" y="660"/>
                  </a:lnTo>
                  <a:lnTo>
                    <a:pt x="156" y="666"/>
                  </a:lnTo>
                  <a:lnTo>
                    <a:pt x="156" y="672"/>
                  </a:lnTo>
                  <a:lnTo>
                    <a:pt x="150" y="678"/>
                  </a:lnTo>
                  <a:lnTo>
                    <a:pt x="144" y="684"/>
                  </a:lnTo>
                  <a:lnTo>
                    <a:pt x="138" y="690"/>
                  </a:lnTo>
                  <a:lnTo>
                    <a:pt x="132" y="690"/>
                  </a:lnTo>
                  <a:lnTo>
                    <a:pt x="126" y="702"/>
                  </a:lnTo>
                  <a:lnTo>
                    <a:pt x="132" y="708"/>
                  </a:lnTo>
                  <a:lnTo>
                    <a:pt x="126" y="708"/>
                  </a:lnTo>
                  <a:lnTo>
                    <a:pt x="120" y="708"/>
                  </a:lnTo>
                  <a:lnTo>
                    <a:pt x="114" y="708"/>
                  </a:lnTo>
                  <a:lnTo>
                    <a:pt x="108" y="708"/>
                  </a:lnTo>
                  <a:lnTo>
                    <a:pt x="108" y="714"/>
                  </a:lnTo>
                  <a:lnTo>
                    <a:pt x="102" y="714"/>
                  </a:lnTo>
                  <a:lnTo>
                    <a:pt x="96" y="714"/>
                  </a:lnTo>
                  <a:lnTo>
                    <a:pt x="90" y="714"/>
                  </a:lnTo>
                  <a:lnTo>
                    <a:pt x="84" y="714"/>
                  </a:lnTo>
                  <a:lnTo>
                    <a:pt x="78" y="720"/>
                  </a:lnTo>
                  <a:lnTo>
                    <a:pt x="72" y="720"/>
                  </a:lnTo>
                  <a:lnTo>
                    <a:pt x="66" y="720"/>
                  </a:lnTo>
                  <a:lnTo>
                    <a:pt x="54" y="732"/>
                  </a:lnTo>
                  <a:lnTo>
                    <a:pt x="48" y="702"/>
                  </a:lnTo>
                  <a:lnTo>
                    <a:pt x="36" y="666"/>
                  </a:lnTo>
                  <a:lnTo>
                    <a:pt x="0" y="660"/>
                  </a:lnTo>
                  <a:lnTo>
                    <a:pt x="6" y="660"/>
                  </a:lnTo>
                  <a:lnTo>
                    <a:pt x="6" y="654"/>
                  </a:lnTo>
                  <a:lnTo>
                    <a:pt x="6" y="648"/>
                  </a:lnTo>
                  <a:lnTo>
                    <a:pt x="6" y="642"/>
                  </a:lnTo>
                  <a:lnTo>
                    <a:pt x="6" y="624"/>
                  </a:lnTo>
                  <a:lnTo>
                    <a:pt x="6" y="612"/>
                  </a:lnTo>
                  <a:lnTo>
                    <a:pt x="6" y="606"/>
                  </a:lnTo>
                  <a:lnTo>
                    <a:pt x="12" y="612"/>
                  </a:lnTo>
                  <a:lnTo>
                    <a:pt x="18" y="606"/>
                  </a:lnTo>
                  <a:lnTo>
                    <a:pt x="24" y="606"/>
                  </a:lnTo>
                  <a:lnTo>
                    <a:pt x="24" y="600"/>
                  </a:lnTo>
                  <a:lnTo>
                    <a:pt x="30" y="594"/>
                  </a:lnTo>
                  <a:lnTo>
                    <a:pt x="30" y="588"/>
                  </a:lnTo>
                  <a:lnTo>
                    <a:pt x="30" y="582"/>
                  </a:lnTo>
                  <a:lnTo>
                    <a:pt x="24" y="576"/>
                  </a:lnTo>
                  <a:lnTo>
                    <a:pt x="18" y="576"/>
                  </a:lnTo>
                  <a:lnTo>
                    <a:pt x="18" y="570"/>
                  </a:lnTo>
                  <a:lnTo>
                    <a:pt x="18" y="558"/>
                  </a:lnTo>
                  <a:lnTo>
                    <a:pt x="24" y="558"/>
                  </a:lnTo>
                  <a:lnTo>
                    <a:pt x="30" y="552"/>
                  </a:lnTo>
                  <a:lnTo>
                    <a:pt x="30" y="540"/>
                  </a:lnTo>
                  <a:lnTo>
                    <a:pt x="36" y="528"/>
                  </a:lnTo>
                  <a:lnTo>
                    <a:pt x="30" y="522"/>
                  </a:lnTo>
                  <a:lnTo>
                    <a:pt x="24" y="522"/>
                  </a:lnTo>
                  <a:lnTo>
                    <a:pt x="18" y="510"/>
                  </a:lnTo>
                  <a:lnTo>
                    <a:pt x="12" y="516"/>
                  </a:lnTo>
                  <a:lnTo>
                    <a:pt x="6" y="510"/>
                  </a:lnTo>
                  <a:lnTo>
                    <a:pt x="6" y="504"/>
                  </a:lnTo>
                  <a:lnTo>
                    <a:pt x="18" y="498"/>
                  </a:lnTo>
                  <a:lnTo>
                    <a:pt x="18" y="492"/>
                  </a:lnTo>
                  <a:lnTo>
                    <a:pt x="18" y="486"/>
                  </a:lnTo>
                  <a:lnTo>
                    <a:pt x="18" y="480"/>
                  </a:lnTo>
                  <a:lnTo>
                    <a:pt x="18" y="474"/>
                  </a:lnTo>
                  <a:lnTo>
                    <a:pt x="12" y="468"/>
                  </a:lnTo>
                  <a:lnTo>
                    <a:pt x="12" y="462"/>
                  </a:lnTo>
                  <a:lnTo>
                    <a:pt x="18" y="456"/>
                  </a:lnTo>
                  <a:lnTo>
                    <a:pt x="18" y="444"/>
                  </a:lnTo>
                  <a:lnTo>
                    <a:pt x="18" y="438"/>
                  </a:lnTo>
                  <a:lnTo>
                    <a:pt x="24" y="438"/>
                  </a:lnTo>
                  <a:lnTo>
                    <a:pt x="30" y="432"/>
                  </a:lnTo>
                  <a:lnTo>
                    <a:pt x="30" y="426"/>
                  </a:lnTo>
                  <a:lnTo>
                    <a:pt x="30" y="420"/>
                  </a:lnTo>
                  <a:lnTo>
                    <a:pt x="30" y="414"/>
                  </a:lnTo>
                  <a:lnTo>
                    <a:pt x="48" y="414"/>
                  </a:lnTo>
                  <a:lnTo>
                    <a:pt x="54" y="408"/>
                  </a:lnTo>
                  <a:lnTo>
                    <a:pt x="60" y="402"/>
                  </a:lnTo>
                  <a:lnTo>
                    <a:pt x="66" y="402"/>
                  </a:lnTo>
                  <a:lnTo>
                    <a:pt x="72" y="402"/>
                  </a:lnTo>
                  <a:lnTo>
                    <a:pt x="78" y="408"/>
                  </a:lnTo>
                  <a:lnTo>
                    <a:pt x="84" y="396"/>
                  </a:lnTo>
                  <a:lnTo>
                    <a:pt x="90" y="390"/>
                  </a:lnTo>
                  <a:lnTo>
                    <a:pt x="90" y="378"/>
                  </a:lnTo>
                  <a:lnTo>
                    <a:pt x="96" y="372"/>
                  </a:lnTo>
                  <a:lnTo>
                    <a:pt x="96" y="366"/>
                  </a:lnTo>
                  <a:lnTo>
                    <a:pt x="96" y="360"/>
                  </a:lnTo>
                  <a:lnTo>
                    <a:pt x="108" y="354"/>
                  </a:lnTo>
                  <a:lnTo>
                    <a:pt x="114" y="348"/>
                  </a:lnTo>
                  <a:lnTo>
                    <a:pt x="120" y="342"/>
                  </a:lnTo>
                  <a:lnTo>
                    <a:pt x="120" y="348"/>
                  </a:lnTo>
                  <a:lnTo>
                    <a:pt x="126" y="348"/>
                  </a:lnTo>
                  <a:lnTo>
                    <a:pt x="132" y="336"/>
                  </a:lnTo>
                  <a:lnTo>
                    <a:pt x="132" y="330"/>
                  </a:lnTo>
                  <a:lnTo>
                    <a:pt x="138" y="324"/>
                  </a:lnTo>
                  <a:lnTo>
                    <a:pt x="138" y="318"/>
                  </a:lnTo>
                  <a:lnTo>
                    <a:pt x="144" y="306"/>
                  </a:lnTo>
                  <a:lnTo>
                    <a:pt x="156" y="306"/>
                  </a:lnTo>
                  <a:lnTo>
                    <a:pt x="186" y="300"/>
                  </a:lnTo>
                  <a:lnTo>
                    <a:pt x="198" y="300"/>
                  </a:lnTo>
                  <a:lnTo>
                    <a:pt x="210" y="300"/>
                  </a:lnTo>
                  <a:lnTo>
                    <a:pt x="222" y="300"/>
                  </a:lnTo>
                  <a:lnTo>
                    <a:pt x="246" y="300"/>
                  </a:lnTo>
                  <a:lnTo>
                    <a:pt x="264" y="312"/>
                  </a:lnTo>
                  <a:lnTo>
                    <a:pt x="270" y="312"/>
                  </a:lnTo>
                  <a:lnTo>
                    <a:pt x="282" y="306"/>
                  </a:lnTo>
                  <a:lnTo>
                    <a:pt x="288" y="300"/>
                  </a:lnTo>
                  <a:lnTo>
                    <a:pt x="294" y="306"/>
                  </a:lnTo>
                  <a:lnTo>
                    <a:pt x="300" y="306"/>
                  </a:lnTo>
                  <a:lnTo>
                    <a:pt x="312" y="306"/>
                  </a:lnTo>
                  <a:lnTo>
                    <a:pt x="318" y="300"/>
                  </a:lnTo>
                  <a:lnTo>
                    <a:pt x="324" y="300"/>
                  </a:lnTo>
                  <a:lnTo>
                    <a:pt x="330" y="294"/>
                  </a:lnTo>
                  <a:lnTo>
                    <a:pt x="336" y="288"/>
                  </a:lnTo>
                  <a:lnTo>
                    <a:pt x="354" y="288"/>
                  </a:lnTo>
                  <a:lnTo>
                    <a:pt x="360" y="288"/>
                  </a:lnTo>
                  <a:lnTo>
                    <a:pt x="366" y="282"/>
                  </a:lnTo>
                  <a:lnTo>
                    <a:pt x="372" y="282"/>
                  </a:lnTo>
                  <a:lnTo>
                    <a:pt x="378" y="282"/>
                  </a:lnTo>
                  <a:lnTo>
                    <a:pt x="384" y="276"/>
                  </a:lnTo>
                  <a:lnTo>
                    <a:pt x="384" y="270"/>
                  </a:lnTo>
                  <a:lnTo>
                    <a:pt x="390" y="264"/>
                  </a:lnTo>
                  <a:lnTo>
                    <a:pt x="402" y="258"/>
                  </a:lnTo>
                  <a:lnTo>
                    <a:pt x="402" y="252"/>
                  </a:lnTo>
                  <a:lnTo>
                    <a:pt x="402" y="246"/>
                  </a:lnTo>
                  <a:lnTo>
                    <a:pt x="408" y="234"/>
                  </a:lnTo>
                  <a:lnTo>
                    <a:pt x="414" y="234"/>
                  </a:lnTo>
                  <a:lnTo>
                    <a:pt x="414" y="228"/>
                  </a:lnTo>
                  <a:lnTo>
                    <a:pt x="420" y="222"/>
                  </a:lnTo>
                  <a:lnTo>
                    <a:pt x="414" y="216"/>
                  </a:lnTo>
                  <a:lnTo>
                    <a:pt x="414" y="210"/>
                  </a:lnTo>
                  <a:lnTo>
                    <a:pt x="420" y="210"/>
                  </a:lnTo>
                  <a:lnTo>
                    <a:pt x="414" y="198"/>
                  </a:lnTo>
                  <a:lnTo>
                    <a:pt x="414" y="192"/>
                  </a:lnTo>
                  <a:lnTo>
                    <a:pt x="420" y="192"/>
                  </a:lnTo>
                  <a:lnTo>
                    <a:pt x="420" y="186"/>
                  </a:lnTo>
                  <a:lnTo>
                    <a:pt x="420" y="174"/>
                  </a:lnTo>
                  <a:lnTo>
                    <a:pt x="420" y="168"/>
                  </a:lnTo>
                  <a:lnTo>
                    <a:pt x="426" y="162"/>
                  </a:lnTo>
                  <a:lnTo>
                    <a:pt x="432" y="156"/>
                  </a:lnTo>
                  <a:lnTo>
                    <a:pt x="438" y="144"/>
                  </a:lnTo>
                  <a:lnTo>
                    <a:pt x="444" y="144"/>
                  </a:lnTo>
                  <a:lnTo>
                    <a:pt x="450" y="138"/>
                  </a:lnTo>
                  <a:lnTo>
                    <a:pt x="456" y="138"/>
                  </a:lnTo>
                  <a:lnTo>
                    <a:pt x="462" y="132"/>
                  </a:lnTo>
                  <a:lnTo>
                    <a:pt x="462" y="126"/>
                  </a:lnTo>
                  <a:lnTo>
                    <a:pt x="468" y="126"/>
                  </a:lnTo>
                  <a:lnTo>
                    <a:pt x="474" y="126"/>
                  </a:lnTo>
                  <a:lnTo>
                    <a:pt x="480" y="120"/>
                  </a:lnTo>
                  <a:lnTo>
                    <a:pt x="486" y="108"/>
                  </a:lnTo>
                  <a:lnTo>
                    <a:pt x="492" y="108"/>
                  </a:lnTo>
                  <a:lnTo>
                    <a:pt x="498" y="102"/>
                  </a:lnTo>
                  <a:lnTo>
                    <a:pt x="504" y="96"/>
                  </a:lnTo>
                  <a:lnTo>
                    <a:pt x="504" y="108"/>
                  </a:lnTo>
                  <a:lnTo>
                    <a:pt x="522" y="102"/>
                  </a:lnTo>
                  <a:lnTo>
                    <a:pt x="540" y="102"/>
                  </a:lnTo>
                  <a:lnTo>
                    <a:pt x="552" y="108"/>
                  </a:lnTo>
                  <a:lnTo>
                    <a:pt x="582" y="102"/>
                  </a:lnTo>
                  <a:lnTo>
                    <a:pt x="594" y="126"/>
                  </a:lnTo>
                  <a:lnTo>
                    <a:pt x="594" y="144"/>
                  </a:lnTo>
                  <a:lnTo>
                    <a:pt x="588" y="156"/>
                  </a:lnTo>
                  <a:lnTo>
                    <a:pt x="588" y="168"/>
                  </a:lnTo>
                  <a:lnTo>
                    <a:pt x="582" y="180"/>
                  </a:lnTo>
                  <a:lnTo>
                    <a:pt x="570" y="192"/>
                  </a:lnTo>
                  <a:lnTo>
                    <a:pt x="594" y="192"/>
                  </a:lnTo>
                  <a:lnTo>
                    <a:pt x="618" y="198"/>
                  </a:lnTo>
                  <a:lnTo>
                    <a:pt x="642" y="210"/>
                  </a:lnTo>
                  <a:lnTo>
                    <a:pt x="660" y="234"/>
                  </a:lnTo>
                  <a:lnTo>
                    <a:pt x="678" y="246"/>
                  </a:lnTo>
                  <a:lnTo>
                    <a:pt x="684" y="252"/>
                  </a:lnTo>
                  <a:lnTo>
                    <a:pt x="702" y="252"/>
                  </a:lnTo>
                  <a:lnTo>
                    <a:pt x="732" y="234"/>
                  </a:lnTo>
                  <a:lnTo>
                    <a:pt x="732" y="222"/>
                  </a:lnTo>
                  <a:lnTo>
                    <a:pt x="720" y="216"/>
                  </a:lnTo>
                  <a:lnTo>
                    <a:pt x="714" y="198"/>
                  </a:lnTo>
                  <a:lnTo>
                    <a:pt x="714" y="174"/>
                  </a:lnTo>
                  <a:lnTo>
                    <a:pt x="720" y="162"/>
                  </a:lnTo>
                  <a:lnTo>
                    <a:pt x="726" y="162"/>
                  </a:lnTo>
                  <a:lnTo>
                    <a:pt x="732" y="156"/>
                  </a:lnTo>
                  <a:lnTo>
                    <a:pt x="744" y="150"/>
                  </a:lnTo>
                  <a:lnTo>
                    <a:pt x="774" y="162"/>
                  </a:lnTo>
                  <a:lnTo>
                    <a:pt x="786" y="162"/>
                  </a:lnTo>
                  <a:lnTo>
                    <a:pt x="816" y="162"/>
                  </a:lnTo>
                  <a:lnTo>
                    <a:pt x="816" y="156"/>
                  </a:lnTo>
                  <a:lnTo>
                    <a:pt x="816" y="150"/>
                  </a:lnTo>
                  <a:lnTo>
                    <a:pt x="822" y="144"/>
                  </a:lnTo>
                  <a:lnTo>
                    <a:pt x="822" y="138"/>
                  </a:lnTo>
                  <a:lnTo>
                    <a:pt x="822" y="132"/>
                  </a:lnTo>
                  <a:lnTo>
                    <a:pt x="822" y="114"/>
                  </a:lnTo>
                  <a:lnTo>
                    <a:pt x="828" y="108"/>
                  </a:lnTo>
                  <a:lnTo>
                    <a:pt x="834" y="96"/>
                  </a:lnTo>
                  <a:lnTo>
                    <a:pt x="846" y="96"/>
                  </a:lnTo>
                  <a:lnTo>
                    <a:pt x="858" y="90"/>
                  </a:lnTo>
                  <a:lnTo>
                    <a:pt x="870" y="84"/>
                  </a:lnTo>
                  <a:lnTo>
                    <a:pt x="888" y="84"/>
                  </a:lnTo>
                  <a:lnTo>
                    <a:pt x="894" y="90"/>
                  </a:lnTo>
                  <a:lnTo>
                    <a:pt x="894" y="102"/>
                  </a:lnTo>
                  <a:lnTo>
                    <a:pt x="900" y="102"/>
                  </a:lnTo>
                  <a:lnTo>
                    <a:pt x="906" y="114"/>
                  </a:lnTo>
                  <a:lnTo>
                    <a:pt x="930" y="120"/>
                  </a:lnTo>
                  <a:lnTo>
                    <a:pt x="942" y="126"/>
                  </a:lnTo>
                  <a:lnTo>
                    <a:pt x="948" y="132"/>
                  </a:lnTo>
                  <a:lnTo>
                    <a:pt x="954" y="138"/>
                  </a:lnTo>
                  <a:lnTo>
                    <a:pt x="966" y="144"/>
                  </a:lnTo>
                  <a:lnTo>
                    <a:pt x="966" y="150"/>
                  </a:lnTo>
                  <a:lnTo>
                    <a:pt x="972" y="150"/>
                  </a:lnTo>
                  <a:lnTo>
                    <a:pt x="978" y="150"/>
                  </a:lnTo>
                  <a:lnTo>
                    <a:pt x="978" y="144"/>
                  </a:lnTo>
                  <a:lnTo>
                    <a:pt x="984" y="144"/>
                  </a:lnTo>
                  <a:lnTo>
                    <a:pt x="990" y="138"/>
                  </a:lnTo>
                  <a:lnTo>
                    <a:pt x="996" y="138"/>
                  </a:lnTo>
                  <a:lnTo>
                    <a:pt x="1002" y="138"/>
                  </a:lnTo>
                  <a:lnTo>
                    <a:pt x="1008" y="138"/>
                  </a:lnTo>
                  <a:lnTo>
                    <a:pt x="1026" y="132"/>
                  </a:lnTo>
                  <a:lnTo>
                    <a:pt x="1044" y="126"/>
                  </a:lnTo>
                  <a:lnTo>
                    <a:pt x="1056" y="120"/>
                  </a:lnTo>
                  <a:lnTo>
                    <a:pt x="1062" y="108"/>
                  </a:lnTo>
                  <a:lnTo>
                    <a:pt x="1056" y="102"/>
                  </a:lnTo>
                  <a:lnTo>
                    <a:pt x="1062" y="96"/>
                  </a:lnTo>
                  <a:lnTo>
                    <a:pt x="1074" y="90"/>
                  </a:lnTo>
                  <a:lnTo>
                    <a:pt x="1080" y="84"/>
                  </a:lnTo>
                  <a:lnTo>
                    <a:pt x="1128" y="84"/>
                  </a:lnTo>
                  <a:lnTo>
                    <a:pt x="1134" y="84"/>
                  </a:lnTo>
                  <a:lnTo>
                    <a:pt x="1140" y="78"/>
                  </a:lnTo>
                  <a:lnTo>
                    <a:pt x="1152" y="72"/>
                  </a:lnTo>
                  <a:lnTo>
                    <a:pt x="1164" y="66"/>
                  </a:lnTo>
                  <a:lnTo>
                    <a:pt x="1170" y="60"/>
                  </a:lnTo>
                  <a:lnTo>
                    <a:pt x="1188" y="48"/>
                  </a:lnTo>
                  <a:lnTo>
                    <a:pt x="1200" y="36"/>
                  </a:lnTo>
                  <a:lnTo>
                    <a:pt x="1218" y="24"/>
                  </a:lnTo>
                  <a:lnTo>
                    <a:pt x="1248" y="24"/>
                  </a:lnTo>
                  <a:lnTo>
                    <a:pt x="1272" y="24"/>
                  </a:lnTo>
                  <a:lnTo>
                    <a:pt x="1284" y="12"/>
                  </a:lnTo>
                  <a:lnTo>
                    <a:pt x="1302" y="0"/>
                  </a:lnTo>
                  <a:lnTo>
                    <a:pt x="1314" y="0"/>
                  </a:lnTo>
                  <a:lnTo>
                    <a:pt x="1326" y="18"/>
                  </a:lnTo>
                  <a:lnTo>
                    <a:pt x="1338" y="30"/>
                  </a:lnTo>
                  <a:lnTo>
                    <a:pt x="1338" y="54"/>
                  </a:lnTo>
                  <a:lnTo>
                    <a:pt x="1332" y="72"/>
                  </a:lnTo>
                  <a:lnTo>
                    <a:pt x="1326" y="72"/>
                  </a:lnTo>
                  <a:lnTo>
                    <a:pt x="1326" y="78"/>
                  </a:lnTo>
                  <a:lnTo>
                    <a:pt x="1326" y="102"/>
                  </a:lnTo>
                  <a:lnTo>
                    <a:pt x="1332" y="102"/>
                  </a:lnTo>
                  <a:lnTo>
                    <a:pt x="1332" y="108"/>
                  </a:lnTo>
                  <a:lnTo>
                    <a:pt x="1344" y="114"/>
                  </a:lnTo>
                  <a:lnTo>
                    <a:pt x="1350" y="114"/>
                  </a:lnTo>
                  <a:lnTo>
                    <a:pt x="1368" y="126"/>
                  </a:lnTo>
                  <a:lnTo>
                    <a:pt x="1386" y="120"/>
                  </a:lnTo>
                  <a:lnTo>
                    <a:pt x="1404" y="132"/>
                  </a:lnTo>
                  <a:lnTo>
                    <a:pt x="1404" y="138"/>
                  </a:lnTo>
                  <a:lnTo>
                    <a:pt x="1410" y="150"/>
                  </a:lnTo>
                  <a:lnTo>
                    <a:pt x="1416" y="162"/>
                  </a:lnTo>
                  <a:lnTo>
                    <a:pt x="1428" y="168"/>
                  </a:lnTo>
                  <a:lnTo>
                    <a:pt x="1440" y="180"/>
                  </a:lnTo>
                  <a:lnTo>
                    <a:pt x="1476" y="174"/>
                  </a:lnTo>
                  <a:lnTo>
                    <a:pt x="1494" y="174"/>
                  </a:lnTo>
                  <a:lnTo>
                    <a:pt x="1512" y="192"/>
                  </a:lnTo>
                  <a:lnTo>
                    <a:pt x="1518" y="204"/>
                  </a:lnTo>
                  <a:lnTo>
                    <a:pt x="1530" y="216"/>
                  </a:lnTo>
                  <a:lnTo>
                    <a:pt x="1548" y="228"/>
                  </a:lnTo>
                  <a:lnTo>
                    <a:pt x="1548" y="234"/>
                  </a:lnTo>
                  <a:lnTo>
                    <a:pt x="1542" y="246"/>
                  </a:lnTo>
                  <a:lnTo>
                    <a:pt x="1560" y="246"/>
                  </a:lnTo>
                  <a:lnTo>
                    <a:pt x="1560" y="252"/>
                  </a:lnTo>
                  <a:lnTo>
                    <a:pt x="1566" y="258"/>
                  </a:lnTo>
                  <a:lnTo>
                    <a:pt x="1578" y="270"/>
                  </a:lnTo>
                  <a:lnTo>
                    <a:pt x="1596" y="270"/>
                  </a:lnTo>
                  <a:lnTo>
                    <a:pt x="1602" y="288"/>
                  </a:lnTo>
                  <a:lnTo>
                    <a:pt x="1608" y="306"/>
                  </a:lnTo>
                  <a:lnTo>
                    <a:pt x="1608" y="318"/>
                  </a:lnTo>
                  <a:lnTo>
                    <a:pt x="1608" y="324"/>
                  </a:lnTo>
                  <a:lnTo>
                    <a:pt x="1614" y="330"/>
                  </a:lnTo>
                  <a:lnTo>
                    <a:pt x="1614" y="336"/>
                  </a:lnTo>
                  <a:lnTo>
                    <a:pt x="1614" y="342"/>
                  </a:lnTo>
                  <a:lnTo>
                    <a:pt x="1614" y="354"/>
                  </a:lnTo>
                  <a:lnTo>
                    <a:pt x="1614" y="360"/>
                  </a:lnTo>
                  <a:lnTo>
                    <a:pt x="1614" y="372"/>
                  </a:lnTo>
                  <a:lnTo>
                    <a:pt x="1608" y="372"/>
                  </a:lnTo>
                  <a:lnTo>
                    <a:pt x="1608" y="378"/>
                  </a:lnTo>
                  <a:lnTo>
                    <a:pt x="1608" y="384"/>
                  </a:lnTo>
                  <a:lnTo>
                    <a:pt x="1608" y="390"/>
                  </a:lnTo>
                  <a:lnTo>
                    <a:pt x="1602" y="390"/>
                  </a:lnTo>
                  <a:lnTo>
                    <a:pt x="1602" y="396"/>
                  </a:lnTo>
                  <a:lnTo>
                    <a:pt x="1584" y="420"/>
                  </a:lnTo>
                  <a:lnTo>
                    <a:pt x="1584" y="426"/>
                  </a:lnTo>
                  <a:lnTo>
                    <a:pt x="1602" y="474"/>
                  </a:lnTo>
                  <a:lnTo>
                    <a:pt x="1608" y="480"/>
                  </a:lnTo>
                  <a:lnTo>
                    <a:pt x="1608" y="486"/>
                  </a:lnTo>
                  <a:lnTo>
                    <a:pt x="1614" y="486"/>
                  </a:lnTo>
                  <a:lnTo>
                    <a:pt x="1608" y="504"/>
                  </a:lnTo>
                  <a:lnTo>
                    <a:pt x="1572" y="504"/>
                  </a:lnTo>
                  <a:lnTo>
                    <a:pt x="1560" y="510"/>
                  </a:lnTo>
                  <a:lnTo>
                    <a:pt x="1554" y="522"/>
                  </a:lnTo>
                  <a:lnTo>
                    <a:pt x="1560" y="552"/>
                  </a:lnTo>
                  <a:lnTo>
                    <a:pt x="1566" y="552"/>
                  </a:lnTo>
                  <a:lnTo>
                    <a:pt x="1566" y="558"/>
                  </a:lnTo>
                  <a:lnTo>
                    <a:pt x="1572" y="558"/>
                  </a:lnTo>
                  <a:lnTo>
                    <a:pt x="1578" y="558"/>
                  </a:lnTo>
                  <a:lnTo>
                    <a:pt x="1578" y="552"/>
                  </a:lnTo>
                  <a:lnTo>
                    <a:pt x="1584" y="552"/>
                  </a:lnTo>
                  <a:lnTo>
                    <a:pt x="1590" y="552"/>
                  </a:lnTo>
                  <a:lnTo>
                    <a:pt x="1590" y="546"/>
                  </a:lnTo>
                  <a:lnTo>
                    <a:pt x="1596" y="546"/>
                  </a:lnTo>
                  <a:lnTo>
                    <a:pt x="1602" y="552"/>
                  </a:lnTo>
                  <a:lnTo>
                    <a:pt x="1602" y="546"/>
                  </a:lnTo>
                  <a:lnTo>
                    <a:pt x="1608" y="546"/>
                  </a:lnTo>
                  <a:lnTo>
                    <a:pt x="1608" y="552"/>
                  </a:lnTo>
                  <a:lnTo>
                    <a:pt x="1614" y="552"/>
                  </a:lnTo>
                  <a:lnTo>
                    <a:pt x="1614" y="546"/>
                  </a:lnTo>
                  <a:lnTo>
                    <a:pt x="1620" y="552"/>
                  </a:lnTo>
                  <a:lnTo>
                    <a:pt x="1626" y="552"/>
                  </a:lnTo>
                  <a:lnTo>
                    <a:pt x="1626" y="558"/>
                  </a:lnTo>
                  <a:lnTo>
                    <a:pt x="1632" y="558"/>
                  </a:lnTo>
                  <a:lnTo>
                    <a:pt x="1638" y="558"/>
                  </a:lnTo>
                  <a:lnTo>
                    <a:pt x="1644" y="558"/>
                  </a:lnTo>
                  <a:lnTo>
                    <a:pt x="1650" y="558"/>
                  </a:lnTo>
                  <a:lnTo>
                    <a:pt x="1650" y="564"/>
                  </a:lnTo>
                  <a:lnTo>
                    <a:pt x="1656" y="564"/>
                  </a:lnTo>
                  <a:lnTo>
                    <a:pt x="1662" y="564"/>
                  </a:lnTo>
                  <a:lnTo>
                    <a:pt x="1668" y="564"/>
                  </a:lnTo>
                  <a:lnTo>
                    <a:pt x="1668" y="570"/>
                  </a:lnTo>
                  <a:lnTo>
                    <a:pt x="1674" y="570"/>
                  </a:lnTo>
                  <a:lnTo>
                    <a:pt x="1680" y="570"/>
                  </a:lnTo>
                  <a:lnTo>
                    <a:pt x="1686" y="576"/>
                  </a:lnTo>
                  <a:lnTo>
                    <a:pt x="1686" y="582"/>
                  </a:lnTo>
                  <a:lnTo>
                    <a:pt x="1710" y="588"/>
                  </a:lnTo>
                  <a:lnTo>
                    <a:pt x="1710" y="594"/>
                  </a:lnTo>
                  <a:lnTo>
                    <a:pt x="1704" y="600"/>
                  </a:lnTo>
                  <a:lnTo>
                    <a:pt x="1710" y="624"/>
                  </a:lnTo>
                  <a:lnTo>
                    <a:pt x="1698" y="672"/>
                  </a:lnTo>
                  <a:lnTo>
                    <a:pt x="1704" y="678"/>
                  </a:lnTo>
                  <a:lnTo>
                    <a:pt x="1716" y="684"/>
                  </a:lnTo>
                  <a:lnTo>
                    <a:pt x="1716" y="678"/>
                  </a:lnTo>
                  <a:lnTo>
                    <a:pt x="1716" y="684"/>
                  </a:lnTo>
                  <a:lnTo>
                    <a:pt x="1728" y="684"/>
                  </a:lnTo>
                  <a:lnTo>
                    <a:pt x="1728" y="690"/>
                  </a:lnTo>
                  <a:lnTo>
                    <a:pt x="1734" y="696"/>
                  </a:lnTo>
                  <a:lnTo>
                    <a:pt x="1734" y="702"/>
                  </a:lnTo>
                  <a:lnTo>
                    <a:pt x="1740" y="708"/>
                  </a:lnTo>
                  <a:lnTo>
                    <a:pt x="1740" y="714"/>
                  </a:lnTo>
                  <a:lnTo>
                    <a:pt x="1710" y="714"/>
                  </a:lnTo>
                  <a:lnTo>
                    <a:pt x="1710" y="756"/>
                  </a:lnTo>
                  <a:lnTo>
                    <a:pt x="1704" y="762"/>
                  </a:lnTo>
                  <a:lnTo>
                    <a:pt x="1698" y="762"/>
                  </a:lnTo>
                  <a:lnTo>
                    <a:pt x="1698" y="768"/>
                  </a:lnTo>
                  <a:lnTo>
                    <a:pt x="1698" y="774"/>
                  </a:lnTo>
                  <a:lnTo>
                    <a:pt x="1692" y="780"/>
                  </a:lnTo>
                  <a:lnTo>
                    <a:pt x="1692" y="786"/>
                  </a:lnTo>
                  <a:lnTo>
                    <a:pt x="1686" y="786"/>
                  </a:lnTo>
                  <a:lnTo>
                    <a:pt x="1668" y="798"/>
                  </a:lnTo>
                  <a:lnTo>
                    <a:pt x="1662" y="810"/>
                  </a:lnTo>
                  <a:lnTo>
                    <a:pt x="1650" y="810"/>
                  </a:lnTo>
                  <a:lnTo>
                    <a:pt x="1644" y="816"/>
                  </a:lnTo>
                  <a:lnTo>
                    <a:pt x="1638" y="816"/>
                  </a:lnTo>
                  <a:lnTo>
                    <a:pt x="1626" y="852"/>
                  </a:lnTo>
                  <a:lnTo>
                    <a:pt x="1620" y="888"/>
                  </a:lnTo>
                  <a:lnTo>
                    <a:pt x="1626" y="888"/>
                  </a:lnTo>
                  <a:lnTo>
                    <a:pt x="1638" y="912"/>
                  </a:lnTo>
                  <a:lnTo>
                    <a:pt x="1644" y="918"/>
                  </a:lnTo>
                  <a:lnTo>
                    <a:pt x="1650" y="966"/>
                  </a:lnTo>
                  <a:lnTo>
                    <a:pt x="1626" y="972"/>
                  </a:lnTo>
                  <a:lnTo>
                    <a:pt x="1608" y="978"/>
                  </a:lnTo>
                  <a:lnTo>
                    <a:pt x="1614" y="984"/>
                  </a:lnTo>
                  <a:lnTo>
                    <a:pt x="1620" y="984"/>
                  </a:lnTo>
                  <a:lnTo>
                    <a:pt x="1620" y="1020"/>
                  </a:lnTo>
                  <a:lnTo>
                    <a:pt x="1614" y="1038"/>
                  </a:lnTo>
                  <a:lnTo>
                    <a:pt x="1620" y="1044"/>
                  </a:lnTo>
                  <a:lnTo>
                    <a:pt x="1626" y="1056"/>
                  </a:lnTo>
                  <a:lnTo>
                    <a:pt x="1626" y="1074"/>
                  </a:lnTo>
                  <a:lnTo>
                    <a:pt x="1620" y="1080"/>
                  </a:lnTo>
                  <a:lnTo>
                    <a:pt x="1620" y="1104"/>
                  </a:lnTo>
                  <a:lnTo>
                    <a:pt x="1620" y="1110"/>
                  </a:lnTo>
                  <a:lnTo>
                    <a:pt x="1614" y="1116"/>
                  </a:lnTo>
                  <a:lnTo>
                    <a:pt x="1608" y="1140"/>
                  </a:lnTo>
                  <a:lnTo>
                    <a:pt x="1602" y="1146"/>
                  </a:lnTo>
                  <a:lnTo>
                    <a:pt x="1602" y="1164"/>
                  </a:lnTo>
                  <a:lnTo>
                    <a:pt x="1596" y="1170"/>
                  </a:lnTo>
                  <a:lnTo>
                    <a:pt x="1590" y="1164"/>
                  </a:lnTo>
                  <a:lnTo>
                    <a:pt x="1584" y="1164"/>
                  </a:lnTo>
                  <a:lnTo>
                    <a:pt x="1578" y="1164"/>
                  </a:lnTo>
                  <a:lnTo>
                    <a:pt x="1578" y="1188"/>
                  </a:lnTo>
                  <a:lnTo>
                    <a:pt x="1584" y="1194"/>
                  </a:lnTo>
                  <a:lnTo>
                    <a:pt x="1590" y="1194"/>
                  </a:lnTo>
                  <a:lnTo>
                    <a:pt x="1590" y="1212"/>
                  </a:lnTo>
                  <a:lnTo>
                    <a:pt x="1584" y="1212"/>
                  </a:lnTo>
                  <a:lnTo>
                    <a:pt x="1584" y="1224"/>
                  </a:lnTo>
                  <a:lnTo>
                    <a:pt x="1578" y="1224"/>
                  </a:lnTo>
                  <a:lnTo>
                    <a:pt x="1578" y="1236"/>
                  </a:lnTo>
                  <a:lnTo>
                    <a:pt x="1584" y="1254"/>
                  </a:lnTo>
                  <a:lnTo>
                    <a:pt x="1584" y="1260"/>
                  </a:lnTo>
                  <a:lnTo>
                    <a:pt x="1590" y="1260"/>
                  </a:lnTo>
                  <a:lnTo>
                    <a:pt x="1590" y="1266"/>
                  </a:lnTo>
                  <a:lnTo>
                    <a:pt x="1596" y="1284"/>
                  </a:lnTo>
                  <a:lnTo>
                    <a:pt x="1602" y="1278"/>
                  </a:lnTo>
                  <a:lnTo>
                    <a:pt x="1608" y="1284"/>
                  </a:lnTo>
                  <a:lnTo>
                    <a:pt x="1632" y="1350"/>
                  </a:lnTo>
                  <a:lnTo>
                    <a:pt x="1638" y="1356"/>
                  </a:lnTo>
                  <a:lnTo>
                    <a:pt x="1644" y="1356"/>
                  </a:lnTo>
                  <a:lnTo>
                    <a:pt x="1650" y="1356"/>
                  </a:lnTo>
                  <a:lnTo>
                    <a:pt x="1656" y="1356"/>
                  </a:lnTo>
                  <a:lnTo>
                    <a:pt x="1662" y="1362"/>
                  </a:lnTo>
                  <a:lnTo>
                    <a:pt x="1668" y="1356"/>
                  </a:lnTo>
                  <a:lnTo>
                    <a:pt x="1668" y="1380"/>
                  </a:lnTo>
                  <a:lnTo>
                    <a:pt x="1662" y="1392"/>
                  </a:lnTo>
                  <a:lnTo>
                    <a:pt x="1656" y="1404"/>
                  </a:lnTo>
                  <a:lnTo>
                    <a:pt x="1656" y="1410"/>
                  </a:lnTo>
                  <a:lnTo>
                    <a:pt x="1656" y="1416"/>
                  </a:lnTo>
                  <a:lnTo>
                    <a:pt x="1650" y="1422"/>
                  </a:lnTo>
                  <a:lnTo>
                    <a:pt x="1650" y="1428"/>
                  </a:lnTo>
                  <a:lnTo>
                    <a:pt x="1644" y="1428"/>
                  </a:lnTo>
                  <a:lnTo>
                    <a:pt x="1644" y="1434"/>
                  </a:lnTo>
                  <a:lnTo>
                    <a:pt x="1638" y="1434"/>
                  </a:lnTo>
                  <a:lnTo>
                    <a:pt x="1638" y="1440"/>
                  </a:lnTo>
                  <a:lnTo>
                    <a:pt x="1632" y="1440"/>
                  </a:lnTo>
                  <a:lnTo>
                    <a:pt x="1638" y="1458"/>
                  </a:lnTo>
                  <a:close/>
                </a:path>
              </a:pathLst>
            </a:custGeom>
            <a:solidFill>
              <a:srgbClr val="FFC000"/>
            </a:solidFill>
            <a:ln w="9525">
              <a:solidFill>
                <a:schemeClr val="bg1"/>
              </a:solidFill>
              <a:round/>
              <a:headEnd/>
              <a:tailEnd/>
            </a:ln>
          </p:spPr>
          <p:txBody>
            <a:bodyPr/>
            <a:lstStyle/>
            <a:p>
              <a:endParaRPr lang="en-GB"/>
            </a:p>
          </p:txBody>
        </p:sp>
        <p:sp>
          <p:nvSpPr>
            <p:cNvPr id="19490" name="Freeform 14"/>
            <p:cNvSpPr>
              <a:spLocks/>
            </p:cNvSpPr>
            <p:nvPr/>
          </p:nvSpPr>
          <p:spPr bwMode="gray">
            <a:xfrm>
              <a:off x="3476160" y="3511758"/>
              <a:ext cx="487602" cy="542147"/>
            </a:xfrm>
            <a:custGeom>
              <a:avLst/>
              <a:gdLst>
                <a:gd name="T0" fmla="*/ 8596 w 624"/>
                <a:gd name="T1" fmla="*/ 47599 h 672"/>
                <a:gd name="T2" fmla="*/ 3126 w 624"/>
                <a:gd name="T3" fmla="*/ 46792 h 672"/>
                <a:gd name="T4" fmla="*/ 2344 w 624"/>
                <a:gd name="T5" fmla="*/ 46792 h 672"/>
                <a:gd name="T6" fmla="*/ 1563 w 624"/>
                <a:gd name="T7" fmla="*/ 8874 h 672"/>
                <a:gd name="T8" fmla="*/ 10158 w 624"/>
                <a:gd name="T9" fmla="*/ 8874 h 672"/>
                <a:gd name="T10" fmla="*/ 10940 w 624"/>
                <a:gd name="T11" fmla="*/ 8874 h 672"/>
                <a:gd name="T12" fmla="*/ 11721 w 624"/>
                <a:gd name="T13" fmla="*/ 9681 h 672"/>
                <a:gd name="T14" fmla="*/ 14065 w 624"/>
                <a:gd name="T15" fmla="*/ 11295 h 672"/>
                <a:gd name="T16" fmla="*/ 16410 w 624"/>
                <a:gd name="T17" fmla="*/ 12908 h 672"/>
                <a:gd name="T18" fmla="*/ 17191 w 624"/>
                <a:gd name="T19" fmla="*/ 14522 h 672"/>
                <a:gd name="T20" fmla="*/ 17973 w 624"/>
                <a:gd name="T21" fmla="*/ 15329 h 672"/>
                <a:gd name="T22" fmla="*/ 18754 w 624"/>
                <a:gd name="T23" fmla="*/ 15329 h 672"/>
                <a:gd name="T24" fmla="*/ 20317 w 624"/>
                <a:gd name="T25" fmla="*/ 15329 h 672"/>
                <a:gd name="T26" fmla="*/ 21098 w 624"/>
                <a:gd name="T27" fmla="*/ 14522 h 672"/>
                <a:gd name="T28" fmla="*/ 22661 w 624"/>
                <a:gd name="T29" fmla="*/ 12101 h 672"/>
                <a:gd name="T30" fmla="*/ 23442 w 624"/>
                <a:gd name="T31" fmla="*/ 11295 h 672"/>
                <a:gd name="T32" fmla="*/ 24224 w 624"/>
                <a:gd name="T33" fmla="*/ 9681 h 672"/>
                <a:gd name="T34" fmla="*/ 25005 w 624"/>
                <a:gd name="T35" fmla="*/ 9681 h 672"/>
                <a:gd name="T36" fmla="*/ 25787 w 624"/>
                <a:gd name="T37" fmla="*/ 8068 h 672"/>
                <a:gd name="T38" fmla="*/ 26568 w 624"/>
                <a:gd name="T39" fmla="*/ 6454 h 672"/>
                <a:gd name="T40" fmla="*/ 26568 w 624"/>
                <a:gd name="T41" fmla="*/ 4841 h 672"/>
                <a:gd name="T42" fmla="*/ 27349 w 624"/>
                <a:gd name="T43" fmla="*/ 3227 h 672"/>
                <a:gd name="T44" fmla="*/ 32819 w 624"/>
                <a:gd name="T45" fmla="*/ 2420 h 672"/>
                <a:gd name="T46" fmla="*/ 34382 w 624"/>
                <a:gd name="T47" fmla="*/ 1614 h 672"/>
                <a:gd name="T48" fmla="*/ 35945 w 624"/>
                <a:gd name="T49" fmla="*/ 0 h 672"/>
                <a:gd name="T50" fmla="*/ 39852 w 624"/>
                <a:gd name="T51" fmla="*/ 2420 h 672"/>
                <a:gd name="T52" fmla="*/ 42196 w 624"/>
                <a:gd name="T53" fmla="*/ 4841 h 672"/>
                <a:gd name="T54" fmla="*/ 42196 w 624"/>
                <a:gd name="T55" fmla="*/ 6454 h 672"/>
                <a:gd name="T56" fmla="*/ 40633 w 624"/>
                <a:gd name="T57" fmla="*/ 7261 h 672"/>
                <a:gd name="T58" fmla="*/ 38289 w 624"/>
                <a:gd name="T59" fmla="*/ 8874 h 672"/>
                <a:gd name="T60" fmla="*/ 37508 w 624"/>
                <a:gd name="T61" fmla="*/ 11295 h 672"/>
                <a:gd name="T62" fmla="*/ 35945 w 624"/>
                <a:gd name="T63" fmla="*/ 17749 h 672"/>
                <a:gd name="T64" fmla="*/ 35164 w 624"/>
                <a:gd name="T65" fmla="*/ 31464 h 672"/>
                <a:gd name="T66" fmla="*/ 33601 w 624"/>
                <a:gd name="T67" fmla="*/ 34691 h 672"/>
                <a:gd name="T68" fmla="*/ 30475 w 624"/>
                <a:gd name="T69" fmla="*/ 40338 h 672"/>
                <a:gd name="T70" fmla="*/ 28131 w 624"/>
                <a:gd name="T71" fmla="*/ 42759 h 672"/>
                <a:gd name="T72" fmla="*/ 25005 w 624"/>
                <a:gd name="T73" fmla="*/ 45179 h 672"/>
                <a:gd name="T74" fmla="*/ 23442 w 624"/>
                <a:gd name="T75" fmla="*/ 46792 h 672"/>
                <a:gd name="T76" fmla="*/ 15628 w 624"/>
                <a:gd name="T77" fmla="*/ 47599 h 672"/>
                <a:gd name="T78" fmla="*/ 11721 w 624"/>
                <a:gd name="T79" fmla="*/ 47599 h 6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24"/>
                <a:gd name="T121" fmla="*/ 0 h 672"/>
                <a:gd name="T122" fmla="*/ 624 w 624"/>
                <a:gd name="T123" fmla="*/ 672 h 67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24" h="672">
                  <a:moveTo>
                    <a:pt x="168" y="672"/>
                  </a:moveTo>
                  <a:lnTo>
                    <a:pt x="132" y="672"/>
                  </a:lnTo>
                  <a:lnTo>
                    <a:pt x="72" y="666"/>
                  </a:lnTo>
                  <a:lnTo>
                    <a:pt x="42" y="666"/>
                  </a:lnTo>
                  <a:lnTo>
                    <a:pt x="36" y="666"/>
                  </a:lnTo>
                  <a:lnTo>
                    <a:pt x="30" y="660"/>
                  </a:lnTo>
                  <a:lnTo>
                    <a:pt x="0" y="660"/>
                  </a:lnTo>
                  <a:lnTo>
                    <a:pt x="24" y="120"/>
                  </a:lnTo>
                  <a:lnTo>
                    <a:pt x="60" y="120"/>
                  </a:lnTo>
                  <a:lnTo>
                    <a:pt x="150" y="126"/>
                  </a:lnTo>
                  <a:lnTo>
                    <a:pt x="156" y="126"/>
                  </a:lnTo>
                  <a:lnTo>
                    <a:pt x="162" y="120"/>
                  </a:lnTo>
                  <a:lnTo>
                    <a:pt x="168" y="120"/>
                  </a:lnTo>
                  <a:lnTo>
                    <a:pt x="174" y="132"/>
                  </a:lnTo>
                  <a:lnTo>
                    <a:pt x="186" y="138"/>
                  </a:lnTo>
                  <a:lnTo>
                    <a:pt x="210" y="156"/>
                  </a:lnTo>
                  <a:lnTo>
                    <a:pt x="222" y="174"/>
                  </a:lnTo>
                  <a:lnTo>
                    <a:pt x="240" y="186"/>
                  </a:lnTo>
                  <a:lnTo>
                    <a:pt x="252" y="198"/>
                  </a:lnTo>
                  <a:lnTo>
                    <a:pt x="258" y="204"/>
                  </a:lnTo>
                  <a:lnTo>
                    <a:pt x="264" y="204"/>
                  </a:lnTo>
                  <a:lnTo>
                    <a:pt x="264" y="216"/>
                  </a:lnTo>
                  <a:lnTo>
                    <a:pt x="270" y="216"/>
                  </a:lnTo>
                  <a:lnTo>
                    <a:pt x="282" y="222"/>
                  </a:lnTo>
                  <a:lnTo>
                    <a:pt x="288" y="222"/>
                  </a:lnTo>
                  <a:lnTo>
                    <a:pt x="294" y="216"/>
                  </a:lnTo>
                  <a:lnTo>
                    <a:pt x="294" y="210"/>
                  </a:lnTo>
                  <a:lnTo>
                    <a:pt x="312" y="204"/>
                  </a:lnTo>
                  <a:lnTo>
                    <a:pt x="330" y="186"/>
                  </a:lnTo>
                  <a:lnTo>
                    <a:pt x="336" y="174"/>
                  </a:lnTo>
                  <a:lnTo>
                    <a:pt x="342" y="162"/>
                  </a:lnTo>
                  <a:lnTo>
                    <a:pt x="342" y="156"/>
                  </a:lnTo>
                  <a:lnTo>
                    <a:pt x="348" y="150"/>
                  </a:lnTo>
                  <a:lnTo>
                    <a:pt x="354" y="144"/>
                  </a:lnTo>
                  <a:lnTo>
                    <a:pt x="360" y="138"/>
                  </a:lnTo>
                  <a:lnTo>
                    <a:pt x="366" y="132"/>
                  </a:lnTo>
                  <a:lnTo>
                    <a:pt x="372" y="114"/>
                  </a:lnTo>
                  <a:lnTo>
                    <a:pt x="378" y="114"/>
                  </a:lnTo>
                  <a:lnTo>
                    <a:pt x="378" y="96"/>
                  </a:lnTo>
                  <a:lnTo>
                    <a:pt x="390" y="96"/>
                  </a:lnTo>
                  <a:lnTo>
                    <a:pt x="396" y="84"/>
                  </a:lnTo>
                  <a:lnTo>
                    <a:pt x="396" y="72"/>
                  </a:lnTo>
                  <a:lnTo>
                    <a:pt x="396" y="54"/>
                  </a:lnTo>
                  <a:lnTo>
                    <a:pt x="408" y="42"/>
                  </a:lnTo>
                  <a:lnTo>
                    <a:pt x="468" y="42"/>
                  </a:lnTo>
                  <a:lnTo>
                    <a:pt x="486" y="36"/>
                  </a:lnTo>
                  <a:lnTo>
                    <a:pt x="492" y="24"/>
                  </a:lnTo>
                  <a:lnTo>
                    <a:pt x="504" y="24"/>
                  </a:lnTo>
                  <a:lnTo>
                    <a:pt x="516" y="6"/>
                  </a:lnTo>
                  <a:lnTo>
                    <a:pt x="528" y="0"/>
                  </a:lnTo>
                  <a:lnTo>
                    <a:pt x="558" y="12"/>
                  </a:lnTo>
                  <a:lnTo>
                    <a:pt x="588" y="36"/>
                  </a:lnTo>
                  <a:lnTo>
                    <a:pt x="600" y="66"/>
                  </a:lnTo>
                  <a:lnTo>
                    <a:pt x="624" y="66"/>
                  </a:lnTo>
                  <a:lnTo>
                    <a:pt x="624" y="90"/>
                  </a:lnTo>
                  <a:lnTo>
                    <a:pt x="618" y="90"/>
                  </a:lnTo>
                  <a:lnTo>
                    <a:pt x="618" y="96"/>
                  </a:lnTo>
                  <a:lnTo>
                    <a:pt x="600" y="102"/>
                  </a:lnTo>
                  <a:lnTo>
                    <a:pt x="588" y="108"/>
                  </a:lnTo>
                  <a:lnTo>
                    <a:pt x="570" y="120"/>
                  </a:lnTo>
                  <a:lnTo>
                    <a:pt x="564" y="138"/>
                  </a:lnTo>
                  <a:lnTo>
                    <a:pt x="558" y="162"/>
                  </a:lnTo>
                  <a:lnTo>
                    <a:pt x="540" y="210"/>
                  </a:lnTo>
                  <a:lnTo>
                    <a:pt x="528" y="252"/>
                  </a:lnTo>
                  <a:lnTo>
                    <a:pt x="528" y="402"/>
                  </a:lnTo>
                  <a:lnTo>
                    <a:pt x="522" y="444"/>
                  </a:lnTo>
                  <a:lnTo>
                    <a:pt x="510" y="468"/>
                  </a:lnTo>
                  <a:lnTo>
                    <a:pt x="498" y="498"/>
                  </a:lnTo>
                  <a:lnTo>
                    <a:pt x="474" y="534"/>
                  </a:lnTo>
                  <a:lnTo>
                    <a:pt x="456" y="570"/>
                  </a:lnTo>
                  <a:lnTo>
                    <a:pt x="444" y="576"/>
                  </a:lnTo>
                  <a:lnTo>
                    <a:pt x="420" y="606"/>
                  </a:lnTo>
                  <a:lnTo>
                    <a:pt x="390" y="624"/>
                  </a:lnTo>
                  <a:lnTo>
                    <a:pt x="372" y="642"/>
                  </a:lnTo>
                  <a:lnTo>
                    <a:pt x="366" y="654"/>
                  </a:lnTo>
                  <a:lnTo>
                    <a:pt x="342" y="660"/>
                  </a:lnTo>
                  <a:lnTo>
                    <a:pt x="300" y="666"/>
                  </a:lnTo>
                  <a:lnTo>
                    <a:pt x="234" y="672"/>
                  </a:lnTo>
                  <a:lnTo>
                    <a:pt x="192" y="672"/>
                  </a:lnTo>
                  <a:lnTo>
                    <a:pt x="168" y="672"/>
                  </a:lnTo>
                  <a:close/>
                </a:path>
              </a:pathLst>
            </a:custGeom>
            <a:solidFill>
              <a:srgbClr val="33CC33"/>
            </a:solidFill>
            <a:ln w="9525">
              <a:solidFill>
                <a:schemeClr val="bg1"/>
              </a:solidFill>
              <a:round/>
              <a:headEnd/>
              <a:tailEnd/>
            </a:ln>
          </p:spPr>
          <p:txBody>
            <a:bodyPr/>
            <a:lstStyle/>
            <a:p>
              <a:endParaRPr lang="en-GB"/>
            </a:p>
          </p:txBody>
        </p:sp>
        <p:sp>
          <p:nvSpPr>
            <p:cNvPr id="19491" name="Freeform 15"/>
            <p:cNvSpPr>
              <a:spLocks/>
            </p:cNvSpPr>
            <p:nvPr/>
          </p:nvSpPr>
          <p:spPr bwMode="gray">
            <a:xfrm>
              <a:off x="3573327" y="3531770"/>
              <a:ext cx="1333839" cy="851424"/>
            </a:xfrm>
            <a:custGeom>
              <a:avLst/>
              <a:gdLst>
                <a:gd name="T0" fmla="*/ 24266 w 1704"/>
                <a:gd name="T1" fmla="*/ 62889 h 1056"/>
                <a:gd name="T2" fmla="*/ 18004 w 1704"/>
                <a:gd name="T3" fmla="*/ 62889 h 1056"/>
                <a:gd name="T4" fmla="*/ 8610 w 1704"/>
                <a:gd name="T5" fmla="*/ 63696 h 1056"/>
                <a:gd name="T6" fmla="*/ 783 w 1704"/>
                <a:gd name="T7" fmla="*/ 65308 h 1056"/>
                <a:gd name="T8" fmla="*/ 0 w 1704"/>
                <a:gd name="T9" fmla="*/ 49989 h 1056"/>
                <a:gd name="T10" fmla="*/ 7045 w 1704"/>
                <a:gd name="T11" fmla="*/ 45151 h 1056"/>
                <a:gd name="T12" fmla="*/ 21135 w 1704"/>
                <a:gd name="T13" fmla="*/ 38701 h 1056"/>
                <a:gd name="T14" fmla="*/ 27397 w 1704"/>
                <a:gd name="T15" fmla="*/ 16125 h 1056"/>
                <a:gd name="T16" fmla="*/ 33659 w 1704"/>
                <a:gd name="T17" fmla="*/ 4838 h 1056"/>
                <a:gd name="T18" fmla="*/ 36790 w 1704"/>
                <a:gd name="T19" fmla="*/ 5644 h 1056"/>
                <a:gd name="T20" fmla="*/ 40704 w 1704"/>
                <a:gd name="T21" fmla="*/ 0 h 1056"/>
                <a:gd name="T22" fmla="*/ 46183 w 1704"/>
                <a:gd name="T23" fmla="*/ 4031 h 1056"/>
                <a:gd name="T24" fmla="*/ 49314 w 1704"/>
                <a:gd name="T25" fmla="*/ 9675 h 1056"/>
                <a:gd name="T26" fmla="*/ 48532 w 1704"/>
                <a:gd name="T27" fmla="*/ 12094 h 1056"/>
                <a:gd name="T28" fmla="*/ 48532 w 1704"/>
                <a:gd name="T29" fmla="*/ 14513 h 1056"/>
                <a:gd name="T30" fmla="*/ 54794 w 1704"/>
                <a:gd name="T31" fmla="*/ 14513 h 1056"/>
                <a:gd name="T32" fmla="*/ 55577 w 1704"/>
                <a:gd name="T33" fmla="*/ 11288 h 1056"/>
                <a:gd name="T34" fmla="*/ 56359 w 1704"/>
                <a:gd name="T35" fmla="*/ 9675 h 1056"/>
                <a:gd name="T36" fmla="*/ 61056 w 1704"/>
                <a:gd name="T37" fmla="*/ 11288 h 1056"/>
                <a:gd name="T38" fmla="*/ 66535 w 1704"/>
                <a:gd name="T39" fmla="*/ 16932 h 1056"/>
                <a:gd name="T40" fmla="*/ 71232 w 1704"/>
                <a:gd name="T41" fmla="*/ 12094 h 1056"/>
                <a:gd name="T42" fmla="*/ 72798 w 1704"/>
                <a:gd name="T43" fmla="*/ 8063 h 1056"/>
                <a:gd name="T44" fmla="*/ 79060 w 1704"/>
                <a:gd name="T45" fmla="*/ 11288 h 1056"/>
                <a:gd name="T46" fmla="*/ 80625 w 1704"/>
                <a:gd name="T47" fmla="*/ 15319 h 1056"/>
                <a:gd name="T48" fmla="*/ 90018 w 1704"/>
                <a:gd name="T49" fmla="*/ 16125 h 1056"/>
                <a:gd name="T50" fmla="*/ 92367 w 1704"/>
                <a:gd name="T51" fmla="*/ 18544 h 1056"/>
                <a:gd name="T52" fmla="*/ 91584 w 1704"/>
                <a:gd name="T53" fmla="*/ 21769 h 1056"/>
                <a:gd name="T54" fmla="*/ 86887 w 1704"/>
                <a:gd name="T55" fmla="*/ 26607 h 1056"/>
                <a:gd name="T56" fmla="*/ 84539 w 1704"/>
                <a:gd name="T57" fmla="*/ 29026 h 1056"/>
                <a:gd name="T58" fmla="*/ 85322 w 1704"/>
                <a:gd name="T59" fmla="*/ 32251 h 1056"/>
                <a:gd name="T60" fmla="*/ 86887 w 1704"/>
                <a:gd name="T61" fmla="*/ 34670 h 1056"/>
                <a:gd name="T62" fmla="*/ 88453 w 1704"/>
                <a:gd name="T63" fmla="*/ 40314 h 1056"/>
                <a:gd name="T64" fmla="*/ 94715 w 1704"/>
                <a:gd name="T65" fmla="*/ 44345 h 1056"/>
                <a:gd name="T66" fmla="*/ 103326 w 1704"/>
                <a:gd name="T67" fmla="*/ 41926 h 1056"/>
                <a:gd name="T68" fmla="*/ 115850 w 1704"/>
                <a:gd name="T69" fmla="*/ 46764 h 1056"/>
                <a:gd name="T70" fmla="*/ 115850 w 1704"/>
                <a:gd name="T71" fmla="*/ 49183 h 1056"/>
                <a:gd name="T72" fmla="*/ 115850 w 1704"/>
                <a:gd name="T73" fmla="*/ 51601 h 1056"/>
                <a:gd name="T74" fmla="*/ 105674 w 1704"/>
                <a:gd name="T75" fmla="*/ 49183 h 1056"/>
                <a:gd name="T76" fmla="*/ 105674 w 1704"/>
                <a:gd name="T77" fmla="*/ 53214 h 1056"/>
                <a:gd name="T78" fmla="*/ 107239 w 1704"/>
                <a:gd name="T79" fmla="*/ 57245 h 1056"/>
                <a:gd name="T80" fmla="*/ 106457 w 1704"/>
                <a:gd name="T81" fmla="*/ 63696 h 1056"/>
                <a:gd name="T82" fmla="*/ 98629 w 1704"/>
                <a:gd name="T83" fmla="*/ 67727 h 1056"/>
                <a:gd name="T84" fmla="*/ 94715 w 1704"/>
                <a:gd name="T85" fmla="*/ 63696 h 1056"/>
                <a:gd name="T86" fmla="*/ 91584 w 1704"/>
                <a:gd name="T87" fmla="*/ 60470 h 1056"/>
                <a:gd name="T88" fmla="*/ 76711 w 1704"/>
                <a:gd name="T89" fmla="*/ 59664 h 1056"/>
                <a:gd name="T90" fmla="*/ 63404 w 1704"/>
                <a:gd name="T91" fmla="*/ 60470 h 1056"/>
                <a:gd name="T92" fmla="*/ 64970 w 1704"/>
                <a:gd name="T93" fmla="*/ 70952 h 1056"/>
                <a:gd name="T94" fmla="*/ 64187 w 1704"/>
                <a:gd name="T95" fmla="*/ 73371 h 1056"/>
                <a:gd name="T96" fmla="*/ 60273 w 1704"/>
                <a:gd name="T97" fmla="*/ 72565 h 1056"/>
                <a:gd name="T98" fmla="*/ 57142 w 1704"/>
                <a:gd name="T99" fmla="*/ 69339 h 1056"/>
                <a:gd name="T100" fmla="*/ 53228 w 1704"/>
                <a:gd name="T101" fmla="*/ 68533 h 1056"/>
                <a:gd name="T102" fmla="*/ 50097 w 1704"/>
                <a:gd name="T103" fmla="*/ 66921 h 1056"/>
                <a:gd name="T104" fmla="*/ 44618 w 1704"/>
                <a:gd name="T105" fmla="*/ 65308 h 1056"/>
                <a:gd name="T106" fmla="*/ 40704 w 1704"/>
                <a:gd name="T107" fmla="*/ 64502 h 1056"/>
                <a:gd name="T108" fmla="*/ 39138 w 1704"/>
                <a:gd name="T109" fmla="*/ 64502 h 1056"/>
                <a:gd name="T110" fmla="*/ 36007 w 1704"/>
                <a:gd name="T111" fmla="*/ 63696 h 1056"/>
                <a:gd name="T112" fmla="*/ 32094 w 1704"/>
                <a:gd name="T113" fmla="*/ 62889 h 10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04"/>
                <a:gd name="T172" fmla="*/ 0 h 1056"/>
                <a:gd name="T173" fmla="*/ 1704 w 1704"/>
                <a:gd name="T174" fmla="*/ 1056 h 10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04" h="1056">
                  <a:moveTo>
                    <a:pt x="450" y="888"/>
                  </a:moveTo>
                  <a:lnTo>
                    <a:pt x="420" y="888"/>
                  </a:lnTo>
                  <a:lnTo>
                    <a:pt x="414" y="888"/>
                  </a:lnTo>
                  <a:lnTo>
                    <a:pt x="396" y="888"/>
                  </a:lnTo>
                  <a:lnTo>
                    <a:pt x="372" y="888"/>
                  </a:lnTo>
                  <a:lnTo>
                    <a:pt x="366" y="888"/>
                  </a:lnTo>
                  <a:lnTo>
                    <a:pt x="360" y="888"/>
                  </a:lnTo>
                  <a:lnTo>
                    <a:pt x="348" y="888"/>
                  </a:lnTo>
                  <a:lnTo>
                    <a:pt x="330" y="894"/>
                  </a:lnTo>
                  <a:lnTo>
                    <a:pt x="324" y="894"/>
                  </a:lnTo>
                  <a:lnTo>
                    <a:pt x="312" y="888"/>
                  </a:lnTo>
                  <a:lnTo>
                    <a:pt x="300" y="888"/>
                  </a:lnTo>
                  <a:lnTo>
                    <a:pt x="282" y="888"/>
                  </a:lnTo>
                  <a:lnTo>
                    <a:pt x="270" y="888"/>
                  </a:lnTo>
                  <a:lnTo>
                    <a:pt x="240" y="882"/>
                  </a:lnTo>
                  <a:lnTo>
                    <a:pt x="222" y="882"/>
                  </a:lnTo>
                  <a:lnTo>
                    <a:pt x="198" y="882"/>
                  </a:lnTo>
                  <a:lnTo>
                    <a:pt x="174" y="894"/>
                  </a:lnTo>
                  <a:lnTo>
                    <a:pt x="162" y="900"/>
                  </a:lnTo>
                  <a:lnTo>
                    <a:pt x="144" y="906"/>
                  </a:lnTo>
                  <a:lnTo>
                    <a:pt x="126" y="912"/>
                  </a:lnTo>
                  <a:lnTo>
                    <a:pt x="102" y="924"/>
                  </a:lnTo>
                  <a:lnTo>
                    <a:pt x="78" y="930"/>
                  </a:lnTo>
                  <a:lnTo>
                    <a:pt x="72" y="936"/>
                  </a:lnTo>
                  <a:lnTo>
                    <a:pt x="30" y="954"/>
                  </a:lnTo>
                  <a:lnTo>
                    <a:pt x="12" y="966"/>
                  </a:lnTo>
                  <a:lnTo>
                    <a:pt x="12" y="954"/>
                  </a:lnTo>
                  <a:lnTo>
                    <a:pt x="12" y="930"/>
                  </a:lnTo>
                  <a:lnTo>
                    <a:pt x="12" y="894"/>
                  </a:lnTo>
                  <a:lnTo>
                    <a:pt x="30" y="828"/>
                  </a:lnTo>
                  <a:lnTo>
                    <a:pt x="36" y="798"/>
                  </a:lnTo>
                  <a:lnTo>
                    <a:pt x="18" y="774"/>
                  </a:lnTo>
                  <a:lnTo>
                    <a:pt x="18" y="756"/>
                  </a:lnTo>
                  <a:lnTo>
                    <a:pt x="6" y="738"/>
                  </a:lnTo>
                  <a:lnTo>
                    <a:pt x="0" y="714"/>
                  </a:lnTo>
                  <a:lnTo>
                    <a:pt x="12" y="678"/>
                  </a:lnTo>
                  <a:lnTo>
                    <a:pt x="18" y="678"/>
                  </a:lnTo>
                  <a:lnTo>
                    <a:pt x="24" y="672"/>
                  </a:lnTo>
                  <a:lnTo>
                    <a:pt x="30" y="666"/>
                  </a:lnTo>
                  <a:lnTo>
                    <a:pt x="42" y="648"/>
                  </a:lnTo>
                  <a:lnTo>
                    <a:pt x="66" y="648"/>
                  </a:lnTo>
                  <a:lnTo>
                    <a:pt x="108" y="648"/>
                  </a:lnTo>
                  <a:lnTo>
                    <a:pt x="174" y="642"/>
                  </a:lnTo>
                  <a:lnTo>
                    <a:pt x="216" y="636"/>
                  </a:lnTo>
                  <a:lnTo>
                    <a:pt x="240" y="630"/>
                  </a:lnTo>
                  <a:lnTo>
                    <a:pt x="246" y="618"/>
                  </a:lnTo>
                  <a:lnTo>
                    <a:pt x="264" y="600"/>
                  </a:lnTo>
                  <a:lnTo>
                    <a:pt x="294" y="582"/>
                  </a:lnTo>
                  <a:lnTo>
                    <a:pt x="318" y="552"/>
                  </a:lnTo>
                  <a:lnTo>
                    <a:pt x="330" y="546"/>
                  </a:lnTo>
                  <a:lnTo>
                    <a:pt x="348" y="510"/>
                  </a:lnTo>
                  <a:lnTo>
                    <a:pt x="372" y="474"/>
                  </a:lnTo>
                  <a:lnTo>
                    <a:pt x="384" y="444"/>
                  </a:lnTo>
                  <a:lnTo>
                    <a:pt x="396" y="420"/>
                  </a:lnTo>
                  <a:lnTo>
                    <a:pt x="402" y="378"/>
                  </a:lnTo>
                  <a:lnTo>
                    <a:pt x="402" y="228"/>
                  </a:lnTo>
                  <a:lnTo>
                    <a:pt x="414" y="186"/>
                  </a:lnTo>
                  <a:lnTo>
                    <a:pt x="432" y="138"/>
                  </a:lnTo>
                  <a:lnTo>
                    <a:pt x="438" y="114"/>
                  </a:lnTo>
                  <a:lnTo>
                    <a:pt x="444" y="96"/>
                  </a:lnTo>
                  <a:lnTo>
                    <a:pt x="462" y="84"/>
                  </a:lnTo>
                  <a:lnTo>
                    <a:pt x="474" y="78"/>
                  </a:lnTo>
                  <a:lnTo>
                    <a:pt x="492" y="72"/>
                  </a:lnTo>
                  <a:lnTo>
                    <a:pt x="492" y="66"/>
                  </a:lnTo>
                  <a:lnTo>
                    <a:pt x="498" y="66"/>
                  </a:lnTo>
                  <a:lnTo>
                    <a:pt x="510" y="66"/>
                  </a:lnTo>
                  <a:lnTo>
                    <a:pt x="510" y="72"/>
                  </a:lnTo>
                  <a:lnTo>
                    <a:pt x="516" y="72"/>
                  </a:lnTo>
                  <a:lnTo>
                    <a:pt x="522" y="78"/>
                  </a:lnTo>
                  <a:lnTo>
                    <a:pt x="546" y="78"/>
                  </a:lnTo>
                  <a:lnTo>
                    <a:pt x="552" y="60"/>
                  </a:lnTo>
                  <a:lnTo>
                    <a:pt x="570" y="42"/>
                  </a:lnTo>
                  <a:lnTo>
                    <a:pt x="576" y="24"/>
                  </a:lnTo>
                  <a:lnTo>
                    <a:pt x="588" y="18"/>
                  </a:lnTo>
                  <a:lnTo>
                    <a:pt x="588" y="12"/>
                  </a:lnTo>
                  <a:lnTo>
                    <a:pt x="594" y="6"/>
                  </a:lnTo>
                  <a:lnTo>
                    <a:pt x="600" y="0"/>
                  </a:lnTo>
                  <a:lnTo>
                    <a:pt x="624" y="0"/>
                  </a:lnTo>
                  <a:lnTo>
                    <a:pt x="636" y="6"/>
                  </a:lnTo>
                  <a:lnTo>
                    <a:pt x="648" y="24"/>
                  </a:lnTo>
                  <a:lnTo>
                    <a:pt x="654" y="48"/>
                  </a:lnTo>
                  <a:lnTo>
                    <a:pt x="672" y="60"/>
                  </a:lnTo>
                  <a:lnTo>
                    <a:pt x="678" y="60"/>
                  </a:lnTo>
                  <a:lnTo>
                    <a:pt x="684" y="60"/>
                  </a:lnTo>
                  <a:lnTo>
                    <a:pt x="690" y="72"/>
                  </a:lnTo>
                  <a:lnTo>
                    <a:pt x="690" y="78"/>
                  </a:lnTo>
                  <a:lnTo>
                    <a:pt x="696" y="90"/>
                  </a:lnTo>
                  <a:lnTo>
                    <a:pt x="714" y="114"/>
                  </a:lnTo>
                  <a:lnTo>
                    <a:pt x="714" y="120"/>
                  </a:lnTo>
                  <a:lnTo>
                    <a:pt x="720" y="132"/>
                  </a:lnTo>
                  <a:lnTo>
                    <a:pt x="726" y="138"/>
                  </a:lnTo>
                  <a:lnTo>
                    <a:pt x="720" y="144"/>
                  </a:lnTo>
                  <a:lnTo>
                    <a:pt x="720" y="150"/>
                  </a:lnTo>
                  <a:lnTo>
                    <a:pt x="714" y="150"/>
                  </a:lnTo>
                  <a:lnTo>
                    <a:pt x="714" y="156"/>
                  </a:lnTo>
                  <a:lnTo>
                    <a:pt x="714" y="162"/>
                  </a:lnTo>
                  <a:lnTo>
                    <a:pt x="708" y="162"/>
                  </a:lnTo>
                  <a:lnTo>
                    <a:pt x="708" y="168"/>
                  </a:lnTo>
                  <a:lnTo>
                    <a:pt x="702" y="168"/>
                  </a:lnTo>
                  <a:lnTo>
                    <a:pt x="702" y="174"/>
                  </a:lnTo>
                  <a:lnTo>
                    <a:pt x="702" y="180"/>
                  </a:lnTo>
                  <a:lnTo>
                    <a:pt x="708" y="180"/>
                  </a:lnTo>
                  <a:lnTo>
                    <a:pt x="708" y="186"/>
                  </a:lnTo>
                  <a:lnTo>
                    <a:pt x="708" y="192"/>
                  </a:lnTo>
                  <a:lnTo>
                    <a:pt x="714" y="204"/>
                  </a:lnTo>
                  <a:lnTo>
                    <a:pt x="726" y="216"/>
                  </a:lnTo>
                  <a:lnTo>
                    <a:pt x="738" y="216"/>
                  </a:lnTo>
                  <a:lnTo>
                    <a:pt x="768" y="222"/>
                  </a:lnTo>
                  <a:lnTo>
                    <a:pt x="780" y="216"/>
                  </a:lnTo>
                  <a:lnTo>
                    <a:pt x="792" y="204"/>
                  </a:lnTo>
                  <a:lnTo>
                    <a:pt x="798" y="198"/>
                  </a:lnTo>
                  <a:lnTo>
                    <a:pt x="804" y="204"/>
                  </a:lnTo>
                  <a:lnTo>
                    <a:pt x="810" y="204"/>
                  </a:lnTo>
                  <a:lnTo>
                    <a:pt x="810" y="198"/>
                  </a:lnTo>
                  <a:lnTo>
                    <a:pt x="816" y="192"/>
                  </a:lnTo>
                  <a:lnTo>
                    <a:pt x="816" y="186"/>
                  </a:lnTo>
                  <a:lnTo>
                    <a:pt x="816" y="180"/>
                  </a:lnTo>
                  <a:lnTo>
                    <a:pt x="816" y="174"/>
                  </a:lnTo>
                  <a:lnTo>
                    <a:pt x="816" y="162"/>
                  </a:lnTo>
                  <a:lnTo>
                    <a:pt x="816" y="156"/>
                  </a:lnTo>
                  <a:lnTo>
                    <a:pt x="822" y="156"/>
                  </a:lnTo>
                  <a:lnTo>
                    <a:pt x="822" y="150"/>
                  </a:lnTo>
                  <a:lnTo>
                    <a:pt x="828" y="144"/>
                  </a:lnTo>
                  <a:lnTo>
                    <a:pt x="822" y="144"/>
                  </a:lnTo>
                  <a:lnTo>
                    <a:pt x="822" y="138"/>
                  </a:lnTo>
                  <a:lnTo>
                    <a:pt x="828" y="138"/>
                  </a:lnTo>
                  <a:lnTo>
                    <a:pt x="834" y="132"/>
                  </a:lnTo>
                  <a:lnTo>
                    <a:pt x="840" y="132"/>
                  </a:lnTo>
                  <a:lnTo>
                    <a:pt x="864" y="126"/>
                  </a:lnTo>
                  <a:lnTo>
                    <a:pt x="906" y="144"/>
                  </a:lnTo>
                  <a:lnTo>
                    <a:pt x="906" y="150"/>
                  </a:lnTo>
                  <a:lnTo>
                    <a:pt x="906" y="156"/>
                  </a:lnTo>
                  <a:lnTo>
                    <a:pt x="900" y="162"/>
                  </a:lnTo>
                  <a:lnTo>
                    <a:pt x="924" y="168"/>
                  </a:lnTo>
                  <a:lnTo>
                    <a:pt x="942" y="192"/>
                  </a:lnTo>
                  <a:lnTo>
                    <a:pt x="972" y="210"/>
                  </a:lnTo>
                  <a:lnTo>
                    <a:pt x="972" y="216"/>
                  </a:lnTo>
                  <a:lnTo>
                    <a:pt x="972" y="228"/>
                  </a:lnTo>
                  <a:lnTo>
                    <a:pt x="978" y="234"/>
                  </a:lnTo>
                  <a:lnTo>
                    <a:pt x="978" y="246"/>
                  </a:lnTo>
                  <a:lnTo>
                    <a:pt x="984" y="252"/>
                  </a:lnTo>
                  <a:lnTo>
                    <a:pt x="1014" y="252"/>
                  </a:lnTo>
                  <a:lnTo>
                    <a:pt x="1020" y="228"/>
                  </a:lnTo>
                  <a:lnTo>
                    <a:pt x="1026" y="198"/>
                  </a:lnTo>
                  <a:lnTo>
                    <a:pt x="1050" y="186"/>
                  </a:lnTo>
                  <a:lnTo>
                    <a:pt x="1056" y="180"/>
                  </a:lnTo>
                  <a:lnTo>
                    <a:pt x="1050" y="174"/>
                  </a:lnTo>
                  <a:lnTo>
                    <a:pt x="1050" y="168"/>
                  </a:lnTo>
                  <a:lnTo>
                    <a:pt x="1050" y="162"/>
                  </a:lnTo>
                  <a:lnTo>
                    <a:pt x="1056" y="162"/>
                  </a:lnTo>
                  <a:lnTo>
                    <a:pt x="1062" y="162"/>
                  </a:lnTo>
                  <a:lnTo>
                    <a:pt x="1074" y="162"/>
                  </a:lnTo>
                  <a:lnTo>
                    <a:pt x="1074" y="144"/>
                  </a:lnTo>
                  <a:lnTo>
                    <a:pt x="1074" y="120"/>
                  </a:lnTo>
                  <a:lnTo>
                    <a:pt x="1092" y="120"/>
                  </a:lnTo>
                  <a:lnTo>
                    <a:pt x="1098" y="126"/>
                  </a:lnTo>
                  <a:lnTo>
                    <a:pt x="1134" y="132"/>
                  </a:lnTo>
                  <a:lnTo>
                    <a:pt x="1146" y="132"/>
                  </a:lnTo>
                  <a:lnTo>
                    <a:pt x="1158" y="150"/>
                  </a:lnTo>
                  <a:lnTo>
                    <a:pt x="1158" y="156"/>
                  </a:lnTo>
                  <a:lnTo>
                    <a:pt x="1158" y="162"/>
                  </a:lnTo>
                  <a:lnTo>
                    <a:pt x="1158" y="180"/>
                  </a:lnTo>
                  <a:lnTo>
                    <a:pt x="1158" y="186"/>
                  </a:lnTo>
                  <a:lnTo>
                    <a:pt x="1164" y="192"/>
                  </a:lnTo>
                  <a:lnTo>
                    <a:pt x="1176" y="198"/>
                  </a:lnTo>
                  <a:lnTo>
                    <a:pt x="1182" y="198"/>
                  </a:lnTo>
                  <a:lnTo>
                    <a:pt x="1182" y="210"/>
                  </a:lnTo>
                  <a:lnTo>
                    <a:pt x="1182" y="216"/>
                  </a:lnTo>
                  <a:lnTo>
                    <a:pt x="1182" y="228"/>
                  </a:lnTo>
                  <a:lnTo>
                    <a:pt x="1188" y="234"/>
                  </a:lnTo>
                  <a:lnTo>
                    <a:pt x="1212" y="234"/>
                  </a:lnTo>
                  <a:lnTo>
                    <a:pt x="1242" y="234"/>
                  </a:lnTo>
                  <a:lnTo>
                    <a:pt x="1248" y="234"/>
                  </a:lnTo>
                  <a:lnTo>
                    <a:pt x="1278" y="240"/>
                  </a:lnTo>
                  <a:lnTo>
                    <a:pt x="1320" y="234"/>
                  </a:lnTo>
                  <a:lnTo>
                    <a:pt x="1332" y="228"/>
                  </a:lnTo>
                  <a:lnTo>
                    <a:pt x="1344" y="228"/>
                  </a:lnTo>
                  <a:lnTo>
                    <a:pt x="1350" y="234"/>
                  </a:lnTo>
                  <a:lnTo>
                    <a:pt x="1350" y="240"/>
                  </a:lnTo>
                  <a:lnTo>
                    <a:pt x="1356" y="246"/>
                  </a:lnTo>
                  <a:lnTo>
                    <a:pt x="1350" y="252"/>
                  </a:lnTo>
                  <a:lnTo>
                    <a:pt x="1356" y="264"/>
                  </a:lnTo>
                  <a:lnTo>
                    <a:pt x="1356" y="270"/>
                  </a:lnTo>
                  <a:lnTo>
                    <a:pt x="1356" y="276"/>
                  </a:lnTo>
                  <a:lnTo>
                    <a:pt x="1356" y="282"/>
                  </a:lnTo>
                  <a:lnTo>
                    <a:pt x="1356" y="288"/>
                  </a:lnTo>
                  <a:lnTo>
                    <a:pt x="1350" y="294"/>
                  </a:lnTo>
                  <a:lnTo>
                    <a:pt x="1344" y="300"/>
                  </a:lnTo>
                  <a:lnTo>
                    <a:pt x="1344" y="306"/>
                  </a:lnTo>
                  <a:lnTo>
                    <a:pt x="1338" y="312"/>
                  </a:lnTo>
                  <a:lnTo>
                    <a:pt x="1326" y="342"/>
                  </a:lnTo>
                  <a:lnTo>
                    <a:pt x="1320" y="348"/>
                  </a:lnTo>
                  <a:lnTo>
                    <a:pt x="1314" y="354"/>
                  </a:lnTo>
                  <a:lnTo>
                    <a:pt x="1290" y="354"/>
                  </a:lnTo>
                  <a:lnTo>
                    <a:pt x="1284" y="360"/>
                  </a:lnTo>
                  <a:lnTo>
                    <a:pt x="1278" y="378"/>
                  </a:lnTo>
                  <a:lnTo>
                    <a:pt x="1278" y="384"/>
                  </a:lnTo>
                  <a:lnTo>
                    <a:pt x="1272" y="390"/>
                  </a:lnTo>
                  <a:lnTo>
                    <a:pt x="1266" y="396"/>
                  </a:lnTo>
                  <a:lnTo>
                    <a:pt x="1260" y="396"/>
                  </a:lnTo>
                  <a:lnTo>
                    <a:pt x="1248" y="402"/>
                  </a:lnTo>
                  <a:lnTo>
                    <a:pt x="1242" y="408"/>
                  </a:lnTo>
                  <a:lnTo>
                    <a:pt x="1242" y="414"/>
                  </a:lnTo>
                  <a:lnTo>
                    <a:pt x="1242" y="420"/>
                  </a:lnTo>
                  <a:lnTo>
                    <a:pt x="1236" y="432"/>
                  </a:lnTo>
                  <a:lnTo>
                    <a:pt x="1242" y="432"/>
                  </a:lnTo>
                  <a:lnTo>
                    <a:pt x="1242" y="444"/>
                  </a:lnTo>
                  <a:lnTo>
                    <a:pt x="1242" y="456"/>
                  </a:lnTo>
                  <a:lnTo>
                    <a:pt x="1248" y="456"/>
                  </a:lnTo>
                  <a:lnTo>
                    <a:pt x="1254" y="462"/>
                  </a:lnTo>
                  <a:lnTo>
                    <a:pt x="1248" y="468"/>
                  </a:lnTo>
                  <a:lnTo>
                    <a:pt x="1254" y="468"/>
                  </a:lnTo>
                  <a:lnTo>
                    <a:pt x="1266" y="474"/>
                  </a:lnTo>
                  <a:lnTo>
                    <a:pt x="1266" y="480"/>
                  </a:lnTo>
                  <a:lnTo>
                    <a:pt x="1266" y="486"/>
                  </a:lnTo>
                  <a:lnTo>
                    <a:pt x="1272" y="486"/>
                  </a:lnTo>
                  <a:lnTo>
                    <a:pt x="1272" y="492"/>
                  </a:lnTo>
                  <a:lnTo>
                    <a:pt x="1290" y="510"/>
                  </a:lnTo>
                  <a:lnTo>
                    <a:pt x="1296" y="516"/>
                  </a:lnTo>
                  <a:lnTo>
                    <a:pt x="1302" y="540"/>
                  </a:lnTo>
                  <a:lnTo>
                    <a:pt x="1302" y="546"/>
                  </a:lnTo>
                  <a:lnTo>
                    <a:pt x="1302" y="558"/>
                  </a:lnTo>
                  <a:lnTo>
                    <a:pt x="1302" y="570"/>
                  </a:lnTo>
                  <a:lnTo>
                    <a:pt x="1302" y="576"/>
                  </a:lnTo>
                  <a:lnTo>
                    <a:pt x="1344" y="570"/>
                  </a:lnTo>
                  <a:lnTo>
                    <a:pt x="1350" y="582"/>
                  </a:lnTo>
                  <a:lnTo>
                    <a:pt x="1368" y="594"/>
                  </a:lnTo>
                  <a:lnTo>
                    <a:pt x="1374" y="600"/>
                  </a:lnTo>
                  <a:lnTo>
                    <a:pt x="1380" y="600"/>
                  </a:lnTo>
                  <a:lnTo>
                    <a:pt x="1380" y="618"/>
                  </a:lnTo>
                  <a:lnTo>
                    <a:pt x="1386" y="624"/>
                  </a:lnTo>
                  <a:lnTo>
                    <a:pt x="1404" y="624"/>
                  </a:lnTo>
                  <a:lnTo>
                    <a:pt x="1410" y="612"/>
                  </a:lnTo>
                  <a:lnTo>
                    <a:pt x="1428" y="606"/>
                  </a:lnTo>
                  <a:lnTo>
                    <a:pt x="1488" y="606"/>
                  </a:lnTo>
                  <a:lnTo>
                    <a:pt x="1506" y="606"/>
                  </a:lnTo>
                  <a:lnTo>
                    <a:pt x="1512" y="600"/>
                  </a:lnTo>
                  <a:lnTo>
                    <a:pt x="1524" y="594"/>
                  </a:lnTo>
                  <a:lnTo>
                    <a:pt x="1554" y="594"/>
                  </a:lnTo>
                  <a:lnTo>
                    <a:pt x="1578" y="606"/>
                  </a:lnTo>
                  <a:lnTo>
                    <a:pt x="1596" y="624"/>
                  </a:lnTo>
                  <a:lnTo>
                    <a:pt x="1650" y="642"/>
                  </a:lnTo>
                  <a:lnTo>
                    <a:pt x="1686" y="648"/>
                  </a:lnTo>
                  <a:lnTo>
                    <a:pt x="1698" y="654"/>
                  </a:lnTo>
                  <a:lnTo>
                    <a:pt x="1698" y="660"/>
                  </a:lnTo>
                  <a:lnTo>
                    <a:pt x="1692" y="666"/>
                  </a:lnTo>
                  <a:lnTo>
                    <a:pt x="1692" y="672"/>
                  </a:lnTo>
                  <a:lnTo>
                    <a:pt x="1698" y="678"/>
                  </a:lnTo>
                  <a:lnTo>
                    <a:pt x="1698" y="684"/>
                  </a:lnTo>
                  <a:lnTo>
                    <a:pt x="1692" y="684"/>
                  </a:lnTo>
                  <a:lnTo>
                    <a:pt x="1692" y="690"/>
                  </a:lnTo>
                  <a:lnTo>
                    <a:pt x="1698" y="696"/>
                  </a:lnTo>
                  <a:lnTo>
                    <a:pt x="1698" y="702"/>
                  </a:lnTo>
                  <a:lnTo>
                    <a:pt x="1698" y="708"/>
                  </a:lnTo>
                  <a:lnTo>
                    <a:pt x="1704" y="714"/>
                  </a:lnTo>
                  <a:lnTo>
                    <a:pt x="1704" y="720"/>
                  </a:lnTo>
                  <a:lnTo>
                    <a:pt x="1704" y="726"/>
                  </a:lnTo>
                  <a:lnTo>
                    <a:pt x="1704" y="732"/>
                  </a:lnTo>
                  <a:lnTo>
                    <a:pt x="1704" y="738"/>
                  </a:lnTo>
                  <a:lnTo>
                    <a:pt x="1698" y="726"/>
                  </a:lnTo>
                  <a:lnTo>
                    <a:pt x="1668" y="720"/>
                  </a:lnTo>
                  <a:lnTo>
                    <a:pt x="1626" y="714"/>
                  </a:lnTo>
                  <a:lnTo>
                    <a:pt x="1614" y="708"/>
                  </a:lnTo>
                  <a:lnTo>
                    <a:pt x="1578" y="696"/>
                  </a:lnTo>
                  <a:lnTo>
                    <a:pt x="1566" y="696"/>
                  </a:lnTo>
                  <a:lnTo>
                    <a:pt x="1548" y="702"/>
                  </a:lnTo>
                  <a:lnTo>
                    <a:pt x="1542" y="714"/>
                  </a:lnTo>
                  <a:lnTo>
                    <a:pt x="1536" y="732"/>
                  </a:lnTo>
                  <a:lnTo>
                    <a:pt x="1530" y="750"/>
                  </a:lnTo>
                  <a:lnTo>
                    <a:pt x="1536" y="750"/>
                  </a:lnTo>
                  <a:lnTo>
                    <a:pt x="1542" y="756"/>
                  </a:lnTo>
                  <a:lnTo>
                    <a:pt x="1542" y="762"/>
                  </a:lnTo>
                  <a:lnTo>
                    <a:pt x="1548" y="762"/>
                  </a:lnTo>
                  <a:lnTo>
                    <a:pt x="1554" y="762"/>
                  </a:lnTo>
                  <a:lnTo>
                    <a:pt x="1554" y="768"/>
                  </a:lnTo>
                  <a:lnTo>
                    <a:pt x="1560" y="774"/>
                  </a:lnTo>
                  <a:lnTo>
                    <a:pt x="1566" y="774"/>
                  </a:lnTo>
                  <a:lnTo>
                    <a:pt x="1584" y="792"/>
                  </a:lnTo>
                  <a:lnTo>
                    <a:pt x="1584" y="810"/>
                  </a:lnTo>
                  <a:lnTo>
                    <a:pt x="1572" y="816"/>
                  </a:lnTo>
                  <a:lnTo>
                    <a:pt x="1578" y="834"/>
                  </a:lnTo>
                  <a:lnTo>
                    <a:pt x="1578" y="846"/>
                  </a:lnTo>
                  <a:lnTo>
                    <a:pt x="1584" y="858"/>
                  </a:lnTo>
                  <a:lnTo>
                    <a:pt x="1590" y="864"/>
                  </a:lnTo>
                  <a:lnTo>
                    <a:pt x="1590" y="876"/>
                  </a:lnTo>
                  <a:lnTo>
                    <a:pt x="1578" y="888"/>
                  </a:lnTo>
                  <a:lnTo>
                    <a:pt x="1560" y="906"/>
                  </a:lnTo>
                  <a:lnTo>
                    <a:pt x="1536" y="930"/>
                  </a:lnTo>
                  <a:lnTo>
                    <a:pt x="1530" y="930"/>
                  </a:lnTo>
                  <a:lnTo>
                    <a:pt x="1506" y="942"/>
                  </a:lnTo>
                  <a:lnTo>
                    <a:pt x="1488" y="948"/>
                  </a:lnTo>
                  <a:lnTo>
                    <a:pt x="1476" y="954"/>
                  </a:lnTo>
                  <a:lnTo>
                    <a:pt x="1458" y="960"/>
                  </a:lnTo>
                  <a:lnTo>
                    <a:pt x="1452" y="966"/>
                  </a:lnTo>
                  <a:lnTo>
                    <a:pt x="1446" y="966"/>
                  </a:lnTo>
                  <a:lnTo>
                    <a:pt x="1434" y="972"/>
                  </a:lnTo>
                  <a:lnTo>
                    <a:pt x="1434" y="954"/>
                  </a:lnTo>
                  <a:lnTo>
                    <a:pt x="1422" y="942"/>
                  </a:lnTo>
                  <a:lnTo>
                    <a:pt x="1398" y="924"/>
                  </a:lnTo>
                  <a:lnTo>
                    <a:pt x="1398" y="912"/>
                  </a:lnTo>
                  <a:lnTo>
                    <a:pt x="1398" y="906"/>
                  </a:lnTo>
                  <a:lnTo>
                    <a:pt x="1398" y="900"/>
                  </a:lnTo>
                  <a:lnTo>
                    <a:pt x="1380" y="900"/>
                  </a:lnTo>
                  <a:lnTo>
                    <a:pt x="1380" y="894"/>
                  </a:lnTo>
                  <a:lnTo>
                    <a:pt x="1368" y="888"/>
                  </a:lnTo>
                  <a:lnTo>
                    <a:pt x="1362" y="882"/>
                  </a:lnTo>
                  <a:lnTo>
                    <a:pt x="1356" y="876"/>
                  </a:lnTo>
                  <a:lnTo>
                    <a:pt x="1350" y="864"/>
                  </a:lnTo>
                  <a:lnTo>
                    <a:pt x="1344" y="858"/>
                  </a:lnTo>
                  <a:lnTo>
                    <a:pt x="1314" y="870"/>
                  </a:lnTo>
                  <a:lnTo>
                    <a:pt x="1272" y="876"/>
                  </a:lnTo>
                  <a:lnTo>
                    <a:pt x="1218" y="870"/>
                  </a:lnTo>
                  <a:lnTo>
                    <a:pt x="1200" y="864"/>
                  </a:lnTo>
                  <a:lnTo>
                    <a:pt x="1182" y="864"/>
                  </a:lnTo>
                  <a:lnTo>
                    <a:pt x="1134" y="858"/>
                  </a:lnTo>
                  <a:lnTo>
                    <a:pt x="1110" y="840"/>
                  </a:lnTo>
                  <a:lnTo>
                    <a:pt x="1086" y="828"/>
                  </a:lnTo>
                  <a:lnTo>
                    <a:pt x="1044" y="816"/>
                  </a:lnTo>
                  <a:lnTo>
                    <a:pt x="1014" y="816"/>
                  </a:lnTo>
                  <a:lnTo>
                    <a:pt x="990" y="822"/>
                  </a:lnTo>
                  <a:lnTo>
                    <a:pt x="948" y="858"/>
                  </a:lnTo>
                  <a:lnTo>
                    <a:pt x="930" y="864"/>
                  </a:lnTo>
                  <a:lnTo>
                    <a:pt x="924" y="876"/>
                  </a:lnTo>
                  <a:lnTo>
                    <a:pt x="918" y="906"/>
                  </a:lnTo>
                  <a:lnTo>
                    <a:pt x="924" y="930"/>
                  </a:lnTo>
                  <a:lnTo>
                    <a:pt x="948" y="984"/>
                  </a:lnTo>
                  <a:lnTo>
                    <a:pt x="954" y="1008"/>
                  </a:lnTo>
                  <a:lnTo>
                    <a:pt x="948" y="1014"/>
                  </a:lnTo>
                  <a:lnTo>
                    <a:pt x="954" y="1014"/>
                  </a:lnTo>
                  <a:lnTo>
                    <a:pt x="954" y="1032"/>
                  </a:lnTo>
                  <a:lnTo>
                    <a:pt x="966" y="1044"/>
                  </a:lnTo>
                  <a:lnTo>
                    <a:pt x="960" y="1056"/>
                  </a:lnTo>
                  <a:lnTo>
                    <a:pt x="954" y="1056"/>
                  </a:lnTo>
                  <a:lnTo>
                    <a:pt x="948" y="1056"/>
                  </a:lnTo>
                  <a:lnTo>
                    <a:pt x="942" y="1056"/>
                  </a:lnTo>
                  <a:lnTo>
                    <a:pt x="936" y="1050"/>
                  </a:lnTo>
                  <a:lnTo>
                    <a:pt x="930" y="1044"/>
                  </a:lnTo>
                  <a:lnTo>
                    <a:pt x="924" y="1044"/>
                  </a:lnTo>
                  <a:lnTo>
                    <a:pt x="918" y="1038"/>
                  </a:lnTo>
                  <a:lnTo>
                    <a:pt x="912" y="1038"/>
                  </a:lnTo>
                  <a:lnTo>
                    <a:pt x="906" y="1032"/>
                  </a:lnTo>
                  <a:lnTo>
                    <a:pt x="900" y="1032"/>
                  </a:lnTo>
                  <a:lnTo>
                    <a:pt x="888" y="1026"/>
                  </a:lnTo>
                  <a:lnTo>
                    <a:pt x="882" y="1026"/>
                  </a:lnTo>
                  <a:lnTo>
                    <a:pt x="876" y="1026"/>
                  </a:lnTo>
                  <a:lnTo>
                    <a:pt x="864" y="1014"/>
                  </a:lnTo>
                  <a:lnTo>
                    <a:pt x="846" y="1008"/>
                  </a:lnTo>
                  <a:lnTo>
                    <a:pt x="840" y="996"/>
                  </a:lnTo>
                  <a:lnTo>
                    <a:pt x="840" y="990"/>
                  </a:lnTo>
                  <a:lnTo>
                    <a:pt x="834" y="990"/>
                  </a:lnTo>
                  <a:lnTo>
                    <a:pt x="828" y="990"/>
                  </a:lnTo>
                  <a:lnTo>
                    <a:pt x="816" y="990"/>
                  </a:lnTo>
                  <a:lnTo>
                    <a:pt x="810" y="990"/>
                  </a:lnTo>
                  <a:lnTo>
                    <a:pt x="804" y="984"/>
                  </a:lnTo>
                  <a:lnTo>
                    <a:pt x="792" y="978"/>
                  </a:lnTo>
                  <a:lnTo>
                    <a:pt x="786" y="972"/>
                  </a:lnTo>
                  <a:lnTo>
                    <a:pt x="780" y="972"/>
                  </a:lnTo>
                  <a:lnTo>
                    <a:pt x="768" y="966"/>
                  </a:lnTo>
                  <a:lnTo>
                    <a:pt x="762" y="966"/>
                  </a:lnTo>
                  <a:lnTo>
                    <a:pt x="756" y="966"/>
                  </a:lnTo>
                  <a:lnTo>
                    <a:pt x="750" y="966"/>
                  </a:lnTo>
                  <a:lnTo>
                    <a:pt x="744" y="966"/>
                  </a:lnTo>
                  <a:lnTo>
                    <a:pt x="738" y="960"/>
                  </a:lnTo>
                  <a:lnTo>
                    <a:pt x="732" y="954"/>
                  </a:lnTo>
                  <a:lnTo>
                    <a:pt x="720" y="954"/>
                  </a:lnTo>
                  <a:lnTo>
                    <a:pt x="714" y="948"/>
                  </a:lnTo>
                  <a:lnTo>
                    <a:pt x="708" y="948"/>
                  </a:lnTo>
                  <a:lnTo>
                    <a:pt x="696" y="948"/>
                  </a:lnTo>
                  <a:lnTo>
                    <a:pt x="684" y="942"/>
                  </a:lnTo>
                  <a:lnTo>
                    <a:pt x="678" y="936"/>
                  </a:lnTo>
                  <a:lnTo>
                    <a:pt x="660" y="930"/>
                  </a:lnTo>
                  <a:lnTo>
                    <a:pt x="642" y="924"/>
                  </a:lnTo>
                  <a:lnTo>
                    <a:pt x="636" y="924"/>
                  </a:lnTo>
                  <a:lnTo>
                    <a:pt x="630" y="924"/>
                  </a:lnTo>
                  <a:lnTo>
                    <a:pt x="618" y="924"/>
                  </a:lnTo>
                  <a:lnTo>
                    <a:pt x="618" y="918"/>
                  </a:lnTo>
                  <a:lnTo>
                    <a:pt x="606" y="918"/>
                  </a:lnTo>
                  <a:lnTo>
                    <a:pt x="600" y="918"/>
                  </a:lnTo>
                  <a:lnTo>
                    <a:pt x="594" y="918"/>
                  </a:lnTo>
                  <a:lnTo>
                    <a:pt x="594" y="912"/>
                  </a:lnTo>
                  <a:lnTo>
                    <a:pt x="588" y="912"/>
                  </a:lnTo>
                  <a:lnTo>
                    <a:pt x="582" y="912"/>
                  </a:lnTo>
                  <a:lnTo>
                    <a:pt x="582" y="918"/>
                  </a:lnTo>
                  <a:lnTo>
                    <a:pt x="576" y="918"/>
                  </a:lnTo>
                  <a:lnTo>
                    <a:pt x="570" y="918"/>
                  </a:lnTo>
                  <a:lnTo>
                    <a:pt x="570" y="912"/>
                  </a:lnTo>
                  <a:lnTo>
                    <a:pt x="564" y="912"/>
                  </a:lnTo>
                  <a:lnTo>
                    <a:pt x="558" y="918"/>
                  </a:lnTo>
                  <a:lnTo>
                    <a:pt x="552" y="912"/>
                  </a:lnTo>
                  <a:lnTo>
                    <a:pt x="546" y="912"/>
                  </a:lnTo>
                  <a:lnTo>
                    <a:pt x="540" y="912"/>
                  </a:lnTo>
                  <a:lnTo>
                    <a:pt x="528" y="906"/>
                  </a:lnTo>
                  <a:lnTo>
                    <a:pt x="522" y="906"/>
                  </a:lnTo>
                  <a:lnTo>
                    <a:pt x="522" y="900"/>
                  </a:lnTo>
                  <a:lnTo>
                    <a:pt x="516" y="900"/>
                  </a:lnTo>
                  <a:lnTo>
                    <a:pt x="510" y="900"/>
                  </a:lnTo>
                  <a:lnTo>
                    <a:pt x="486" y="894"/>
                  </a:lnTo>
                  <a:lnTo>
                    <a:pt x="474" y="888"/>
                  </a:lnTo>
                  <a:lnTo>
                    <a:pt x="468" y="888"/>
                  </a:lnTo>
                  <a:lnTo>
                    <a:pt x="450" y="888"/>
                  </a:lnTo>
                  <a:close/>
                </a:path>
              </a:pathLst>
            </a:custGeom>
            <a:solidFill>
              <a:srgbClr val="FFC000"/>
            </a:solidFill>
            <a:ln w="9525">
              <a:solidFill>
                <a:schemeClr val="bg1"/>
              </a:solidFill>
              <a:round/>
              <a:headEnd/>
              <a:tailEnd/>
            </a:ln>
          </p:spPr>
          <p:txBody>
            <a:bodyPr/>
            <a:lstStyle/>
            <a:p>
              <a:endParaRPr lang="en-GB"/>
            </a:p>
          </p:txBody>
        </p:sp>
        <p:sp>
          <p:nvSpPr>
            <p:cNvPr id="19492" name="Freeform 16"/>
            <p:cNvSpPr>
              <a:spLocks/>
            </p:cNvSpPr>
            <p:nvPr/>
          </p:nvSpPr>
          <p:spPr bwMode="gray">
            <a:xfrm>
              <a:off x="4368331" y="3027828"/>
              <a:ext cx="1065304" cy="1055185"/>
            </a:xfrm>
            <a:custGeom>
              <a:avLst/>
              <a:gdLst>
                <a:gd name="T0" fmla="*/ 34415 w 1362"/>
                <a:gd name="T1" fmla="*/ 85512 h 1308"/>
                <a:gd name="T2" fmla="*/ 25029 w 1362"/>
                <a:gd name="T3" fmla="*/ 87932 h 1308"/>
                <a:gd name="T4" fmla="*/ 19554 w 1362"/>
                <a:gd name="T5" fmla="*/ 84705 h 1308"/>
                <a:gd name="T6" fmla="*/ 17208 w 1362"/>
                <a:gd name="T7" fmla="*/ 78251 h 1308"/>
                <a:gd name="T8" fmla="*/ 16425 w 1362"/>
                <a:gd name="T9" fmla="*/ 76638 h 1308"/>
                <a:gd name="T10" fmla="*/ 15643 w 1362"/>
                <a:gd name="T11" fmla="*/ 72604 h 1308"/>
                <a:gd name="T12" fmla="*/ 17990 w 1362"/>
                <a:gd name="T13" fmla="*/ 70184 h 1308"/>
                <a:gd name="T14" fmla="*/ 22683 w 1362"/>
                <a:gd name="T15" fmla="*/ 65344 h 1308"/>
                <a:gd name="T16" fmla="*/ 23465 w 1362"/>
                <a:gd name="T17" fmla="*/ 62924 h 1308"/>
                <a:gd name="T18" fmla="*/ 21118 w 1362"/>
                <a:gd name="T19" fmla="*/ 60504 h 1308"/>
                <a:gd name="T20" fmla="*/ 11732 w 1362"/>
                <a:gd name="T21" fmla="*/ 58890 h 1308"/>
                <a:gd name="T22" fmla="*/ 9386 w 1362"/>
                <a:gd name="T23" fmla="*/ 55663 h 1308"/>
                <a:gd name="T24" fmla="*/ 3911 w 1362"/>
                <a:gd name="T25" fmla="*/ 52437 h 1308"/>
                <a:gd name="T26" fmla="*/ 4693 w 1362"/>
                <a:gd name="T27" fmla="*/ 50016 h 1308"/>
                <a:gd name="T28" fmla="*/ 5475 w 1362"/>
                <a:gd name="T29" fmla="*/ 45176 h 1308"/>
                <a:gd name="T30" fmla="*/ 1564 w 1362"/>
                <a:gd name="T31" fmla="*/ 39529 h 1308"/>
                <a:gd name="T32" fmla="*/ 0 w 1362"/>
                <a:gd name="T33" fmla="*/ 35496 h 1308"/>
                <a:gd name="T34" fmla="*/ 0 w 1362"/>
                <a:gd name="T35" fmla="*/ 31462 h 1308"/>
                <a:gd name="T36" fmla="*/ 2346 w 1362"/>
                <a:gd name="T37" fmla="*/ 28235 h 1308"/>
                <a:gd name="T38" fmla="*/ 2346 w 1362"/>
                <a:gd name="T39" fmla="*/ 22588 h 1308"/>
                <a:gd name="T40" fmla="*/ 4693 w 1362"/>
                <a:gd name="T41" fmla="*/ 14521 h 1308"/>
                <a:gd name="T42" fmla="*/ 4693 w 1362"/>
                <a:gd name="T43" fmla="*/ 6454 h 1308"/>
                <a:gd name="T44" fmla="*/ 7822 w 1362"/>
                <a:gd name="T45" fmla="*/ 4034 h 1308"/>
                <a:gd name="T46" fmla="*/ 11732 w 1362"/>
                <a:gd name="T47" fmla="*/ 0 h 1308"/>
                <a:gd name="T48" fmla="*/ 16425 w 1362"/>
                <a:gd name="T49" fmla="*/ 5647 h 1308"/>
                <a:gd name="T50" fmla="*/ 19554 w 1362"/>
                <a:gd name="T51" fmla="*/ 12101 h 1308"/>
                <a:gd name="T52" fmla="*/ 18772 w 1362"/>
                <a:gd name="T53" fmla="*/ 15328 h 1308"/>
                <a:gd name="T54" fmla="*/ 25029 w 1362"/>
                <a:gd name="T55" fmla="*/ 15328 h 1308"/>
                <a:gd name="T56" fmla="*/ 27376 w 1362"/>
                <a:gd name="T57" fmla="*/ 16134 h 1308"/>
                <a:gd name="T58" fmla="*/ 31286 w 1362"/>
                <a:gd name="T59" fmla="*/ 18554 h 1308"/>
                <a:gd name="T60" fmla="*/ 31286 w 1362"/>
                <a:gd name="T61" fmla="*/ 20975 h 1308"/>
                <a:gd name="T62" fmla="*/ 26593 w 1362"/>
                <a:gd name="T63" fmla="*/ 28235 h 1308"/>
                <a:gd name="T64" fmla="*/ 32069 w 1362"/>
                <a:gd name="T65" fmla="*/ 29849 h 1308"/>
                <a:gd name="T66" fmla="*/ 33633 w 1362"/>
                <a:gd name="T67" fmla="*/ 35496 h 1308"/>
                <a:gd name="T68" fmla="*/ 37544 w 1362"/>
                <a:gd name="T69" fmla="*/ 37916 h 1308"/>
                <a:gd name="T70" fmla="*/ 44583 w 1362"/>
                <a:gd name="T71" fmla="*/ 38722 h 1308"/>
                <a:gd name="T72" fmla="*/ 54751 w 1362"/>
                <a:gd name="T73" fmla="*/ 35496 h 1308"/>
                <a:gd name="T74" fmla="*/ 62573 w 1362"/>
                <a:gd name="T75" fmla="*/ 27428 h 1308"/>
                <a:gd name="T76" fmla="*/ 74305 w 1362"/>
                <a:gd name="T77" fmla="*/ 33075 h 1308"/>
                <a:gd name="T78" fmla="*/ 85256 w 1362"/>
                <a:gd name="T79" fmla="*/ 37916 h 1308"/>
                <a:gd name="T80" fmla="*/ 86820 w 1362"/>
                <a:gd name="T81" fmla="*/ 40336 h 1308"/>
                <a:gd name="T82" fmla="*/ 88384 w 1362"/>
                <a:gd name="T83" fmla="*/ 42756 h 1308"/>
                <a:gd name="T84" fmla="*/ 88384 w 1362"/>
                <a:gd name="T85" fmla="*/ 44369 h 1308"/>
                <a:gd name="T86" fmla="*/ 88384 w 1362"/>
                <a:gd name="T87" fmla="*/ 47596 h 1308"/>
                <a:gd name="T88" fmla="*/ 88384 w 1362"/>
                <a:gd name="T89" fmla="*/ 50016 h 1308"/>
                <a:gd name="T90" fmla="*/ 89949 w 1362"/>
                <a:gd name="T91" fmla="*/ 52437 h 1308"/>
                <a:gd name="T92" fmla="*/ 89949 w 1362"/>
                <a:gd name="T93" fmla="*/ 54050 h 1308"/>
                <a:gd name="T94" fmla="*/ 90731 w 1362"/>
                <a:gd name="T95" fmla="*/ 55663 h 1308"/>
                <a:gd name="T96" fmla="*/ 90731 w 1362"/>
                <a:gd name="T97" fmla="*/ 57277 h 1308"/>
                <a:gd name="T98" fmla="*/ 92295 w 1362"/>
                <a:gd name="T99" fmla="*/ 60504 h 1308"/>
                <a:gd name="T100" fmla="*/ 90731 w 1362"/>
                <a:gd name="T101" fmla="*/ 62117 h 1308"/>
                <a:gd name="T102" fmla="*/ 90731 w 1362"/>
                <a:gd name="T103" fmla="*/ 63731 h 1308"/>
                <a:gd name="T104" fmla="*/ 78998 w 1362"/>
                <a:gd name="T105" fmla="*/ 70184 h 1308"/>
                <a:gd name="T106" fmla="*/ 66484 w 1362"/>
                <a:gd name="T107" fmla="*/ 83092 h 1308"/>
                <a:gd name="T108" fmla="*/ 52405 w 1362"/>
                <a:gd name="T109" fmla="*/ 91966 h 13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62"/>
                <a:gd name="T166" fmla="*/ 0 h 1308"/>
                <a:gd name="T167" fmla="*/ 1362 w 1362"/>
                <a:gd name="T168" fmla="*/ 1308 h 13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62" h="1308">
                  <a:moveTo>
                    <a:pt x="684" y="1278"/>
                  </a:moveTo>
                  <a:lnTo>
                    <a:pt x="672" y="1272"/>
                  </a:lnTo>
                  <a:lnTo>
                    <a:pt x="636" y="1266"/>
                  </a:lnTo>
                  <a:lnTo>
                    <a:pt x="582" y="1248"/>
                  </a:lnTo>
                  <a:lnTo>
                    <a:pt x="564" y="1230"/>
                  </a:lnTo>
                  <a:lnTo>
                    <a:pt x="540" y="1218"/>
                  </a:lnTo>
                  <a:lnTo>
                    <a:pt x="510" y="1218"/>
                  </a:lnTo>
                  <a:lnTo>
                    <a:pt x="498" y="1224"/>
                  </a:lnTo>
                  <a:lnTo>
                    <a:pt x="492" y="1230"/>
                  </a:lnTo>
                  <a:lnTo>
                    <a:pt x="474" y="1230"/>
                  </a:lnTo>
                  <a:lnTo>
                    <a:pt x="414" y="1230"/>
                  </a:lnTo>
                  <a:lnTo>
                    <a:pt x="396" y="1236"/>
                  </a:lnTo>
                  <a:lnTo>
                    <a:pt x="390" y="1248"/>
                  </a:lnTo>
                  <a:lnTo>
                    <a:pt x="372" y="1248"/>
                  </a:lnTo>
                  <a:lnTo>
                    <a:pt x="366" y="1242"/>
                  </a:lnTo>
                  <a:lnTo>
                    <a:pt x="366" y="1224"/>
                  </a:lnTo>
                  <a:lnTo>
                    <a:pt x="360" y="1224"/>
                  </a:lnTo>
                  <a:lnTo>
                    <a:pt x="354" y="1218"/>
                  </a:lnTo>
                  <a:lnTo>
                    <a:pt x="336" y="1206"/>
                  </a:lnTo>
                  <a:lnTo>
                    <a:pt x="330" y="1194"/>
                  </a:lnTo>
                  <a:lnTo>
                    <a:pt x="288" y="1200"/>
                  </a:lnTo>
                  <a:lnTo>
                    <a:pt x="288" y="1194"/>
                  </a:lnTo>
                  <a:lnTo>
                    <a:pt x="288" y="1182"/>
                  </a:lnTo>
                  <a:lnTo>
                    <a:pt x="288" y="1170"/>
                  </a:lnTo>
                  <a:lnTo>
                    <a:pt x="288" y="1164"/>
                  </a:lnTo>
                  <a:lnTo>
                    <a:pt x="282" y="1140"/>
                  </a:lnTo>
                  <a:lnTo>
                    <a:pt x="276" y="1134"/>
                  </a:lnTo>
                  <a:lnTo>
                    <a:pt x="258" y="1116"/>
                  </a:lnTo>
                  <a:lnTo>
                    <a:pt x="258" y="1110"/>
                  </a:lnTo>
                  <a:lnTo>
                    <a:pt x="252" y="1110"/>
                  </a:lnTo>
                  <a:lnTo>
                    <a:pt x="252" y="1104"/>
                  </a:lnTo>
                  <a:lnTo>
                    <a:pt x="252" y="1098"/>
                  </a:lnTo>
                  <a:lnTo>
                    <a:pt x="240" y="1092"/>
                  </a:lnTo>
                  <a:lnTo>
                    <a:pt x="234" y="1092"/>
                  </a:lnTo>
                  <a:lnTo>
                    <a:pt x="240" y="1086"/>
                  </a:lnTo>
                  <a:lnTo>
                    <a:pt x="234" y="1080"/>
                  </a:lnTo>
                  <a:lnTo>
                    <a:pt x="228" y="1080"/>
                  </a:lnTo>
                  <a:lnTo>
                    <a:pt x="228" y="1068"/>
                  </a:lnTo>
                  <a:lnTo>
                    <a:pt x="228" y="1056"/>
                  </a:lnTo>
                  <a:lnTo>
                    <a:pt x="222" y="1056"/>
                  </a:lnTo>
                  <a:lnTo>
                    <a:pt x="228" y="1044"/>
                  </a:lnTo>
                  <a:lnTo>
                    <a:pt x="228" y="1038"/>
                  </a:lnTo>
                  <a:lnTo>
                    <a:pt x="228" y="1032"/>
                  </a:lnTo>
                  <a:lnTo>
                    <a:pt x="234" y="1026"/>
                  </a:lnTo>
                  <a:lnTo>
                    <a:pt x="246" y="1020"/>
                  </a:lnTo>
                  <a:lnTo>
                    <a:pt x="252" y="1020"/>
                  </a:lnTo>
                  <a:lnTo>
                    <a:pt x="258" y="1014"/>
                  </a:lnTo>
                  <a:lnTo>
                    <a:pt x="264" y="1008"/>
                  </a:lnTo>
                  <a:lnTo>
                    <a:pt x="264" y="1002"/>
                  </a:lnTo>
                  <a:lnTo>
                    <a:pt x="270" y="984"/>
                  </a:lnTo>
                  <a:lnTo>
                    <a:pt x="276" y="978"/>
                  </a:lnTo>
                  <a:lnTo>
                    <a:pt x="300" y="978"/>
                  </a:lnTo>
                  <a:lnTo>
                    <a:pt x="306" y="972"/>
                  </a:lnTo>
                  <a:lnTo>
                    <a:pt x="312" y="966"/>
                  </a:lnTo>
                  <a:lnTo>
                    <a:pt x="324" y="936"/>
                  </a:lnTo>
                  <a:lnTo>
                    <a:pt x="330" y="930"/>
                  </a:lnTo>
                  <a:lnTo>
                    <a:pt x="330" y="924"/>
                  </a:lnTo>
                  <a:lnTo>
                    <a:pt x="336" y="918"/>
                  </a:lnTo>
                  <a:lnTo>
                    <a:pt x="342" y="912"/>
                  </a:lnTo>
                  <a:lnTo>
                    <a:pt x="342" y="906"/>
                  </a:lnTo>
                  <a:lnTo>
                    <a:pt x="342" y="900"/>
                  </a:lnTo>
                  <a:lnTo>
                    <a:pt x="342" y="894"/>
                  </a:lnTo>
                  <a:lnTo>
                    <a:pt x="342" y="888"/>
                  </a:lnTo>
                  <a:lnTo>
                    <a:pt x="336" y="876"/>
                  </a:lnTo>
                  <a:lnTo>
                    <a:pt x="342" y="870"/>
                  </a:lnTo>
                  <a:lnTo>
                    <a:pt x="336" y="864"/>
                  </a:lnTo>
                  <a:lnTo>
                    <a:pt x="336" y="858"/>
                  </a:lnTo>
                  <a:lnTo>
                    <a:pt x="330" y="852"/>
                  </a:lnTo>
                  <a:lnTo>
                    <a:pt x="318" y="852"/>
                  </a:lnTo>
                  <a:lnTo>
                    <a:pt x="306" y="858"/>
                  </a:lnTo>
                  <a:lnTo>
                    <a:pt x="264" y="864"/>
                  </a:lnTo>
                  <a:lnTo>
                    <a:pt x="234" y="858"/>
                  </a:lnTo>
                  <a:lnTo>
                    <a:pt x="228" y="858"/>
                  </a:lnTo>
                  <a:lnTo>
                    <a:pt x="198" y="858"/>
                  </a:lnTo>
                  <a:lnTo>
                    <a:pt x="174" y="858"/>
                  </a:lnTo>
                  <a:lnTo>
                    <a:pt x="168" y="852"/>
                  </a:lnTo>
                  <a:lnTo>
                    <a:pt x="168" y="840"/>
                  </a:lnTo>
                  <a:lnTo>
                    <a:pt x="168" y="834"/>
                  </a:lnTo>
                  <a:lnTo>
                    <a:pt x="168" y="822"/>
                  </a:lnTo>
                  <a:lnTo>
                    <a:pt x="162" y="822"/>
                  </a:lnTo>
                  <a:lnTo>
                    <a:pt x="150" y="816"/>
                  </a:lnTo>
                  <a:lnTo>
                    <a:pt x="144" y="810"/>
                  </a:lnTo>
                  <a:lnTo>
                    <a:pt x="144" y="804"/>
                  </a:lnTo>
                  <a:lnTo>
                    <a:pt x="144" y="786"/>
                  </a:lnTo>
                  <a:lnTo>
                    <a:pt x="144" y="780"/>
                  </a:lnTo>
                  <a:lnTo>
                    <a:pt x="144" y="774"/>
                  </a:lnTo>
                  <a:lnTo>
                    <a:pt x="132" y="756"/>
                  </a:lnTo>
                  <a:lnTo>
                    <a:pt x="120" y="756"/>
                  </a:lnTo>
                  <a:lnTo>
                    <a:pt x="84" y="750"/>
                  </a:lnTo>
                  <a:lnTo>
                    <a:pt x="78" y="744"/>
                  </a:lnTo>
                  <a:lnTo>
                    <a:pt x="60" y="744"/>
                  </a:lnTo>
                  <a:lnTo>
                    <a:pt x="54" y="726"/>
                  </a:lnTo>
                  <a:lnTo>
                    <a:pt x="60" y="726"/>
                  </a:lnTo>
                  <a:lnTo>
                    <a:pt x="60" y="720"/>
                  </a:lnTo>
                  <a:lnTo>
                    <a:pt x="66" y="720"/>
                  </a:lnTo>
                  <a:lnTo>
                    <a:pt x="66" y="714"/>
                  </a:lnTo>
                  <a:lnTo>
                    <a:pt x="72" y="714"/>
                  </a:lnTo>
                  <a:lnTo>
                    <a:pt x="72" y="708"/>
                  </a:lnTo>
                  <a:lnTo>
                    <a:pt x="78" y="702"/>
                  </a:lnTo>
                  <a:lnTo>
                    <a:pt x="78" y="696"/>
                  </a:lnTo>
                  <a:lnTo>
                    <a:pt x="78" y="690"/>
                  </a:lnTo>
                  <a:lnTo>
                    <a:pt x="84" y="678"/>
                  </a:lnTo>
                  <a:lnTo>
                    <a:pt x="90" y="666"/>
                  </a:lnTo>
                  <a:lnTo>
                    <a:pt x="90" y="642"/>
                  </a:lnTo>
                  <a:lnTo>
                    <a:pt x="84" y="648"/>
                  </a:lnTo>
                  <a:lnTo>
                    <a:pt x="78" y="642"/>
                  </a:lnTo>
                  <a:lnTo>
                    <a:pt x="72" y="642"/>
                  </a:lnTo>
                  <a:lnTo>
                    <a:pt x="66" y="642"/>
                  </a:lnTo>
                  <a:lnTo>
                    <a:pt x="60" y="642"/>
                  </a:lnTo>
                  <a:lnTo>
                    <a:pt x="54" y="636"/>
                  </a:lnTo>
                  <a:lnTo>
                    <a:pt x="30" y="570"/>
                  </a:lnTo>
                  <a:lnTo>
                    <a:pt x="24" y="564"/>
                  </a:lnTo>
                  <a:lnTo>
                    <a:pt x="18" y="570"/>
                  </a:lnTo>
                  <a:lnTo>
                    <a:pt x="12" y="552"/>
                  </a:lnTo>
                  <a:lnTo>
                    <a:pt x="12" y="546"/>
                  </a:lnTo>
                  <a:lnTo>
                    <a:pt x="6" y="546"/>
                  </a:lnTo>
                  <a:lnTo>
                    <a:pt x="6" y="540"/>
                  </a:lnTo>
                  <a:lnTo>
                    <a:pt x="0" y="522"/>
                  </a:lnTo>
                  <a:lnTo>
                    <a:pt x="0" y="510"/>
                  </a:lnTo>
                  <a:lnTo>
                    <a:pt x="6" y="510"/>
                  </a:lnTo>
                  <a:lnTo>
                    <a:pt x="6" y="498"/>
                  </a:lnTo>
                  <a:lnTo>
                    <a:pt x="12" y="498"/>
                  </a:lnTo>
                  <a:lnTo>
                    <a:pt x="12" y="480"/>
                  </a:lnTo>
                  <a:lnTo>
                    <a:pt x="6" y="480"/>
                  </a:lnTo>
                  <a:lnTo>
                    <a:pt x="0" y="474"/>
                  </a:lnTo>
                  <a:lnTo>
                    <a:pt x="0" y="450"/>
                  </a:lnTo>
                  <a:lnTo>
                    <a:pt x="6" y="450"/>
                  </a:lnTo>
                  <a:lnTo>
                    <a:pt x="12" y="450"/>
                  </a:lnTo>
                  <a:lnTo>
                    <a:pt x="18" y="456"/>
                  </a:lnTo>
                  <a:lnTo>
                    <a:pt x="24" y="450"/>
                  </a:lnTo>
                  <a:lnTo>
                    <a:pt x="24" y="432"/>
                  </a:lnTo>
                  <a:lnTo>
                    <a:pt x="30" y="426"/>
                  </a:lnTo>
                  <a:lnTo>
                    <a:pt x="36" y="402"/>
                  </a:lnTo>
                  <a:lnTo>
                    <a:pt x="42" y="396"/>
                  </a:lnTo>
                  <a:lnTo>
                    <a:pt x="42" y="390"/>
                  </a:lnTo>
                  <a:lnTo>
                    <a:pt x="42" y="366"/>
                  </a:lnTo>
                  <a:lnTo>
                    <a:pt x="48" y="360"/>
                  </a:lnTo>
                  <a:lnTo>
                    <a:pt x="48" y="342"/>
                  </a:lnTo>
                  <a:lnTo>
                    <a:pt x="42" y="330"/>
                  </a:lnTo>
                  <a:lnTo>
                    <a:pt x="36" y="324"/>
                  </a:lnTo>
                  <a:lnTo>
                    <a:pt x="42" y="306"/>
                  </a:lnTo>
                  <a:lnTo>
                    <a:pt x="42" y="270"/>
                  </a:lnTo>
                  <a:lnTo>
                    <a:pt x="36" y="270"/>
                  </a:lnTo>
                  <a:lnTo>
                    <a:pt x="30" y="264"/>
                  </a:lnTo>
                  <a:lnTo>
                    <a:pt x="48" y="258"/>
                  </a:lnTo>
                  <a:lnTo>
                    <a:pt x="72" y="252"/>
                  </a:lnTo>
                  <a:lnTo>
                    <a:pt x="66" y="204"/>
                  </a:lnTo>
                  <a:lnTo>
                    <a:pt x="60" y="198"/>
                  </a:lnTo>
                  <a:lnTo>
                    <a:pt x="48" y="174"/>
                  </a:lnTo>
                  <a:lnTo>
                    <a:pt x="42" y="174"/>
                  </a:lnTo>
                  <a:lnTo>
                    <a:pt x="48" y="138"/>
                  </a:lnTo>
                  <a:lnTo>
                    <a:pt x="60" y="102"/>
                  </a:lnTo>
                  <a:lnTo>
                    <a:pt x="66" y="102"/>
                  </a:lnTo>
                  <a:lnTo>
                    <a:pt x="72" y="96"/>
                  </a:lnTo>
                  <a:lnTo>
                    <a:pt x="84" y="96"/>
                  </a:lnTo>
                  <a:lnTo>
                    <a:pt x="90" y="84"/>
                  </a:lnTo>
                  <a:lnTo>
                    <a:pt x="108" y="72"/>
                  </a:lnTo>
                  <a:lnTo>
                    <a:pt x="114" y="72"/>
                  </a:lnTo>
                  <a:lnTo>
                    <a:pt x="114" y="66"/>
                  </a:lnTo>
                  <a:lnTo>
                    <a:pt x="120" y="60"/>
                  </a:lnTo>
                  <a:lnTo>
                    <a:pt x="120" y="54"/>
                  </a:lnTo>
                  <a:lnTo>
                    <a:pt x="120" y="48"/>
                  </a:lnTo>
                  <a:lnTo>
                    <a:pt x="126" y="48"/>
                  </a:lnTo>
                  <a:lnTo>
                    <a:pt x="132" y="42"/>
                  </a:lnTo>
                  <a:lnTo>
                    <a:pt x="132" y="0"/>
                  </a:lnTo>
                  <a:lnTo>
                    <a:pt x="162" y="0"/>
                  </a:lnTo>
                  <a:lnTo>
                    <a:pt x="168" y="0"/>
                  </a:lnTo>
                  <a:lnTo>
                    <a:pt x="174" y="6"/>
                  </a:lnTo>
                  <a:lnTo>
                    <a:pt x="180" y="12"/>
                  </a:lnTo>
                  <a:lnTo>
                    <a:pt x="180" y="18"/>
                  </a:lnTo>
                  <a:lnTo>
                    <a:pt x="240" y="18"/>
                  </a:lnTo>
                  <a:lnTo>
                    <a:pt x="246" y="42"/>
                  </a:lnTo>
                  <a:lnTo>
                    <a:pt x="240" y="72"/>
                  </a:lnTo>
                  <a:lnTo>
                    <a:pt x="246" y="78"/>
                  </a:lnTo>
                  <a:lnTo>
                    <a:pt x="246" y="84"/>
                  </a:lnTo>
                  <a:lnTo>
                    <a:pt x="246" y="90"/>
                  </a:lnTo>
                  <a:lnTo>
                    <a:pt x="258" y="108"/>
                  </a:lnTo>
                  <a:lnTo>
                    <a:pt x="276" y="114"/>
                  </a:lnTo>
                  <a:lnTo>
                    <a:pt x="294" y="150"/>
                  </a:lnTo>
                  <a:lnTo>
                    <a:pt x="294" y="162"/>
                  </a:lnTo>
                  <a:lnTo>
                    <a:pt x="288" y="162"/>
                  </a:lnTo>
                  <a:lnTo>
                    <a:pt x="288" y="168"/>
                  </a:lnTo>
                  <a:lnTo>
                    <a:pt x="288" y="174"/>
                  </a:lnTo>
                  <a:lnTo>
                    <a:pt x="282" y="180"/>
                  </a:lnTo>
                  <a:lnTo>
                    <a:pt x="282" y="186"/>
                  </a:lnTo>
                  <a:lnTo>
                    <a:pt x="282" y="192"/>
                  </a:lnTo>
                  <a:lnTo>
                    <a:pt x="276" y="204"/>
                  </a:lnTo>
                  <a:lnTo>
                    <a:pt x="276" y="210"/>
                  </a:lnTo>
                  <a:lnTo>
                    <a:pt x="276" y="216"/>
                  </a:lnTo>
                  <a:lnTo>
                    <a:pt x="288" y="240"/>
                  </a:lnTo>
                  <a:lnTo>
                    <a:pt x="312" y="228"/>
                  </a:lnTo>
                  <a:lnTo>
                    <a:pt x="324" y="228"/>
                  </a:lnTo>
                  <a:lnTo>
                    <a:pt x="330" y="228"/>
                  </a:lnTo>
                  <a:lnTo>
                    <a:pt x="366" y="228"/>
                  </a:lnTo>
                  <a:lnTo>
                    <a:pt x="372" y="228"/>
                  </a:lnTo>
                  <a:lnTo>
                    <a:pt x="372" y="222"/>
                  </a:lnTo>
                  <a:lnTo>
                    <a:pt x="378" y="222"/>
                  </a:lnTo>
                  <a:lnTo>
                    <a:pt x="384" y="222"/>
                  </a:lnTo>
                  <a:lnTo>
                    <a:pt x="390" y="222"/>
                  </a:lnTo>
                  <a:lnTo>
                    <a:pt x="396" y="222"/>
                  </a:lnTo>
                  <a:lnTo>
                    <a:pt x="402" y="222"/>
                  </a:lnTo>
                  <a:lnTo>
                    <a:pt x="402" y="228"/>
                  </a:lnTo>
                  <a:lnTo>
                    <a:pt x="408" y="228"/>
                  </a:lnTo>
                  <a:lnTo>
                    <a:pt x="414" y="222"/>
                  </a:lnTo>
                  <a:lnTo>
                    <a:pt x="420" y="216"/>
                  </a:lnTo>
                  <a:lnTo>
                    <a:pt x="426" y="216"/>
                  </a:lnTo>
                  <a:lnTo>
                    <a:pt x="438" y="210"/>
                  </a:lnTo>
                  <a:lnTo>
                    <a:pt x="444" y="210"/>
                  </a:lnTo>
                  <a:lnTo>
                    <a:pt x="468" y="258"/>
                  </a:lnTo>
                  <a:lnTo>
                    <a:pt x="462" y="264"/>
                  </a:lnTo>
                  <a:lnTo>
                    <a:pt x="468" y="264"/>
                  </a:lnTo>
                  <a:lnTo>
                    <a:pt x="468" y="270"/>
                  </a:lnTo>
                  <a:lnTo>
                    <a:pt x="474" y="270"/>
                  </a:lnTo>
                  <a:lnTo>
                    <a:pt x="480" y="276"/>
                  </a:lnTo>
                  <a:lnTo>
                    <a:pt x="474" y="282"/>
                  </a:lnTo>
                  <a:lnTo>
                    <a:pt x="474" y="288"/>
                  </a:lnTo>
                  <a:lnTo>
                    <a:pt x="462" y="294"/>
                  </a:lnTo>
                  <a:lnTo>
                    <a:pt x="468" y="324"/>
                  </a:lnTo>
                  <a:lnTo>
                    <a:pt x="462" y="336"/>
                  </a:lnTo>
                  <a:lnTo>
                    <a:pt x="456" y="354"/>
                  </a:lnTo>
                  <a:lnTo>
                    <a:pt x="432" y="390"/>
                  </a:lnTo>
                  <a:lnTo>
                    <a:pt x="420" y="390"/>
                  </a:lnTo>
                  <a:lnTo>
                    <a:pt x="402" y="390"/>
                  </a:lnTo>
                  <a:lnTo>
                    <a:pt x="396" y="396"/>
                  </a:lnTo>
                  <a:lnTo>
                    <a:pt x="390" y="396"/>
                  </a:lnTo>
                  <a:lnTo>
                    <a:pt x="390" y="402"/>
                  </a:lnTo>
                  <a:lnTo>
                    <a:pt x="384" y="402"/>
                  </a:lnTo>
                  <a:lnTo>
                    <a:pt x="408" y="432"/>
                  </a:lnTo>
                  <a:lnTo>
                    <a:pt x="432" y="438"/>
                  </a:lnTo>
                  <a:lnTo>
                    <a:pt x="456" y="432"/>
                  </a:lnTo>
                  <a:lnTo>
                    <a:pt x="468" y="426"/>
                  </a:lnTo>
                  <a:lnTo>
                    <a:pt x="468" y="444"/>
                  </a:lnTo>
                  <a:lnTo>
                    <a:pt x="468" y="450"/>
                  </a:lnTo>
                  <a:lnTo>
                    <a:pt x="468" y="474"/>
                  </a:lnTo>
                  <a:lnTo>
                    <a:pt x="486" y="480"/>
                  </a:lnTo>
                  <a:lnTo>
                    <a:pt x="486" y="486"/>
                  </a:lnTo>
                  <a:lnTo>
                    <a:pt x="492" y="498"/>
                  </a:lnTo>
                  <a:lnTo>
                    <a:pt x="492" y="504"/>
                  </a:lnTo>
                  <a:lnTo>
                    <a:pt x="498" y="510"/>
                  </a:lnTo>
                  <a:lnTo>
                    <a:pt x="498" y="516"/>
                  </a:lnTo>
                  <a:lnTo>
                    <a:pt x="504" y="516"/>
                  </a:lnTo>
                  <a:lnTo>
                    <a:pt x="510" y="516"/>
                  </a:lnTo>
                  <a:lnTo>
                    <a:pt x="522" y="528"/>
                  </a:lnTo>
                  <a:lnTo>
                    <a:pt x="546" y="540"/>
                  </a:lnTo>
                  <a:lnTo>
                    <a:pt x="552" y="546"/>
                  </a:lnTo>
                  <a:lnTo>
                    <a:pt x="570" y="552"/>
                  </a:lnTo>
                  <a:lnTo>
                    <a:pt x="594" y="552"/>
                  </a:lnTo>
                  <a:lnTo>
                    <a:pt x="606" y="546"/>
                  </a:lnTo>
                  <a:lnTo>
                    <a:pt x="612" y="540"/>
                  </a:lnTo>
                  <a:lnTo>
                    <a:pt x="630" y="540"/>
                  </a:lnTo>
                  <a:lnTo>
                    <a:pt x="630" y="552"/>
                  </a:lnTo>
                  <a:lnTo>
                    <a:pt x="654" y="552"/>
                  </a:lnTo>
                  <a:lnTo>
                    <a:pt x="702" y="558"/>
                  </a:lnTo>
                  <a:lnTo>
                    <a:pt x="762" y="546"/>
                  </a:lnTo>
                  <a:lnTo>
                    <a:pt x="780" y="546"/>
                  </a:lnTo>
                  <a:lnTo>
                    <a:pt x="780" y="528"/>
                  </a:lnTo>
                  <a:lnTo>
                    <a:pt x="798" y="522"/>
                  </a:lnTo>
                  <a:lnTo>
                    <a:pt x="810" y="510"/>
                  </a:lnTo>
                  <a:lnTo>
                    <a:pt x="810" y="504"/>
                  </a:lnTo>
                  <a:lnTo>
                    <a:pt x="828" y="492"/>
                  </a:lnTo>
                  <a:lnTo>
                    <a:pt x="888" y="486"/>
                  </a:lnTo>
                  <a:lnTo>
                    <a:pt x="912" y="486"/>
                  </a:lnTo>
                  <a:lnTo>
                    <a:pt x="930" y="474"/>
                  </a:lnTo>
                  <a:lnTo>
                    <a:pt x="918" y="456"/>
                  </a:lnTo>
                  <a:lnTo>
                    <a:pt x="912" y="450"/>
                  </a:lnTo>
                  <a:lnTo>
                    <a:pt x="918" y="390"/>
                  </a:lnTo>
                  <a:lnTo>
                    <a:pt x="954" y="396"/>
                  </a:lnTo>
                  <a:lnTo>
                    <a:pt x="984" y="402"/>
                  </a:lnTo>
                  <a:lnTo>
                    <a:pt x="1014" y="420"/>
                  </a:lnTo>
                  <a:lnTo>
                    <a:pt x="1026" y="432"/>
                  </a:lnTo>
                  <a:lnTo>
                    <a:pt x="1044" y="450"/>
                  </a:lnTo>
                  <a:lnTo>
                    <a:pt x="1062" y="462"/>
                  </a:lnTo>
                  <a:lnTo>
                    <a:pt x="1098" y="468"/>
                  </a:lnTo>
                  <a:lnTo>
                    <a:pt x="1128" y="480"/>
                  </a:lnTo>
                  <a:lnTo>
                    <a:pt x="1152" y="486"/>
                  </a:lnTo>
                  <a:lnTo>
                    <a:pt x="1188" y="498"/>
                  </a:lnTo>
                  <a:lnTo>
                    <a:pt x="1212" y="504"/>
                  </a:lnTo>
                  <a:lnTo>
                    <a:pt x="1224" y="528"/>
                  </a:lnTo>
                  <a:lnTo>
                    <a:pt x="1236" y="540"/>
                  </a:lnTo>
                  <a:lnTo>
                    <a:pt x="1254" y="540"/>
                  </a:lnTo>
                  <a:lnTo>
                    <a:pt x="1254" y="546"/>
                  </a:lnTo>
                  <a:lnTo>
                    <a:pt x="1260" y="552"/>
                  </a:lnTo>
                  <a:lnTo>
                    <a:pt x="1266" y="552"/>
                  </a:lnTo>
                  <a:lnTo>
                    <a:pt x="1266" y="558"/>
                  </a:lnTo>
                  <a:lnTo>
                    <a:pt x="1272" y="564"/>
                  </a:lnTo>
                  <a:lnTo>
                    <a:pt x="1278" y="564"/>
                  </a:lnTo>
                  <a:lnTo>
                    <a:pt x="1278" y="570"/>
                  </a:lnTo>
                  <a:lnTo>
                    <a:pt x="1284" y="576"/>
                  </a:lnTo>
                  <a:lnTo>
                    <a:pt x="1290" y="582"/>
                  </a:lnTo>
                  <a:lnTo>
                    <a:pt x="1296" y="582"/>
                  </a:lnTo>
                  <a:lnTo>
                    <a:pt x="1296" y="588"/>
                  </a:lnTo>
                  <a:lnTo>
                    <a:pt x="1308" y="594"/>
                  </a:lnTo>
                  <a:lnTo>
                    <a:pt x="1308" y="600"/>
                  </a:lnTo>
                  <a:lnTo>
                    <a:pt x="1308" y="606"/>
                  </a:lnTo>
                  <a:lnTo>
                    <a:pt x="1314" y="612"/>
                  </a:lnTo>
                  <a:lnTo>
                    <a:pt x="1308" y="618"/>
                  </a:lnTo>
                  <a:lnTo>
                    <a:pt x="1314" y="618"/>
                  </a:lnTo>
                  <a:lnTo>
                    <a:pt x="1314" y="624"/>
                  </a:lnTo>
                  <a:lnTo>
                    <a:pt x="1308" y="624"/>
                  </a:lnTo>
                  <a:lnTo>
                    <a:pt x="1302" y="630"/>
                  </a:lnTo>
                  <a:lnTo>
                    <a:pt x="1302" y="636"/>
                  </a:lnTo>
                  <a:lnTo>
                    <a:pt x="1296" y="642"/>
                  </a:lnTo>
                  <a:lnTo>
                    <a:pt x="1302" y="648"/>
                  </a:lnTo>
                  <a:lnTo>
                    <a:pt x="1296" y="654"/>
                  </a:lnTo>
                  <a:lnTo>
                    <a:pt x="1302" y="660"/>
                  </a:lnTo>
                  <a:lnTo>
                    <a:pt x="1302" y="666"/>
                  </a:lnTo>
                  <a:lnTo>
                    <a:pt x="1308" y="666"/>
                  </a:lnTo>
                  <a:lnTo>
                    <a:pt x="1308" y="672"/>
                  </a:lnTo>
                  <a:lnTo>
                    <a:pt x="1308" y="678"/>
                  </a:lnTo>
                  <a:lnTo>
                    <a:pt x="1308" y="684"/>
                  </a:lnTo>
                  <a:lnTo>
                    <a:pt x="1308" y="690"/>
                  </a:lnTo>
                  <a:lnTo>
                    <a:pt x="1302" y="696"/>
                  </a:lnTo>
                  <a:lnTo>
                    <a:pt x="1302" y="702"/>
                  </a:lnTo>
                  <a:lnTo>
                    <a:pt x="1308" y="702"/>
                  </a:lnTo>
                  <a:lnTo>
                    <a:pt x="1302" y="708"/>
                  </a:lnTo>
                  <a:lnTo>
                    <a:pt x="1308" y="714"/>
                  </a:lnTo>
                  <a:lnTo>
                    <a:pt x="1308" y="720"/>
                  </a:lnTo>
                  <a:lnTo>
                    <a:pt x="1308" y="726"/>
                  </a:lnTo>
                  <a:lnTo>
                    <a:pt x="1308" y="732"/>
                  </a:lnTo>
                  <a:lnTo>
                    <a:pt x="1314" y="732"/>
                  </a:lnTo>
                  <a:lnTo>
                    <a:pt x="1314" y="738"/>
                  </a:lnTo>
                  <a:lnTo>
                    <a:pt x="1320" y="744"/>
                  </a:lnTo>
                  <a:lnTo>
                    <a:pt x="1326" y="750"/>
                  </a:lnTo>
                  <a:lnTo>
                    <a:pt x="1320" y="750"/>
                  </a:lnTo>
                  <a:lnTo>
                    <a:pt x="1320" y="756"/>
                  </a:lnTo>
                  <a:lnTo>
                    <a:pt x="1314" y="756"/>
                  </a:lnTo>
                  <a:lnTo>
                    <a:pt x="1314" y="762"/>
                  </a:lnTo>
                  <a:lnTo>
                    <a:pt x="1314" y="768"/>
                  </a:lnTo>
                  <a:lnTo>
                    <a:pt x="1320" y="768"/>
                  </a:lnTo>
                  <a:lnTo>
                    <a:pt x="1320" y="762"/>
                  </a:lnTo>
                  <a:lnTo>
                    <a:pt x="1320" y="768"/>
                  </a:lnTo>
                  <a:lnTo>
                    <a:pt x="1326" y="774"/>
                  </a:lnTo>
                  <a:lnTo>
                    <a:pt x="1332" y="774"/>
                  </a:lnTo>
                  <a:lnTo>
                    <a:pt x="1332" y="780"/>
                  </a:lnTo>
                  <a:lnTo>
                    <a:pt x="1332" y="786"/>
                  </a:lnTo>
                  <a:lnTo>
                    <a:pt x="1332" y="792"/>
                  </a:lnTo>
                  <a:lnTo>
                    <a:pt x="1338" y="786"/>
                  </a:lnTo>
                  <a:lnTo>
                    <a:pt x="1338" y="792"/>
                  </a:lnTo>
                  <a:lnTo>
                    <a:pt x="1344" y="798"/>
                  </a:lnTo>
                  <a:lnTo>
                    <a:pt x="1344" y="804"/>
                  </a:lnTo>
                  <a:lnTo>
                    <a:pt x="1344" y="810"/>
                  </a:lnTo>
                  <a:lnTo>
                    <a:pt x="1344" y="816"/>
                  </a:lnTo>
                  <a:lnTo>
                    <a:pt x="1344" y="822"/>
                  </a:lnTo>
                  <a:lnTo>
                    <a:pt x="1338" y="828"/>
                  </a:lnTo>
                  <a:lnTo>
                    <a:pt x="1332" y="828"/>
                  </a:lnTo>
                  <a:lnTo>
                    <a:pt x="1338" y="840"/>
                  </a:lnTo>
                  <a:lnTo>
                    <a:pt x="1344" y="846"/>
                  </a:lnTo>
                  <a:lnTo>
                    <a:pt x="1344" y="852"/>
                  </a:lnTo>
                  <a:lnTo>
                    <a:pt x="1350" y="852"/>
                  </a:lnTo>
                  <a:lnTo>
                    <a:pt x="1356" y="858"/>
                  </a:lnTo>
                  <a:lnTo>
                    <a:pt x="1362" y="858"/>
                  </a:lnTo>
                  <a:lnTo>
                    <a:pt x="1362" y="870"/>
                  </a:lnTo>
                  <a:lnTo>
                    <a:pt x="1356" y="870"/>
                  </a:lnTo>
                  <a:lnTo>
                    <a:pt x="1356" y="876"/>
                  </a:lnTo>
                  <a:lnTo>
                    <a:pt x="1350" y="876"/>
                  </a:lnTo>
                  <a:lnTo>
                    <a:pt x="1344" y="876"/>
                  </a:lnTo>
                  <a:lnTo>
                    <a:pt x="1344" y="882"/>
                  </a:lnTo>
                  <a:lnTo>
                    <a:pt x="1338" y="882"/>
                  </a:lnTo>
                  <a:lnTo>
                    <a:pt x="1338" y="888"/>
                  </a:lnTo>
                  <a:lnTo>
                    <a:pt x="1338" y="894"/>
                  </a:lnTo>
                  <a:lnTo>
                    <a:pt x="1344" y="900"/>
                  </a:lnTo>
                  <a:lnTo>
                    <a:pt x="1344" y="906"/>
                  </a:lnTo>
                  <a:lnTo>
                    <a:pt x="1338" y="906"/>
                  </a:lnTo>
                  <a:lnTo>
                    <a:pt x="1332" y="912"/>
                  </a:lnTo>
                  <a:lnTo>
                    <a:pt x="1332" y="918"/>
                  </a:lnTo>
                  <a:lnTo>
                    <a:pt x="1326" y="918"/>
                  </a:lnTo>
                  <a:lnTo>
                    <a:pt x="1332" y="924"/>
                  </a:lnTo>
                  <a:lnTo>
                    <a:pt x="1284" y="942"/>
                  </a:lnTo>
                  <a:lnTo>
                    <a:pt x="1236" y="948"/>
                  </a:lnTo>
                  <a:lnTo>
                    <a:pt x="1194" y="966"/>
                  </a:lnTo>
                  <a:lnTo>
                    <a:pt x="1170" y="1002"/>
                  </a:lnTo>
                  <a:lnTo>
                    <a:pt x="1134" y="1020"/>
                  </a:lnTo>
                  <a:lnTo>
                    <a:pt x="1116" y="1032"/>
                  </a:lnTo>
                  <a:lnTo>
                    <a:pt x="1098" y="1050"/>
                  </a:lnTo>
                  <a:lnTo>
                    <a:pt x="1074" y="1074"/>
                  </a:lnTo>
                  <a:lnTo>
                    <a:pt x="1008" y="1134"/>
                  </a:lnTo>
                  <a:lnTo>
                    <a:pt x="990" y="1158"/>
                  </a:lnTo>
                  <a:lnTo>
                    <a:pt x="978" y="1182"/>
                  </a:lnTo>
                  <a:lnTo>
                    <a:pt x="960" y="1194"/>
                  </a:lnTo>
                  <a:lnTo>
                    <a:pt x="942" y="1212"/>
                  </a:lnTo>
                  <a:lnTo>
                    <a:pt x="912" y="1242"/>
                  </a:lnTo>
                  <a:lnTo>
                    <a:pt x="888" y="1254"/>
                  </a:lnTo>
                  <a:lnTo>
                    <a:pt x="864" y="1278"/>
                  </a:lnTo>
                  <a:lnTo>
                    <a:pt x="828" y="1296"/>
                  </a:lnTo>
                  <a:lnTo>
                    <a:pt x="774" y="1308"/>
                  </a:lnTo>
                  <a:lnTo>
                    <a:pt x="732" y="1302"/>
                  </a:lnTo>
                  <a:lnTo>
                    <a:pt x="702" y="1284"/>
                  </a:lnTo>
                  <a:lnTo>
                    <a:pt x="684" y="1278"/>
                  </a:lnTo>
                  <a:close/>
                </a:path>
              </a:pathLst>
            </a:custGeom>
            <a:solidFill>
              <a:srgbClr val="FFC000"/>
            </a:solidFill>
            <a:ln w="9525">
              <a:solidFill>
                <a:schemeClr val="bg1"/>
              </a:solidFill>
              <a:round/>
              <a:headEnd/>
              <a:tailEnd/>
            </a:ln>
          </p:spPr>
          <p:txBody>
            <a:bodyPr/>
            <a:lstStyle/>
            <a:p>
              <a:endParaRPr lang="en-GB"/>
            </a:p>
          </p:txBody>
        </p:sp>
        <p:sp>
          <p:nvSpPr>
            <p:cNvPr id="19493" name="Freeform 17"/>
            <p:cNvSpPr>
              <a:spLocks/>
            </p:cNvSpPr>
            <p:nvPr/>
          </p:nvSpPr>
          <p:spPr bwMode="gray">
            <a:xfrm>
              <a:off x="4696932" y="3449902"/>
              <a:ext cx="1346206" cy="1575500"/>
            </a:xfrm>
            <a:custGeom>
              <a:avLst/>
              <a:gdLst>
                <a:gd name="T0" fmla="*/ 112575 w 1722"/>
                <a:gd name="T1" fmla="*/ 105517 h 1956"/>
                <a:gd name="T2" fmla="*/ 111011 w 1722"/>
                <a:gd name="T3" fmla="*/ 111960 h 1956"/>
                <a:gd name="T4" fmla="*/ 107102 w 1722"/>
                <a:gd name="T5" fmla="*/ 115182 h 1956"/>
                <a:gd name="T6" fmla="*/ 103975 w 1722"/>
                <a:gd name="T7" fmla="*/ 118404 h 1956"/>
                <a:gd name="T8" fmla="*/ 103194 w 1722"/>
                <a:gd name="T9" fmla="*/ 122432 h 1956"/>
                <a:gd name="T10" fmla="*/ 101630 w 1722"/>
                <a:gd name="T11" fmla="*/ 128070 h 1956"/>
                <a:gd name="T12" fmla="*/ 99285 w 1722"/>
                <a:gd name="T13" fmla="*/ 132097 h 1956"/>
                <a:gd name="T14" fmla="*/ 96158 w 1722"/>
                <a:gd name="T15" fmla="*/ 135319 h 1956"/>
                <a:gd name="T16" fmla="*/ 91467 w 1722"/>
                <a:gd name="T17" fmla="*/ 136125 h 1956"/>
                <a:gd name="T18" fmla="*/ 85995 w 1722"/>
                <a:gd name="T19" fmla="*/ 135319 h 1956"/>
                <a:gd name="T20" fmla="*/ 81304 w 1722"/>
                <a:gd name="T21" fmla="*/ 133708 h 1956"/>
                <a:gd name="T22" fmla="*/ 78959 w 1722"/>
                <a:gd name="T23" fmla="*/ 128070 h 1956"/>
                <a:gd name="T24" fmla="*/ 74268 w 1722"/>
                <a:gd name="T25" fmla="*/ 125653 h 1956"/>
                <a:gd name="T26" fmla="*/ 69577 w 1722"/>
                <a:gd name="T27" fmla="*/ 121626 h 1956"/>
                <a:gd name="T28" fmla="*/ 68014 w 1722"/>
                <a:gd name="T29" fmla="*/ 115988 h 1956"/>
                <a:gd name="T30" fmla="*/ 64105 w 1722"/>
                <a:gd name="T31" fmla="*/ 113571 h 1956"/>
                <a:gd name="T32" fmla="*/ 59414 w 1722"/>
                <a:gd name="T33" fmla="*/ 107933 h 1956"/>
                <a:gd name="T34" fmla="*/ 57851 w 1722"/>
                <a:gd name="T35" fmla="*/ 115182 h 1956"/>
                <a:gd name="T36" fmla="*/ 53160 w 1722"/>
                <a:gd name="T37" fmla="*/ 118404 h 1956"/>
                <a:gd name="T38" fmla="*/ 42216 w 1722"/>
                <a:gd name="T39" fmla="*/ 115988 h 1956"/>
                <a:gd name="T40" fmla="*/ 39870 w 1722"/>
                <a:gd name="T41" fmla="*/ 114377 h 1956"/>
                <a:gd name="T42" fmla="*/ 32834 w 1722"/>
                <a:gd name="T43" fmla="*/ 121626 h 1956"/>
                <a:gd name="T44" fmla="*/ 25798 w 1722"/>
                <a:gd name="T45" fmla="*/ 124042 h 1956"/>
                <a:gd name="T46" fmla="*/ 24235 w 1722"/>
                <a:gd name="T47" fmla="*/ 128070 h 1956"/>
                <a:gd name="T48" fmla="*/ 22671 w 1722"/>
                <a:gd name="T49" fmla="*/ 133708 h 1956"/>
                <a:gd name="T50" fmla="*/ 19544 w 1722"/>
                <a:gd name="T51" fmla="*/ 136125 h 1956"/>
                <a:gd name="T52" fmla="*/ 21108 w 1722"/>
                <a:gd name="T53" fmla="*/ 124042 h 1956"/>
                <a:gd name="T54" fmla="*/ 28925 w 1722"/>
                <a:gd name="T55" fmla="*/ 107128 h 1956"/>
                <a:gd name="T56" fmla="*/ 28144 w 1722"/>
                <a:gd name="T57" fmla="*/ 87796 h 1956"/>
                <a:gd name="T58" fmla="*/ 21108 w 1722"/>
                <a:gd name="T59" fmla="*/ 81353 h 1956"/>
                <a:gd name="T60" fmla="*/ 3909 w 1722"/>
                <a:gd name="T61" fmla="*/ 78936 h 1956"/>
                <a:gd name="T62" fmla="*/ 1564 w 1722"/>
                <a:gd name="T63" fmla="*/ 74909 h 1956"/>
                <a:gd name="T64" fmla="*/ 9381 w 1722"/>
                <a:gd name="T65" fmla="*/ 66049 h 1956"/>
                <a:gd name="T66" fmla="*/ 7036 w 1722"/>
                <a:gd name="T67" fmla="*/ 59605 h 1956"/>
                <a:gd name="T68" fmla="*/ 17981 w 1722"/>
                <a:gd name="T69" fmla="*/ 57994 h 1956"/>
                <a:gd name="T70" fmla="*/ 17199 w 1722"/>
                <a:gd name="T71" fmla="*/ 53967 h 1956"/>
                <a:gd name="T72" fmla="*/ 37525 w 1722"/>
                <a:gd name="T73" fmla="*/ 45912 h 1956"/>
                <a:gd name="T74" fmla="*/ 60978 w 1722"/>
                <a:gd name="T75" fmla="*/ 27386 h 1956"/>
                <a:gd name="T76" fmla="*/ 63323 w 1722"/>
                <a:gd name="T77" fmla="*/ 24970 h 1956"/>
                <a:gd name="T78" fmla="*/ 62542 w 1722"/>
                <a:gd name="T79" fmla="*/ 20942 h 1956"/>
                <a:gd name="T80" fmla="*/ 60978 w 1722"/>
                <a:gd name="T81" fmla="*/ 16915 h 1956"/>
                <a:gd name="T82" fmla="*/ 60196 w 1722"/>
                <a:gd name="T83" fmla="*/ 14498 h 1956"/>
                <a:gd name="T84" fmla="*/ 60196 w 1722"/>
                <a:gd name="T85" fmla="*/ 9666 h 1956"/>
                <a:gd name="T86" fmla="*/ 60196 w 1722"/>
                <a:gd name="T87" fmla="*/ 5638 h 1956"/>
                <a:gd name="T88" fmla="*/ 79740 w 1722"/>
                <a:gd name="T89" fmla="*/ 1611 h 1956"/>
                <a:gd name="T90" fmla="*/ 89903 w 1722"/>
                <a:gd name="T91" fmla="*/ 2416 h 1956"/>
                <a:gd name="T92" fmla="*/ 96158 w 1722"/>
                <a:gd name="T93" fmla="*/ 2416 h 1956"/>
                <a:gd name="T94" fmla="*/ 97721 w 1722"/>
                <a:gd name="T95" fmla="*/ 7249 h 1956"/>
                <a:gd name="T96" fmla="*/ 103975 w 1722"/>
                <a:gd name="T97" fmla="*/ 10471 h 1956"/>
                <a:gd name="T98" fmla="*/ 116484 w 1722"/>
                <a:gd name="T99" fmla="*/ 29802 h 1956"/>
                <a:gd name="T100" fmla="*/ 110229 w 1722"/>
                <a:gd name="T101" fmla="*/ 45912 h 1956"/>
                <a:gd name="T102" fmla="*/ 105539 w 1722"/>
                <a:gd name="T103" fmla="*/ 50745 h 1956"/>
                <a:gd name="T104" fmla="*/ 96939 w 1722"/>
                <a:gd name="T105" fmla="*/ 62021 h 1956"/>
                <a:gd name="T106" fmla="*/ 96158 w 1722"/>
                <a:gd name="T107" fmla="*/ 77325 h 1956"/>
                <a:gd name="T108" fmla="*/ 99285 w 1722"/>
                <a:gd name="T109" fmla="*/ 78131 h 1956"/>
                <a:gd name="T110" fmla="*/ 100848 w 1722"/>
                <a:gd name="T111" fmla="*/ 74103 h 1956"/>
                <a:gd name="T112" fmla="*/ 104757 w 1722"/>
                <a:gd name="T113" fmla="*/ 75714 h 1956"/>
                <a:gd name="T114" fmla="*/ 107884 w 1722"/>
                <a:gd name="T115" fmla="*/ 79742 h 1956"/>
                <a:gd name="T116" fmla="*/ 111011 w 1722"/>
                <a:gd name="T117" fmla="*/ 83769 h 1956"/>
                <a:gd name="T118" fmla="*/ 110229 w 1722"/>
                <a:gd name="T119" fmla="*/ 92629 h 19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22"/>
                <a:gd name="T181" fmla="*/ 0 h 1956"/>
                <a:gd name="T182" fmla="*/ 1722 w 1722"/>
                <a:gd name="T183" fmla="*/ 1956 h 19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22" h="1956">
                  <a:moveTo>
                    <a:pt x="1686" y="1404"/>
                  </a:moveTo>
                  <a:lnTo>
                    <a:pt x="1680" y="1416"/>
                  </a:lnTo>
                  <a:lnTo>
                    <a:pt x="1674" y="1422"/>
                  </a:lnTo>
                  <a:lnTo>
                    <a:pt x="1674" y="1428"/>
                  </a:lnTo>
                  <a:lnTo>
                    <a:pt x="1668" y="1428"/>
                  </a:lnTo>
                  <a:lnTo>
                    <a:pt x="1668" y="1434"/>
                  </a:lnTo>
                  <a:lnTo>
                    <a:pt x="1662" y="1446"/>
                  </a:lnTo>
                  <a:lnTo>
                    <a:pt x="1656" y="1464"/>
                  </a:lnTo>
                  <a:lnTo>
                    <a:pt x="1656" y="1476"/>
                  </a:lnTo>
                  <a:lnTo>
                    <a:pt x="1656" y="1488"/>
                  </a:lnTo>
                  <a:lnTo>
                    <a:pt x="1662" y="1500"/>
                  </a:lnTo>
                  <a:lnTo>
                    <a:pt x="1662" y="1506"/>
                  </a:lnTo>
                  <a:lnTo>
                    <a:pt x="1662" y="1524"/>
                  </a:lnTo>
                  <a:lnTo>
                    <a:pt x="1668" y="1542"/>
                  </a:lnTo>
                  <a:lnTo>
                    <a:pt x="1674" y="1560"/>
                  </a:lnTo>
                  <a:lnTo>
                    <a:pt x="1680" y="1578"/>
                  </a:lnTo>
                  <a:lnTo>
                    <a:pt x="1686" y="1578"/>
                  </a:lnTo>
                  <a:lnTo>
                    <a:pt x="1686" y="1584"/>
                  </a:lnTo>
                  <a:lnTo>
                    <a:pt x="1686" y="1590"/>
                  </a:lnTo>
                  <a:lnTo>
                    <a:pt x="1686" y="1596"/>
                  </a:lnTo>
                  <a:lnTo>
                    <a:pt x="1680" y="1596"/>
                  </a:lnTo>
                  <a:lnTo>
                    <a:pt x="1674" y="1602"/>
                  </a:lnTo>
                  <a:lnTo>
                    <a:pt x="1662" y="1602"/>
                  </a:lnTo>
                  <a:lnTo>
                    <a:pt x="1638" y="1596"/>
                  </a:lnTo>
                  <a:lnTo>
                    <a:pt x="1632" y="1596"/>
                  </a:lnTo>
                  <a:lnTo>
                    <a:pt x="1626" y="1602"/>
                  </a:lnTo>
                  <a:lnTo>
                    <a:pt x="1620" y="1602"/>
                  </a:lnTo>
                  <a:lnTo>
                    <a:pt x="1614" y="1602"/>
                  </a:lnTo>
                  <a:lnTo>
                    <a:pt x="1602" y="1602"/>
                  </a:lnTo>
                  <a:lnTo>
                    <a:pt x="1602" y="1608"/>
                  </a:lnTo>
                  <a:lnTo>
                    <a:pt x="1602" y="1620"/>
                  </a:lnTo>
                  <a:lnTo>
                    <a:pt x="1596" y="1620"/>
                  </a:lnTo>
                  <a:lnTo>
                    <a:pt x="1590" y="1620"/>
                  </a:lnTo>
                  <a:lnTo>
                    <a:pt x="1584" y="1626"/>
                  </a:lnTo>
                  <a:lnTo>
                    <a:pt x="1584" y="1632"/>
                  </a:lnTo>
                  <a:lnTo>
                    <a:pt x="1578" y="1644"/>
                  </a:lnTo>
                  <a:lnTo>
                    <a:pt x="1572" y="1644"/>
                  </a:lnTo>
                  <a:lnTo>
                    <a:pt x="1566" y="1644"/>
                  </a:lnTo>
                  <a:lnTo>
                    <a:pt x="1566" y="1650"/>
                  </a:lnTo>
                  <a:lnTo>
                    <a:pt x="1560" y="1650"/>
                  </a:lnTo>
                  <a:lnTo>
                    <a:pt x="1554" y="1650"/>
                  </a:lnTo>
                  <a:lnTo>
                    <a:pt x="1548" y="1650"/>
                  </a:lnTo>
                  <a:lnTo>
                    <a:pt x="1548" y="1656"/>
                  </a:lnTo>
                  <a:lnTo>
                    <a:pt x="1542" y="1668"/>
                  </a:lnTo>
                  <a:lnTo>
                    <a:pt x="1542" y="1674"/>
                  </a:lnTo>
                  <a:lnTo>
                    <a:pt x="1542" y="1692"/>
                  </a:lnTo>
                  <a:lnTo>
                    <a:pt x="1536" y="1698"/>
                  </a:lnTo>
                  <a:lnTo>
                    <a:pt x="1530" y="1698"/>
                  </a:lnTo>
                  <a:lnTo>
                    <a:pt x="1524" y="1698"/>
                  </a:lnTo>
                  <a:lnTo>
                    <a:pt x="1518" y="1704"/>
                  </a:lnTo>
                  <a:lnTo>
                    <a:pt x="1512" y="1710"/>
                  </a:lnTo>
                  <a:lnTo>
                    <a:pt x="1506" y="1722"/>
                  </a:lnTo>
                  <a:lnTo>
                    <a:pt x="1500" y="1728"/>
                  </a:lnTo>
                  <a:lnTo>
                    <a:pt x="1500" y="1734"/>
                  </a:lnTo>
                  <a:lnTo>
                    <a:pt x="1512" y="1734"/>
                  </a:lnTo>
                  <a:lnTo>
                    <a:pt x="1518" y="1740"/>
                  </a:lnTo>
                  <a:lnTo>
                    <a:pt x="1518" y="1746"/>
                  </a:lnTo>
                  <a:lnTo>
                    <a:pt x="1518" y="1752"/>
                  </a:lnTo>
                  <a:lnTo>
                    <a:pt x="1518" y="1758"/>
                  </a:lnTo>
                  <a:lnTo>
                    <a:pt x="1524" y="1758"/>
                  </a:lnTo>
                  <a:lnTo>
                    <a:pt x="1524" y="1764"/>
                  </a:lnTo>
                  <a:lnTo>
                    <a:pt x="1530" y="1770"/>
                  </a:lnTo>
                  <a:lnTo>
                    <a:pt x="1518" y="1770"/>
                  </a:lnTo>
                  <a:lnTo>
                    <a:pt x="1512" y="1782"/>
                  </a:lnTo>
                  <a:lnTo>
                    <a:pt x="1512" y="1788"/>
                  </a:lnTo>
                  <a:lnTo>
                    <a:pt x="1518" y="1788"/>
                  </a:lnTo>
                  <a:lnTo>
                    <a:pt x="1524" y="1800"/>
                  </a:lnTo>
                  <a:lnTo>
                    <a:pt x="1524" y="1806"/>
                  </a:lnTo>
                  <a:lnTo>
                    <a:pt x="1518" y="1812"/>
                  </a:lnTo>
                  <a:lnTo>
                    <a:pt x="1512" y="1818"/>
                  </a:lnTo>
                  <a:lnTo>
                    <a:pt x="1506" y="1818"/>
                  </a:lnTo>
                  <a:lnTo>
                    <a:pt x="1500" y="1824"/>
                  </a:lnTo>
                  <a:lnTo>
                    <a:pt x="1500" y="1836"/>
                  </a:lnTo>
                  <a:lnTo>
                    <a:pt x="1500" y="1842"/>
                  </a:lnTo>
                  <a:lnTo>
                    <a:pt x="1500" y="1848"/>
                  </a:lnTo>
                  <a:lnTo>
                    <a:pt x="1500" y="1854"/>
                  </a:lnTo>
                  <a:lnTo>
                    <a:pt x="1494" y="1860"/>
                  </a:lnTo>
                  <a:lnTo>
                    <a:pt x="1488" y="1860"/>
                  </a:lnTo>
                  <a:lnTo>
                    <a:pt x="1488" y="1866"/>
                  </a:lnTo>
                  <a:lnTo>
                    <a:pt x="1482" y="1872"/>
                  </a:lnTo>
                  <a:lnTo>
                    <a:pt x="1482" y="1878"/>
                  </a:lnTo>
                  <a:lnTo>
                    <a:pt x="1482" y="1884"/>
                  </a:lnTo>
                  <a:lnTo>
                    <a:pt x="1476" y="1890"/>
                  </a:lnTo>
                  <a:lnTo>
                    <a:pt x="1470" y="1890"/>
                  </a:lnTo>
                  <a:lnTo>
                    <a:pt x="1470" y="1896"/>
                  </a:lnTo>
                  <a:lnTo>
                    <a:pt x="1464" y="1896"/>
                  </a:lnTo>
                  <a:lnTo>
                    <a:pt x="1458" y="1896"/>
                  </a:lnTo>
                  <a:lnTo>
                    <a:pt x="1452" y="1896"/>
                  </a:lnTo>
                  <a:lnTo>
                    <a:pt x="1440" y="1890"/>
                  </a:lnTo>
                  <a:lnTo>
                    <a:pt x="1434" y="1896"/>
                  </a:lnTo>
                  <a:lnTo>
                    <a:pt x="1428" y="1896"/>
                  </a:lnTo>
                  <a:lnTo>
                    <a:pt x="1422" y="1896"/>
                  </a:lnTo>
                  <a:lnTo>
                    <a:pt x="1422" y="1902"/>
                  </a:lnTo>
                  <a:lnTo>
                    <a:pt x="1416" y="1902"/>
                  </a:lnTo>
                  <a:lnTo>
                    <a:pt x="1422" y="1914"/>
                  </a:lnTo>
                  <a:lnTo>
                    <a:pt x="1422" y="1932"/>
                  </a:lnTo>
                  <a:lnTo>
                    <a:pt x="1416" y="1938"/>
                  </a:lnTo>
                  <a:lnTo>
                    <a:pt x="1422" y="1938"/>
                  </a:lnTo>
                  <a:lnTo>
                    <a:pt x="1404" y="1938"/>
                  </a:lnTo>
                  <a:lnTo>
                    <a:pt x="1392" y="1944"/>
                  </a:lnTo>
                  <a:lnTo>
                    <a:pt x="1386" y="1944"/>
                  </a:lnTo>
                  <a:lnTo>
                    <a:pt x="1374" y="1944"/>
                  </a:lnTo>
                  <a:lnTo>
                    <a:pt x="1368" y="1950"/>
                  </a:lnTo>
                  <a:lnTo>
                    <a:pt x="1374" y="1956"/>
                  </a:lnTo>
                  <a:lnTo>
                    <a:pt x="1368" y="1956"/>
                  </a:lnTo>
                  <a:lnTo>
                    <a:pt x="1356" y="1956"/>
                  </a:lnTo>
                  <a:lnTo>
                    <a:pt x="1350" y="1956"/>
                  </a:lnTo>
                  <a:lnTo>
                    <a:pt x="1350" y="1950"/>
                  </a:lnTo>
                  <a:lnTo>
                    <a:pt x="1344" y="1944"/>
                  </a:lnTo>
                  <a:lnTo>
                    <a:pt x="1332" y="1938"/>
                  </a:lnTo>
                  <a:lnTo>
                    <a:pt x="1326" y="1938"/>
                  </a:lnTo>
                  <a:lnTo>
                    <a:pt x="1320" y="1938"/>
                  </a:lnTo>
                  <a:lnTo>
                    <a:pt x="1314" y="1944"/>
                  </a:lnTo>
                  <a:lnTo>
                    <a:pt x="1308" y="1944"/>
                  </a:lnTo>
                  <a:lnTo>
                    <a:pt x="1302" y="1944"/>
                  </a:lnTo>
                  <a:lnTo>
                    <a:pt x="1296" y="1938"/>
                  </a:lnTo>
                  <a:lnTo>
                    <a:pt x="1284" y="1938"/>
                  </a:lnTo>
                  <a:lnTo>
                    <a:pt x="1278" y="1938"/>
                  </a:lnTo>
                  <a:lnTo>
                    <a:pt x="1272" y="1938"/>
                  </a:lnTo>
                  <a:lnTo>
                    <a:pt x="1266" y="1932"/>
                  </a:lnTo>
                  <a:lnTo>
                    <a:pt x="1260" y="1932"/>
                  </a:lnTo>
                  <a:lnTo>
                    <a:pt x="1254" y="1920"/>
                  </a:lnTo>
                  <a:lnTo>
                    <a:pt x="1248" y="1920"/>
                  </a:lnTo>
                  <a:lnTo>
                    <a:pt x="1242" y="1920"/>
                  </a:lnTo>
                  <a:lnTo>
                    <a:pt x="1236" y="1926"/>
                  </a:lnTo>
                  <a:lnTo>
                    <a:pt x="1236" y="1932"/>
                  </a:lnTo>
                  <a:lnTo>
                    <a:pt x="1230" y="1932"/>
                  </a:lnTo>
                  <a:lnTo>
                    <a:pt x="1224" y="1932"/>
                  </a:lnTo>
                  <a:lnTo>
                    <a:pt x="1218" y="1938"/>
                  </a:lnTo>
                  <a:lnTo>
                    <a:pt x="1212" y="1932"/>
                  </a:lnTo>
                  <a:lnTo>
                    <a:pt x="1206" y="1926"/>
                  </a:lnTo>
                  <a:lnTo>
                    <a:pt x="1206" y="1908"/>
                  </a:lnTo>
                  <a:lnTo>
                    <a:pt x="1206" y="1884"/>
                  </a:lnTo>
                  <a:lnTo>
                    <a:pt x="1206" y="1866"/>
                  </a:lnTo>
                  <a:lnTo>
                    <a:pt x="1212" y="1848"/>
                  </a:lnTo>
                  <a:lnTo>
                    <a:pt x="1212" y="1842"/>
                  </a:lnTo>
                  <a:lnTo>
                    <a:pt x="1206" y="1836"/>
                  </a:lnTo>
                  <a:lnTo>
                    <a:pt x="1200" y="1830"/>
                  </a:lnTo>
                  <a:lnTo>
                    <a:pt x="1194" y="1824"/>
                  </a:lnTo>
                  <a:lnTo>
                    <a:pt x="1188" y="1824"/>
                  </a:lnTo>
                  <a:lnTo>
                    <a:pt x="1182" y="1824"/>
                  </a:lnTo>
                  <a:lnTo>
                    <a:pt x="1176" y="1824"/>
                  </a:lnTo>
                  <a:lnTo>
                    <a:pt x="1170" y="1818"/>
                  </a:lnTo>
                  <a:lnTo>
                    <a:pt x="1164" y="1830"/>
                  </a:lnTo>
                  <a:lnTo>
                    <a:pt x="1152" y="1836"/>
                  </a:lnTo>
                  <a:lnTo>
                    <a:pt x="1146" y="1842"/>
                  </a:lnTo>
                  <a:lnTo>
                    <a:pt x="1140" y="1842"/>
                  </a:lnTo>
                  <a:lnTo>
                    <a:pt x="1134" y="1842"/>
                  </a:lnTo>
                  <a:lnTo>
                    <a:pt x="1128" y="1842"/>
                  </a:lnTo>
                  <a:lnTo>
                    <a:pt x="1116" y="1836"/>
                  </a:lnTo>
                  <a:lnTo>
                    <a:pt x="1110" y="1842"/>
                  </a:lnTo>
                  <a:lnTo>
                    <a:pt x="1092" y="1830"/>
                  </a:lnTo>
                  <a:lnTo>
                    <a:pt x="1092" y="1824"/>
                  </a:lnTo>
                  <a:lnTo>
                    <a:pt x="1092" y="1806"/>
                  </a:lnTo>
                  <a:lnTo>
                    <a:pt x="1092" y="1800"/>
                  </a:lnTo>
                  <a:lnTo>
                    <a:pt x="1092" y="1794"/>
                  </a:lnTo>
                  <a:lnTo>
                    <a:pt x="1086" y="1788"/>
                  </a:lnTo>
                  <a:lnTo>
                    <a:pt x="1080" y="1794"/>
                  </a:lnTo>
                  <a:lnTo>
                    <a:pt x="1074" y="1788"/>
                  </a:lnTo>
                  <a:lnTo>
                    <a:pt x="1068" y="1770"/>
                  </a:lnTo>
                  <a:lnTo>
                    <a:pt x="1056" y="1764"/>
                  </a:lnTo>
                  <a:lnTo>
                    <a:pt x="1050" y="1764"/>
                  </a:lnTo>
                  <a:lnTo>
                    <a:pt x="1044" y="1764"/>
                  </a:lnTo>
                  <a:lnTo>
                    <a:pt x="1038" y="1758"/>
                  </a:lnTo>
                  <a:lnTo>
                    <a:pt x="1032" y="1752"/>
                  </a:lnTo>
                  <a:lnTo>
                    <a:pt x="1032" y="1746"/>
                  </a:lnTo>
                  <a:lnTo>
                    <a:pt x="1032" y="1740"/>
                  </a:lnTo>
                  <a:lnTo>
                    <a:pt x="1032" y="1734"/>
                  </a:lnTo>
                  <a:lnTo>
                    <a:pt x="1026" y="1734"/>
                  </a:lnTo>
                  <a:lnTo>
                    <a:pt x="1032" y="1728"/>
                  </a:lnTo>
                  <a:lnTo>
                    <a:pt x="1032" y="1722"/>
                  </a:lnTo>
                  <a:lnTo>
                    <a:pt x="1044" y="1686"/>
                  </a:lnTo>
                  <a:lnTo>
                    <a:pt x="1044" y="1680"/>
                  </a:lnTo>
                  <a:lnTo>
                    <a:pt x="1032" y="1674"/>
                  </a:lnTo>
                  <a:lnTo>
                    <a:pt x="1026" y="1674"/>
                  </a:lnTo>
                  <a:lnTo>
                    <a:pt x="1026" y="1668"/>
                  </a:lnTo>
                  <a:lnTo>
                    <a:pt x="1020" y="1662"/>
                  </a:lnTo>
                  <a:lnTo>
                    <a:pt x="1014" y="1668"/>
                  </a:lnTo>
                  <a:lnTo>
                    <a:pt x="1008" y="1662"/>
                  </a:lnTo>
                  <a:lnTo>
                    <a:pt x="1002" y="1662"/>
                  </a:lnTo>
                  <a:lnTo>
                    <a:pt x="1002" y="1668"/>
                  </a:lnTo>
                  <a:lnTo>
                    <a:pt x="996" y="1668"/>
                  </a:lnTo>
                  <a:lnTo>
                    <a:pt x="996" y="1662"/>
                  </a:lnTo>
                  <a:lnTo>
                    <a:pt x="984" y="1662"/>
                  </a:lnTo>
                  <a:lnTo>
                    <a:pt x="984" y="1656"/>
                  </a:lnTo>
                  <a:lnTo>
                    <a:pt x="978" y="1650"/>
                  </a:lnTo>
                  <a:lnTo>
                    <a:pt x="978" y="1644"/>
                  </a:lnTo>
                  <a:lnTo>
                    <a:pt x="966" y="1650"/>
                  </a:lnTo>
                  <a:lnTo>
                    <a:pt x="960" y="1638"/>
                  </a:lnTo>
                  <a:lnTo>
                    <a:pt x="954" y="1632"/>
                  </a:lnTo>
                  <a:lnTo>
                    <a:pt x="948" y="1632"/>
                  </a:lnTo>
                  <a:lnTo>
                    <a:pt x="942" y="1626"/>
                  </a:lnTo>
                  <a:lnTo>
                    <a:pt x="942" y="1614"/>
                  </a:lnTo>
                  <a:lnTo>
                    <a:pt x="930" y="1608"/>
                  </a:lnTo>
                  <a:lnTo>
                    <a:pt x="924" y="1614"/>
                  </a:lnTo>
                  <a:lnTo>
                    <a:pt x="912" y="1608"/>
                  </a:lnTo>
                  <a:lnTo>
                    <a:pt x="888" y="1590"/>
                  </a:lnTo>
                  <a:lnTo>
                    <a:pt x="894" y="1578"/>
                  </a:lnTo>
                  <a:lnTo>
                    <a:pt x="894" y="1572"/>
                  </a:lnTo>
                  <a:lnTo>
                    <a:pt x="894" y="1566"/>
                  </a:lnTo>
                  <a:lnTo>
                    <a:pt x="894" y="1548"/>
                  </a:lnTo>
                  <a:lnTo>
                    <a:pt x="888" y="1548"/>
                  </a:lnTo>
                  <a:lnTo>
                    <a:pt x="882" y="1542"/>
                  </a:lnTo>
                  <a:lnTo>
                    <a:pt x="876" y="1542"/>
                  </a:lnTo>
                  <a:lnTo>
                    <a:pt x="876" y="1536"/>
                  </a:lnTo>
                  <a:lnTo>
                    <a:pt x="870" y="1542"/>
                  </a:lnTo>
                  <a:lnTo>
                    <a:pt x="870" y="1554"/>
                  </a:lnTo>
                  <a:lnTo>
                    <a:pt x="870" y="1566"/>
                  </a:lnTo>
                  <a:lnTo>
                    <a:pt x="870" y="1578"/>
                  </a:lnTo>
                  <a:lnTo>
                    <a:pt x="870" y="1584"/>
                  </a:lnTo>
                  <a:lnTo>
                    <a:pt x="864" y="1584"/>
                  </a:lnTo>
                  <a:lnTo>
                    <a:pt x="870" y="1602"/>
                  </a:lnTo>
                  <a:lnTo>
                    <a:pt x="864" y="1608"/>
                  </a:lnTo>
                  <a:lnTo>
                    <a:pt x="870" y="1614"/>
                  </a:lnTo>
                  <a:lnTo>
                    <a:pt x="864" y="1644"/>
                  </a:lnTo>
                  <a:lnTo>
                    <a:pt x="858" y="1650"/>
                  </a:lnTo>
                  <a:lnTo>
                    <a:pt x="858" y="1656"/>
                  </a:lnTo>
                  <a:lnTo>
                    <a:pt x="852" y="1662"/>
                  </a:lnTo>
                  <a:lnTo>
                    <a:pt x="852" y="1680"/>
                  </a:lnTo>
                  <a:lnTo>
                    <a:pt x="846" y="1686"/>
                  </a:lnTo>
                  <a:lnTo>
                    <a:pt x="834" y="1692"/>
                  </a:lnTo>
                  <a:lnTo>
                    <a:pt x="828" y="1692"/>
                  </a:lnTo>
                  <a:lnTo>
                    <a:pt x="822" y="1698"/>
                  </a:lnTo>
                  <a:lnTo>
                    <a:pt x="822" y="1704"/>
                  </a:lnTo>
                  <a:lnTo>
                    <a:pt x="816" y="1704"/>
                  </a:lnTo>
                  <a:lnTo>
                    <a:pt x="804" y="1692"/>
                  </a:lnTo>
                  <a:lnTo>
                    <a:pt x="786" y="1698"/>
                  </a:lnTo>
                  <a:lnTo>
                    <a:pt x="780" y="1698"/>
                  </a:lnTo>
                  <a:lnTo>
                    <a:pt x="756" y="1698"/>
                  </a:lnTo>
                  <a:lnTo>
                    <a:pt x="744" y="1698"/>
                  </a:lnTo>
                  <a:lnTo>
                    <a:pt x="738" y="1698"/>
                  </a:lnTo>
                  <a:lnTo>
                    <a:pt x="732" y="1704"/>
                  </a:lnTo>
                  <a:lnTo>
                    <a:pt x="726" y="1704"/>
                  </a:lnTo>
                  <a:lnTo>
                    <a:pt x="678" y="1710"/>
                  </a:lnTo>
                  <a:lnTo>
                    <a:pt x="642" y="1710"/>
                  </a:lnTo>
                  <a:lnTo>
                    <a:pt x="618" y="1680"/>
                  </a:lnTo>
                  <a:lnTo>
                    <a:pt x="618" y="1674"/>
                  </a:lnTo>
                  <a:lnTo>
                    <a:pt x="618" y="1668"/>
                  </a:lnTo>
                  <a:lnTo>
                    <a:pt x="624" y="1662"/>
                  </a:lnTo>
                  <a:lnTo>
                    <a:pt x="624" y="1656"/>
                  </a:lnTo>
                  <a:lnTo>
                    <a:pt x="624" y="1650"/>
                  </a:lnTo>
                  <a:lnTo>
                    <a:pt x="618" y="1650"/>
                  </a:lnTo>
                  <a:lnTo>
                    <a:pt x="618" y="1644"/>
                  </a:lnTo>
                  <a:lnTo>
                    <a:pt x="618" y="1638"/>
                  </a:lnTo>
                  <a:lnTo>
                    <a:pt x="618" y="1632"/>
                  </a:lnTo>
                  <a:lnTo>
                    <a:pt x="618" y="1626"/>
                  </a:lnTo>
                  <a:lnTo>
                    <a:pt x="612" y="1626"/>
                  </a:lnTo>
                  <a:lnTo>
                    <a:pt x="612" y="1620"/>
                  </a:lnTo>
                  <a:lnTo>
                    <a:pt x="606" y="1614"/>
                  </a:lnTo>
                  <a:lnTo>
                    <a:pt x="594" y="1626"/>
                  </a:lnTo>
                  <a:lnTo>
                    <a:pt x="594" y="1632"/>
                  </a:lnTo>
                  <a:lnTo>
                    <a:pt x="588" y="1638"/>
                  </a:lnTo>
                  <a:lnTo>
                    <a:pt x="582" y="1638"/>
                  </a:lnTo>
                  <a:lnTo>
                    <a:pt x="564" y="1656"/>
                  </a:lnTo>
                  <a:lnTo>
                    <a:pt x="558" y="1662"/>
                  </a:lnTo>
                  <a:lnTo>
                    <a:pt x="552" y="1662"/>
                  </a:lnTo>
                  <a:lnTo>
                    <a:pt x="540" y="1674"/>
                  </a:lnTo>
                  <a:lnTo>
                    <a:pt x="534" y="1680"/>
                  </a:lnTo>
                  <a:lnTo>
                    <a:pt x="522" y="1692"/>
                  </a:lnTo>
                  <a:lnTo>
                    <a:pt x="516" y="1704"/>
                  </a:lnTo>
                  <a:lnTo>
                    <a:pt x="510" y="1704"/>
                  </a:lnTo>
                  <a:lnTo>
                    <a:pt x="504" y="1704"/>
                  </a:lnTo>
                  <a:lnTo>
                    <a:pt x="486" y="1722"/>
                  </a:lnTo>
                  <a:lnTo>
                    <a:pt x="480" y="1740"/>
                  </a:lnTo>
                  <a:lnTo>
                    <a:pt x="474" y="1740"/>
                  </a:lnTo>
                  <a:lnTo>
                    <a:pt x="468" y="1746"/>
                  </a:lnTo>
                  <a:lnTo>
                    <a:pt x="456" y="1758"/>
                  </a:lnTo>
                  <a:lnTo>
                    <a:pt x="444" y="1770"/>
                  </a:lnTo>
                  <a:lnTo>
                    <a:pt x="438" y="1782"/>
                  </a:lnTo>
                  <a:lnTo>
                    <a:pt x="426" y="1788"/>
                  </a:lnTo>
                  <a:lnTo>
                    <a:pt x="420" y="1788"/>
                  </a:lnTo>
                  <a:lnTo>
                    <a:pt x="420" y="1782"/>
                  </a:lnTo>
                  <a:lnTo>
                    <a:pt x="414" y="1782"/>
                  </a:lnTo>
                  <a:lnTo>
                    <a:pt x="390" y="1782"/>
                  </a:lnTo>
                  <a:lnTo>
                    <a:pt x="390" y="1776"/>
                  </a:lnTo>
                  <a:lnTo>
                    <a:pt x="384" y="1776"/>
                  </a:lnTo>
                  <a:lnTo>
                    <a:pt x="378" y="1776"/>
                  </a:lnTo>
                  <a:lnTo>
                    <a:pt x="372" y="1776"/>
                  </a:lnTo>
                  <a:lnTo>
                    <a:pt x="366" y="1770"/>
                  </a:lnTo>
                  <a:lnTo>
                    <a:pt x="366" y="1776"/>
                  </a:lnTo>
                  <a:lnTo>
                    <a:pt x="360" y="1788"/>
                  </a:lnTo>
                  <a:lnTo>
                    <a:pt x="360" y="1794"/>
                  </a:lnTo>
                  <a:lnTo>
                    <a:pt x="360" y="1800"/>
                  </a:lnTo>
                  <a:lnTo>
                    <a:pt x="354" y="1806"/>
                  </a:lnTo>
                  <a:lnTo>
                    <a:pt x="354" y="1812"/>
                  </a:lnTo>
                  <a:lnTo>
                    <a:pt x="354" y="1824"/>
                  </a:lnTo>
                  <a:lnTo>
                    <a:pt x="348" y="1830"/>
                  </a:lnTo>
                  <a:lnTo>
                    <a:pt x="354" y="1836"/>
                  </a:lnTo>
                  <a:lnTo>
                    <a:pt x="348" y="1842"/>
                  </a:lnTo>
                  <a:lnTo>
                    <a:pt x="354" y="1848"/>
                  </a:lnTo>
                  <a:lnTo>
                    <a:pt x="348" y="1854"/>
                  </a:lnTo>
                  <a:lnTo>
                    <a:pt x="354" y="1854"/>
                  </a:lnTo>
                  <a:lnTo>
                    <a:pt x="348" y="1860"/>
                  </a:lnTo>
                  <a:lnTo>
                    <a:pt x="348" y="1866"/>
                  </a:lnTo>
                  <a:lnTo>
                    <a:pt x="342" y="1866"/>
                  </a:lnTo>
                  <a:lnTo>
                    <a:pt x="342" y="1872"/>
                  </a:lnTo>
                  <a:lnTo>
                    <a:pt x="342" y="1878"/>
                  </a:lnTo>
                  <a:lnTo>
                    <a:pt x="342" y="1884"/>
                  </a:lnTo>
                  <a:lnTo>
                    <a:pt x="336" y="1896"/>
                  </a:lnTo>
                  <a:lnTo>
                    <a:pt x="330" y="1914"/>
                  </a:lnTo>
                  <a:lnTo>
                    <a:pt x="324" y="1920"/>
                  </a:lnTo>
                  <a:lnTo>
                    <a:pt x="324" y="1926"/>
                  </a:lnTo>
                  <a:lnTo>
                    <a:pt x="318" y="1944"/>
                  </a:lnTo>
                  <a:lnTo>
                    <a:pt x="318" y="1950"/>
                  </a:lnTo>
                  <a:lnTo>
                    <a:pt x="312" y="1956"/>
                  </a:lnTo>
                  <a:lnTo>
                    <a:pt x="312" y="1950"/>
                  </a:lnTo>
                  <a:lnTo>
                    <a:pt x="306" y="1950"/>
                  </a:lnTo>
                  <a:lnTo>
                    <a:pt x="306" y="1956"/>
                  </a:lnTo>
                  <a:lnTo>
                    <a:pt x="300" y="1950"/>
                  </a:lnTo>
                  <a:lnTo>
                    <a:pt x="294" y="1956"/>
                  </a:lnTo>
                  <a:lnTo>
                    <a:pt x="288" y="1950"/>
                  </a:lnTo>
                  <a:lnTo>
                    <a:pt x="288" y="1944"/>
                  </a:lnTo>
                  <a:lnTo>
                    <a:pt x="282" y="1938"/>
                  </a:lnTo>
                  <a:lnTo>
                    <a:pt x="282" y="1932"/>
                  </a:lnTo>
                  <a:lnTo>
                    <a:pt x="282" y="1890"/>
                  </a:lnTo>
                  <a:lnTo>
                    <a:pt x="288" y="1860"/>
                  </a:lnTo>
                  <a:lnTo>
                    <a:pt x="294" y="1842"/>
                  </a:lnTo>
                  <a:lnTo>
                    <a:pt x="294" y="1836"/>
                  </a:lnTo>
                  <a:lnTo>
                    <a:pt x="294" y="1824"/>
                  </a:lnTo>
                  <a:lnTo>
                    <a:pt x="300" y="1818"/>
                  </a:lnTo>
                  <a:lnTo>
                    <a:pt x="306" y="1794"/>
                  </a:lnTo>
                  <a:lnTo>
                    <a:pt x="306" y="1788"/>
                  </a:lnTo>
                  <a:lnTo>
                    <a:pt x="306" y="1782"/>
                  </a:lnTo>
                  <a:lnTo>
                    <a:pt x="312" y="1776"/>
                  </a:lnTo>
                  <a:lnTo>
                    <a:pt x="306" y="1776"/>
                  </a:lnTo>
                  <a:lnTo>
                    <a:pt x="312" y="1770"/>
                  </a:lnTo>
                  <a:lnTo>
                    <a:pt x="312" y="1740"/>
                  </a:lnTo>
                  <a:lnTo>
                    <a:pt x="318" y="1722"/>
                  </a:lnTo>
                  <a:lnTo>
                    <a:pt x="312" y="1722"/>
                  </a:lnTo>
                  <a:lnTo>
                    <a:pt x="300" y="1716"/>
                  </a:lnTo>
                  <a:lnTo>
                    <a:pt x="306" y="1716"/>
                  </a:lnTo>
                  <a:lnTo>
                    <a:pt x="312" y="1710"/>
                  </a:lnTo>
                  <a:lnTo>
                    <a:pt x="324" y="1674"/>
                  </a:lnTo>
                  <a:lnTo>
                    <a:pt x="366" y="1590"/>
                  </a:lnTo>
                  <a:lnTo>
                    <a:pt x="408" y="1548"/>
                  </a:lnTo>
                  <a:lnTo>
                    <a:pt x="426" y="1530"/>
                  </a:lnTo>
                  <a:lnTo>
                    <a:pt x="432" y="1500"/>
                  </a:lnTo>
                  <a:lnTo>
                    <a:pt x="426" y="1494"/>
                  </a:lnTo>
                  <a:lnTo>
                    <a:pt x="426" y="1482"/>
                  </a:lnTo>
                  <a:lnTo>
                    <a:pt x="432" y="1464"/>
                  </a:lnTo>
                  <a:lnTo>
                    <a:pt x="438" y="1428"/>
                  </a:lnTo>
                  <a:lnTo>
                    <a:pt x="462" y="1398"/>
                  </a:lnTo>
                  <a:lnTo>
                    <a:pt x="468" y="1362"/>
                  </a:lnTo>
                  <a:lnTo>
                    <a:pt x="462" y="1314"/>
                  </a:lnTo>
                  <a:lnTo>
                    <a:pt x="444" y="1284"/>
                  </a:lnTo>
                  <a:lnTo>
                    <a:pt x="432" y="1260"/>
                  </a:lnTo>
                  <a:lnTo>
                    <a:pt x="426" y="1260"/>
                  </a:lnTo>
                  <a:lnTo>
                    <a:pt x="420" y="1254"/>
                  </a:lnTo>
                  <a:lnTo>
                    <a:pt x="408" y="1260"/>
                  </a:lnTo>
                  <a:lnTo>
                    <a:pt x="402" y="1260"/>
                  </a:lnTo>
                  <a:lnTo>
                    <a:pt x="402" y="1254"/>
                  </a:lnTo>
                  <a:lnTo>
                    <a:pt x="396" y="1254"/>
                  </a:lnTo>
                  <a:lnTo>
                    <a:pt x="396" y="1248"/>
                  </a:lnTo>
                  <a:lnTo>
                    <a:pt x="384" y="1248"/>
                  </a:lnTo>
                  <a:lnTo>
                    <a:pt x="372" y="1230"/>
                  </a:lnTo>
                  <a:lnTo>
                    <a:pt x="360" y="1212"/>
                  </a:lnTo>
                  <a:lnTo>
                    <a:pt x="348" y="1188"/>
                  </a:lnTo>
                  <a:lnTo>
                    <a:pt x="324" y="1170"/>
                  </a:lnTo>
                  <a:lnTo>
                    <a:pt x="318" y="1170"/>
                  </a:lnTo>
                  <a:lnTo>
                    <a:pt x="312" y="1158"/>
                  </a:lnTo>
                  <a:lnTo>
                    <a:pt x="312" y="1152"/>
                  </a:lnTo>
                  <a:lnTo>
                    <a:pt x="306" y="1146"/>
                  </a:lnTo>
                  <a:lnTo>
                    <a:pt x="270" y="1122"/>
                  </a:lnTo>
                  <a:lnTo>
                    <a:pt x="240" y="1122"/>
                  </a:lnTo>
                  <a:lnTo>
                    <a:pt x="180" y="1116"/>
                  </a:lnTo>
                  <a:lnTo>
                    <a:pt x="174" y="1122"/>
                  </a:lnTo>
                  <a:lnTo>
                    <a:pt x="174" y="1128"/>
                  </a:lnTo>
                  <a:lnTo>
                    <a:pt x="168" y="1122"/>
                  </a:lnTo>
                  <a:lnTo>
                    <a:pt x="162" y="1116"/>
                  </a:lnTo>
                  <a:lnTo>
                    <a:pt x="144" y="1122"/>
                  </a:lnTo>
                  <a:lnTo>
                    <a:pt x="120" y="1122"/>
                  </a:lnTo>
                  <a:lnTo>
                    <a:pt x="54" y="1134"/>
                  </a:lnTo>
                  <a:lnTo>
                    <a:pt x="24" y="1152"/>
                  </a:lnTo>
                  <a:lnTo>
                    <a:pt x="6" y="1146"/>
                  </a:lnTo>
                  <a:lnTo>
                    <a:pt x="0" y="1134"/>
                  </a:lnTo>
                  <a:lnTo>
                    <a:pt x="0" y="1128"/>
                  </a:lnTo>
                  <a:lnTo>
                    <a:pt x="18" y="1110"/>
                  </a:lnTo>
                  <a:lnTo>
                    <a:pt x="24" y="1104"/>
                  </a:lnTo>
                  <a:lnTo>
                    <a:pt x="24" y="1098"/>
                  </a:lnTo>
                  <a:lnTo>
                    <a:pt x="30" y="1086"/>
                  </a:lnTo>
                  <a:lnTo>
                    <a:pt x="24" y="1086"/>
                  </a:lnTo>
                  <a:lnTo>
                    <a:pt x="24" y="1080"/>
                  </a:lnTo>
                  <a:lnTo>
                    <a:pt x="24" y="1074"/>
                  </a:lnTo>
                  <a:lnTo>
                    <a:pt x="18" y="1068"/>
                  </a:lnTo>
                  <a:lnTo>
                    <a:pt x="24" y="1062"/>
                  </a:lnTo>
                  <a:lnTo>
                    <a:pt x="42" y="1056"/>
                  </a:lnTo>
                  <a:lnTo>
                    <a:pt x="54" y="1050"/>
                  </a:lnTo>
                  <a:lnTo>
                    <a:pt x="72" y="1044"/>
                  </a:lnTo>
                  <a:lnTo>
                    <a:pt x="96" y="1032"/>
                  </a:lnTo>
                  <a:lnTo>
                    <a:pt x="102" y="1032"/>
                  </a:lnTo>
                  <a:lnTo>
                    <a:pt x="126" y="1008"/>
                  </a:lnTo>
                  <a:lnTo>
                    <a:pt x="144" y="990"/>
                  </a:lnTo>
                  <a:lnTo>
                    <a:pt x="156" y="978"/>
                  </a:lnTo>
                  <a:lnTo>
                    <a:pt x="156" y="966"/>
                  </a:lnTo>
                  <a:lnTo>
                    <a:pt x="150" y="960"/>
                  </a:lnTo>
                  <a:lnTo>
                    <a:pt x="144" y="948"/>
                  </a:lnTo>
                  <a:lnTo>
                    <a:pt x="144" y="936"/>
                  </a:lnTo>
                  <a:lnTo>
                    <a:pt x="138" y="918"/>
                  </a:lnTo>
                  <a:lnTo>
                    <a:pt x="150" y="912"/>
                  </a:lnTo>
                  <a:lnTo>
                    <a:pt x="150" y="894"/>
                  </a:lnTo>
                  <a:lnTo>
                    <a:pt x="132" y="876"/>
                  </a:lnTo>
                  <a:lnTo>
                    <a:pt x="126" y="876"/>
                  </a:lnTo>
                  <a:lnTo>
                    <a:pt x="120" y="870"/>
                  </a:lnTo>
                  <a:lnTo>
                    <a:pt x="120" y="864"/>
                  </a:lnTo>
                  <a:lnTo>
                    <a:pt x="114" y="864"/>
                  </a:lnTo>
                  <a:lnTo>
                    <a:pt x="108" y="864"/>
                  </a:lnTo>
                  <a:lnTo>
                    <a:pt x="108" y="858"/>
                  </a:lnTo>
                  <a:lnTo>
                    <a:pt x="102" y="852"/>
                  </a:lnTo>
                  <a:lnTo>
                    <a:pt x="96" y="852"/>
                  </a:lnTo>
                  <a:lnTo>
                    <a:pt x="102" y="834"/>
                  </a:lnTo>
                  <a:lnTo>
                    <a:pt x="108" y="816"/>
                  </a:lnTo>
                  <a:lnTo>
                    <a:pt x="114" y="804"/>
                  </a:lnTo>
                  <a:lnTo>
                    <a:pt x="132" y="798"/>
                  </a:lnTo>
                  <a:lnTo>
                    <a:pt x="144" y="798"/>
                  </a:lnTo>
                  <a:lnTo>
                    <a:pt x="180" y="810"/>
                  </a:lnTo>
                  <a:lnTo>
                    <a:pt x="192" y="816"/>
                  </a:lnTo>
                  <a:lnTo>
                    <a:pt x="234" y="822"/>
                  </a:lnTo>
                  <a:lnTo>
                    <a:pt x="264" y="828"/>
                  </a:lnTo>
                  <a:lnTo>
                    <a:pt x="270" y="840"/>
                  </a:lnTo>
                  <a:lnTo>
                    <a:pt x="270" y="834"/>
                  </a:lnTo>
                  <a:lnTo>
                    <a:pt x="270" y="828"/>
                  </a:lnTo>
                  <a:lnTo>
                    <a:pt x="270" y="822"/>
                  </a:lnTo>
                  <a:lnTo>
                    <a:pt x="270" y="816"/>
                  </a:lnTo>
                  <a:lnTo>
                    <a:pt x="264" y="810"/>
                  </a:lnTo>
                  <a:lnTo>
                    <a:pt x="264" y="804"/>
                  </a:lnTo>
                  <a:lnTo>
                    <a:pt x="264" y="798"/>
                  </a:lnTo>
                  <a:lnTo>
                    <a:pt x="258" y="792"/>
                  </a:lnTo>
                  <a:lnTo>
                    <a:pt x="258" y="786"/>
                  </a:lnTo>
                  <a:lnTo>
                    <a:pt x="264" y="786"/>
                  </a:lnTo>
                  <a:lnTo>
                    <a:pt x="264" y="780"/>
                  </a:lnTo>
                  <a:lnTo>
                    <a:pt x="258" y="774"/>
                  </a:lnTo>
                  <a:lnTo>
                    <a:pt x="258" y="768"/>
                  </a:lnTo>
                  <a:lnTo>
                    <a:pt x="264" y="762"/>
                  </a:lnTo>
                  <a:lnTo>
                    <a:pt x="264" y="756"/>
                  </a:lnTo>
                  <a:lnTo>
                    <a:pt x="282" y="762"/>
                  </a:lnTo>
                  <a:lnTo>
                    <a:pt x="312" y="780"/>
                  </a:lnTo>
                  <a:lnTo>
                    <a:pt x="354" y="786"/>
                  </a:lnTo>
                  <a:lnTo>
                    <a:pt x="408" y="774"/>
                  </a:lnTo>
                  <a:lnTo>
                    <a:pt x="444" y="756"/>
                  </a:lnTo>
                  <a:lnTo>
                    <a:pt x="468" y="732"/>
                  </a:lnTo>
                  <a:lnTo>
                    <a:pt x="492" y="720"/>
                  </a:lnTo>
                  <a:lnTo>
                    <a:pt x="522" y="690"/>
                  </a:lnTo>
                  <a:lnTo>
                    <a:pt x="540" y="672"/>
                  </a:lnTo>
                  <a:lnTo>
                    <a:pt x="558" y="660"/>
                  </a:lnTo>
                  <a:lnTo>
                    <a:pt x="570" y="636"/>
                  </a:lnTo>
                  <a:lnTo>
                    <a:pt x="588" y="612"/>
                  </a:lnTo>
                  <a:lnTo>
                    <a:pt x="654" y="552"/>
                  </a:lnTo>
                  <a:lnTo>
                    <a:pt x="678" y="528"/>
                  </a:lnTo>
                  <a:lnTo>
                    <a:pt x="696" y="510"/>
                  </a:lnTo>
                  <a:lnTo>
                    <a:pt x="714" y="498"/>
                  </a:lnTo>
                  <a:lnTo>
                    <a:pt x="750" y="480"/>
                  </a:lnTo>
                  <a:lnTo>
                    <a:pt x="774" y="444"/>
                  </a:lnTo>
                  <a:lnTo>
                    <a:pt x="816" y="426"/>
                  </a:lnTo>
                  <a:lnTo>
                    <a:pt x="864" y="420"/>
                  </a:lnTo>
                  <a:lnTo>
                    <a:pt x="912" y="402"/>
                  </a:lnTo>
                  <a:lnTo>
                    <a:pt x="906" y="396"/>
                  </a:lnTo>
                  <a:lnTo>
                    <a:pt x="912" y="396"/>
                  </a:lnTo>
                  <a:lnTo>
                    <a:pt x="912" y="390"/>
                  </a:lnTo>
                  <a:lnTo>
                    <a:pt x="918" y="384"/>
                  </a:lnTo>
                  <a:lnTo>
                    <a:pt x="924" y="384"/>
                  </a:lnTo>
                  <a:lnTo>
                    <a:pt x="924" y="378"/>
                  </a:lnTo>
                  <a:lnTo>
                    <a:pt x="918" y="372"/>
                  </a:lnTo>
                  <a:lnTo>
                    <a:pt x="918" y="366"/>
                  </a:lnTo>
                  <a:lnTo>
                    <a:pt x="918" y="360"/>
                  </a:lnTo>
                  <a:lnTo>
                    <a:pt x="924" y="360"/>
                  </a:lnTo>
                  <a:lnTo>
                    <a:pt x="924" y="354"/>
                  </a:lnTo>
                  <a:lnTo>
                    <a:pt x="930" y="354"/>
                  </a:lnTo>
                  <a:lnTo>
                    <a:pt x="936" y="354"/>
                  </a:lnTo>
                  <a:lnTo>
                    <a:pt x="936" y="348"/>
                  </a:lnTo>
                  <a:lnTo>
                    <a:pt x="942" y="348"/>
                  </a:lnTo>
                  <a:lnTo>
                    <a:pt x="942" y="336"/>
                  </a:lnTo>
                  <a:lnTo>
                    <a:pt x="936" y="336"/>
                  </a:lnTo>
                  <a:lnTo>
                    <a:pt x="930" y="330"/>
                  </a:lnTo>
                  <a:lnTo>
                    <a:pt x="924" y="330"/>
                  </a:lnTo>
                  <a:lnTo>
                    <a:pt x="924" y="324"/>
                  </a:lnTo>
                  <a:lnTo>
                    <a:pt x="918" y="318"/>
                  </a:lnTo>
                  <a:lnTo>
                    <a:pt x="912" y="306"/>
                  </a:lnTo>
                  <a:lnTo>
                    <a:pt x="918" y="306"/>
                  </a:lnTo>
                  <a:lnTo>
                    <a:pt x="924" y="300"/>
                  </a:lnTo>
                  <a:lnTo>
                    <a:pt x="924" y="294"/>
                  </a:lnTo>
                  <a:lnTo>
                    <a:pt x="924" y="288"/>
                  </a:lnTo>
                  <a:lnTo>
                    <a:pt x="924" y="282"/>
                  </a:lnTo>
                  <a:lnTo>
                    <a:pt x="924" y="276"/>
                  </a:lnTo>
                  <a:lnTo>
                    <a:pt x="918" y="270"/>
                  </a:lnTo>
                  <a:lnTo>
                    <a:pt x="918" y="264"/>
                  </a:lnTo>
                  <a:lnTo>
                    <a:pt x="912" y="270"/>
                  </a:lnTo>
                  <a:lnTo>
                    <a:pt x="912" y="264"/>
                  </a:lnTo>
                  <a:lnTo>
                    <a:pt x="912" y="258"/>
                  </a:lnTo>
                  <a:lnTo>
                    <a:pt x="912" y="252"/>
                  </a:lnTo>
                  <a:lnTo>
                    <a:pt x="906" y="252"/>
                  </a:lnTo>
                  <a:lnTo>
                    <a:pt x="900" y="246"/>
                  </a:lnTo>
                  <a:lnTo>
                    <a:pt x="900" y="240"/>
                  </a:lnTo>
                  <a:lnTo>
                    <a:pt x="900" y="246"/>
                  </a:lnTo>
                  <a:lnTo>
                    <a:pt x="894" y="246"/>
                  </a:lnTo>
                  <a:lnTo>
                    <a:pt x="894" y="240"/>
                  </a:lnTo>
                  <a:lnTo>
                    <a:pt x="894" y="234"/>
                  </a:lnTo>
                  <a:lnTo>
                    <a:pt x="900" y="234"/>
                  </a:lnTo>
                  <a:lnTo>
                    <a:pt x="900" y="228"/>
                  </a:lnTo>
                  <a:lnTo>
                    <a:pt x="906" y="228"/>
                  </a:lnTo>
                  <a:lnTo>
                    <a:pt x="900" y="222"/>
                  </a:lnTo>
                  <a:lnTo>
                    <a:pt x="894" y="216"/>
                  </a:lnTo>
                  <a:lnTo>
                    <a:pt x="894" y="210"/>
                  </a:lnTo>
                  <a:lnTo>
                    <a:pt x="888" y="210"/>
                  </a:lnTo>
                  <a:lnTo>
                    <a:pt x="888" y="204"/>
                  </a:lnTo>
                  <a:lnTo>
                    <a:pt x="888" y="198"/>
                  </a:lnTo>
                  <a:lnTo>
                    <a:pt x="888" y="192"/>
                  </a:lnTo>
                  <a:lnTo>
                    <a:pt x="882" y="186"/>
                  </a:lnTo>
                  <a:lnTo>
                    <a:pt x="888" y="180"/>
                  </a:lnTo>
                  <a:lnTo>
                    <a:pt x="882" y="180"/>
                  </a:lnTo>
                  <a:lnTo>
                    <a:pt x="882" y="174"/>
                  </a:lnTo>
                  <a:lnTo>
                    <a:pt x="888" y="168"/>
                  </a:lnTo>
                  <a:lnTo>
                    <a:pt x="888" y="162"/>
                  </a:lnTo>
                  <a:lnTo>
                    <a:pt x="888" y="156"/>
                  </a:lnTo>
                  <a:lnTo>
                    <a:pt x="888" y="150"/>
                  </a:lnTo>
                  <a:lnTo>
                    <a:pt x="888" y="144"/>
                  </a:lnTo>
                  <a:lnTo>
                    <a:pt x="882" y="144"/>
                  </a:lnTo>
                  <a:lnTo>
                    <a:pt x="882" y="138"/>
                  </a:lnTo>
                  <a:lnTo>
                    <a:pt x="876" y="132"/>
                  </a:lnTo>
                  <a:lnTo>
                    <a:pt x="882" y="126"/>
                  </a:lnTo>
                  <a:lnTo>
                    <a:pt x="876" y="120"/>
                  </a:lnTo>
                  <a:lnTo>
                    <a:pt x="882" y="114"/>
                  </a:lnTo>
                  <a:lnTo>
                    <a:pt x="882" y="108"/>
                  </a:lnTo>
                  <a:lnTo>
                    <a:pt x="888" y="102"/>
                  </a:lnTo>
                  <a:lnTo>
                    <a:pt x="894" y="102"/>
                  </a:lnTo>
                  <a:lnTo>
                    <a:pt x="894" y="96"/>
                  </a:lnTo>
                  <a:lnTo>
                    <a:pt x="888" y="96"/>
                  </a:lnTo>
                  <a:lnTo>
                    <a:pt x="894" y="90"/>
                  </a:lnTo>
                  <a:lnTo>
                    <a:pt x="888" y="84"/>
                  </a:lnTo>
                  <a:lnTo>
                    <a:pt x="888" y="78"/>
                  </a:lnTo>
                  <a:lnTo>
                    <a:pt x="924" y="66"/>
                  </a:lnTo>
                  <a:lnTo>
                    <a:pt x="966" y="66"/>
                  </a:lnTo>
                  <a:lnTo>
                    <a:pt x="996" y="48"/>
                  </a:lnTo>
                  <a:lnTo>
                    <a:pt x="1056" y="12"/>
                  </a:lnTo>
                  <a:lnTo>
                    <a:pt x="1128" y="0"/>
                  </a:lnTo>
                  <a:lnTo>
                    <a:pt x="1164" y="6"/>
                  </a:lnTo>
                  <a:lnTo>
                    <a:pt x="1164" y="12"/>
                  </a:lnTo>
                  <a:lnTo>
                    <a:pt x="1170" y="12"/>
                  </a:lnTo>
                  <a:lnTo>
                    <a:pt x="1170" y="18"/>
                  </a:lnTo>
                  <a:lnTo>
                    <a:pt x="1176" y="24"/>
                  </a:lnTo>
                  <a:lnTo>
                    <a:pt x="1182" y="24"/>
                  </a:lnTo>
                  <a:lnTo>
                    <a:pt x="1188" y="30"/>
                  </a:lnTo>
                  <a:lnTo>
                    <a:pt x="1194" y="30"/>
                  </a:lnTo>
                  <a:lnTo>
                    <a:pt x="1194" y="36"/>
                  </a:lnTo>
                  <a:lnTo>
                    <a:pt x="1260" y="30"/>
                  </a:lnTo>
                  <a:lnTo>
                    <a:pt x="1272" y="30"/>
                  </a:lnTo>
                  <a:lnTo>
                    <a:pt x="1296" y="24"/>
                  </a:lnTo>
                  <a:lnTo>
                    <a:pt x="1302" y="30"/>
                  </a:lnTo>
                  <a:lnTo>
                    <a:pt x="1302" y="36"/>
                  </a:lnTo>
                  <a:lnTo>
                    <a:pt x="1308" y="36"/>
                  </a:lnTo>
                  <a:lnTo>
                    <a:pt x="1314" y="36"/>
                  </a:lnTo>
                  <a:lnTo>
                    <a:pt x="1320" y="36"/>
                  </a:lnTo>
                  <a:lnTo>
                    <a:pt x="1326" y="30"/>
                  </a:lnTo>
                  <a:lnTo>
                    <a:pt x="1332" y="30"/>
                  </a:lnTo>
                  <a:lnTo>
                    <a:pt x="1338" y="30"/>
                  </a:lnTo>
                  <a:lnTo>
                    <a:pt x="1344" y="30"/>
                  </a:lnTo>
                  <a:lnTo>
                    <a:pt x="1374" y="30"/>
                  </a:lnTo>
                  <a:lnTo>
                    <a:pt x="1386" y="30"/>
                  </a:lnTo>
                  <a:lnTo>
                    <a:pt x="1392" y="24"/>
                  </a:lnTo>
                  <a:lnTo>
                    <a:pt x="1398" y="12"/>
                  </a:lnTo>
                  <a:lnTo>
                    <a:pt x="1404" y="6"/>
                  </a:lnTo>
                  <a:lnTo>
                    <a:pt x="1410" y="6"/>
                  </a:lnTo>
                  <a:lnTo>
                    <a:pt x="1410" y="12"/>
                  </a:lnTo>
                  <a:lnTo>
                    <a:pt x="1416" y="18"/>
                  </a:lnTo>
                  <a:lnTo>
                    <a:pt x="1416" y="36"/>
                  </a:lnTo>
                  <a:lnTo>
                    <a:pt x="1434" y="54"/>
                  </a:lnTo>
                  <a:lnTo>
                    <a:pt x="1434" y="60"/>
                  </a:lnTo>
                  <a:lnTo>
                    <a:pt x="1434" y="66"/>
                  </a:lnTo>
                  <a:lnTo>
                    <a:pt x="1434" y="72"/>
                  </a:lnTo>
                  <a:lnTo>
                    <a:pt x="1428" y="72"/>
                  </a:lnTo>
                  <a:lnTo>
                    <a:pt x="1428" y="78"/>
                  </a:lnTo>
                  <a:lnTo>
                    <a:pt x="1434" y="78"/>
                  </a:lnTo>
                  <a:lnTo>
                    <a:pt x="1440" y="84"/>
                  </a:lnTo>
                  <a:lnTo>
                    <a:pt x="1440" y="90"/>
                  </a:lnTo>
                  <a:lnTo>
                    <a:pt x="1440" y="96"/>
                  </a:lnTo>
                  <a:lnTo>
                    <a:pt x="1446" y="96"/>
                  </a:lnTo>
                  <a:lnTo>
                    <a:pt x="1446" y="108"/>
                  </a:lnTo>
                  <a:lnTo>
                    <a:pt x="1452" y="108"/>
                  </a:lnTo>
                  <a:lnTo>
                    <a:pt x="1452" y="114"/>
                  </a:lnTo>
                  <a:lnTo>
                    <a:pt x="1458" y="114"/>
                  </a:lnTo>
                  <a:lnTo>
                    <a:pt x="1470" y="120"/>
                  </a:lnTo>
                  <a:lnTo>
                    <a:pt x="1476" y="120"/>
                  </a:lnTo>
                  <a:lnTo>
                    <a:pt x="1476" y="114"/>
                  </a:lnTo>
                  <a:lnTo>
                    <a:pt x="1488" y="120"/>
                  </a:lnTo>
                  <a:lnTo>
                    <a:pt x="1506" y="120"/>
                  </a:lnTo>
                  <a:lnTo>
                    <a:pt x="1512" y="120"/>
                  </a:lnTo>
                  <a:lnTo>
                    <a:pt x="1518" y="120"/>
                  </a:lnTo>
                  <a:lnTo>
                    <a:pt x="1524" y="126"/>
                  </a:lnTo>
                  <a:lnTo>
                    <a:pt x="1536" y="150"/>
                  </a:lnTo>
                  <a:lnTo>
                    <a:pt x="1548" y="162"/>
                  </a:lnTo>
                  <a:lnTo>
                    <a:pt x="1554" y="168"/>
                  </a:lnTo>
                  <a:lnTo>
                    <a:pt x="1584" y="228"/>
                  </a:lnTo>
                  <a:lnTo>
                    <a:pt x="1584" y="234"/>
                  </a:lnTo>
                  <a:lnTo>
                    <a:pt x="1578" y="312"/>
                  </a:lnTo>
                  <a:lnTo>
                    <a:pt x="1590" y="318"/>
                  </a:lnTo>
                  <a:lnTo>
                    <a:pt x="1608" y="330"/>
                  </a:lnTo>
                  <a:lnTo>
                    <a:pt x="1620" y="342"/>
                  </a:lnTo>
                  <a:lnTo>
                    <a:pt x="1626" y="342"/>
                  </a:lnTo>
                  <a:lnTo>
                    <a:pt x="1692" y="360"/>
                  </a:lnTo>
                  <a:lnTo>
                    <a:pt x="1710" y="408"/>
                  </a:lnTo>
                  <a:lnTo>
                    <a:pt x="1722" y="426"/>
                  </a:lnTo>
                  <a:lnTo>
                    <a:pt x="1716" y="468"/>
                  </a:lnTo>
                  <a:lnTo>
                    <a:pt x="1686" y="486"/>
                  </a:lnTo>
                  <a:lnTo>
                    <a:pt x="1686" y="492"/>
                  </a:lnTo>
                  <a:lnTo>
                    <a:pt x="1680" y="498"/>
                  </a:lnTo>
                  <a:lnTo>
                    <a:pt x="1650" y="558"/>
                  </a:lnTo>
                  <a:lnTo>
                    <a:pt x="1650" y="570"/>
                  </a:lnTo>
                  <a:lnTo>
                    <a:pt x="1644" y="570"/>
                  </a:lnTo>
                  <a:lnTo>
                    <a:pt x="1638" y="582"/>
                  </a:lnTo>
                  <a:lnTo>
                    <a:pt x="1638" y="624"/>
                  </a:lnTo>
                  <a:lnTo>
                    <a:pt x="1638" y="636"/>
                  </a:lnTo>
                  <a:lnTo>
                    <a:pt x="1638" y="642"/>
                  </a:lnTo>
                  <a:lnTo>
                    <a:pt x="1632" y="660"/>
                  </a:lnTo>
                  <a:lnTo>
                    <a:pt x="1608" y="678"/>
                  </a:lnTo>
                  <a:lnTo>
                    <a:pt x="1584" y="690"/>
                  </a:lnTo>
                  <a:lnTo>
                    <a:pt x="1584" y="696"/>
                  </a:lnTo>
                  <a:lnTo>
                    <a:pt x="1578" y="702"/>
                  </a:lnTo>
                  <a:lnTo>
                    <a:pt x="1584" y="702"/>
                  </a:lnTo>
                  <a:lnTo>
                    <a:pt x="1578" y="714"/>
                  </a:lnTo>
                  <a:lnTo>
                    <a:pt x="1572" y="714"/>
                  </a:lnTo>
                  <a:lnTo>
                    <a:pt x="1572" y="720"/>
                  </a:lnTo>
                  <a:lnTo>
                    <a:pt x="1566" y="720"/>
                  </a:lnTo>
                  <a:lnTo>
                    <a:pt x="1560" y="726"/>
                  </a:lnTo>
                  <a:lnTo>
                    <a:pt x="1560" y="732"/>
                  </a:lnTo>
                  <a:lnTo>
                    <a:pt x="1554" y="732"/>
                  </a:lnTo>
                  <a:lnTo>
                    <a:pt x="1554" y="738"/>
                  </a:lnTo>
                  <a:lnTo>
                    <a:pt x="1554" y="744"/>
                  </a:lnTo>
                  <a:lnTo>
                    <a:pt x="1548" y="744"/>
                  </a:lnTo>
                  <a:lnTo>
                    <a:pt x="1548" y="738"/>
                  </a:lnTo>
                  <a:lnTo>
                    <a:pt x="1542" y="738"/>
                  </a:lnTo>
                  <a:lnTo>
                    <a:pt x="1542" y="744"/>
                  </a:lnTo>
                  <a:lnTo>
                    <a:pt x="1542" y="750"/>
                  </a:lnTo>
                  <a:lnTo>
                    <a:pt x="1494" y="804"/>
                  </a:lnTo>
                  <a:lnTo>
                    <a:pt x="1446" y="876"/>
                  </a:lnTo>
                  <a:lnTo>
                    <a:pt x="1440" y="876"/>
                  </a:lnTo>
                  <a:lnTo>
                    <a:pt x="1434" y="876"/>
                  </a:lnTo>
                  <a:lnTo>
                    <a:pt x="1428" y="882"/>
                  </a:lnTo>
                  <a:lnTo>
                    <a:pt x="1422" y="882"/>
                  </a:lnTo>
                  <a:lnTo>
                    <a:pt x="1386" y="924"/>
                  </a:lnTo>
                  <a:lnTo>
                    <a:pt x="1362" y="954"/>
                  </a:lnTo>
                  <a:lnTo>
                    <a:pt x="1356" y="984"/>
                  </a:lnTo>
                  <a:lnTo>
                    <a:pt x="1362" y="1002"/>
                  </a:lnTo>
                  <a:lnTo>
                    <a:pt x="1368" y="1020"/>
                  </a:lnTo>
                  <a:lnTo>
                    <a:pt x="1386" y="1056"/>
                  </a:lnTo>
                  <a:lnTo>
                    <a:pt x="1404" y="1074"/>
                  </a:lnTo>
                  <a:lnTo>
                    <a:pt x="1416" y="1080"/>
                  </a:lnTo>
                  <a:lnTo>
                    <a:pt x="1416" y="1086"/>
                  </a:lnTo>
                  <a:lnTo>
                    <a:pt x="1422" y="1098"/>
                  </a:lnTo>
                  <a:lnTo>
                    <a:pt x="1422" y="1110"/>
                  </a:lnTo>
                  <a:lnTo>
                    <a:pt x="1428" y="1116"/>
                  </a:lnTo>
                  <a:lnTo>
                    <a:pt x="1434" y="1116"/>
                  </a:lnTo>
                  <a:lnTo>
                    <a:pt x="1434" y="1122"/>
                  </a:lnTo>
                  <a:lnTo>
                    <a:pt x="1434" y="1128"/>
                  </a:lnTo>
                  <a:lnTo>
                    <a:pt x="1440" y="1134"/>
                  </a:lnTo>
                  <a:lnTo>
                    <a:pt x="1446" y="1134"/>
                  </a:lnTo>
                  <a:lnTo>
                    <a:pt x="1458" y="1134"/>
                  </a:lnTo>
                  <a:lnTo>
                    <a:pt x="1458" y="1140"/>
                  </a:lnTo>
                  <a:lnTo>
                    <a:pt x="1464" y="1134"/>
                  </a:lnTo>
                  <a:lnTo>
                    <a:pt x="1470" y="1134"/>
                  </a:lnTo>
                  <a:lnTo>
                    <a:pt x="1464" y="1128"/>
                  </a:lnTo>
                  <a:lnTo>
                    <a:pt x="1464" y="1122"/>
                  </a:lnTo>
                  <a:lnTo>
                    <a:pt x="1470" y="1116"/>
                  </a:lnTo>
                  <a:lnTo>
                    <a:pt x="1470" y="1122"/>
                  </a:lnTo>
                  <a:lnTo>
                    <a:pt x="1476" y="1122"/>
                  </a:lnTo>
                  <a:lnTo>
                    <a:pt x="1476" y="1116"/>
                  </a:lnTo>
                  <a:lnTo>
                    <a:pt x="1482" y="1110"/>
                  </a:lnTo>
                  <a:lnTo>
                    <a:pt x="1476" y="1110"/>
                  </a:lnTo>
                  <a:lnTo>
                    <a:pt x="1476" y="1104"/>
                  </a:lnTo>
                  <a:lnTo>
                    <a:pt x="1476" y="1098"/>
                  </a:lnTo>
                  <a:lnTo>
                    <a:pt x="1482" y="1086"/>
                  </a:lnTo>
                  <a:lnTo>
                    <a:pt x="1482" y="1074"/>
                  </a:lnTo>
                  <a:lnTo>
                    <a:pt x="1488" y="1068"/>
                  </a:lnTo>
                  <a:lnTo>
                    <a:pt x="1488" y="1062"/>
                  </a:lnTo>
                  <a:lnTo>
                    <a:pt x="1494" y="1062"/>
                  </a:lnTo>
                  <a:lnTo>
                    <a:pt x="1500" y="1062"/>
                  </a:lnTo>
                  <a:lnTo>
                    <a:pt x="1506" y="1062"/>
                  </a:lnTo>
                  <a:lnTo>
                    <a:pt x="1506" y="1056"/>
                  </a:lnTo>
                  <a:lnTo>
                    <a:pt x="1506" y="1062"/>
                  </a:lnTo>
                  <a:lnTo>
                    <a:pt x="1518" y="1062"/>
                  </a:lnTo>
                  <a:lnTo>
                    <a:pt x="1524" y="1062"/>
                  </a:lnTo>
                  <a:lnTo>
                    <a:pt x="1530" y="1062"/>
                  </a:lnTo>
                  <a:lnTo>
                    <a:pt x="1536" y="1068"/>
                  </a:lnTo>
                  <a:lnTo>
                    <a:pt x="1536" y="1074"/>
                  </a:lnTo>
                  <a:lnTo>
                    <a:pt x="1542" y="1086"/>
                  </a:lnTo>
                  <a:lnTo>
                    <a:pt x="1548" y="1086"/>
                  </a:lnTo>
                  <a:lnTo>
                    <a:pt x="1554" y="1086"/>
                  </a:lnTo>
                  <a:lnTo>
                    <a:pt x="1566" y="1098"/>
                  </a:lnTo>
                  <a:lnTo>
                    <a:pt x="1572" y="1104"/>
                  </a:lnTo>
                  <a:lnTo>
                    <a:pt x="1566" y="1110"/>
                  </a:lnTo>
                  <a:lnTo>
                    <a:pt x="1572" y="1116"/>
                  </a:lnTo>
                  <a:lnTo>
                    <a:pt x="1578" y="1116"/>
                  </a:lnTo>
                  <a:lnTo>
                    <a:pt x="1578" y="1122"/>
                  </a:lnTo>
                  <a:lnTo>
                    <a:pt x="1584" y="1122"/>
                  </a:lnTo>
                  <a:lnTo>
                    <a:pt x="1584" y="1128"/>
                  </a:lnTo>
                  <a:lnTo>
                    <a:pt x="1584" y="1134"/>
                  </a:lnTo>
                  <a:lnTo>
                    <a:pt x="1590" y="1134"/>
                  </a:lnTo>
                  <a:lnTo>
                    <a:pt x="1596" y="1140"/>
                  </a:lnTo>
                  <a:lnTo>
                    <a:pt x="1602" y="1146"/>
                  </a:lnTo>
                  <a:lnTo>
                    <a:pt x="1608" y="1146"/>
                  </a:lnTo>
                  <a:lnTo>
                    <a:pt x="1614" y="1146"/>
                  </a:lnTo>
                  <a:lnTo>
                    <a:pt x="1614" y="1152"/>
                  </a:lnTo>
                  <a:lnTo>
                    <a:pt x="1620" y="1152"/>
                  </a:lnTo>
                  <a:lnTo>
                    <a:pt x="1626" y="1164"/>
                  </a:lnTo>
                  <a:lnTo>
                    <a:pt x="1632" y="1170"/>
                  </a:lnTo>
                  <a:lnTo>
                    <a:pt x="1638" y="1176"/>
                  </a:lnTo>
                  <a:lnTo>
                    <a:pt x="1638" y="1182"/>
                  </a:lnTo>
                  <a:lnTo>
                    <a:pt x="1644" y="1194"/>
                  </a:lnTo>
                  <a:lnTo>
                    <a:pt x="1644" y="1200"/>
                  </a:lnTo>
                  <a:lnTo>
                    <a:pt x="1638" y="1200"/>
                  </a:lnTo>
                  <a:lnTo>
                    <a:pt x="1638" y="1206"/>
                  </a:lnTo>
                  <a:lnTo>
                    <a:pt x="1638" y="1212"/>
                  </a:lnTo>
                  <a:lnTo>
                    <a:pt x="1638" y="1218"/>
                  </a:lnTo>
                  <a:lnTo>
                    <a:pt x="1632" y="1242"/>
                  </a:lnTo>
                  <a:lnTo>
                    <a:pt x="1632" y="1266"/>
                  </a:lnTo>
                  <a:lnTo>
                    <a:pt x="1638" y="1284"/>
                  </a:lnTo>
                  <a:lnTo>
                    <a:pt x="1638" y="1296"/>
                  </a:lnTo>
                  <a:lnTo>
                    <a:pt x="1632" y="1296"/>
                  </a:lnTo>
                  <a:lnTo>
                    <a:pt x="1632" y="1302"/>
                  </a:lnTo>
                  <a:lnTo>
                    <a:pt x="1638" y="1314"/>
                  </a:lnTo>
                  <a:lnTo>
                    <a:pt x="1638" y="1320"/>
                  </a:lnTo>
                  <a:lnTo>
                    <a:pt x="1632" y="1320"/>
                  </a:lnTo>
                  <a:lnTo>
                    <a:pt x="1632" y="1326"/>
                  </a:lnTo>
                  <a:lnTo>
                    <a:pt x="1644" y="1332"/>
                  </a:lnTo>
                  <a:lnTo>
                    <a:pt x="1644" y="1338"/>
                  </a:lnTo>
                  <a:lnTo>
                    <a:pt x="1650" y="1344"/>
                  </a:lnTo>
                  <a:lnTo>
                    <a:pt x="1668" y="1362"/>
                  </a:lnTo>
                  <a:lnTo>
                    <a:pt x="1668" y="1368"/>
                  </a:lnTo>
                  <a:lnTo>
                    <a:pt x="1674" y="1392"/>
                  </a:lnTo>
                  <a:lnTo>
                    <a:pt x="1686" y="140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9494" name="Freeform 18"/>
            <p:cNvSpPr>
              <a:spLocks/>
            </p:cNvSpPr>
            <p:nvPr/>
          </p:nvSpPr>
          <p:spPr bwMode="gray">
            <a:xfrm>
              <a:off x="3861295" y="4190351"/>
              <a:ext cx="1201338" cy="869617"/>
            </a:xfrm>
            <a:custGeom>
              <a:avLst/>
              <a:gdLst>
                <a:gd name="T0" fmla="*/ 89944 w 1536"/>
                <a:gd name="T1" fmla="*/ 71663 h 1080"/>
                <a:gd name="T2" fmla="*/ 88380 w 1536"/>
                <a:gd name="T3" fmla="*/ 74078 h 1080"/>
                <a:gd name="T4" fmla="*/ 83687 w 1536"/>
                <a:gd name="T5" fmla="*/ 74884 h 1080"/>
                <a:gd name="T6" fmla="*/ 84469 w 1536"/>
                <a:gd name="T7" fmla="*/ 72468 h 1080"/>
                <a:gd name="T8" fmla="*/ 82123 w 1536"/>
                <a:gd name="T9" fmla="*/ 70052 h 1080"/>
                <a:gd name="T10" fmla="*/ 79776 w 1536"/>
                <a:gd name="T11" fmla="*/ 68442 h 1080"/>
                <a:gd name="T12" fmla="*/ 69609 w 1536"/>
                <a:gd name="T13" fmla="*/ 64416 h 1080"/>
                <a:gd name="T14" fmla="*/ 66480 w 1536"/>
                <a:gd name="T15" fmla="*/ 66026 h 1080"/>
                <a:gd name="T16" fmla="*/ 64134 w 1536"/>
                <a:gd name="T17" fmla="*/ 64416 h 1080"/>
                <a:gd name="T18" fmla="*/ 62570 w 1536"/>
                <a:gd name="T19" fmla="*/ 60390 h 1080"/>
                <a:gd name="T20" fmla="*/ 58659 w 1536"/>
                <a:gd name="T21" fmla="*/ 57974 h 1080"/>
                <a:gd name="T22" fmla="*/ 47709 w 1536"/>
                <a:gd name="T23" fmla="*/ 56364 h 1080"/>
                <a:gd name="T24" fmla="*/ 48492 w 1536"/>
                <a:gd name="T25" fmla="*/ 57974 h 1080"/>
                <a:gd name="T26" fmla="*/ 45363 w 1536"/>
                <a:gd name="T27" fmla="*/ 60390 h 1080"/>
                <a:gd name="T28" fmla="*/ 38324 w 1536"/>
                <a:gd name="T29" fmla="*/ 61195 h 1080"/>
                <a:gd name="T30" fmla="*/ 32067 w 1536"/>
                <a:gd name="T31" fmla="*/ 63611 h 1080"/>
                <a:gd name="T32" fmla="*/ 32067 w 1536"/>
                <a:gd name="T33" fmla="*/ 62000 h 1080"/>
                <a:gd name="T34" fmla="*/ 30503 w 1536"/>
                <a:gd name="T35" fmla="*/ 59585 h 1080"/>
                <a:gd name="T36" fmla="*/ 21899 w 1536"/>
                <a:gd name="T37" fmla="*/ 62806 h 1080"/>
                <a:gd name="T38" fmla="*/ 14078 w 1536"/>
                <a:gd name="T39" fmla="*/ 68442 h 1080"/>
                <a:gd name="T40" fmla="*/ 14078 w 1536"/>
                <a:gd name="T41" fmla="*/ 62000 h 1080"/>
                <a:gd name="T42" fmla="*/ 14860 w 1536"/>
                <a:gd name="T43" fmla="*/ 55559 h 1080"/>
                <a:gd name="T44" fmla="*/ 12514 w 1536"/>
                <a:gd name="T45" fmla="*/ 55559 h 1080"/>
                <a:gd name="T46" fmla="*/ 8603 w 1536"/>
                <a:gd name="T47" fmla="*/ 55559 h 1080"/>
                <a:gd name="T48" fmla="*/ 3911 w 1536"/>
                <a:gd name="T49" fmla="*/ 54754 h 1080"/>
                <a:gd name="T50" fmla="*/ 782 w 1536"/>
                <a:gd name="T51" fmla="*/ 50728 h 1080"/>
                <a:gd name="T52" fmla="*/ 2346 w 1536"/>
                <a:gd name="T53" fmla="*/ 47507 h 1080"/>
                <a:gd name="T54" fmla="*/ 7039 w 1536"/>
                <a:gd name="T55" fmla="*/ 43481 h 1080"/>
                <a:gd name="T56" fmla="*/ 11732 w 1536"/>
                <a:gd name="T57" fmla="*/ 37844 h 1080"/>
                <a:gd name="T58" fmla="*/ 13296 w 1536"/>
                <a:gd name="T59" fmla="*/ 32208 h 1080"/>
                <a:gd name="T60" fmla="*/ 9385 w 1536"/>
                <a:gd name="T61" fmla="*/ 26572 h 1080"/>
                <a:gd name="T62" fmla="*/ 7821 w 1536"/>
                <a:gd name="T63" fmla="*/ 16909 h 1080"/>
                <a:gd name="T64" fmla="*/ 4693 w 1536"/>
                <a:gd name="T65" fmla="*/ 11273 h 1080"/>
                <a:gd name="T66" fmla="*/ 5475 w 1536"/>
                <a:gd name="T67" fmla="*/ 7247 h 1080"/>
                <a:gd name="T68" fmla="*/ 9385 w 1536"/>
                <a:gd name="T69" fmla="*/ 5636 h 1080"/>
                <a:gd name="T70" fmla="*/ 12514 w 1536"/>
                <a:gd name="T71" fmla="*/ 6442 h 1080"/>
                <a:gd name="T72" fmla="*/ 14860 w 1536"/>
                <a:gd name="T73" fmla="*/ 6442 h 1080"/>
                <a:gd name="T74" fmla="*/ 17207 w 1536"/>
                <a:gd name="T75" fmla="*/ 7247 h 1080"/>
                <a:gd name="T76" fmla="*/ 22682 w 1536"/>
                <a:gd name="T77" fmla="*/ 9662 h 1080"/>
                <a:gd name="T78" fmla="*/ 25810 w 1536"/>
                <a:gd name="T79" fmla="*/ 10468 h 1080"/>
                <a:gd name="T80" fmla="*/ 29721 w 1536"/>
                <a:gd name="T81" fmla="*/ 12078 h 1080"/>
                <a:gd name="T82" fmla="*/ 32849 w 1536"/>
                <a:gd name="T83" fmla="*/ 13688 h 1080"/>
                <a:gd name="T84" fmla="*/ 36760 w 1536"/>
                <a:gd name="T85" fmla="*/ 15299 h 1080"/>
                <a:gd name="T86" fmla="*/ 39888 w 1536"/>
                <a:gd name="T87" fmla="*/ 16909 h 1080"/>
                <a:gd name="T88" fmla="*/ 39106 w 1536"/>
                <a:gd name="T89" fmla="*/ 12078 h 1080"/>
                <a:gd name="T90" fmla="*/ 43799 w 1536"/>
                <a:gd name="T91" fmla="*/ 0 h 1080"/>
                <a:gd name="T92" fmla="*/ 57877 w 1536"/>
                <a:gd name="T93" fmla="*/ 4026 h 1080"/>
                <a:gd name="T94" fmla="*/ 68045 w 1536"/>
                <a:gd name="T95" fmla="*/ 4831 h 1080"/>
                <a:gd name="T96" fmla="*/ 71955 w 1536"/>
                <a:gd name="T97" fmla="*/ 8857 h 1080"/>
                <a:gd name="T98" fmla="*/ 74302 w 1536"/>
                <a:gd name="T99" fmla="*/ 12078 h 1080"/>
                <a:gd name="T100" fmla="*/ 72737 w 1536"/>
                <a:gd name="T101" fmla="*/ 16104 h 1080"/>
                <a:gd name="T102" fmla="*/ 84469 w 1536"/>
                <a:gd name="T103" fmla="*/ 14494 h 1080"/>
                <a:gd name="T104" fmla="*/ 93855 w 1536"/>
                <a:gd name="T105" fmla="*/ 16909 h 1080"/>
                <a:gd name="T106" fmla="*/ 99329 w 1536"/>
                <a:gd name="T107" fmla="*/ 23351 h 1080"/>
                <a:gd name="T108" fmla="*/ 101676 w 1536"/>
                <a:gd name="T109" fmla="*/ 24156 h 1080"/>
                <a:gd name="T110" fmla="*/ 101676 w 1536"/>
                <a:gd name="T111" fmla="*/ 39455 h 1080"/>
                <a:gd name="T112" fmla="*/ 93855 w 1536"/>
                <a:gd name="T113" fmla="*/ 55559 h 1080"/>
                <a:gd name="T114" fmla="*/ 93072 w 1536"/>
                <a:gd name="T115" fmla="*/ 59585 h 1080"/>
                <a:gd name="T116" fmla="*/ 92290 w 1536"/>
                <a:gd name="T117" fmla="*/ 64416 h 10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36"/>
                <a:gd name="T178" fmla="*/ 0 h 1080"/>
                <a:gd name="T179" fmla="*/ 1536 w 1536"/>
                <a:gd name="T180" fmla="*/ 1080 h 10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36" h="1080">
                  <a:moveTo>
                    <a:pt x="1350" y="1020"/>
                  </a:moveTo>
                  <a:lnTo>
                    <a:pt x="1350" y="1026"/>
                  </a:lnTo>
                  <a:lnTo>
                    <a:pt x="1344" y="1026"/>
                  </a:lnTo>
                  <a:lnTo>
                    <a:pt x="1338" y="1032"/>
                  </a:lnTo>
                  <a:lnTo>
                    <a:pt x="1332" y="1026"/>
                  </a:lnTo>
                  <a:lnTo>
                    <a:pt x="1326" y="1026"/>
                  </a:lnTo>
                  <a:lnTo>
                    <a:pt x="1320" y="1020"/>
                  </a:lnTo>
                  <a:lnTo>
                    <a:pt x="1314" y="1026"/>
                  </a:lnTo>
                  <a:lnTo>
                    <a:pt x="1314" y="1032"/>
                  </a:lnTo>
                  <a:lnTo>
                    <a:pt x="1308" y="1038"/>
                  </a:lnTo>
                  <a:lnTo>
                    <a:pt x="1308" y="1044"/>
                  </a:lnTo>
                  <a:lnTo>
                    <a:pt x="1308" y="1050"/>
                  </a:lnTo>
                  <a:lnTo>
                    <a:pt x="1308" y="1056"/>
                  </a:lnTo>
                  <a:lnTo>
                    <a:pt x="1308" y="1062"/>
                  </a:lnTo>
                  <a:lnTo>
                    <a:pt x="1296" y="1068"/>
                  </a:lnTo>
                  <a:lnTo>
                    <a:pt x="1284" y="1074"/>
                  </a:lnTo>
                  <a:lnTo>
                    <a:pt x="1272" y="1080"/>
                  </a:lnTo>
                  <a:lnTo>
                    <a:pt x="1260" y="1080"/>
                  </a:lnTo>
                  <a:lnTo>
                    <a:pt x="1254" y="1074"/>
                  </a:lnTo>
                  <a:lnTo>
                    <a:pt x="1236" y="1074"/>
                  </a:lnTo>
                  <a:lnTo>
                    <a:pt x="1230" y="1074"/>
                  </a:lnTo>
                  <a:lnTo>
                    <a:pt x="1236" y="1074"/>
                  </a:lnTo>
                  <a:lnTo>
                    <a:pt x="1236" y="1068"/>
                  </a:lnTo>
                  <a:lnTo>
                    <a:pt x="1236" y="1062"/>
                  </a:lnTo>
                  <a:lnTo>
                    <a:pt x="1236" y="1056"/>
                  </a:lnTo>
                  <a:lnTo>
                    <a:pt x="1242" y="1050"/>
                  </a:lnTo>
                  <a:lnTo>
                    <a:pt x="1242" y="1044"/>
                  </a:lnTo>
                  <a:lnTo>
                    <a:pt x="1242" y="1038"/>
                  </a:lnTo>
                  <a:lnTo>
                    <a:pt x="1248" y="1032"/>
                  </a:lnTo>
                  <a:lnTo>
                    <a:pt x="1236" y="1026"/>
                  </a:lnTo>
                  <a:lnTo>
                    <a:pt x="1218" y="1020"/>
                  </a:lnTo>
                  <a:lnTo>
                    <a:pt x="1224" y="1014"/>
                  </a:lnTo>
                  <a:lnTo>
                    <a:pt x="1218" y="1008"/>
                  </a:lnTo>
                  <a:lnTo>
                    <a:pt x="1218" y="1002"/>
                  </a:lnTo>
                  <a:lnTo>
                    <a:pt x="1212" y="1008"/>
                  </a:lnTo>
                  <a:lnTo>
                    <a:pt x="1206" y="1002"/>
                  </a:lnTo>
                  <a:lnTo>
                    <a:pt x="1212" y="1002"/>
                  </a:lnTo>
                  <a:lnTo>
                    <a:pt x="1212" y="996"/>
                  </a:lnTo>
                  <a:lnTo>
                    <a:pt x="1200" y="990"/>
                  </a:lnTo>
                  <a:lnTo>
                    <a:pt x="1200" y="984"/>
                  </a:lnTo>
                  <a:lnTo>
                    <a:pt x="1188" y="984"/>
                  </a:lnTo>
                  <a:lnTo>
                    <a:pt x="1176" y="978"/>
                  </a:lnTo>
                  <a:lnTo>
                    <a:pt x="1164" y="960"/>
                  </a:lnTo>
                  <a:lnTo>
                    <a:pt x="1152" y="936"/>
                  </a:lnTo>
                  <a:lnTo>
                    <a:pt x="1146" y="936"/>
                  </a:lnTo>
                  <a:lnTo>
                    <a:pt x="1128" y="900"/>
                  </a:lnTo>
                  <a:lnTo>
                    <a:pt x="1038" y="912"/>
                  </a:lnTo>
                  <a:lnTo>
                    <a:pt x="1038" y="918"/>
                  </a:lnTo>
                  <a:lnTo>
                    <a:pt x="1032" y="924"/>
                  </a:lnTo>
                  <a:lnTo>
                    <a:pt x="1026" y="918"/>
                  </a:lnTo>
                  <a:lnTo>
                    <a:pt x="1020" y="924"/>
                  </a:lnTo>
                  <a:lnTo>
                    <a:pt x="1008" y="936"/>
                  </a:lnTo>
                  <a:lnTo>
                    <a:pt x="990" y="936"/>
                  </a:lnTo>
                  <a:lnTo>
                    <a:pt x="990" y="942"/>
                  </a:lnTo>
                  <a:lnTo>
                    <a:pt x="996" y="942"/>
                  </a:lnTo>
                  <a:lnTo>
                    <a:pt x="984" y="948"/>
                  </a:lnTo>
                  <a:lnTo>
                    <a:pt x="972" y="948"/>
                  </a:lnTo>
                  <a:lnTo>
                    <a:pt x="960" y="948"/>
                  </a:lnTo>
                  <a:lnTo>
                    <a:pt x="948" y="942"/>
                  </a:lnTo>
                  <a:lnTo>
                    <a:pt x="948" y="936"/>
                  </a:lnTo>
                  <a:lnTo>
                    <a:pt x="942" y="936"/>
                  </a:lnTo>
                  <a:lnTo>
                    <a:pt x="942" y="930"/>
                  </a:lnTo>
                  <a:lnTo>
                    <a:pt x="942" y="924"/>
                  </a:lnTo>
                  <a:lnTo>
                    <a:pt x="930" y="924"/>
                  </a:lnTo>
                  <a:lnTo>
                    <a:pt x="936" y="918"/>
                  </a:lnTo>
                  <a:lnTo>
                    <a:pt x="918" y="918"/>
                  </a:lnTo>
                  <a:lnTo>
                    <a:pt x="918" y="900"/>
                  </a:lnTo>
                  <a:lnTo>
                    <a:pt x="924" y="900"/>
                  </a:lnTo>
                  <a:lnTo>
                    <a:pt x="924" y="894"/>
                  </a:lnTo>
                  <a:lnTo>
                    <a:pt x="924" y="870"/>
                  </a:lnTo>
                  <a:lnTo>
                    <a:pt x="924" y="864"/>
                  </a:lnTo>
                  <a:lnTo>
                    <a:pt x="918" y="858"/>
                  </a:lnTo>
                  <a:lnTo>
                    <a:pt x="918" y="852"/>
                  </a:lnTo>
                  <a:lnTo>
                    <a:pt x="906" y="840"/>
                  </a:lnTo>
                  <a:lnTo>
                    <a:pt x="894" y="834"/>
                  </a:lnTo>
                  <a:lnTo>
                    <a:pt x="876" y="822"/>
                  </a:lnTo>
                  <a:lnTo>
                    <a:pt x="870" y="828"/>
                  </a:lnTo>
                  <a:lnTo>
                    <a:pt x="858" y="816"/>
                  </a:lnTo>
                  <a:lnTo>
                    <a:pt x="810" y="798"/>
                  </a:lnTo>
                  <a:lnTo>
                    <a:pt x="774" y="792"/>
                  </a:lnTo>
                  <a:lnTo>
                    <a:pt x="732" y="798"/>
                  </a:lnTo>
                  <a:lnTo>
                    <a:pt x="726" y="804"/>
                  </a:lnTo>
                  <a:lnTo>
                    <a:pt x="714" y="810"/>
                  </a:lnTo>
                  <a:lnTo>
                    <a:pt x="702" y="810"/>
                  </a:lnTo>
                  <a:lnTo>
                    <a:pt x="690" y="810"/>
                  </a:lnTo>
                  <a:lnTo>
                    <a:pt x="696" y="816"/>
                  </a:lnTo>
                  <a:lnTo>
                    <a:pt x="696" y="822"/>
                  </a:lnTo>
                  <a:lnTo>
                    <a:pt x="702" y="822"/>
                  </a:lnTo>
                  <a:lnTo>
                    <a:pt x="708" y="822"/>
                  </a:lnTo>
                  <a:lnTo>
                    <a:pt x="708" y="828"/>
                  </a:lnTo>
                  <a:lnTo>
                    <a:pt x="708" y="834"/>
                  </a:lnTo>
                  <a:lnTo>
                    <a:pt x="714" y="834"/>
                  </a:lnTo>
                  <a:lnTo>
                    <a:pt x="708" y="846"/>
                  </a:lnTo>
                  <a:lnTo>
                    <a:pt x="708" y="852"/>
                  </a:lnTo>
                  <a:lnTo>
                    <a:pt x="702" y="852"/>
                  </a:lnTo>
                  <a:lnTo>
                    <a:pt x="696" y="858"/>
                  </a:lnTo>
                  <a:lnTo>
                    <a:pt x="690" y="864"/>
                  </a:lnTo>
                  <a:lnTo>
                    <a:pt x="666" y="870"/>
                  </a:lnTo>
                  <a:lnTo>
                    <a:pt x="660" y="876"/>
                  </a:lnTo>
                  <a:lnTo>
                    <a:pt x="642" y="876"/>
                  </a:lnTo>
                  <a:lnTo>
                    <a:pt x="606" y="882"/>
                  </a:lnTo>
                  <a:lnTo>
                    <a:pt x="588" y="882"/>
                  </a:lnTo>
                  <a:lnTo>
                    <a:pt x="582" y="876"/>
                  </a:lnTo>
                  <a:lnTo>
                    <a:pt x="576" y="876"/>
                  </a:lnTo>
                  <a:lnTo>
                    <a:pt x="564" y="876"/>
                  </a:lnTo>
                  <a:lnTo>
                    <a:pt x="552" y="882"/>
                  </a:lnTo>
                  <a:lnTo>
                    <a:pt x="540" y="894"/>
                  </a:lnTo>
                  <a:lnTo>
                    <a:pt x="534" y="906"/>
                  </a:lnTo>
                  <a:lnTo>
                    <a:pt x="528" y="912"/>
                  </a:lnTo>
                  <a:lnTo>
                    <a:pt x="516" y="924"/>
                  </a:lnTo>
                  <a:lnTo>
                    <a:pt x="486" y="930"/>
                  </a:lnTo>
                  <a:lnTo>
                    <a:pt x="474" y="912"/>
                  </a:lnTo>
                  <a:lnTo>
                    <a:pt x="474" y="906"/>
                  </a:lnTo>
                  <a:lnTo>
                    <a:pt x="468" y="906"/>
                  </a:lnTo>
                  <a:lnTo>
                    <a:pt x="468" y="900"/>
                  </a:lnTo>
                  <a:lnTo>
                    <a:pt x="462" y="894"/>
                  </a:lnTo>
                  <a:lnTo>
                    <a:pt x="456" y="894"/>
                  </a:lnTo>
                  <a:lnTo>
                    <a:pt x="462" y="888"/>
                  </a:lnTo>
                  <a:lnTo>
                    <a:pt x="468" y="888"/>
                  </a:lnTo>
                  <a:lnTo>
                    <a:pt x="462" y="882"/>
                  </a:lnTo>
                  <a:lnTo>
                    <a:pt x="462" y="876"/>
                  </a:lnTo>
                  <a:lnTo>
                    <a:pt x="456" y="870"/>
                  </a:lnTo>
                  <a:lnTo>
                    <a:pt x="456" y="864"/>
                  </a:lnTo>
                  <a:lnTo>
                    <a:pt x="450" y="858"/>
                  </a:lnTo>
                  <a:lnTo>
                    <a:pt x="444" y="858"/>
                  </a:lnTo>
                  <a:lnTo>
                    <a:pt x="444" y="852"/>
                  </a:lnTo>
                  <a:lnTo>
                    <a:pt x="438" y="852"/>
                  </a:lnTo>
                  <a:lnTo>
                    <a:pt x="438" y="858"/>
                  </a:lnTo>
                  <a:lnTo>
                    <a:pt x="402" y="870"/>
                  </a:lnTo>
                  <a:lnTo>
                    <a:pt x="390" y="882"/>
                  </a:lnTo>
                  <a:lnTo>
                    <a:pt x="384" y="900"/>
                  </a:lnTo>
                  <a:lnTo>
                    <a:pt x="342" y="900"/>
                  </a:lnTo>
                  <a:lnTo>
                    <a:pt x="324" y="900"/>
                  </a:lnTo>
                  <a:lnTo>
                    <a:pt x="294" y="906"/>
                  </a:lnTo>
                  <a:lnTo>
                    <a:pt x="282" y="948"/>
                  </a:lnTo>
                  <a:lnTo>
                    <a:pt x="282" y="978"/>
                  </a:lnTo>
                  <a:lnTo>
                    <a:pt x="270" y="1008"/>
                  </a:lnTo>
                  <a:lnTo>
                    <a:pt x="240" y="1014"/>
                  </a:lnTo>
                  <a:lnTo>
                    <a:pt x="216" y="996"/>
                  </a:lnTo>
                  <a:lnTo>
                    <a:pt x="204" y="984"/>
                  </a:lnTo>
                  <a:lnTo>
                    <a:pt x="192" y="966"/>
                  </a:lnTo>
                  <a:lnTo>
                    <a:pt x="186" y="948"/>
                  </a:lnTo>
                  <a:lnTo>
                    <a:pt x="174" y="948"/>
                  </a:lnTo>
                  <a:lnTo>
                    <a:pt x="174" y="936"/>
                  </a:lnTo>
                  <a:lnTo>
                    <a:pt x="186" y="924"/>
                  </a:lnTo>
                  <a:lnTo>
                    <a:pt x="198" y="906"/>
                  </a:lnTo>
                  <a:lnTo>
                    <a:pt x="204" y="888"/>
                  </a:lnTo>
                  <a:lnTo>
                    <a:pt x="222" y="870"/>
                  </a:lnTo>
                  <a:lnTo>
                    <a:pt x="234" y="858"/>
                  </a:lnTo>
                  <a:lnTo>
                    <a:pt x="234" y="852"/>
                  </a:lnTo>
                  <a:lnTo>
                    <a:pt x="222" y="852"/>
                  </a:lnTo>
                  <a:lnTo>
                    <a:pt x="228" y="810"/>
                  </a:lnTo>
                  <a:lnTo>
                    <a:pt x="222" y="798"/>
                  </a:lnTo>
                  <a:lnTo>
                    <a:pt x="216" y="798"/>
                  </a:lnTo>
                  <a:lnTo>
                    <a:pt x="216" y="792"/>
                  </a:lnTo>
                  <a:lnTo>
                    <a:pt x="210" y="792"/>
                  </a:lnTo>
                  <a:lnTo>
                    <a:pt x="204" y="798"/>
                  </a:lnTo>
                  <a:lnTo>
                    <a:pt x="204" y="792"/>
                  </a:lnTo>
                  <a:lnTo>
                    <a:pt x="198" y="792"/>
                  </a:lnTo>
                  <a:lnTo>
                    <a:pt x="192" y="792"/>
                  </a:lnTo>
                  <a:lnTo>
                    <a:pt x="186" y="792"/>
                  </a:lnTo>
                  <a:lnTo>
                    <a:pt x="180" y="786"/>
                  </a:lnTo>
                  <a:lnTo>
                    <a:pt x="174" y="792"/>
                  </a:lnTo>
                  <a:lnTo>
                    <a:pt x="162" y="792"/>
                  </a:lnTo>
                  <a:lnTo>
                    <a:pt x="156" y="792"/>
                  </a:lnTo>
                  <a:lnTo>
                    <a:pt x="156" y="798"/>
                  </a:lnTo>
                  <a:lnTo>
                    <a:pt x="138" y="792"/>
                  </a:lnTo>
                  <a:lnTo>
                    <a:pt x="126" y="792"/>
                  </a:lnTo>
                  <a:lnTo>
                    <a:pt x="126" y="798"/>
                  </a:lnTo>
                  <a:lnTo>
                    <a:pt x="126" y="804"/>
                  </a:lnTo>
                  <a:lnTo>
                    <a:pt x="102" y="810"/>
                  </a:lnTo>
                  <a:lnTo>
                    <a:pt x="90" y="810"/>
                  </a:lnTo>
                  <a:lnTo>
                    <a:pt x="72" y="798"/>
                  </a:lnTo>
                  <a:lnTo>
                    <a:pt x="66" y="780"/>
                  </a:lnTo>
                  <a:lnTo>
                    <a:pt x="60" y="780"/>
                  </a:lnTo>
                  <a:lnTo>
                    <a:pt x="60" y="768"/>
                  </a:lnTo>
                  <a:lnTo>
                    <a:pt x="54" y="768"/>
                  </a:lnTo>
                  <a:lnTo>
                    <a:pt x="24" y="756"/>
                  </a:lnTo>
                  <a:lnTo>
                    <a:pt x="18" y="744"/>
                  </a:lnTo>
                  <a:lnTo>
                    <a:pt x="12" y="738"/>
                  </a:lnTo>
                  <a:lnTo>
                    <a:pt x="18" y="732"/>
                  </a:lnTo>
                  <a:lnTo>
                    <a:pt x="12" y="726"/>
                  </a:lnTo>
                  <a:lnTo>
                    <a:pt x="6" y="714"/>
                  </a:lnTo>
                  <a:lnTo>
                    <a:pt x="0" y="702"/>
                  </a:lnTo>
                  <a:lnTo>
                    <a:pt x="0" y="696"/>
                  </a:lnTo>
                  <a:lnTo>
                    <a:pt x="18" y="696"/>
                  </a:lnTo>
                  <a:lnTo>
                    <a:pt x="24" y="708"/>
                  </a:lnTo>
                  <a:lnTo>
                    <a:pt x="36" y="702"/>
                  </a:lnTo>
                  <a:lnTo>
                    <a:pt x="36" y="678"/>
                  </a:lnTo>
                  <a:lnTo>
                    <a:pt x="36" y="660"/>
                  </a:lnTo>
                  <a:lnTo>
                    <a:pt x="42" y="654"/>
                  </a:lnTo>
                  <a:lnTo>
                    <a:pt x="48" y="642"/>
                  </a:lnTo>
                  <a:lnTo>
                    <a:pt x="54" y="642"/>
                  </a:lnTo>
                  <a:lnTo>
                    <a:pt x="72" y="624"/>
                  </a:lnTo>
                  <a:lnTo>
                    <a:pt x="90" y="618"/>
                  </a:lnTo>
                  <a:lnTo>
                    <a:pt x="102" y="618"/>
                  </a:lnTo>
                  <a:lnTo>
                    <a:pt x="114" y="612"/>
                  </a:lnTo>
                  <a:lnTo>
                    <a:pt x="138" y="606"/>
                  </a:lnTo>
                  <a:lnTo>
                    <a:pt x="144" y="606"/>
                  </a:lnTo>
                  <a:lnTo>
                    <a:pt x="150" y="594"/>
                  </a:lnTo>
                  <a:lnTo>
                    <a:pt x="156" y="576"/>
                  </a:lnTo>
                  <a:lnTo>
                    <a:pt x="168" y="552"/>
                  </a:lnTo>
                  <a:lnTo>
                    <a:pt x="168" y="540"/>
                  </a:lnTo>
                  <a:lnTo>
                    <a:pt x="180" y="522"/>
                  </a:lnTo>
                  <a:lnTo>
                    <a:pt x="186" y="498"/>
                  </a:lnTo>
                  <a:lnTo>
                    <a:pt x="198" y="480"/>
                  </a:lnTo>
                  <a:lnTo>
                    <a:pt x="204" y="486"/>
                  </a:lnTo>
                  <a:lnTo>
                    <a:pt x="210" y="480"/>
                  </a:lnTo>
                  <a:lnTo>
                    <a:pt x="204" y="474"/>
                  </a:lnTo>
                  <a:lnTo>
                    <a:pt x="198" y="462"/>
                  </a:lnTo>
                  <a:lnTo>
                    <a:pt x="192" y="456"/>
                  </a:lnTo>
                  <a:lnTo>
                    <a:pt x="150" y="462"/>
                  </a:lnTo>
                  <a:lnTo>
                    <a:pt x="144" y="462"/>
                  </a:lnTo>
                  <a:lnTo>
                    <a:pt x="138" y="450"/>
                  </a:lnTo>
                  <a:lnTo>
                    <a:pt x="132" y="426"/>
                  </a:lnTo>
                  <a:lnTo>
                    <a:pt x="132" y="396"/>
                  </a:lnTo>
                  <a:lnTo>
                    <a:pt x="132" y="378"/>
                  </a:lnTo>
                  <a:lnTo>
                    <a:pt x="126" y="348"/>
                  </a:lnTo>
                  <a:lnTo>
                    <a:pt x="132" y="312"/>
                  </a:lnTo>
                  <a:lnTo>
                    <a:pt x="126" y="288"/>
                  </a:lnTo>
                  <a:lnTo>
                    <a:pt x="138" y="282"/>
                  </a:lnTo>
                  <a:lnTo>
                    <a:pt x="126" y="264"/>
                  </a:lnTo>
                  <a:lnTo>
                    <a:pt x="126" y="258"/>
                  </a:lnTo>
                  <a:lnTo>
                    <a:pt x="120" y="246"/>
                  </a:lnTo>
                  <a:lnTo>
                    <a:pt x="126" y="234"/>
                  </a:lnTo>
                  <a:lnTo>
                    <a:pt x="114" y="228"/>
                  </a:lnTo>
                  <a:lnTo>
                    <a:pt x="114" y="222"/>
                  </a:lnTo>
                  <a:lnTo>
                    <a:pt x="96" y="204"/>
                  </a:lnTo>
                  <a:lnTo>
                    <a:pt x="84" y="180"/>
                  </a:lnTo>
                  <a:lnTo>
                    <a:pt x="78" y="168"/>
                  </a:lnTo>
                  <a:lnTo>
                    <a:pt x="72" y="162"/>
                  </a:lnTo>
                  <a:lnTo>
                    <a:pt x="66" y="144"/>
                  </a:lnTo>
                  <a:lnTo>
                    <a:pt x="60" y="138"/>
                  </a:lnTo>
                  <a:lnTo>
                    <a:pt x="66" y="126"/>
                  </a:lnTo>
                  <a:lnTo>
                    <a:pt x="66" y="114"/>
                  </a:lnTo>
                  <a:lnTo>
                    <a:pt x="72" y="114"/>
                  </a:lnTo>
                  <a:lnTo>
                    <a:pt x="72" y="108"/>
                  </a:lnTo>
                  <a:lnTo>
                    <a:pt x="78" y="102"/>
                  </a:lnTo>
                  <a:lnTo>
                    <a:pt x="78" y="90"/>
                  </a:lnTo>
                  <a:lnTo>
                    <a:pt x="78" y="84"/>
                  </a:lnTo>
                  <a:lnTo>
                    <a:pt x="84" y="72"/>
                  </a:lnTo>
                  <a:lnTo>
                    <a:pt x="102" y="72"/>
                  </a:lnTo>
                  <a:lnTo>
                    <a:pt x="108" y="72"/>
                  </a:lnTo>
                  <a:lnTo>
                    <a:pt x="120" y="78"/>
                  </a:lnTo>
                  <a:lnTo>
                    <a:pt x="144" y="84"/>
                  </a:lnTo>
                  <a:lnTo>
                    <a:pt x="150" y="84"/>
                  </a:lnTo>
                  <a:lnTo>
                    <a:pt x="156" y="84"/>
                  </a:lnTo>
                  <a:lnTo>
                    <a:pt x="156" y="90"/>
                  </a:lnTo>
                  <a:lnTo>
                    <a:pt x="162" y="90"/>
                  </a:lnTo>
                  <a:lnTo>
                    <a:pt x="174" y="96"/>
                  </a:lnTo>
                  <a:lnTo>
                    <a:pt x="180" y="96"/>
                  </a:lnTo>
                  <a:lnTo>
                    <a:pt x="186" y="96"/>
                  </a:lnTo>
                  <a:lnTo>
                    <a:pt x="192" y="102"/>
                  </a:lnTo>
                  <a:lnTo>
                    <a:pt x="198" y="96"/>
                  </a:lnTo>
                  <a:lnTo>
                    <a:pt x="204" y="96"/>
                  </a:lnTo>
                  <a:lnTo>
                    <a:pt x="204" y="102"/>
                  </a:lnTo>
                  <a:lnTo>
                    <a:pt x="210" y="102"/>
                  </a:lnTo>
                  <a:lnTo>
                    <a:pt x="216" y="102"/>
                  </a:lnTo>
                  <a:lnTo>
                    <a:pt x="216" y="96"/>
                  </a:lnTo>
                  <a:lnTo>
                    <a:pt x="222" y="96"/>
                  </a:lnTo>
                  <a:lnTo>
                    <a:pt x="228" y="96"/>
                  </a:lnTo>
                  <a:lnTo>
                    <a:pt x="228" y="102"/>
                  </a:lnTo>
                  <a:lnTo>
                    <a:pt x="234" y="102"/>
                  </a:lnTo>
                  <a:lnTo>
                    <a:pt x="240" y="102"/>
                  </a:lnTo>
                  <a:lnTo>
                    <a:pt x="252" y="102"/>
                  </a:lnTo>
                  <a:lnTo>
                    <a:pt x="252" y="108"/>
                  </a:lnTo>
                  <a:lnTo>
                    <a:pt x="264" y="108"/>
                  </a:lnTo>
                  <a:lnTo>
                    <a:pt x="270" y="108"/>
                  </a:lnTo>
                  <a:lnTo>
                    <a:pt x="276" y="108"/>
                  </a:lnTo>
                  <a:lnTo>
                    <a:pt x="294" y="114"/>
                  </a:lnTo>
                  <a:lnTo>
                    <a:pt x="312" y="120"/>
                  </a:lnTo>
                  <a:lnTo>
                    <a:pt x="318" y="126"/>
                  </a:lnTo>
                  <a:lnTo>
                    <a:pt x="330" y="132"/>
                  </a:lnTo>
                  <a:lnTo>
                    <a:pt x="342" y="132"/>
                  </a:lnTo>
                  <a:lnTo>
                    <a:pt x="348" y="132"/>
                  </a:lnTo>
                  <a:lnTo>
                    <a:pt x="354" y="138"/>
                  </a:lnTo>
                  <a:lnTo>
                    <a:pt x="366" y="138"/>
                  </a:lnTo>
                  <a:lnTo>
                    <a:pt x="372" y="144"/>
                  </a:lnTo>
                  <a:lnTo>
                    <a:pt x="378" y="150"/>
                  </a:lnTo>
                  <a:lnTo>
                    <a:pt x="384" y="150"/>
                  </a:lnTo>
                  <a:lnTo>
                    <a:pt x="390" y="150"/>
                  </a:lnTo>
                  <a:lnTo>
                    <a:pt x="396" y="150"/>
                  </a:lnTo>
                  <a:lnTo>
                    <a:pt x="402" y="150"/>
                  </a:lnTo>
                  <a:lnTo>
                    <a:pt x="414" y="156"/>
                  </a:lnTo>
                  <a:lnTo>
                    <a:pt x="420" y="156"/>
                  </a:lnTo>
                  <a:lnTo>
                    <a:pt x="426" y="162"/>
                  </a:lnTo>
                  <a:lnTo>
                    <a:pt x="438" y="168"/>
                  </a:lnTo>
                  <a:lnTo>
                    <a:pt x="444" y="174"/>
                  </a:lnTo>
                  <a:lnTo>
                    <a:pt x="450" y="174"/>
                  </a:lnTo>
                  <a:lnTo>
                    <a:pt x="462" y="174"/>
                  </a:lnTo>
                  <a:lnTo>
                    <a:pt x="468" y="174"/>
                  </a:lnTo>
                  <a:lnTo>
                    <a:pt x="474" y="174"/>
                  </a:lnTo>
                  <a:lnTo>
                    <a:pt x="474" y="180"/>
                  </a:lnTo>
                  <a:lnTo>
                    <a:pt x="480" y="192"/>
                  </a:lnTo>
                  <a:lnTo>
                    <a:pt x="498" y="198"/>
                  </a:lnTo>
                  <a:lnTo>
                    <a:pt x="510" y="210"/>
                  </a:lnTo>
                  <a:lnTo>
                    <a:pt x="516" y="210"/>
                  </a:lnTo>
                  <a:lnTo>
                    <a:pt x="522" y="210"/>
                  </a:lnTo>
                  <a:lnTo>
                    <a:pt x="534" y="216"/>
                  </a:lnTo>
                  <a:lnTo>
                    <a:pt x="540" y="216"/>
                  </a:lnTo>
                  <a:lnTo>
                    <a:pt x="546" y="222"/>
                  </a:lnTo>
                  <a:lnTo>
                    <a:pt x="552" y="222"/>
                  </a:lnTo>
                  <a:lnTo>
                    <a:pt x="558" y="228"/>
                  </a:lnTo>
                  <a:lnTo>
                    <a:pt x="564" y="228"/>
                  </a:lnTo>
                  <a:lnTo>
                    <a:pt x="570" y="234"/>
                  </a:lnTo>
                  <a:lnTo>
                    <a:pt x="576" y="240"/>
                  </a:lnTo>
                  <a:lnTo>
                    <a:pt x="582" y="240"/>
                  </a:lnTo>
                  <a:lnTo>
                    <a:pt x="588" y="240"/>
                  </a:lnTo>
                  <a:lnTo>
                    <a:pt x="594" y="240"/>
                  </a:lnTo>
                  <a:lnTo>
                    <a:pt x="600" y="228"/>
                  </a:lnTo>
                  <a:lnTo>
                    <a:pt x="588" y="216"/>
                  </a:lnTo>
                  <a:lnTo>
                    <a:pt x="588" y="198"/>
                  </a:lnTo>
                  <a:lnTo>
                    <a:pt x="582" y="198"/>
                  </a:lnTo>
                  <a:lnTo>
                    <a:pt x="588" y="192"/>
                  </a:lnTo>
                  <a:lnTo>
                    <a:pt x="582" y="168"/>
                  </a:lnTo>
                  <a:lnTo>
                    <a:pt x="558" y="114"/>
                  </a:lnTo>
                  <a:lnTo>
                    <a:pt x="552" y="90"/>
                  </a:lnTo>
                  <a:lnTo>
                    <a:pt x="558" y="60"/>
                  </a:lnTo>
                  <a:lnTo>
                    <a:pt x="564" y="48"/>
                  </a:lnTo>
                  <a:lnTo>
                    <a:pt x="582" y="42"/>
                  </a:lnTo>
                  <a:lnTo>
                    <a:pt x="624" y="6"/>
                  </a:lnTo>
                  <a:lnTo>
                    <a:pt x="648" y="0"/>
                  </a:lnTo>
                  <a:lnTo>
                    <a:pt x="678" y="0"/>
                  </a:lnTo>
                  <a:lnTo>
                    <a:pt x="720" y="12"/>
                  </a:lnTo>
                  <a:lnTo>
                    <a:pt x="744" y="24"/>
                  </a:lnTo>
                  <a:lnTo>
                    <a:pt x="768" y="42"/>
                  </a:lnTo>
                  <a:lnTo>
                    <a:pt x="816" y="48"/>
                  </a:lnTo>
                  <a:lnTo>
                    <a:pt x="834" y="48"/>
                  </a:lnTo>
                  <a:lnTo>
                    <a:pt x="852" y="54"/>
                  </a:lnTo>
                  <a:lnTo>
                    <a:pt x="906" y="60"/>
                  </a:lnTo>
                  <a:lnTo>
                    <a:pt x="948" y="54"/>
                  </a:lnTo>
                  <a:lnTo>
                    <a:pt x="978" y="42"/>
                  </a:lnTo>
                  <a:lnTo>
                    <a:pt x="984" y="48"/>
                  </a:lnTo>
                  <a:lnTo>
                    <a:pt x="990" y="60"/>
                  </a:lnTo>
                  <a:lnTo>
                    <a:pt x="996" y="66"/>
                  </a:lnTo>
                  <a:lnTo>
                    <a:pt x="1002" y="72"/>
                  </a:lnTo>
                  <a:lnTo>
                    <a:pt x="1014" y="78"/>
                  </a:lnTo>
                  <a:lnTo>
                    <a:pt x="1014" y="84"/>
                  </a:lnTo>
                  <a:lnTo>
                    <a:pt x="1032" y="84"/>
                  </a:lnTo>
                  <a:lnTo>
                    <a:pt x="1032" y="90"/>
                  </a:lnTo>
                  <a:lnTo>
                    <a:pt x="1032" y="96"/>
                  </a:lnTo>
                  <a:lnTo>
                    <a:pt x="1032" y="108"/>
                  </a:lnTo>
                  <a:lnTo>
                    <a:pt x="1056" y="126"/>
                  </a:lnTo>
                  <a:lnTo>
                    <a:pt x="1068" y="138"/>
                  </a:lnTo>
                  <a:lnTo>
                    <a:pt x="1068" y="156"/>
                  </a:lnTo>
                  <a:lnTo>
                    <a:pt x="1080" y="150"/>
                  </a:lnTo>
                  <a:lnTo>
                    <a:pt x="1086" y="150"/>
                  </a:lnTo>
                  <a:lnTo>
                    <a:pt x="1092" y="156"/>
                  </a:lnTo>
                  <a:lnTo>
                    <a:pt x="1092" y="162"/>
                  </a:lnTo>
                  <a:lnTo>
                    <a:pt x="1092" y="168"/>
                  </a:lnTo>
                  <a:lnTo>
                    <a:pt x="1098" y="168"/>
                  </a:lnTo>
                  <a:lnTo>
                    <a:pt x="1092" y="180"/>
                  </a:lnTo>
                  <a:lnTo>
                    <a:pt x="1092" y="186"/>
                  </a:lnTo>
                  <a:lnTo>
                    <a:pt x="1086" y="192"/>
                  </a:lnTo>
                  <a:lnTo>
                    <a:pt x="1068" y="210"/>
                  </a:lnTo>
                  <a:lnTo>
                    <a:pt x="1068" y="216"/>
                  </a:lnTo>
                  <a:lnTo>
                    <a:pt x="1074" y="228"/>
                  </a:lnTo>
                  <a:lnTo>
                    <a:pt x="1092" y="234"/>
                  </a:lnTo>
                  <a:lnTo>
                    <a:pt x="1122" y="216"/>
                  </a:lnTo>
                  <a:lnTo>
                    <a:pt x="1188" y="204"/>
                  </a:lnTo>
                  <a:lnTo>
                    <a:pt x="1212" y="204"/>
                  </a:lnTo>
                  <a:lnTo>
                    <a:pt x="1230" y="198"/>
                  </a:lnTo>
                  <a:lnTo>
                    <a:pt x="1236" y="204"/>
                  </a:lnTo>
                  <a:lnTo>
                    <a:pt x="1242" y="210"/>
                  </a:lnTo>
                  <a:lnTo>
                    <a:pt x="1242" y="204"/>
                  </a:lnTo>
                  <a:lnTo>
                    <a:pt x="1248" y="198"/>
                  </a:lnTo>
                  <a:lnTo>
                    <a:pt x="1308" y="204"/>
                  </a:lnTo>
                  <a:lnTo>
                    <a:pt x="1338" y="204"/>
                  </a:lnTo>
                  <a:lnTo>
                    <a:pt x="1374" y="228"/>
                  </a:lnTo>
                  <a:lnTo>
                    <a:pt x="1380" y="234"/>
                  </a:lnTo>
                  <a:lnTo>
                    <a:pt x="1380" y="240"/>
                  </a:lnTo>
                  <a:lnTo>
                    <a:pt x="1386" y="252"/>
                  </a:lnTo>
                  <a:lnTo>
                    <a:pt x="1392" y="252"/>
                  </a:lnTo>
                  <a:lnTo>
                    <a:pt x="1416" y="270"/>
                  </a:lnTo>
                  <a:lnTo>
                    <a:pt x="1428" y="294"/>
                  </a:lnTo>
                  <a:lnTo>
                    <a:pt x="1440" y="312"/>
                  </a:lnTo>
                  <a:lnTo>
                    <a:pt x="1452" y="330"/>
                  </a:lnTo>
                  <a:lnTo>
                    <a:pt x="1464" y="330"/>
                  </a:lnTo>
                  <a:lnTo>
                    <a:pt x="1464" y="336"/>
                  </a:lnTo>
                  <a:lnTo>
                    <a:pt x="1470" y="336"/>
                  </a:lnTo>
                  <a:lnTo>
                    <a:pt x="1470" y="342"/>
                  </a:lnTo>
                  <a:lnTo>
                    <a:pt x="1476" y="342"/>
                  </a:lnTo>
                  <a:lnTo>
                    <a:pt x="1488" y="336"/>
                  </a:lnTo>
                  <a:lnTo>
                    <a:pt x="1494" y="342"/>
                  </a:lnTo>
                  <a:lnTo>
                    <a:pt x="1500" y="342"/>
                  </a:lnTo>
                  <a:lnTo>
                    <a:pt x="1512" y="366"/>
                  </a:lnTo>
                  <a:lnTo>
                    <a:pt x="1530" y="396"/>
                  </a:lnTo>
                  <a:lnTo>
                    <a:pt x="1536" y="444"/>
                  </a:lnTo>
                  <a:lnTo>
                    <a:pt x="1530" y="480"/>
                  </a:lnTo>
                  <a:lnTo>
                    <a:pt x="1506" y="510"/>
                  </a:lnTo>
                  <a:lnTo>
                    <a:pt x="1500" y="546"/>
                  </a:lnTo>
                  <a:lnTo>
                    <a:pt x="1494" y="564"/>
                  </a:lnTo>
                  <a:lnTo>
                    <a:pt x="1494" y="576"/>
                  </a:lnTo>
                  <a:lnTo>
                    <a:pt x="1500" y="582"/>
                  </a:lnTo>
                  <a:lnTo>
                    <a:pt x="1494" y="612"/>
                  </a:lnTo>
                  <a:lnTo>
                    <a:pt x="1476" y="630"/>
                  </a:lnTo>
                  <a:lnTo>
                    <a:pt x="1434" y="672"/>
                  </a:lnTo>
                  <a:lnTo>
                    <a:pt x="1392" y="756"/>
                  </a:lnTo>
                  <a:lnTo>
                    <a:pt x="1380" y="792"/>
                  </a:lnTo>
                  <a:lnTo>
                    <a:pt x="1374" y="798"/>
                  </a:lnTo>
                  <a:lnTo>
                    <a:pt x="1368" y="798"/>
                  </a:lnTo>
                  <a:lnTo>
                    <a:pt x="1380" y="804"/>
                  </a:lnTo>
                  <a:lnTo>
                    <a:pt x="1386" y="804"/>
                  </a:lnTo>
                  <a:lnTo>
                    <a:pt x="1380" y="822"/>
                  </a:lnTo>
                  <a:lnTo>
                    <a:pt x="1380" y="852"/>
                  </a:lnTo>
                  <a:lnTo>
                    <a:pt x="1374" y="858"/>
                  </a:lnTo>
                  <a:lnTo>
                    <a:pt x="1380" y="858"/>
                  </a:lnTo>
                  <a:lnTo>
                    <a:pt x="1374" y="864"/>
                  </a:lnTo>
                  <a:lnTo>
                    <a:pt x="1374" y="870"/>
                  </a:lnTo>
                  <a:lnTo>
                    <a:pt x="1374" y="876"/>
                  </a:lnTo>
                  <a:lnTo>
                    <a:pt x="1368" y="900"/>
                  </a:lnTo>
                  <a:lnTo>
                    <a:pt x="1362" y="906"/>
                  </a:lnTo>
                  <a:lnTo>
                    <a:pt x="1362" y="918"/>
                  </a:lnTo>
                  <a:lnTo>
                    <a:pt x="1362" y="924"/>
                  </a:lnTo>
                  <a:lnTo>
                    <a:pt x="1356" y="942"/>
                  </a:lnTo>
                  <a:lnTo>
                    <a:pt x="1350" y="972"/>
                  </a:lnTo>
                  <a:lnTo>
                    <a:pt x="1350" y="1014"/>
                  </a:lnTo>
                  <a:lnTo>
                    <a:pt x="1350" y="1020"/>
                  </a:lnTo>
                  <a:close/>
                </a:path>
              </a:pathLst>
            </a:custGeom>
            <a:solidFill>
              <a:srgbClr val="FFC000"/>
            </a:solidFill>
            <a:ln w="9525">
              <a:solidFill>
                <a:schemeClr val="bg1"/>
              </a:solidFill>
              <a:round/>
              <a:headEnd/>
              <a:tailEnd/>
            </a:ln>
          </p:spPr>
          <p:txBody>
            <a:bodyPr/>
            <a:lstStyle/>
            <a:p>
              <a:endParaRPr lang="en-GB"/>
            </a:p>
          </p:txBody>
        </p:sp>
        <p:sp>
          <p:nvSpPr>
            <p:cNvPr id="19495" name="Freeform 19"/>
            <p:cNvSpPr>
              <a:spLocks noEditPoints="1"/>
            </p:cNvSpPr>
            <p:nvPr/>
          </p:nvSpPr>
          <p:spPr bwMode="gray">
            <a:xfrm>
              <a:off x="4018529" y="4827099"/>
              <a:ext cx="819736" cy="1242570"/>
            </a:xfrm>
            <a:custGeom>
              <a:avLst/>
              <a:gdLst>
                <a:gd name="T0" fmla="*/ 9422 w 1044"/>
                <a:gd name="T1" fmla="*/ 76553 h 1542"/>
                <a:gd name="T2" fmla="*/ 5496 w 1044"/>
                <a:gd name="T3" fmla="*/ 74941 h 1542"/>
                <a:gd name="T4" fmla="*/ 0 w 1044"/>
                <a:gd name="T5" fmla="*/ 70912 h 1542"/>
                <a:gd name="T6" fmla="*/ 2356 w 1044"/>
                <a:gd name="T7" fmla="*/ 59630 h 1542"/>
                <a:gd name="T8" fmla="*/ 3141 w 1044"/>
                <a:gd name="T9" fmla="*/ 47543 h 1542"/>
                <a:gd name="T10" fmla="*/ 5496 w 1044"/>
                <a:gd name="T11" fmla="*/ 41902 h 1542"/>
                <a:gd name="T12" fmla="*/ 15704 w 1044"/>
                <a:gd name="T13" fmla="*/ 40291 h 1542"/>
                <a:gd name="T14" fmla="*/ 18845 w 1044"/>
                <a:gd name="T15" fmla="*/ 37068 h 1542"/>
                <a:gd name="T16" fmla="*/ 22770 w 1044"/>
                <a:gd name="T17" fmla="*/ 26592 h 1542"/>
                <a:gd name="T18" fmla="*/ 25126 w 1044"/>
                <a:gd name="T19" fmla="*/ 20951 h 1542"/>
                <a:gd name="T20" fmla="*/ 23556 w 1044"/>
                <a:gd name="T21" fmla="*/ 16116 h 1542"/>
                <a:gd name="T22" fmla="*/ 20415 w 1044"/>
                <a:gd name="T23" fmla="*/ 13699 h 1542"/>
                <a:gd name="T24" fmla="*/ 21985 w 1044"/>
                <a:gd name="T25" fmla="*/ 9670 h 1542"/>
                <a:gd name="T26" fmla="*/ 34548 w 1044"/>
                <a:gd name="T27" fmla="*/ 4029 h 1542"/>
                <a:gd name="T28" fmla="*/ 44756 w 1044"/>
                <a:gd name="T29" fmla="*/ 1612 h 1542"/>
                <a:gd name="T30" fmla="*/ 51037 w 1044"/>
                <a:gd name="T31" fmla="*/ 9670 h 1542"/>
                <a:gd name="T32" fmla="*/ 63600 w 1044"/>
                <a:gd name="T33" fmla="*/ 7252 h 1542"/>
                <a:gd name="T34" fmla="*/ 71452 w 1044"/>
                <a:gd name="T35" fmla="*/ 16116 h 1542"/>
                <a:gd name="T36" fmla="*/ 69882 w 1044"/>
                <a:gd name="T37" fmla="*/ 22563 h 1542"/>
                <a:gd name="T38" fmla="*/ 65171 w 1044"/>
                <a:gd name="T39" fmla="*/ 26592 h 1542"/>
                <a:gd name="T40" fmla="*/ 58104 w 1044"/>
                <a:gd name="T41" fmla="*/ 33844 h 1542"/>
                <a:gd name="T42" fmla="*/ 45541 w 1044"/>
                <a:gd name="T43" fmla="*/ 45932 h 1542"/>
                <a:gd name="T44" fmla="*/ 42400 w 1044"/>
                <a:gd name="T45" fmla="*/ 52378 h 1542"/>
                <a:gd name="T46" fmla="*/ 46326 w 1044"/>
                <a:gd name="T47" fmla="*/ 59630 h 1542"/>
                <a:gd name="T48" fmla="*/ 43185 w 1044"/>
                <a:gd name="T49" fmla="*/ 67689 h 1542"/>
                <a:gd name="T50" fmla="*/ 40830 w 1044"/>
                <a:gd name="T51" fmla="*/ 78970 h 1542"/>
                <a:gd name="T52" fmla="*/ 36904 w 1044"/>
                <a:gd name="T53" fmla="*/ 84611 h 1542"/>
                <a:gd name="T54" fmla="*/ 32978 w 1044"/>
                <a:gd name="T55" fmla="*/ 89446 h 1542"/>
                <a:gd name="T56" fmla="*/ 33763 w 1044"/>
                <a:gd name="T57" fmla="*/ 96698 h 1542"/>
                <a:gd name="T58" fmla="*/ 35333 w 1044"/>
                <a:gd name="T59" fmla="*/ 100727 h 1542"/>
                <a:gd name="T60" fmla="*/ 34548 w 1044"/>
                <a:gd name="T61" fmla="*/ 104756 h 1542"/>
                <a:gd name="T62" fmla="*/ 35333 w 1044"/>
                <a:gd name="T63" fmla="*/ 105562 h 1542"/>
                <a:gd name="T64" fmla="*/ 37689 w 1044"/>
                <a:gd name="T65" fmla="*/ 107174 h 1542"/>
                <a:gd name="T66" fmla="*/ 30622 w 1044"/>
                <a:gd name="T67" fmla="*/ 107174 h 1542"/>
                <a:gd name="T68" fmla="*/ 32978 w 1044"/>
                <a:gd name="T69" fmla="*/ 106368 h 1542"/>
                <a:gd name="T70" fmla="*/ 29837 w 1044"/>
                <a:gd name="T71" fmla="*/ 107174 h 1542"/>
                <a:gd name="T72" fmla="*/ 29052 w 1044"/>
                <a:gd name="T73" fmla="*/ 103950 h 1542"/>
                <a:gd name="T74" fmla="*/ 31408 w 1044"/>
                <a:gd name="T75" fmla="*/ 100727 h 1542"/>
                <a:gd name="T76" fmla="*/ 31408 w 1044"/>
                <a:gd name="T77" fmla="*/ 96698 h 1542"/>
                <a:gd name="T78" fmla="*/ 31408 w 1044"/>
                <a:gd name="T79" fmla="*/ 94281 h 1542"/>
                <a:gd name="T80" fmla="*/ 29052 w 1044"/>
                <a:gd name="T81" fmla="*/ 96698 h 1542"/>
                <a:gd name="T82" fmla="*/ 26696 w 1044"/>
                <a:gd name="T83" fmla="*/ 98310 h 1542"/>
                <a:gd name="T84" fmla="*/ 28267 w 1044"/>
                <a:gd name="T85" fmla="*/ 96698 h 1542"/>
                <a:gd name="T86" fmla="*/ 23556 w 1044"/>
                <a:gd name="T87" fmla="*/ 96698 h 1542"/>
                <a:gd name="T88" fmla="*/ 24341 w 1044"/>
                <a:gd name="T89" fmla="*/ 91057 h 1542"/>
                <a:gd name="T90" fmla="*/ 22770 w 1044"/>
                <a:gd name="T91" fmla="*/ 90252 h 1542"/>
                <a:gd name="T92" fmla="*/ 24341 w 1044"/>
                <a:gd name="T93" fmla="*/ 94281 h 1542"/>
                <a:gd name="T94" fmla="*/ 21200 w 1044"/>
                <a:gd name="T95" fmla="*/ 93475 h 1542"/>
                <a:gd name="T96" fmla="*/ 19630 w 1044"/>
                <a:gd name="T97" fmla="*/ 90252 h 1542"/>
                <a:gd name="T98" fmla="*/ 16489 w 1044"/>
                <a:gd name="T99" fmla="*/ 87834 h 1542"/>
                <a:gd name="T100" fmla="*/ 16489 w 1044"/>
                <a:gd name="T101" fmla="*/ 91057 h 1542"/>
                <a:gd name="T102" fmla="*/ 31408 w 1044"/>
                <a:gd name="T103" fmla="*/ 96698 h 1542"/>
                <a:gd name="T104" fmla="*/ 31408 w 1044"/>
                <a:gd name="T105" fmla="*/ 97504 h 1542"/>
                <a:gd name="T106" fmla="*/ 31408 w 1044"/>
                <a:gd name="T107" fmla="*/ 93475 h 1542"/>
                <a:gd name="T108" fmla="*/ 29837 w 1044"/>
                <a:gd name="T109" fmla="*/ 96698 h 1542"/>
                <a:gd name="T110" fmla="*/ 18059 w 1044"/>
                <a:gd name="T111" fmla="*/ 88640 h 1542"/>
                <a:gd name="T112" fmla="*/ 29052 w 1044"/>
                <a:gd name="T113" fmla="*/ 99921 h 1542"/>
                <a:gd name="T114" fmla="*/ 31408 w 1044"/>
                <a:gd name="T115" fmla="*/ 100727 h 1542"/>
                <a:gd name="T116" fmla="*/ 29837 w 1044"/>
                <a:gd name="T117" fmla="*/ 103145 h 1542"/>
                <a:gd name="T118" fmla="*/ 19630 w 1044"/>
                <a:gd name="T119" fmla="*/ 94281 h 1542"/>
                <a:gd name="T120" fmla="*/ 21200 w 1044"/>
                <a:gd name="T121" fmla="*/ 102339 h 1542"/>
                <a:gd name="T122" fmla="*/ 18845 w 1044"/>
                <a:gd name="T123" fmla="*/ 91057 h 15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44"/>
                <a:gd name="T187" fmla="*/ 0 h 1542"/>
                <a:gd name="T188" fmla="*/ 1044 w 1044"/>
                <a:gd name="T189" fmla="*/ 1542 h 15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44" h="1542">
                  <a:moveTo>
                    <a:pt x="234" y="1278"/>
                  </a:moveTo>
                  <a:lnTo>
                    <a:pt x="228" y="1272"/>
                  </a:lnTo>
                  <a:lnTo>
                    <a:pt x="222" y="1266"/>
                  </a:lnTo>
                  <a:lnTo>
                    <a:pt x="222" y="1260"/>
                  </a:lnTo>
                  <a:lnTo>
                    <a:pt x="204" y="1248"/>
                  </a:lnTo>
                  <a:lnTo>
                    <a:pt x="192" y="1248"/>
                  </a:lnTo>
                  <a:lnTo>
                    <a:pt x="186" y="1236"/>
                  </a:lnTo>
                  <a:lnTo>
                    <a:pt x="174" y="1218"/>
                  </a:lnTo>
                  <a:lnTo>
                    <a:pt x="162" y="1194"/>
                  </a:lnTo>
                  <a:lnTo>
                    <a:pt x="156" y="1182"/>
                  </a:lnTo>
                  <a:lnTo>
                    <a:pt x="162" y="1146"/>
                  </a:lnTo>
                  <a:lnTo>
                    <a:pt x="156" y="1134"/>
                  </a:lnTo>
                  <a:lnTo>
                    <a:pt x="138" y="1122"/>
                  </a:lnTo>
                  <a:lnTo>
                    <a:pt x="132" y="1116"/>
                  </a:lnTo>
                  <a:lnTo>
                    <a:pt x="138" y="1098"/>
                  </a:lnTo>
                  <a:lnTo>
                    <a:pt x="138" y="1092"/>
                  </a:lnTo>
                  <a:lnTo>
                    <a:pt x="138" y="1086"/>
                  </a:lnTo>
                  <a:lnTo>
                    <a:pt x="132" y="1074"/>
                  </a:lnTo>
                  <a:lnTo>
                    <a:pt x="126" y="1074"/>
                  </a:lnTo>
                  <a:lnTo>
                    <a:pt x="126" y="1068"/>
                  </a:lnTo>
                  <a:lnTo>
                    <a:pt x="120" y="1062"/>
                  </a:lnTo>
                  <a:lnTo>
                    <a:pt x="120" y="1056"/>
                  </a:lnTo>
                  <a:lnTo>
                    <a:pt x="114" y="1050"/>
                  </a:lnTo>
                  <a:lnTo>
                    <a:pt x="108" y="1050"/>
                  </a:lnTo>
                  <a:lnTo>
                    <a:pt x="102" y="1056"/>
                  </a:lnTo>
                  <a:lnTo>
                    <a:pt x="102" y="1062"/>
                  </a:lnTo>
                  <a:lnTo>
                    <a:pt x="96" y="1062"/>
                  </a:lnTo>
                  <a:lnTo>
                    <a:pt x="96" y="1068"/>
                  </a:lnTo>
                  <a:lnTo>
                    <a:pt x="96" y="1074"/>
                  </a:lnTo>
                  <a:lnTo>
                    <a:pt x="90" y="1074"/>
                  </a:lnTo>
                  <a:lnTo>
                    <a:pt x="84" y="1080"/>
                  </a:lnTo>
                  <a:lnTo>
                    <a:pt x="78" y="1074"/>
                  </a:lnTo>
                  <a:lnTo>
                    <a:pt x="72" y="1074"/>
                  </a:lnTo>
                  <a:lnTo>
                    <a:pt x="72" y="1068"/>
                  </a:lnTo>
                  <a:lnTo>
                    <a:pt x="72" y="1062"/>
                  </a:lnTo>
                  <a:lnTo>
                    <a:pt x="60" y="1056"/>
                  </a:lnTo>
                  <a:lnTo>
                    <a:pt x="60" y="1044"/>
                  </a:lnTo>
                  <a:lnTo>
                    <a:pt x="60" y="1032"/>
                  </a:lnTo>
                  <a:lnTo>
                    <a:pt x="60" y="1026"/>
                  </a:lnTo>
                  <a:lnTo>
                    <a:pt x="54" y="1026"/>
                  </a:lnTo>
                  <a:lnTo>
                    <a:pt x="48" y="1014"/>
                  </a:lnTo>
                  <a:lnTo>
                    <a:pt x="42" y="1008"/>
                  </a:lnTo>
                  <a:lnTo>
                    <a:pt x="30" y="1008"/>
                  </a:lnTo>
                  <a:lnTo>
                    <a:pt x="30" y="1002"/>
                  </a:lnTo>
                  <a:lnTo>
                    <a:pt x="24" y="1008"/>
                  </a:lnTo>
                  <a:lnTo>
                    <a:pt x="12" y="1008"/>
                  </a:lnTo>
                  <a:lnTo>
                    <a:pt x="6" y="1008"/>
                  </a:lnTo>
                  <a:lnTo>
                    <a:pt x="0" y="1008"/>
                  </a:lnTo>
                  <a:lnTo>
                    <a:pt x="0" y="1002"/>
                  </a:lnTo>
                  <a:lnTo>
                    <a:pt x="6" y="990"/>
                  </a:lnTo>
                  <a:lnTo>
                    <a:pt x="6" y="984"/>
                  </a:lnTo>
                  <a:lnTo>
                    <a:pt x="0" y="978"/>
                  </a:lnTo>
                  <a:lnTo>
                    <a:pt x="6" y="972"/>
                  </a:lnTo>
                  <a:lnTo>
                    <a:pt x="12" y="972"/>
                  </a:lnTo>
                  <a:lnTo>
                    <a:pt x="72" y="978"/>
                  </a:lnTo>
                  <a:lnTo>
                    <a:pt x="78" y="972"/>
                  </a:lnTo>
                  <a:lnTo>
                    <a:pt x="72" y="960"/>
                  </a:lnTo>
                  <a:lnTo>
                    <a:pt x="66" y="960"/>
                  </a:lnTo>
                  <a:lnTo>
                    <a:pt x="60" y="930"/>
                  </a:lnTo>
                  <a:lnTo>
                    <a:pt x="54" y="912"/>
                  </a:lnTo>
                  <a:lnTo>
                    <a:pt x="42" y="906"/>
                  </a:lnTo>
                  <a:lnTo>
                    <a:pt x="36" y="894"/>
                  </a:lnTo>
                  <a:lnTo>
                    <a:pt x="30" y="876"/>
                  </a:lnTo>
                  <a:lnTo>
                    <a:pt x="30" y="858"/>
                  </a:lnTo>
                  <a:lnTo>
                    <a:pt x="30" y="840"/>
                  </a:lnTo>
                  <a:lnTo>
                    <a:pt x="36" y="816"/>
                  </a:lnTo>
                  <a:lnTo>
                    <a:pt x="36" y="792"/>
                  </a:lnTo>
                  <a:lnTo>
                    <a:pt x="36" y="780"/>
                  </a:lnTo>
                  <a:lnTo>
                    <a:pt x="12" y="774"/>
                  </a:lnTo>
                  <a:lnTo>
                    <a:pt x="24" y="756"/>
                  </a:lnTo>
                  <a:lnTo>
                    <a:pt x="24" y="744"/>
                  </a:lnTo>
                  <a:lnTo>
                    <a:pt x="30" y="738"/>
                  </a:lnTo>
                  <a:lnTo>
                    <a:pt x="30" y="732"/>
                  </a:lnTo>
                  <a:lnTo>
                    <a:pt x="36" y="720"/>
                  </a:lnTo>
                  <a:lnTo>
                    <a:pt x="42" y="714"/>
                  </a:lnTo>
                  <a:lnTo>
                    <a:pt x="54" y="708"/>
                  </a:lnTo>
                  <a:lnTo>
                    <a:pt x="60" y="702"/>
                  </a:lnTo>
                  <a:lnTo>
                    <a:pt x="48" y="690"/>
                  </a:lnTo>
                  <a:lnTo>
                    <a:pt x="48" y="684"/>
                  </a:lnTo>
                  <a:lnTo>
                    <a:pt x="48" y="678"/>
                  </a:lnTo>
                  <a:lnTo>
                    <a:pt x="48" y="672"/>
                  </a:lnTo>
                  <a:lnTo>
                    <a:pt x="54" y="672"/>
                  </a:lnTo>
                  <a:lnTo>
                    <a:pt x="60" y="672"/>
                  </a:lnTo>
                  <a:lnTo>
                    <a:pt x="66" y="666"/>
                  </a:lnTo>
                  <a:lnTo>
                    <a:pt x="72" y="654"/>
                  </a:lnTo>
                  <a:lnTo>
                    <a:pt x="72" y="648"/>
                  </a:lnTo>
                  <a:lnTo>
                    <a:pt x="84" y="642"/>
                  </a:lnTo>
                  <a:lnTo>
                    <a:pt x="84" y="636"/>
                  </a:lnTo>
                  <a:lnTo>
                    <a:pt x="84" y="630"/>
                  </a:lnTo>
                  <a:lnTo>
                    <a:pt x="90" y="630"/>
                  </a:lnTo>
                  <a:lnTo>
                    <a:pt x="96" y="630"/>
                  </a:lnTo>
                  <a:lnTo>
                    <a:pt x="96" y="624"/>
                  </a:lnTo>
                  <a:lnTo>
                    <a:pt x="90" y="624"/>
                  </a:lnTo>
                  <a:lnTo>
                    <a:pt x="84" y="612"/>
                  </a:lnTo>
                  <a:lnTo>
                    <a:pt x="78" y="606"/>
                  </a:lnTo>
                  <a:lnTo>
                    <a:pt x="78" y="600"/>
                  </a:lnTo>
                  <a:lnTo>
                    <a:pt x="84" y="600"/>
                  </a:lnTo>
                  <a:lnTo>
                    <a:pt x="90" y="600"/>
                  </a:lnTo>
                  <a:lnTo>
                    <a:pt x="84" y="600"/>
                  </a:lnTo>
                  <a:lnTo>
                    <a:pt x="78" y="594"/>
                  </a:lnTo>
                  <a:lnTo>
                    <a:pt x="78" y="582"/>
                  </a:lnTo>
                  <a:lnTo>
                    <a:pt x="78" y="576"/>
                  </a:lnTo>
                  <a:lnTo>
                    <a:pt x="126" y="564"/>
                  </a:lnTo>
                  <a:lnTo>
                    <a:pt x="144" y="564"/>
                  </a:lnTo>
                  <a:lnTo>
                    <a:pt x="156" y="582"/>
                  </a:lnTo>
                  <a:lnTo>
                    <a:pt x="162" y="600"/>
                  </a:lnTo>
                  <a:lnTo>
                    <a:pt x="180" y="588"/>
                  </a:lnTo>
                  <a:lnTo>
                    <a:pt x="192" y="588"/>
                  </a:lnTo>
                  <a:lnTo>
                    <a:pt x="198" y="588"/>
                  </a:lnTo>
                  <a:lnTo>
                    <a:pt x="210" y="582"/>
                  </a:lnTo>
                  <a:lnTo>
                    <a:pt x="216" y="576"/>
                  </a:lnTo>
                  <a:lnTo>
                    <a:pt x="222" y="570"/>
                  </a:lnTo>
                  <a:lnTo>
                    <a:pt x="222" y="564"/>
                  </a:lnTo>
                  <a:lnTo>
                    <a:pt x="228" y="558"/>
                  </a:lnTo>
                  <a:lnTo>
                    <a:pt x="234" y="558"/>
                  </a:lnTo>
                  <a:lnTo>
                    <a:pt x="240" y="558"/>
                  </a:lnTo>
                  <a:lnTo>
                    <a:pt x="246" y="558"/>
                  </a:lnTo>
                  <a:lnTo>
                    <a:pt x="252" y="558"/>
                  </a:lnTo>
                  <a:lnTo>
                    <a:pt x="252" y="564"/>
                  </a:lnTo>
                  <a:lnTo>
                    <a:pt x="258" y="570"/>
                  </a:lnTo>
                  <a:lnTo>
                    <a:pt x="264" y="570"/>
                  </a:lnTo>
                  <a:lnTo>
                    <a:pt x="270" y="564"/>
                  </a:lnTo>
                  <a:lnTo>
                    <a:pt x="276" y="558"/>
                  </a:lnTo>
                  <a:lnTo>
                    <a:pt x="276" y="552"/>
                  </a:lnTo>
                  <a:lnTo>
                    <a:pt x="276" y="546"/>
                  </a:lnTo>
                  <a:lnTo>
                    <a:pt x="276" y="540"/>
                  </a:lnTo>
                  <a:lnTo>
                    <a:pt x="276" y="534"/>
                  </a:lnTo>
                  <a:lnTo>
                    <a:pt x="276" y="528"/>
                  </a:lnTo>
                  <a:lnTo>
                    <a:pt x="282" y="528"/>
                  </a:lnTo>
                  <a:lnTo>
                    <a:pt x="282" y="522"/>
                  </a:lnTo>
                  <a:lnTo>
                    <a:pt x="282" y="516"/>
                  </a:lnTo>
                  <a:lnTo>
                    <a:pt x="282" y="510"/>
                  </a:lnTo>
                  <a:lnTo>
                    <a:pt x="282" y="504"/>
                  </a:lnTo>
                  <a:lnTo>
                    <a:pt x="282" y="492"/>
                  </a:lnTo>
                  <a:lnTo>
                    <a:pt x="288" y="486"/>
                  </a:lnTo>
                  <a:lnTo>
                    <a:pt x="300" y="480"/>
                  </a:lnTo>
                  <a:lnTo>
                    <a:pt x="306" y="462"/>
                  </a:lnTo>
                  <a:lnTo>
                    <a:pt x="318" y="444"/>
                  </a:lnTo>
                  <a:lnTo>
                    <a:pt x="330" y="444"/>
                  </a:lnTo>
                  <a:lnTo>
                    <a:pt x="330" y="432"/>
                  </a:lnTo>
                  <a:lnTo>
                    <a:pt x="342" y="432"/>
                  </a:lnTo>
                  <a:lnTo>
                    <a:pt x="354" y="402"/>
                  </a:lnTo>
                  <a:lnTo>
                    <a:pt x="348" y="390"/>
                  </a:lnTo>
                  <a:lnTo>
                    <a:pt x="336" y="384"/>
                  </a:lnTo>
                  <a:lnTo>
                    <a:pt x="336" y="360"/>
                  </a:lnTo>
                  <a:lnTo>
                    <a:pt x="336" y="354"/>
                  </a:lnTo>
                  <a:lnTo>
                    <a:pt x="336" y="342"/>
                  </a:lnTo>
                  <a:lnTo>
                    <a:pt x="342" y="336"/>
                  </a:lnTo>
                  <a:lnTo>
                    <a:pt x="342" y="324"/>
                  </a:lnTo>
                  <a:lnTo>
                    <a:pt x="372" y="324"/>
                  </a:lnTo>
                  <a:lnTo>
                    <a:pt x="378" y="324"/>
                  </a:lnTo>
                  <a:lnTo>
                    <a:pt x="378" y="318"/>
                  </a:lnTo>
                  <a:lnTo>
                    <a:pt x="372" y="312"/>
                  </a:lnTo>
                  <a:lnTo>
                    <a:pt x="378" y="312"/>
                  </a:lnTo>
                  <a:lnTo>
                    <a:pt x="384" y="312"/>
                  </a:lnTo>
                  <a:lnTo>
                    <a:pt x="384" y="306"/>
                  </a:lnTo>
                  <a:lnTo>
                    <a:pt x="384" y="300"/>
                  </a:lnTo>
                  <a:lnTo>
                    <a:pt x="384" y="294"/>
                  </a:lnTo>
                  <a:lnTo>
                    <a:pt x="378" y="294"/>
                  </a:lnTo>
                  <a:lnTo>
                    <a:pt x="372" y="294"/>
                  </a:lnTo>
                  <a:lnTo>
                    <a:pt x="366" y="294"/>
                  </a:lnTo>
                  <a:lnTo>
                    <a:pt x="366" y="288"/>
                  </a:lnTo>
                  <a:lnTo>
                    <a:pt x="372" y="288"/>
                  </a:lnTo>
                  <a:lnTo>
                    <a:pt x="372" y="282"/>
                  </a:lnTo>
                  <a:lnTo>
                    <a:pt x="366" y="276"/>
                  </a:lnTo>
                  <a:lnTo>
                    <a:pt x="360" y="270"/>
                  </a:lnTo>
                  <a:lnTo>
                    <a:pt x="360" y="264"/>
                  </a:lnTo>
                  <a:lnTo>
                    <a:pt x="354" y="264"/>
                  </a:lnTo>
                  <a:lnTo>
                    <a:pt x="348" y="258"/>
                  </a:lnTo>
                  <a:lnTo>
                    <a:pt x="354" y="258"/>
                  </a:lnTo>
                  <a:lnTo>
                    <a:pt x="354" y="252"/>
                  </a:lnTo>
                  <a:lnTo>
                    <a:pt x="360" y="246"/>
                  </a:lnTo>
                  <a:lnTo>
                    <a:pt x="360" y="240"/>
                  </a:lnTo>
                  <a:lnTo>
                    <a:pt x="354" y="240"/>
                  </a:lnTo>
                  <a:lnTo>
                    <a:pt x="342" y="234"/>
                  </a:lnTo>
                  <a:lnTo>
                    <a:pt x="342" y="228"/>
                  </a:lnTo>
                  <a:lnTo>
                    <a:pt x="348" y="228"/>
                  </a:lnTo>
                  <a:lnTo>
                    <a:pt x="342" y="228"/>
                  </a:lnTo>
                  <a:lnTo>
                    <a:pt x="342" y="222"/>
                  </a:lnTo>
                  <a:lnTo>
                    <a:pt x="342" y="216"/>
                  </a:lnTo>
                  <a:lnTo>
                    <a:pt x="336" y="216"/>
                  </a:lnTo>
                  <a:lnTo>
                    <a:pt x="330" y="222"/>
                  </a:lnTo>
                  <a:lnTo>
                    <a:pt x="330" y="216"/>
                  </a:lnTo>
                  <a:lnTo>
                    <a:pt x="330" y="210"/>
                  </a:lnTo>
                  <a:lnTo>
                    <a:pt x="324" y="210"/>
                  </a:lnTo>
                  <a:lnTo>
                    <a:pt x="318" y="210"/>
                  </a:lnTo>
                  <a:lnTo>
                    <a:pt x="318" y="204"/>
                  </a:lnTo>
                  <a:lnTo>
                    <a:pt x="312" y="204"/>
                  </a:lnTo>
                  <a:lnTo>
                    <a:pt x="306" y="198"/>
                  </a:lnTo>
                  <a:lnTo>
                    <a:pt x="306" y="192"/>
                  </a:lnTo>
                  <a:lnTo>
                    <a:pt x="300" y="192"/>
                  </a:lnTo>
                  <a:lnTo>
                    <a:pt x="300" y="198"/>
                  </a:lnTo>
                  <a:lnTo>
                    <a:pt x="294" y="192"/>
                  </a:lnTo>
                  <a:lnTo>
                    <a:pt x="300" y="186"/>
                  </a:lnTo>
                  <a:lnTo>
                    <a:pt x="294" y="186"/>
                  </a:lnTo>
                  <a:lnTo>
                    <a:pt x="294" y="180"/>
                  </a:lnTo>
                  <a:lnTo>
                    <a:pt x="294" y="174"/>
                  </a:lnTo>
                  <a:lnTo>
                    <a:pt x="300" y="174"/>
                  </a:lnTo>
                  <a:lnTo>
                    <a:pt x="300" y="168"/>
                  </a:lnTo>
                  <a:lnTo>
                    <a:pt x="300" y="162"/>
                  </a:lnTo>
                  <a:lnTo>
                    <a:pt x="294" y="162"/>
                  </a:lnTo>
                  <a:lnTo>
                    <a:pt x="288" y="162"/>
                  </a:lnTo>
                  <a:lnTo>
                    <a:pt x="288" y="156"/>
                  </a:lnTo>
                  <a:lnTo>
                    <a:pt x="288" y="150"/>
                  </a:lnTo>
                  <a:lnTo>
                    <a:pt x="288" y="144"/>
                  </a:lnTo>
                  <a:lnTo>
                    <a:pt x="282" y="144"/>
                  </a:lnTo>
                  <a:lnTo>
                    <a:pt x="282" y="138"/>
                  </a:lnTo>
                  <a:lnTo>
                    <a:pt x="312" y="132"/>
                  </a:lnTo>
                  <a:lnTo>
                    <a:pt x="324" y="120"/>
                  </a:lnTo>
                  <a:lnTo>
                    <a:pt x="330" y="114"/>
                  </a:lnTo>
                  <a:lnTo>
                    <a:pt x="336" y="102"/>
                  </a:lnTo>
                  <a:lnTo>
                    <a:pt x="348" y="90"/>
                  </a:lnTo>
                  <a:lnTo>
                    <a:pt x="360" y="84"/>
                  </a:lnTo>
                  <a:lnTo>
                    <a:pt x="372" y="84"/>
                  </a:lnTo>
                  <a:lnTo>
                    <a:pt x="378" y="84"/>
                  </a:lnTo>
                  <a:lnTo>
                    <a:pt x="384" y="90"/>
                  </a:lnTo>
                  <a:lnTo>
                    <a:pt x="402" y="90"/>
                  </a:lnTo>
                  <a:lnTo>
                    <a:pt x="438" y="84"/>
                  </a:lnTo>
                  <a:lnTo>
                    <a:pt x="456" y="84"/>
                  </a:lnTo>
                  <a:lnTo>
                    <a:pt x="462" y="78"/>
                  </a:lnTo>
                  <a:lnTo>
                    <a:pt x="486" y="72"/>
                  </a:lnTo>
                  <a:lnTo>
                    <a:pt x="492" y="66"/>
                  </a:lnTo>
                  <a:lnTo>
                    <a:pt x="498" y="60"/>
                  </a:lnTo>
                  <a:lnTo>
                    <a:pt x="504" y="60"/>
                  </a:lnTo>
                  <a:lnTo>
                    <a:pt x="504" y="54"/>
                  </a:lnTo>
                  <a:lnTo>
                    <a:pt x="510" y="42"/>
                  </a:lnTo>
                  <a:lnTo>
                    <a:pt x="504" y="42"/>
                  </a:lnTo>
                  <a:lnTo>
                    <a:pt x="504" y="36"/>
                  </a:lnTo>
                  <a:lnTo>
                    <a:pt x="504" y="30"/>
                  </a:lnTo>
                  <a:lnTo>
                    <a:pt x="498" y="30"/>
                  </a:lnTo>
                  <a:lnTo>
                    <a:pt x="492" y="30"/>
                  </a:lnTo>
                  <a:lnTo>
                    <a:pt x="492" y="24"/>
                  </a:lnTo>
                  <a:lnTo>
                    <a:pt x="486" y="18"/>
                  </a:lnTo>
                  <a:lnTo>
                    <a:pt x="498" y="18"/>
                  </a:lnTo>
                  <a:lnTo>
                    <a:pt x="510" y="18"/>
                  </a:lnTo>
                  <a:lnTo>
                    <a:pt x="522" y="12"/>
                  </a:lnTo>
                  <a:lnTo>
                    <a:pt x="528" y="6"/>
                  </a:lnTo>
                  <a:lnTo>
                    <a:pt x="570" y="0"/>
                  </a:lnTo>
                  <a:lnTo>
                    <a:pt x="606" y="6"/>
                  </a:lnTo>
                  <a:lnTo>
                    <a:pt x="654" y="24"/>
                  </a:lnTo>
                  <a:lnTo>
                    <a:pt x="666" y="36"/>
                  </a:lnTo>
                  <a:lnTo>
                    <a:pt x="672" y="30"/>
                  </a:lnTo>
                  <a:lnTo>
                    <a:pt x="690" y="42"/>
                  </a:lnTo>
                  <a:lnTo>
                    <a:pt x="702" y="48"/>
                  </a:lnTo>
                  <a:lnTo>
                    <a:pt x="714" y="60"/>
                  </a:lnTo>
                  <a:lnTo>
                    <a:pt x="714" y="66"/>
                  </a:lnTo>
                  <a:lnTo>
                    <a:pt x="720" y="72"/>
                  </a:lnTo>
                  <a:lnTo>
                    <a:pt x="720" y="78"/>
                  </a:lnTo>
                  <a:lnTo>
                    <a:pt x="720" y="102"/>
                  </a:lnTo>
                  <a:lnTo>
                    <a:pt x="720" y="108"/>
                  </a:lnTo>
                  <a:lnTo>
                    <a:pt x="714" y="108"/>
                  </a:lnTo>
                  <a:lnTo>
                    <a:pt x="714" y="126"/>
                  </a:lnTo>
                  <a:lnTo>
                    <a:pt x="732" y="126"/>
                  </a:lnTo>
                  <a:lnTo>
                    <a:pt x="726" y="132"/>
                  </a:lnTo>
                  <a:lnTo>
                    <a:pt x="738" y="132"/>
                  </a:lnTo>
                  <a:lnTo>
                    <a:pt x="738" y="138"/>
                  </a:lnTo>
                  <a:lnTo>
                    <a:pt x="738" y="144"/>
                  </a:lnTo>
                  <a:lnTo>
                    <a:pt x="744" y="144"/>
                  </a:lnTo>
                  <a:lnTo>
                    <a:pt x="744" y="150"/>
                  </a:lnTo>
                  <a:lnTo>
                    <a:pt x="756" y="156"/>
                  </a:lnTo>
                  <a:lnTo>
                    <a:pt x="768" y="156"/>
                  </a:lnTo>
                  <a:lnTo>
                    <a:pt x="780" y="156"/>
                  </a:lnTo>
                  <a:lnTo>
                    <a:pt x="792" y="150"/>
                  </a:lnTo>
                  <a:lnTo>
                    <a:pt x="786" y="150"/>
                  </a:lnTo>
                  <a:lnTo>
                    <a:pt x="786" y="144"/>
                  </a:lnTo>
                  <a:lnTo>
                    <a:pt x="804" y="144"/>
                  </a:lnTo>
                  <a:lnTo>
                    <a:pt x="816" y="132"/>
                  </a:lnTo>
                  <a:lnTo>
                    <a:pt x="822" y="126"/>
                  </a:lnTo>
                  <a:lnTo>
                    <a:pt x="828" y="132"/>
                  </a:lnTo>
                  <a:lnTo>
                    <a:pt x="834" y="126"/>
                  </a:lnTo>
                  <a:lnTo>
                    <a:pt x="834" y="120"/>
                  </a:lnTo>
                  <a:lnTo>
                    <a:pt x="924" y="108"/>
                  </a:lnTo>
                  <a:lnTo>
                    <a:pt x="942" y="144"/>
                  </a:lnTo>
                  <a:lnTo>
                    <a:pt x="948" y="144"/>
                  </a:lnTo>
                  <a:lnTo>
                    <a:pt x="960" y="168"/>
                  </a:lnTo>
                  <a:lnTo>
                    <a:pt x="972" y="186"/>
                  </a:lnTo>
                  <a:lnTo>
                    <a:pt x="984" y="192"/>
                  </a:lnTo>
                  <a:lnTo>
                    <a:pt x="996" y="192"/>
                  </a:lnTo>
                  <a:lnTo>
                    <a:pt x="996" y="198"/>
                  </a:lnTo>
                  <a:lnTo>
                    <a:pt x="1008" y="204"/>
                  </a:lnTo>
                  <a:lnTo>
                    <a:pt x="1008" y="210"/>
                  </a:lnTo>
                  <a:lnTo>
                    <a:pt x="1002" y="210"/>
                  </a:lnTo>
                  <a:lnTo>
                    <a:pt x="1008" y="216"/>
                  </a:lnTo>
                  <a:lnTo>
                    <a:pt x="1014" y="210"/>
                  </a:lnTo>
                  <a:lnTo>
                    <a:pt x="1014" y="216"/>
                  </a:lnTo>
                  <a:lnTo>
                    <a:pt x="1020" y="222"/>
                  </a:lnTo>
                  <a:lnTo>
                    <a:pt x="1014" y="228"/>
                  </a:lnTo>
                  <a:lnTo>
                    <a:pt x="1032" y="234"/>
                  </a:lnTo>
                  <a:lnTo>
                    <a:pt x="1044" y="240"/>
                  </a:lnTo>
                  <a:lnTo>
                    <a:pt x="1038" y="246"/>
                  </a:lnTo>
                  <a:lnTo>
                    <a:pt x="1038" y="252"/>
                  </a:lnTo>
                  <a:lnTo>
                    <a:pt x="1038" y="258"/>
                  </a:lnTo>
                  <a:lnTo>
                    <a:pt x="1032" y="264"/>
                  </a:lnTo>
                  <a:lnTo>
                    <a:pt x="1032" y="270"/>
                  </a:lnTo>
                  <a:lnTo>
                    <a:pt x="1032" y="276"/>
                  </a:lnTo>
                  <a:lnTo>
                    <a:pt x="1032" y="282"/>
                  </a:lnTo>
                  <a:lnTo>
                    <a:pt x="1026" y="282"/>
                  </a:lnTo>
                  <a:lnTo>
                    <a:pt x="1026" y="288"/>
                  </a:lnTo>
                  <a:lnTo>
                    <a:pt x="1026" y="294"/>
                  </a:lnTo>
                  <a:lnTo>
                    <a:pt x="1026" y="300"/>
                  </a:lnTo>
                  <a:lnTo>
                    <a:pt x="1026" y="306"/>
                  </a:lnTo>
                  <a:lnTo>
                    <a:pt x="1020" y="318"/>
                  </a:lnTo>
                  <a:lnTo>
                    <a:pt x="1020" y="324"/>
                  </a:lnTo>
                  <a:lnTo>
                    <a:pt x="1014" y="324"/>
                  </a:lnTo>
                  <a:lnTo>
                    <a:pt x="1014" y="330"/>
                  </a:lnTo>
                  <a:lnTo>
                    <a:pt x="1014" y="336"/>
                  </a:lnTo>
                  <a:lnTo>
                    <a:pt x="1008" y="366"/>
                  </a:lnTo>
                  <a:lnTo>
                    <a:pt x="1002" y="366"/>
                  </a:lnTo>
                  <a:lnTo>
                    <a:pt x="984" y="354"/>
                  </a:lnTo>
                  <a:lnTo>
                    <a:pt x="978" y="354"/>
                  </a:lnTo>
                  <a:lnTo>
                    <a:pt x="972" y="354"/>
                  </a:lnTo>
                  <a:lnTo>
                    <a:pt x="966" y="348"/>
                  </a:lnTo>
                  <a:lnTo>
                    <a:pt x="954" y="348"/>
                  </a:lnTo>
                  <a:lnTo>
                    <a:pt x="948" y="348"/>
                  </a:lnTo>
                  <a:lnTo>
                    <a:pt x="948" y="360"/>
                  </a:lnTo>
                  <a:lnTo>
                    <a:pt x="948" y="366"/>
                  </a:lnTo>
                  <a:lnTo>
                    <a:pt x="948" y="372"/>
                  </a:lnTo>
                  <a:lnTo>
                    <a:pt x="948" y="378"/>
                  </a:lnTo>
                  <a:lnTo>
                    <a:pt x="948" y="384"/>
                  </a:lnTo>
                  <a:lnTo>
                    <a:pt x="942" y="384"/>
                  </a:lnTo>
                  <a:lnTo>
                    <a:pt x="942" y="390"/>
                  </a:lnTo>
                  <a:lnTo>
                    <a:pt x="936" y="390"/>
                  </a:lnTo>
                  <a:lnTo>
                    <a:pt x="942" y="390"/>
                  </a:lnTo>
                  <a:lnTo>
                    <a:pt x="936" y="396"/>
                  </a:lnTo>
                  <a:lnTo>
                    <a:pt x="930" y="402"/>
                  </a:lnTo>
                  <a:lnTo>
                    <a:pt x="918" y="420"/>
                  </a:lnTo>
                  <a:lnTo>
                    <a:pt x="918" y="426"/>
                  </a:lnTo>
                  <a:lnTo>
                    <a:pt x="912" y="432"/>
                  </a:lnTo>
                  <a:lnTo>
                    <a:pt x="900" y="450"/>
                  </a:lnTo>
                  <a:lnTo>
                    <a:pt x="894" y="456"/>
                  </a:lnTo>
                  <a:lnTo>
                    <a:pt x="888" y="456"/>
                  </a:lnTo>
                  <a:lnTo>
                    <a:pt x="882" y="456"/>
                  </a:lnTo>
                  <a:lnTo>
                    <a:pt x="876" y="456"/>
                  </a:lnTo>
                  <a:lnTo>
                    <a:pt x="864" y="462"/>
                  </a:lnTo>
                  <a:lnTo>
                    <a:pt x="852" y="474"/>
                  </a:lnTo>
                  <a:lnTo>
                    <a:pt x="846" y="480"/>
                  </a:lnTo>
                  <a:lnTo>
                    <a:pt x="840" y="486"/>
                  </a:lnTo>
                  <a:lnTo>
                    <a:pt x="834" y="498"/>
                  </a:lnTo>
                  <a:lnTo>
                    <a:pt x="828" y="510"/>
                  </a:lnTo>
                  <a:lnTo>
                    <a:pt x="816" y="522"/>
                  </a:lnTo>
                  <a:lnTo>
                    <a:pt x="798" y="540"/>
                  </a:lnTo>
                  <a:lnTo>
                    <a:pt x="780" y="558"/>
                  </a:lnTo>
                  <a:lnTo>
                    <a:pt x="774" y="558"/>
                  </a:lnTo>
                  <a:lnTo>
                    <a:pt x="756" y="576"/>
                  </a:lnTo>
                  <a:lnTo>
                    <a:pt x="732" y="600"/>
                  </a:lnTo>
                  <a:lnTo>
                    <a:pt x="726" y="600"/>
                  </a:lnTo>
                  <a:lnTo>
                    <a:pt x="720" y="606"/>
                  </a:lnTo>
                  <a:lnTo>
                    <a:pt x="714" y="612"/>
                  </a:lnTo>
                  <a:lnTo>
                    <a:pt x="690" y="630"/>
                  </a:lnTo>
                  <a:lnTo>
                    <a:pt x="678" y="636"/>
                  </a:lnTo>
                  <a:lnTo>
                    <a:pt x="672" y="642"/>
                  </a:lnTo>
                  <a:lnTo>
                    <a:pt x="660" y="660"/>
                  </a:lnTo>
                  <a:lnTo>
                    <a:pt x="642" y="666"/>
                  </a:lnTo>
                  <a:lnTo>
                    <a:pt x="636" y="678"/>
                  </a:lnTo>
                  <a:lnTo>
                    <a:pt x="630" y="678"/>
                  </a:lnTo>
                  <a:lnTo>
                    <a:pt x="630" y="684"/>
                  </a:lnTo>
                  <a:lnTo>
                    <a:pt x="630" y="690"/>
                  </a:lnTo>
                  <a:lnTo>
                    <a:pt x="636" y="696"/>
                  </a:lnTo>
                  <a:lnTo>
                    <a:pt x="642" y="696"/>
                  </a:lnTo>
                  <a:lnTo>
                    <a:pt x="648" y="702"/>
                  </a:lnTo>
                  <a:lnTo>
                    <a:pt x="648" y="708"/>
                  </a:lnTo>
                  <a:lnTo>
                    <a:pt x="642" y="708"/>
                  </a:lnTo>
                  <a:lnTo>
                    <a:pt x="636" y="714"/>
                  </a:lnTo>
                  <a:lnTo>
                    <a:pt x="636" y="720"/>
                  </a:lnTo>
                  <a:lnTo>
                    <a:pt x="642" y="726"/>
                  </a:lnTo>
                  <a:lnTo>
                    <a:pt x="636" y="738"/>
                  </a:lnTo>
                  <a:lnTo>
                    <a:pt x="618" y="756"/>
                  </a:lnTo>
                  <a:lnTo>
                    <a:pt x="612" y="750"/>
                  </a:lnTo>
                  <a:lnTo>
                    <a:pt x="612" y="756"/>
                  </a:lnTo>
                  <a:lnTo>
                    <a:pt x="618" y="762"/>
                  </a:lnTo>
                  <a:lnTo>
                    <a:pt x="618" y="768"/>
                  </a:lnTo>
                  <a:lnTo>
                    <a:pt x="624" y="774"/>
                  </a:lnTo>
                  <a:lnTo>
                    <a:pt x="624" y="780"/>
                  </a:lnTo>
                  <a:lnTo>
                    <a:pt x="636" y="786"/>
                  </a:lnTo>
                  <a:lnTo>
                    <a:pt x="642" y="792"/>
                  </a:lnTo>
                  <a:lnTo>
                    <a:pt x="642" y="798"/>
                  </a:lnTo>
                  <a:lnTo>
                    <a:pt x="648" y="804"/>
                  </a:lnTo>
                  <a:lnTo>
                    <a:pt x="654" y="810"/>
                  </a:lnTo>
                  <a:lnTo>
                    <a:pt x="660" y="816"/>
                  </a:lnTo>
                  <a:lnTo>
                    <a:pt x="666" y="816"/>
                  </a:lnTo>
                  <a:lnTo>
                    <a:pt x="666" y="822"/>
                  </a:lnTo>
                  <a:lnTo>
                    <a:pt x="672" y="828"/>
                  </a:lnTo>
                  <a:lnTo>
                    <a:pt x="672" y="840"/>
                  </a:lnTo>
                  <a:lnTo>
                    <a:pt x="672" y="846"/>
                  </a:lnTo>
                  <a:lnTo>
                    <a:pt x="666" y="852"/>
                  </a:lnTo>
                  <a:lnTo>
                    <a:pt x="660" y="864"/>
                  </a:lnTo>
                  <a:lnTo>
                    <a:pt x="654" y="876"/>
                  </a:lnTo>
                  <a:lnTo>
                    <a:pt x="648" y="882"/>
                  </a:lnTo>
                  <a:lnTo>
                    <a:pt x="642" y="888"/>
                  </a:lnTo>
                  <a:lnTo>
                    <a:pt x="642" y="894"/>
                  </a:lnTo>
                  <a:lnTo>
                    <a:pt x="642" y="906"/>
                  </a:lnTo>
                  <a:lnTo>
                    <a:pt x="630" y="918"/>
                  </a:lnTo>
                  <a:lnTo>
                    <a:pt x="630" y="924"/>
                  </a:lnTo>
                  <a:lnTo>
                    <a:pt x="624" y="930"/>
                  </a:lnTo>
                  <a:lnTo>
                    <a:pt x="630" y="936"/>
                  </a:lnTo>
                  <a:lnTo>
                    <a:pt x="630" y="942"/>
                  </a:lnTo>
                  <a:lnTo>
                    <a:pt x="630" y="948"/>
                  </a:lnTo>
                  <a:lnTo>
                    <a:pt x="630" y="954"/>
                  </a:lnTo>
                  <a:lnTo>
                    <a:pt x="630" y="960"/>
                  </a:lnTo>
                  <a:lnTo>
                    <a:pt x="624" y="966"/>
                  </a:lnTo>
                  <a:lnTo>
                    <a:pt x="618" y="990"/>
                  </a:lnTo>
                  <a:lnTo>
                    <a:pt x="618" y="1008"/>
                  </a:lnTo>
                  <a:lnTo>
                    <a:pt x="612" y="1026"/>
                  </a:lnTo>
                  <a:lnTo>
                    <a:pt x="612" y="1038"/>
                  </a:lnTo>
                  <a:lnTo>
                    <a:pt x="612" y="1050"/>
                  </a:lnTo>
                  <a:lnTo>
                    <a:pt x="612" y="1056"/>
                  </a:lnTo>
                  <a:lnTo>
                    <a:pt x="612" y="1062"/>
                  </a:lnTo>
                  <a:lnTo>
                    <a:pt x="612" y="1068"/>
                  </a:lnTo>
                  <a:lnTo>
                    <a:pt x="612" y="1086"/>
                  </a:lnTo>
                  <a:lnTo>
                    <a:pt x="612" y="1092"/>
                  </a:lnTo>
                  <a:lnTo>
                    <a:pt x="606" y="1098"/>
                  </a:lnTo>
                  <a:lnTo>
                    <a:pt x="600" y="1110"/>
                  </a:lnTo>
                  <a:lnTo>
                    <a:pt x="600" y="1116"/>
                  </a:lnTo>
                  <a:lnTo>
                    <a:pt x="594" y="1122"/>
                  </a:lnTo>
                  <a:lnTo>
                    <a:pt x="594" y="1128"/>
                  </a:lnTo>
                  <a:lnTo>
                    <a:pt x="588" y="1134"/>
                  </a:lnTo>
                  <a:lnTo>
                    <a:pt x="582" y="1140"/>
                  </a:lnTo>
                  <a:lnTo>
                    <a:pt x="570" y="1140"/>
                  </a:lnTo>
                  <a:lnTo>
                    <a:pt x="564" y="1146"/>
                  </a:lnTo>
                  <a:lnTo>
                    <a:pt x="570" y="1146"/>
                  </a:lnTo>
                  <a:lnTo>
                    <a:pt x="564" y="1152"/>
                  </a:lnTo>
                  <a:lnTo>
                    <a:pt x="558" y="1158"/>
                  </a:lnTo>
                  <a:lnTo>
                    <a:pt x="552" y="1164"/>
                  </a:lnTo>
                  <a:lnTo>
                    <a:pt x="552" y="1170"/>
                  </a:lnTo>
                  <a:lnTo>
                    <a:pt x="546" y="1176"/>
                  </a:lnTo>
                  <a:lnTo>
                    <a:pt x="546" y="1182"/>
                  </a:lnTo>
                  <a:lnTo>
                    <a:pt x="546" y="1188"/>
                  </a:lnTo>
                  <a:lnTo>
                    <a:pt x="540" y="1188"/>
                  </a:lnTo>
                  <a:lnTo>
                    <a:pt x="540" y="1194"/>
                  </a:lnTo>
                  <a:lnTo>
                    <a:pt x="528" y="1206"/>
                  </a:lnTo>
                  <a:lnTo>
                    <a:pt x="528" y="1212"/>
                  </a:lnTo>
                  <a:lnTo>
                    <a:pt x="534" y="1212"/>
                  </a:lnTo>
                  <a:lnTo>
                    <a:pt x="540" y="1218"/>
                  </a:lnTo>
                  <a:lnTo>
                    <a:pt x="534" y="1218"/>
                  </a:lnTo>
                  <a:lnTo>
                    <a:pt x="528" y="1218"/>
                  </a:lnTo>
                  <a:lnTo>
                    <a:pt x="528" y="1224"/>
                  </a:lnTo>
                  <a:lnTo>
                    <a:pt x="522" y="1230"/>
                  </a:lnTo>
                  <a:lnTo>
                    <a:pt x="516" y="1236"/>
                  </a:lnTo>
                  <a:lnTo>
                    <a:pt x="522" y="1236"/>
                  </a:lnTo>
                  <a:lnTo>
                    <a:pt x="516" y="1242"/>
                  </a:lnTo>
                  <a:lnTo>
                    <a:pt x="510" y="1242"/>
                  </a:lnTo>
                  <a:lnTo>
                    <a:pt x="504" y="1248"/>
                  </a:lnTo>
                  <a:lnTo>
                    <a:pt x="510" y="1260"/>
                  </a:lnTo>
                  <a:lnTo>
                    <a:pt x="504" y="1266"/>
                  </a:lnTo>
                  <a:lnTo>
                    <a:pt x="492" y="1266"/>
                  </a:lnTo>
                  <a:lnTo>
                    <a:pt x="486" y="1272"/>
                  </a:lnTo>
                  <a:lnTo>
                    <a:pt x="486" y="1278"/>
                  </a:lnTo>
                  <a:lnTo>
                    <a:pt x="480" y="1278"/>
                  </a:lnTo>
                  <a:lnTo>
                    <a:pt x="480" y="1284"/>
                  </a:lnTo>
                  <a:lnTo>
                    <a:pt x="480" y="1290"/>
                  </a:lnTo>
                  <a:lnTo>
                    <a:pt x="480" y="1296"/>
                  </a:lnTo>
                  <a:lnTo>
                    <a:pt x="492" y="1302"/>
                  </a:lnTo>
                  <a:lnTo>
                    <a:pt x="492" y="1308"/>
                  </a:lnTo>
                  <a:lnTo>
                    <a:pt x="492" y="1320"/>
                  </a:lnTo>
                  <a:lnTo>
                    <a:pt x="492" y="1332"/>
                  </a:lnTo>
                  <a:lnTo>
                    <a:pt x="498" y="1344"/>
                  </a:lnTo>
                  <a:lnTo>
                    <a:pt x="498" y="1350"/>
                  </a:lnTo>
                  <a:lnTo>
                    <a:pt x="498" y="1356"/>
                  </a:lnTo>
                  <a:lnTo>
                    <a:pt x="504" y="1362"/>
                  </a:lnTo>
                  <a:lnTo>
                    <a:pt x="498" y="1362"/>
                  </a:lnTo>
                  <a:lnTo>
                    <a:pt x="498" y="1368"/>
                  </a:lnTo>
                  <a:lnTo>
                    <a:pt x="492" y="1368"/>
                  </a:lnTo>
                  <a:lnTo>
                    <a:pt x="492" y="1374"/>
                  </a:lnTo>
                  <a:lnTo>
                    <a:pt x="492" y="1380"/>
                  </a:lnTo>
                  <a:lnTo>
                    <a:pt x="498" y="1380"/>
                  </a:lnTo>
                  <a:lnTo>
                    <a:pt x="504" y="1380"/>
                  </a:lnTo>
                  <a:lnTo>
                    <a:pt x="498" y="1386"/>
                  </a:lnTo>
                  <a:lnTo>
                    <a:pt x="498" y="1392"/>
                  </a:lnTo>
                  <a:lnTo>
                    <a:pt x="498" y="1398"/>
                  </a:lnTo>
                  <a:lnTo>
                    <a:pt x="498" y="1404"/>
                  </a:lnTo>
                  <a:lnTo>
                    <a:pt x="498" y="1410"/>
                  </a:lnTo>
                  <a:lnTo>
                    <a:pt x="498" y="1416"/>
                  </a:lnTo>
                  <a:lnTo>
                    <a:pt x="492" y="1416"/>
                  </a:lnTo>
                  <a:lnTo>
                    <a:pt x="498" y="1416"/>
                  </a:lnTo>
                  <a:lnTo>
                    <a:pt x="504" y="1416"/>
                  </a:lnTo>
                  <a:lnTo>
                    <a:pt x="504" y="1422"/>
                  </a:lnTo>
                  <a:lnTo>
                    <a:pt x="510" y="1428"/>
                  </a:lnTo>
                  <a:lnTo>
                    <a:pt x="510" y="1434"/>
                  </a:lnTo>
                  <a:lnTo>
                    <a:pt x="510" y="1440"/>
                  </a:lnTo>
                  <a:lnTo>
                    <a:pt x="516" y="1446"/>
                  </a:lnTo>
                  <a:lnTo>
                    <a:pt x="516" y="1452"/>
                  </a:lnTo>
                  <a:lnTo>
                    <a:pt x="516" y="1458"/>
                  </a:lnTo>
                  <a:lnTo>
                    <a:pt x="516" y="1464"/>
                  </a:lnTo>
                  <a:lnTo>
                    <a:pt x="516" y="1482"/>
                  </a:lnTo>
                  <a:lnTo>
                    <a:pt x="516" y="1488"/>
                  </a:lnTo>
                  <a:lnTo>
                    <a:pt x="522" y="1488"/>
                  </a:lnTo>
                  <a:lnTo>
                    <a:pt x="522" y="1494"/>
                  </a:lnTo>
                  <a:lnTo>
                    <a:pt x="522" y="1500"/>
                  </a:lnTo>
                  <a:lnTo>
                    <a:pt x="516" y="1506"/>
                  </a:lnTo>
                  <a:lnTo>
                    <a:pt x="510" y="1500"/>
                  </a:lnTo>
                  <a:lnTo>
                    <a:pt x="504" y="1500"/>
                  </a:lnTo>
                  <a:lnTo>
                    <a:pt x="504" y="1494"/>
                  </a:lnTo>
                  <a:lnTo>
                    <a:pt x="504" y="1488"/>
                  </a:lnTo>
                  <a:lnTo>
                    <a:pt x="504" y="1482"/>
                  </a:lnTo>
                  <a:lnTo>
                    <a:pt x="504" y="1488"/>
                  </a:lnTo>
                  <a:lnTo>
                    <a:pt x="504" y="1494"/>
                  </a:lnTo>
                  <a:lnTo>
                    <a:pt x="504" y="1500"/>
                  </a:lnTo>
                  <a:lnTo>
                    <a:pt x="498" y="1500"/>
                  </a:lnTo>
                  <a:lnTo>
                    <a:pt x="492" y="1500"/>
                  </a:lnTo>
                  <a:lnTo>
                    <a:pt x="492" y="1494"/>
                  </a:lnTo>
                  <a:lnTo>
                    <a:pt x="492" y="1488"/>
                  </a:lnTo>
                  <a:lnTo>
                    <a:pt x="492" y="1494"/>
                  </a:lnTo>
                  <a:lnTo>
                    <a:pt x="492" y="1500"/>
                  </a:lnTo>
                  <a:lnTo>
                    <a:pt x="498" y="1500"/>
                  </a:lnTo>
                  <a:lnTo>
                    <a:pt x="498" y="1506"/>
                  </a:lnTo>
                  <a:lnTo>
                    <a:pt x="504" y="1500"/>
                  </a:lnTo>
                  <a:lnTo>
                    <a:pt x="510" y="1500"/>
                  </a:lnTo>
                  <a:lnTo>
                    <a:pt x="510" y="1506"/>
                  </a:lnTo>
                  <a:lnTo>
                    <a:pt x="516" y="1506"/>
                  </a:lnTo>
                  <a:lnTo>
                    <a:pt x="510" y="1506"/>
                  </a:lnTo>
                  <a:lnTo>
                    <a:pt x="510" y="1512"/>
                  </a:lnTo>
                  <a:lnTo>
                    <a:pt x="516" y="1506"/>
                  </a:lnTo>
                  <a:lnTo>
                    <a:pt x="522" y="1506"/>
                  </a:lnTo>
                  <a:lnTo>
                    <a:pt x="528" y="1506"/>
                  </a:lnTo>
                  <a:lnTo>
                    <a:pt x="528" y="1500"/>
                  </a:lnTo>
                  <a:lnTo>
                    <a:pt x="534" y="1500"/>
                  </a:lnTo>
                  <a:lnTo>
                    <a:pt x="534" y="1506"/>
                  </a:lnTo>
                  <a:lnTo>
                    <a:pt x="540" y="1512"/>
                  </a:lnTo>
                  <a:lnTo>
                    <a:pt x="540" y="1518"/>
                  </a:lnTo>
                  <a:lnTo>
                    <a:pt x="546" y="1518"/>
                  </a:lnTo>
                  <a:lnTo>
                    <a:pt x="540" y="1518"/>
                  </a:lnTo>
                  <a:lnTo>
                    <a:pt x="540" y="1524"/>
                  </a:lnTo>
                  <a:lnTo>
                    <a:pt x="534" y="1524"/>
                  </a:lnTo>
                  <a:lnTo>
                    <a:pt x="540" y="1524"/>
                  </a:lnTo>
                  <a:lnTo>
                    <a:pt x="546" y="1524"/>
                  </a:lnTo>
                  <a:lnTo>
                    <a:pt x="546" y="1530"/>
                  </a:lnTo>
                  <a:lnTo>
                    <a:pt x="540" y="1530"/>
                  </a:lnTo>
                  <a:lnTo>
                    <a:pt x="540" y="1536"/>
                  </a:lnTo>
                  <a:lnTo>
                    <a:pt x="534" y="1542"/>
                  </a:lnTo>
                  <a:lnTo>
                    <a:pt x="528" y="1542"/>
                  </a:lnTo>
                  <a:lnTo>
                    <a:pt x="522" y="1542"/>
                  </a:lnTo>
                  <a:lnTo>
                    <a:pt x="516" y="1542"/>
                  </a:lnTo>
                  <a:lnTo>
                    <a:pt x="510" y="1542"/>
                  </a:lnTo>
                  <a:lnTo>
                    <a:pt x="504" y="1542"/>
                  </a:lnTo>
                  <a:lnTo>
                    <a:pt x="492" y="1542"/>
                  </a:lnTo>
                  <a:lnTo>
                    <a:pt x="486" y="1536"/>
                  </a:lnTo>
                  <a:lnTo>
                    <a:pt x="480" y="1536"/>
                  </a:lnTo>
                  <a:lnTo>
                    <a:pt x="468" y="1536"/>
                  </a:lnTo>
                  <a:lnTo>
                    <a:pt x="468" y="1542"/>
                  </a:lnTo>
                  <a:lnTo>
                    <a:pt x="462" y="1542"/>
                  </a:lnTo>
                  <a:lnTo>
                    <a:pt x="456" y="1542"/>
                  </a:lnTo>
                  <a:lnTo>
                    <a:pt x="450" y="1542"/>
                  </a:lnTo>
                  <a:lnTo>
                    <a:pt x="444" y="1542"/>
                  </a:lnTo>
                  <a:lnTo>
                    <a:pt x="444" y="1536"/>
                  </a:lnTo>
                  <a:lnTo>
                    <a:pt x="450" y="1536"/>
                  </a:lnTo>
                  <a:lnTo>
                    <a:pt x="456" y="1536"/>
                  </a:lnTo>
                  <a:lnTo>
                    <a:pt x="450" y="1536"/>
                  </a:lnTo>
                  <a:lnTo>
                    <a:pt x="444" y="1536"/>
                  </a:lnTo>
                  <a:lnTo>
                    <a:pt x="444" y="1530"/>
                  </a:lnTo>
                  <a:lnTo>
                    <a:pt x="450" y="1530"/>
                  </a:lnTo>
                  <a:lnTo>
                    <a:pt x="456" y="1524"/>
                  </a:lnTo>
                  <a:lnTo>
                    <a:pt x="456" y="1518"/>
                  </a:lnTo>
                  <a:lnTo>
                    <a:pt x="462" y="1518"/>
                  </a:lnTo>
                  <a:lnTo>
                    <a:pt x="462" y="1524"/>
                  </a:lnTo>
                  <a:lnTo>
                    <a:pt x="468" y="1524"/>
                  </a:lnTo>
                  <a:lnTo>
                    <a:pt x="474" y="1524"/>
                  </a:lnTo>
                  <a:lnTo>
                    <a:pt x="474" y="1518"/>
                  </a:lnTo>
                  <a:lnTo>
                    <a:pt x="480" y="1518"/>
                  </a:lnTo>
                  <a:lnTo>
                    <a:pt x="474" y="1518"/>
                  </a:lnTo>
                  <a:lnTo>
                    <a:pt x="474" y="1524"/>
                  </a:lnTo>
                  <a:lnTo>
                    <a:pt x="468" y="1524"/>
                  </a:lnTo>
                  <a:lnTo>
                    <a:pt x="462" y="1518"/>
                  </a:lnTo>
                  <a:lnTo>
                    <a:pt x="456" y="1518"/>
                  </a:lnTo>
                  <a:lnTo>
                    <a:pt x="456" y="1512"/>
                  </a:lnTo>
                  <a:lnTo>
                    <a:pt x="462" y="1512"/>
                  </a:lnTo>
                  <a:lnTo>
                    <a:pt x="462" y="1506"/>
                  </a:lnTo>
                  <a:lnTo>
                    <a:pt x="456" y="1506"/>
                  </a:lnTo>
                  <a:lnTo>
                    <a:pt x="456" y="1512"/>
                  </a:lnTo>
                  <a:lnTo>
                    <a:pt x="456" y="1518"/>
                  </a:lnTo>
                  <a:lnTo>
                    <a:pt x="456" y="1512"/>
                  </a:lnTo>
                  <a:lnTo>
                    <a:pt x="450" y="1518"/>
                  </a:lnTo>
                  <a:lnTo>
                    <a:pt x="444" y="1518"/>
                  </a:lnTo>
                  <a:lnTo>
                    <a:pt x="444" y="1524"/>
                  </a:lnTo>
                  <a:lnTo>
                    <a:pt x="438" y="1524"/>
                  </a:lnTo>
                  <a:lnTo>
                    <a:pt x="438" y="1530"/>
                  </a:lnTo>
                  <a:lnTo>
                    <a:pt x="432" y="1530"/>
                  </a:lnTo>
                  <a:lnTo>
                    <a:pt x="432" y="1536"/>
                  </a:lnTo>
                  <a:lnTo>
                    <a:pt x="426" y="1530"/>
                  </a:lnTo>
                  <a:lnTo>
                    <a:pt x="420" y="1530"/>
                  </a:lnTo>
                  <a:lnTo>
                    <a:pt x="414" y="1530"/>
                  </a:lnTo>
                  <a:lnTo>
                    <a:pt x="414" y="1524"/>
                  </a:lnTo>
                  <a:lnTo>
                    <a:pt x="408" y="1518"/>
                  </a:lnTo>
                  <a:lnTo>
                    <a:pt x="414" y="1512"/>
                  </a:lnTo>
                  <a:lnTo>
                    <a:pt x="408" y="1512"/>
                  </a:lnTo>
                  <a:lnTo>
                    <a:pt x="408" y="1506"/>
                  </a:lnTo>
                  <a:lnTo>
                    <a:pt x="408" y="1500"/>
                  </a:lnTo>
                  <a:lnTo>
                    <a:pt x="408" y="1494"/>
                  </a:lnTo>
                  <a:lnTo>
                    <a:pt x="408" y="1488"/>
                  </a:lnTo>
                  <a:lnTo>
                    <a:pt x="408" y="1494"/>
                  </a:lnTo>
                  <a:lnTo>
                    <a:pt x="414" y="1494"/>
                  </a:lnTo>
                  <a:lnTo>
                    <a:pt x="420" y="1494"/>
                  </a:lnTo>
                  <a:lnTo>
                    <a:pt x="420" y="1488"/>
                  </a:lnTo>
                  <a:lnTo>
                    <a:pt x="426" y="1494"/>
                  </a:lnTo>
                  <a:lnTo>
                    <a:pt x="426" y="1488"/>
                  </a:lnTo>
                  <a:lnTo>
                    <a:pt x="426" y="1494"/>
                  </a:lnTo>
                  <a:lnTo>
                    <a:pt x="426" y="1488"/>
                  </a:lnTo>
                  <a:lnTo>
                    <a:pt x="426" y="1482"/>
                  </a:lnTo>
                  <a:lnTo>
                    <a:pt x="426" y="1476"/>
                  </a:lnTo>
                  <a:lnTo>
                    <a:pt x="432" y="1476"/>
                  </a:lnTo>
                  <a:lnTo>
                    <a:pt x="432" y="1470"/>
                  </a:lnTo>
                  <a:lnTo>
                    <a:pt x="438" y="1470"/>
                  </a:lnTo>
                  <a:lnTo>
                    <a:pt x="444" y="1464"/>
                  </a:lnTo>
                  <a:lnTo>
                    <a:pt x="450" y="1458"/>
                  </a:lnTo>
                  <a:lnTo>
                    <a:pt x="456" y="1458"/>
                  </a:lnTo>
                  <a:lnTo>
                    <a:pt x="462" y="1452"/>
                  </a:lnTo>
                  <a:lnTo>
                    <a:pt x="468" y="1452"/>
                  </a:lnTo>
                  <a:lnTo>
                    <a:pt x="468" y="1446"/>
                  </a:lnTo>
                  <a:lnTo>
                    <a:pt x="462" y="1440"/>
                  </a:lnTo>
                  <a:lnTo>
                    <a:pt x="456" y="1434"/>
                  </a:lnTo>
                  <a:lnTo>
                    <a:pt x="456" y="1428"/>
                  </a:lnTo>
                  <a:lnTo>
                    <a:pt x="456" y="1422"/>
                  </a:lnTo>
                  <a:lnTo>
                    <a:pt x="456" y="1416"/>
                  </a:lnTo>
                  <a:lnTo>
                    <a:pt x="450" y="1410"/>
                  </a:lnTo>
                  <a:lnTo>
                    <a:pt x="444" y="1410"/>
                  </a:lnTo>
                  <a:lnTo>
                    <a:pt x="450" y="1410"/>
                  </a:lnTo>
                  <a:lnTo>
                    <a:pt x="450" y="1404"/>
                  </a:lnTo>
                  <a:lnTo>
                    <a:pt x="456" y="1404"/>
                  </a:lnTo>
                  <a:lnTo>
                    <a:pt x="462" y="1404"/>
                  </a:lnTo>
                  <a:lnTo>
                    <a:pt x="468" y="1398"/>
                  </a:lnTo>
                  <a:lnTo>
                    <a:pt x="462" y="1398"/>
                  </a:lnTo>
                  <a:lnTo>
                    <a:pt x="462" y="1392"/>
                  </a:lnTo>
                  <a:lnTo>
                    <a:pt x="456" y="1392"/>
                  </a:lnTo>
                  <a:lnTo>
                    <a:pt x="456" y="1386"/>
                  </a:lnTo>
                  <a:lnTo>
                    <a:pt x="462" y="1386"/>
                  </a:lnTo>
                  <a:lnTo>
                    <a:pt x="468" y="1386"/>
                  </a:lnTo>
                  <a:lnTo>
                    <a:pt x="474" y="1386"/>
                  </a:lnTo>
                  <a:lnTo>
                    <a:pt x="468" y="1386"/>
                  </a:lnTo>
                  <a:lnTo>
                    <a:pt x="462" y="1386"/>
                  </a:lnTo>
                  <a:lnTo>
                    <a:pt x="456" y="1380"/>
                  </a:lnTo>
                  <a:lnTo>
                    <a:pt x="456" y="1374"/>
                  </a:lnTo>
                  <a:lnTo>
                    <a:pt x="462" y="1374"/>
                  </a:lnTo>
                  <a:lnTo>
                    <a:pt x="462" y="1368"/>
                  </a:lnTo>
                  <a:lnTo>
                    <a:pt x="456" y="1374"/>
                  </a:lnTo>
                  <a:lnTo>
                    <a:pt x="456" y="1368"/>
                  </a:lnTo>
                  <a:lnTo>
                    <a:pt x="456" y="1362"/>
                  </a:lnTo>
                  <a:lnTo>
                    <a:pt x="450" y="1362"/>
                  </a:lnTo>
                  <a:lnTo>
                    <a:pt x="450" y="1356"/>
                  </a:lnTo>
                  <a:lnTo>
                    <a:pt x="450" y="1350"/>
                  </a:lnTo>
                  <a:lnTo>
                    <a:pt x="450" y="1344"/>
                  </a:lnTo>
                  <a:lnTo>
                    <a:pt x="456" y="1344"/>
                  </a:lnTo>
                  <a:lnTo>
                    <a:pt x="456" y="1338"/>
                  </a:lnTo>
                  <a:lnTo>
                    <a:pt x="462" y="1338"/>
                  </a:lnTo>
                  <a:lnTo>
                    <a:pt x="462" y="1332"/>
                  </a:lnTo>
                  <a:lnTo>
                    <a:pt x="456" y="1332"/>
                  </a:lnTo>
                  <a:lnTo>
                    <a:pt x="456" y="1326"/>
                  </a:lnTo>
                  <a:lnTo>
                    <a:pt x="450" y="1326"/>
                  </a:lnTo>
                  <a:lnTo>
                    <a:pt x="444" y="1326"/>
                  </a:lnTo>
                  <a:lnTo>
                    <a:pt x="444" y="1332"/>
                  </a:lnTo>
                  <a:lnTo>
                    <a:pt x="438" y="1332"/>
                  </a:lnTo>
                  <a:lnTo>
                    <a:pt x="438" y="1338"/>
                  </a:lnTo>
                  <a:lnTo>
                    <a:pt x="432" y="1338"/>
                  </a:lnTo>
                  <a:lnTo>
                    <a:pt x="432" y="1344"/>
                  </a:lnTo>
                  <a:lnTo>
                    <a:pt x="432" y="1350"/>
                  </a:lnTo>
                  <a:lnTo>
                    <a:pt x="426" y="1356"/>
                  </a:lnTo>
                  <a:lnTo>
                    <a:pt x="426" y="1368"/>
                  </a:lnTo>
                  <a:lnTo>
                    <a:pt x="426" y="1374"/>
                  </a:lnTo>
                  <a:lnTo>
                    <a:pt x="426" y="1380"/>
                  </a:lnTo>
                  <a:lnTo>
                    <a:pt x="432" y="1386"/>
                  </a:lnTo>
                  <a:lnTo>
                    <a:pt x="432" y="1392"/>
                  </a:lnTo>
                  <a:lnTo>
                    <a:pt x="432" y="1398"/>
                  </a:lnTo>
                  <a:lnTo>
                    <a:pt x="426" y="1398"/>
                  </a:lnTo>
                  <a:lnTo>
                    <a:pt x="420" y="1398"/>
                  </a:lnTo>
                  <a:lnTo>
                    <a:pt x="414" y="1398"/>
                  </a:lnTo>
                  <a:lnTo>
                    <a:pt x="420" y="1398"/>
                  </a:lnTo>
                  <a:lnTo>
                    <a:pt x="414" y="1404"/>
                  </a:lnTo>
                  <a:lnTo>
                    <a:pt x="420" y="1404"/>
                  </a:lnTo>
                  <a:lnTo>
                    <a:pt x="414" y="1404"/>
                  </a:lnTo>
                  <a:lnTo>
                    <a:pt x="408" y="1404"/>
                  </a:lnTo>
                  <a:lnTo>
                    <a:pt x="402" y="1410"/>
                  </a:lnTo>
                  <a:lnTo>
                    <a:pt x="402" y="1404"/>
                  </a:lnTo>
                  <a:lnTo>
                    <a:pt x="396" y="1404"/>
                  </a:lnTo>
                  <a:lnTo>
                    <a:pt x="390" y="1404"/>
                  </a:lnTo>
                  <a:lnTo>
                    <a:pt x="384" y="1404"/>
                  </a:lnTo>
                  <a:lnTo>
                    <a:pt x="384" y="1398"/>
                  </a:lnTo>
                  <a:lnTo>
                    <a:pt x="384" y="1392"/>
                  </a:lnTo>
                  <a:lnTo>
                    <a:pt x="390" y="1392"/>
                  </a:lnTo>
                  <a:lnTo>
                    <a:pt x="390" y="1386"/>
                  </a:lnTo>
                  <a:lnTo>
                    <a:pt x="390" y="1380"/>
                  </a:lnTo>
                  <a:lnTo>
                    <a:pt x="396" y="1380"/>
                  </a:lnTo>
                  <a:lnTo>
                    <a:pt x="402" y="1380"/>
                  </a:lnTo>
                  <a:lnTo>
                    <a:pt x="408" y="1380"/>
                  </a:lnTo>
                  <a:lnTo>
                    <a:pt x="408" y="1374"/>
                  </a:lnTo>
                  <a:lnTo>
                    <a:pt x="414" y="1374"/>
                  </a:lnTo>
                  <a:lnTo>
                    <a:pt x="414" y="1368"/>
                  </a:lnTo>
                  <a:lnTo>
                    <a:pt x="414" y="1362"/>
                  </a:lnTo>
                  <a:lnTo>
                    <a:pt x="414" y="1368"/>
                  </a:lnTo>
                  <a:lnTo>
                    <a:pt x="414" y="1374"/>
                  </a:lnTo>
                  <a:lnTo>
                    <a:pt x="408" y="1374"/>
                  </a:lnTo>
                  <a:lnTo>
                    <a:pt x="402" y="1380"/>
                  </a:lnTo>
                  <a:lnTo>
                    <a:pt x="396" y="1380"/>
                  </a:lnTo>
                  <a:lnTo>
                    <a:pt x="396" y="1374"/>
                  </a:lnTo>
                  <a:lnTo>
                    <a:pt x="390" y="1374"/>
                  </a:lnTo>
                  <a:lnTo>
                    <a:pt x="390" y="1368"/>
                  </a:lnTo>
                  <a:lnTo>
                    <a:pt x="384" y="1368"/>
                  </a:lnTo>
                  <a:lnTo>
                    <a:pt x="384" y="1374"/>
                  </a:lnTo>
                  <a:lnTo>
                    <a:pt x="378" y="1374"/>
                  </a:lnTo>
                  <a:lnTo>
                    <a:pt x="378" y="1380"/>
                  </a:lnTo>
                  <a:lnTo>
                    <a:pt x="372" y="1380"/>
                  </a:lnTo>
                  <a:lnTo>
                    <a:pt x="366" y="1386"/>
                  </a:lnTo>
                  <a:lnTo>
                    <a:pt x="360" y="1386"/>
                  </a:lnTo>
                  <a:lnTo>
                    <a:pt x="354" y="1386"/>
                  </a:lnTo>
                  <a:lnTo>
                    <a:pt x="354" y="1380"/>
                  </a:lnTo>
                  <a:lnTo>
                    <a:pt x="348" y="1380"/>
                  </a:lnTo>
                  <a:lnTo>
                    <a:pt x="342" y="1380"/>
                  </a:lnTo>
                  <a:lnTo>
                    <a:pt x="342" y="1374"/>
                  </a:lnTo>
                  <a:lnTo>
                    <a:pt x="336" y="1368"/>
                  </a:lnTo>
                  <a:lnTo>
                    <a:pt x="342" y="1368"/>
                  </a:lnTo>
                  <a:lnTo>
                    <a:pt x="342" y="1362"/>
                  </a:lnTo>
                  <a:lnTo>
                    <a:pt x="348" y="1362"/>
                  </a:lnTo>
                  <a:lnTo>
                    <a:pt x="354" y="1362"/>
                  </a:lnTo>
                  <a:lnTo>
                    <a:pt x="354" y="1356"/>
                  </a:lnTo>
                  <a:lnTo>
                    <a:pt x="348" y="1356"/>
                  </a:lnTo>
                  <a:lnTo>
                    <a:pt x="348" y="1350"/>
                  </a:lnTo>
                  <a:lnTo>
                    <a:pt x="348" y="1344"/>
                  </a:lnTo>
                  <a:lnTo>
                    <a:pt x="354" y="1338"/>
                  </a:lnTo>
                  <a:lnTo>
                    <a:pt x="354" y="1332"/>
                  </a:lnTo>
                  <a:lnTo>
                    <a:pt x="354" y="1326"/>
                  </a:lnTo>
                  <a:lnTo>
                    <a:pt x="354" y="1320"/>
                  </a:lnTo>
                  <a:lnTo>
                    <a:pt x="354" y="1314"/>
                  </a:lnTo>
                  <a:lnTo>
                    <a:pt x="354" y="1308"/>
                  </a:lnTo>
                  <a:lnTo>
                    <a:pt x="348" y="1308"/>
                  </a:lnTo>
                  <a:lnTo>
                    <a:pt x="348" y="1302"/>
                  </a:lnTo>
                  <a:lnTo>
                    <a:pt x="342" y="1296"/>
                  </a:lnTo>
                  <a:lnTo>
                    <a:pt x="336" y="1296"/>
                  </a:lnTo>
                  <a:lnTo>
                    <a:pt x="336" y="1290"/>
                  </a:lnTo>
                  <a:lnTo>
                    <a:pt x="330" y="1290"/>
                  </a:lnTo>
                  <a:lnTo>
                    <a:pt x="324" y="1290"/>
                  </a:lnTo>
                  <a:lnTo>
                    <a:pt x="324" y="1284"/>
                  </a:lnTo>
                  <a:lnTo>
                    <a:pt x="318" y="1284"/>
                  </a:lnTo>
                  <a:lnTo>
                    <a:pt x="318" y="1278"/>
                  </a:lnTo>
                  <a:lnTo>
                    <a:pt x="312" y="1278"/>
                  </a:lnTo>
                  <a:lnTo>
                    <a:pt x="312" y="1272"/>
                  </a:lnTo>
                  <a:lnTo>
                    <a:pt x="312" y="1278"/>
                  </a:lnTo>
                  <a:lnTo>
                    <a:pt x="318" y="1284"/>
                  </a:lnTo>
                  <a:lnTo>
                    <a:pt x="324" y="1290"/>
                  </a:lnTo>
                  <a:lnTo>
                    <a:pt x="330" y="1290"/>
                  </a:lnTo>
                  <a:lnTo>
                    <a:pt x="330" y="1296"/>
                  </a:lnTo>
                  <a:lnTo>
                    <a:pt x="336" y="1296"/>
                  </a:lnTo>
                  <a:lnTo>
                    <a:pt x="336" y="1302"/>
                  </a:lnTo>
                  <a:lnTo>
                    <a:pt x="342" y="1302"/>
                  </a:lnTo>
                  <a:lnTo>
                    <a:pt x="348" y="1302"/>
                  </a:lnTo>
                  <a:lnTo>
                    <a:pt x="348" y="1308"/>
                  </a:lnTo>
                  <a:lnTo>
                    <a:pt x="348" y="1314"/>
                  </a:lnTo>
                  <a:lnTo>
                    <a:pt x="354" y="1314"/>
                  </a:lnTo>
                  <a:lnTo>
                    <a:pt x="354" y="1320"/>
                  </a:lnTo>
                  <a:lnTo>
                    <a:pt x="354" y="1326"/>
                  </a:lnTo>
                  <a:lnTo>
                    <a:pt x="348" y="1326"/>
                  </a:lnTo>
                  <a:lnTo>
                    <a:pt x="348" y="1332"/>
                  </a:lnTo>
                  <a:lnTo>
                    <a:pt x="348" y="1338"/>
                  </a:lnTo>
                  <a:lnTo>
                    <a:pt x="348" y="1344"/>
                  </a:lnTo>
                  <a:lnTo>
                    <a:pt x="342" y="1344"/>
                  </a:lnTo>
                  <a:lnTo>
                    <a:pt x="348" y="1344"/>
                  </a:lnTo>
                  <a:lnTo>
                    <a:pt x="342" y="1344"/>
                  </a:lnTo>
                  <a:lnTo>
                    <a:pt x="342" y="1350"/>
                  </a:lnTo>
                  <a:lnTo>
                    <a:pt x="336" y="1350"/>
                  </a:lnTo>
                  <a:lnTo>
                    <a:pt x="330" y="1350"/>
                  </a:lnTo>
                  <a:lnTo>
                    <a:pt x="330" y="1356"/>
                  </a:lnTo>
                  <a:lnTo>
                    <a:pt x="330" y="1350"/>
                  </a:lnTo>
                  <a:lnTo>
                    <a:pt x="324" y="1350"/>
                  </a:lnTo>
                  <a:lnTo>
                    <a:pt x="318" y="1344"/>
                  </a:lnTo>
                  <a:lnTo>
                    <a:pt x="318" y="1350"/>
                  </a:lnTo>
                  <a:lnTo>
                    <a:pt x="312" y="1344"/>
                  </a:lnTo>
                  <a:lnTo>
                    <a:pt x="312" y="1338"/>
                  </a:lnTo>
                  <a:lnTo>
                    <a:pt x="306" y="1338"/>
                  </a:lnTo>
                  <a:lnTo>
                    <a:pt x="300" y="1332"/>
                  </a:lnTo>
                  <a:lnTo>
                    <a:pt x="306" y="1332"/>
                  </a:lnTo>
                  <a:lnTo>
                    <a:pt x="300" y="1332"/>
                  </a:lnTo>
                  <a:lnTo>
                    <a:pt x="306" y="1332"/>
                  </a:lnTo>
                  <a:lnTo>
                    <a:pt x="306" y="1326"/>
                  </a:lnTo>
                  <a:lnTo>
                    <a:pt x="306" y="1320"/>
                  </a:lnTo>
                  <a:lnTo>
                    <a:pt x="306" y="1326"/>
                  </a:lnTo>
                  <a:lnTo>
                    <a:pt x="312" y="1326"/>
                  </a:lnTo>
                  <a:lnTo>
                    <a:pt x="312" y="1320"/>
                  </a:lnTo>
                  <a:lnTo>
                    <a:pt x="306" y="1320"/>
                  </a:lnTo>
                  <a:lnTo>
                    <a:pt x="300" y="1320"/>
                  </a:lnTo>
                  <a:lnTo>
                    <a:pt x="294" y="1320"/>
                  </a:lnTo>
                  <a:lnTo>
                    <a:pt x="294" y="1314"/>
                  </a:lnTo>
                  <a:lnTo>
                    <a:pt x="288" y="1314"/>
                  </a:lnTo>
                  <a:lnTo>
                    <a:pt x="288" y="1308"/>
                  </a:lnTo>
                  <a:lnTo>
                    <a:pt x="288" y="1302"/>
                  </a:lnTo>
                  <a:lnTo>
                    <a:pt x="294" y="1302"/>
                  </a:lnTo>
                  <a:lnTo>
                    <a:pt x="294" y="1296"/>
                  </a:lnTo>
                  <a:lnTo>
                    <a:pt x="288" y="1296"/>
                  </a:lnTo>
                  <a:lnTo>
                    <a:pt x="288" y="1290"/>
                  </a:lnTo>
                  <a:lnTo>
                    <a:pt x="288" y="1296"/>
                  </a:lnTo>
                  <a:lnTo>
                    <a:pt x="294" y="1302"/>
                  </a:lnTo>
                  <a:lnTo>
                    <a:pt x="288" y="1302"/>
                  </a:lnTo>
                  <a:lnTo>
                    <a:pt x="282" y="1296"/>
                  </a:lnTo>
                  <a:lnTo>
                    <a:pt x="276" y="1296"/>
                  </a:lnTo>
                  <a:lnTo>
                    <a:pt x="276" y="1290"/>
                  </a:lnTo>
                  <a:lnTo>
                    <a:pt x="270" y="1290"/>
                  </a:lnTo>
                  <a:lnTo>
                    <a:pt x="264" y="1284"/>
                  </a:lnTo>
                  <a:lnTo>
                    <a:pt x="264" y="1278"/>
                  </a:lnTo>
                  <a:lnTo>
                    <a:pt x="264" y="1272"/>
                  </a:lnTo>
                  <a:lnTo>
                    <a:pt x="264" y="1266"/>
                  </a:lnTo>
                  <a:lnTo>
                    <a:pt x="258" y="1266"/>
                  </a:lnTo>
                  <a:lnTo>
                    <a:pt x="252" y="1266"/>
                  </a:lnTo>
                  <a:lnTo>
                    <a:pt x="246" y="1260"/>
                  </a:lnTo>
                  <a:lnTo>
                    <a:pt x="240" y="1254"/>
                  </a:lnTo>
                  <a:lnTo>
                    <a:pt x="240" y="1260"/>
                  </a:lnTo>
                  <a:lnTo>
                    <a:pt x="240" y="1266"/>
                  </a:lnTo>
                  <a:lnTo>
                    <a:pt x="240" y="1272"/>
                  </a:lnTo>
                  <a:lnTo>
                    <a:pt x="246" y="1272"/>
                  </a:lnTo>
                  <a:lnTo>
                    <a:pt x="246" y="1278"/>
                  </a:lnTo>
                  <a:lnTo>
                    <a:pt x="246" y="1284"/>
                  </a:lnTo>
                  <a:lnTo>
                    <a:pt x="252" y="1284"/>
                  </a:lnTo>
                  <a:lnTo>
                    <a:pt x="252" y="1290"/>
                  </a:lnTo>
                  <a:lnTo>
                    <a:pt x="258" y="1296"/>
                  </a:lnTo>
                  <a:lnTo>
                    <a:pt x="264" y="1302"/>
                  </a:lnTo>
                  <a:lnTo>
                    <a:pt x="264" y="1308"/>
                  </a:lnTo>
                  <a:lnTo>
                    <a:pt x="264" y="1314"/>
                  </a:lnTo>
                  <a:lnTo>
                    <a:pt x="258" y="1314"/>
                  </a:lnTo>
                  <a:lnTo>
                    <a:pt x="258" y="1308"/>
                  </a:lnTo>
                  <a:lnTo>
                    <a:pt x="252" y="1308"/>
                  </a:lnTo>
                  <a:lnTo>
                    <a:pt x="252" y="1302"/>
                  </a:lnTo>
                  <a:lnTo>
                    <a:pt x="246" y="1302"/>
                  </a:lnTo>
                  <a:lnTo>
                    <a:pt x="246" y="1296"/>
                  </a:lnTo>
                  <a:lnTo>
                    <a:pt x="240" y="1296"/>
                  </a:lnTo>
                  <a:lnTo>
                    <a:pt x="240" y="1290"/>
                  </a:lnTo>
                  <a:lnTo>
                    <a:pt x="234" y="1284"/>
                  </a:lnTo>
                  <a:lnTo>
                    <a:pt x="234" y="1278"/>
                  </a:lnTo>
                  <a:close/>
                  <a:moveTo>
                    <a:pt x="444" y="1332"/>
                  </a:moveTo>
                  <a:lnTo>
                    <a:pt x="450" y="1326"/>
                  </a:lnTo>
                  <a:lnTo>
                    <a:pt x="456" y="1326"/>
                  </a:lnTo>
                  <a:lnTo>
                    <a:pt x="456" y="1332"/>
                  </a:lnTo>
                  <a:lnTo>
                    <a:pt x="456" y="1338"/>
                  </a:lnTo>
                  <a:lnTo>
                    <a:pt x="450" y="1338"/>
                  </a:lnTo>
                  <a:lnTo>
                    <a:pt x="444" y="1338"/>
                  </a:lnTo>
                  <a:lnTo>
                    <a:pt x="444" y="1332"/>
                  </a:lnTo>
                  <a:close/>
                  <a:moveTo>
                    <a:pt x="444" y="1368"/>
                  </a:moveTo>
                  <a:lnTo>
                    <a:pt x="456" y="1368"/>
                  </a:lnTo>
                  <a:lnTo>
                    <a:pt x="456" y="1374"/>
                  </a:lnTo>
                  <a:lnTo>
                    <a:pt x="444" y="1374"/>
                  </a:lnTo>
                  <a:lnTo>
                    <a:pt x="444" y="1368"/>
                  </a:lnTo>
                  <a:close/>
                  <a:moveTo>
                    <a:pt x="444" y="1386"/>
                  </a:moveTo>
                  <a:lnTo>
                    <a:pt x="444" y="1380"/>
                  </a:lnTo>
                  <a:lnTo>
                    <a:pt x="444" y="1374"/>
                  </a:lnTo>
                  <a:lnTo>
                    <a:pt x="444" y="1380"/>
                  </a:lnTo>
                  <a:lnTo>
                    <a:pt x="450" y="1380"/>
                  </a:lnTo>
                  <a:lnTo>
                    <a:pt x="456" y="1380"/>
                  </a:lnTo>
                  <a:lnTo>
                    <a:pt x="456" y="1386"/>
                  </a:lnTo>
                  <a:lnTo>
                    <a:pt x="456" y="1392"/>
                  </a:lnTo>
                  <a:lnTo>
                    <a:pt x="462" y="1392"/>
                  </a:lnTo>
                  <a:lnTo>
                    <a:pt x="462" y="1398"/>
                  </a:lnTo>
                  <a:lnTo>
                    <a:pt x="462" y="1404"/>
                  </a:lnTo>
                  <a:lnTo>
                    <a:pt x="456" y="1404"/>
                  </a:lnTo>
                  <a:lnTo>
                    <a:pt x="450" y="1404"/>
                  </a:lnTo>
                  <a:lnTo>
                    <a:pt x="450" y="1398"/>
                  </a:lnTo>
                  <a:lnTo>
                    <a:pt x="444" y="1398"/>
                  </a:lnTo>
                  <a:lnTo>
                    <a:pt x="444" y="1392"/>
                  </a:lnTo>
                  <a:lnTo>
                    <a:pt x="444" y="1386"/>
                  </a:lnTo>
                  <a:close/>
                  <a:moveTo>
                    <a:pt x="438" y="1362"/>
                  </a:moveTo>
                  <a:lnTo>
                    <a:pt x="444" y="1356"/>
                  </a:lnTo>
                  <a:lnTo>
                    <a:pt x="450" y="1356"/>
                  </a:lnTo>
                  <a:lnTo>
                    <a:pt x="450" y="1362"/>
                  </a:lnTo>
                  <a:lnTo>
                    <a:pt x="450" y="1368"/>
                  </a:lnTo>
                  <a:lnTo>
                    <a:pt x="444" y="1368"/>
                  </a:lnTo>
                  <a:lnTo>
                    <a:pt x="444" y="1362"/>
                  </a:lnTo>
                  <a:lnTo>
                    <a:pt x="438" y="1362"/>
                  </a:lnTo>
                  <a:close/>
                  <a:moveTo>
                    <a:pt x="438" y="1350"/>
                  </a:moveTo>
                  <a:lnTo>
                    <a:pt x="438" y="1344"/>
                  </a:lnTo>
                  <a:lnTo>
                    <a:pt x="438" y="1338"/>
                  </a:lnTo>
                  <a:lnTo>
                    <a:pt x="444" y="1338"/>
                  </a:lnTo>
                  <a:lnTo>
                    <a:pt x="450" y="1338"/>
                  </a:lnTo>
                  <a:lnTo>
                    <a:pt x="456" y="1338"/>
                  </a:lnTo>
                  <a:lnTo>
                    <a:pt x="450" y="1344"/>
                  </a:lnTo>
                  <a:lnTo>
                    <a:pt x="444" y="1350"/>
                  </a:lnTo>
                  <a:lnTo>
                    <a:pt x="438" y="1350"/>
                  </a:lnTo>
                  <a:close/>
                  <a:moveTo>
                    <a:pt x="432" y="1380"/>
                  </a:moveTo>
                  <a:lnTo>
                    <a:pt x="432" y="1368"/>
                  </a:lnTo>
                  <a:lnTo>
                    <a:pt x="432" y="1362"/>
                  </a:lnTo>
                  <a:lnTo>
                    <a:pt x="432" y="1356"/>
                  </a:lnTo>
                  <a:lnTo>
                    <a:pt x="438" y="1356"/>
                  </a:lnTo>
                  <a:lnTo>
                    <a:pt x="438" y="1362"/>
                  </a:lnTo>
                  <a:lnTo>
                    <a:pt x="438" y="1368"/>
                  </a:lnTo>
                  <a:lnTo>
                    <a:pt x="438" y="1374"/>
                  </a:lnTo>
                  <a:lnTo>
                    <a:pt x="438" y="1380"/>
                  </a:lnTo>
                  <a:lnTo>
                    <a:pt x="438" y="1386"/>
                  </a:lnTo>
                  <a:lnTo>
                    <a:pt x="438" y="1380"/>
                  </a:lnTo>
                  <a:lnTo>
                    <a:pt x="432" y="1380"/>
                  </a:lnTo>
                  <a:close/>
                  <a:moveTo>
                    <a:pt x="246" y="1272"/>
                  </a:moveTo>
                  <a:lnTo>
                    <a:pt x="252" y="1272"/>
                  </a:lnTo>
                  <a:lnTo>
                    <a:pt x="252" y="1278"/>
                  </a:lnTo>
                  <a:lnTo>
                    <a:pt x="246" y="1278"/>
                  </a:lnTo>
                  <a:lnTo>
                    <a:pt x="246" y="1272"/>
                  </a:lnTo>
                  <a:close/>
                  <a:moveTo>
                    <a:pt x="426" y="1416"/>
                  </a:moveTo>
                  <a:lnTo>
                    <a:pt x="432" y="1410"/>
                  </a:lnTo>
                  <a:lnTo>
                    <a:pt x="438" y="1410"/>
                  </a:lnTo>
                  <a:lnTo>
                    <a:pt x="438" y="1416"/>
                  </a:lnTo>
                  <a:lnTo>
                    <a:pt x="438" y="1422"/>
                  </a:lnTo>
                  <a:lnTo>
                    <a:pt x="432" y="1422"/>
                  </a:lnTo>
                  <a:lnTo>
                    <a:pt x="426" y="1422"/>
                  </a:lnTo>
                  <a:lnTo>
                    <a:pt x="426" y="1416"/>
                  </a:lnTo>
                  <a:close/>
                  <a:moveTo>
                    <a:pt x="246" y="1266"/>
                  </a:moveTo>
                  <a:lnTo>
                    <a:pt x="252" y="1266"/>
                  </a:lnTo>
                  <a:lnTo>
                    <a:pt x="258" y="1272"/>
                  </a:lnTo>
                  <a:lnTo>
                    <a:pt x="258" y="1278"/>
                  </a:lnTo>
                  <a:lnTo>
                    <a:pt x="258" y="1284"/>
                  </a:lnTo>
                  <a:lnTo>
                    <a:pt x="252" y="1284"/>
                  </a:lnTo>
                  <a:lnTo>
                    <a:pt x="252" y="1278"/>
                  </a:lnTo>
                  <a:lnTo>
                    <a:pt x="252" y="1272"/>
                  </a:lnTo>
                  <a:lnTo>
                    <a:pt x="252" y="1266"/>
                  </a:lnTo>
                  <a:lnTo>
                    <a:pt x="246" y="1266"/>
                  </a:lnTo>
                  <a:close/>
                  <a:moveTo>
                    <a:pt x="408" y="1458"/>
                  </a:moveTo>
                  <a:lnTo>
                    <a:pt x="408" y="1452"/>
                  </a:lnTo>
                  <a:lnTo>
                    <a:pt x="414" y="1452"/>
                  </a:lnTo>
                  <a:lnTo>
                    <a:pt x="414" y="1446"/>
                  </a:lnTo>
                  <a:lnTo>
                    <a:pt x="414" y="1440"/>
                  </a:lnTo>
                  <a:lnTo>
                    <a:pt x="420" y="1440"/>
                  </a:lnTo>
                  <a:lnTo>
                    <a:pt x="420" y="1434"/>
                  </a:lnTo>
                  <a:lnTo>
                    <a:pt x="420" y="1428"/>
                  </a:lnTo>
                  <a:lnTo>
                    <a:pt x="420" y="1422"/>
                  </a:lnTo>
                  <a:lnTo>
                    <a:pt x="426" y="1422"/>
                  </a:lnTo>
                  <a:lnTo>
                    <a:pt x="432" y="1428"/>
                  </a:lnTo>
                  <a:lnTo>
                    <a:pt x="438" y="1428"/>
                  </a:lnTo>
                  <a:lnTo>
                    <a:pt x="438" y="1434"/>
                  </a:lnTo>
                  <a:lnTo>
                    <a:pt x="438" y="1428"/>
                  </a:lnTo>
                  <a:lnTo>
                    <a:pt x="438" y="1422"/>
                  </a:lnTo>
                  <a:lnTo>
                    <a:pt x="444" y="1416"/>
                  </a:lnTo>
                  <a:lnTo>
                    <a:pt x="444" y="1410"/>
                  </a:lnTo>
                  <a:lnTo>
                    <a:pt x="450" y="1416"/>
                  </a:lnTo>
                  <a:lnTo>
                    <a:pt x="456" y="1416"/>
                  </a:lnTo>
                  <a:lnTo>
                    <a:pt x="456" y="1422"/>
                  </a:lnTo>
                  <a:lnTo>
                    <a:pt x="456" y="1428"/>
                  </a:lnTo>
                  <a:lnTo>
                    <a:pt x="456" y="1434"/>
                  </a:lnTo>
                  <a:lnTo>
                    <a:pt x="456" y="1440"/>
                  </a:lnTo>
                  <a:lnTo>
                    <a:pt x="462" y="1440"/>
                  </a:lnTo>
                  <a:lnTo>
                    <a:pt x="462" y="1446"/>
                  </a:lnTo>
                  <a:lnTo>
                    <a:pt x="462" y="1452"/>
                  </a:lnTo>
                  <a:lnTo>
                    <a:pt x="456" y="1452"/>
                  </a:lnTo>
                  <a:lnTo>
                    <a:pt x="450" y="1452"/>
                  </a:lnTo>
                  <a:lnTo>
                    <a:pt x="444" y="1446"/>
                  </a:lnTo>
                  <a:lnTo>
                    <a:pt x="444" y="1452"/>
                  </a:lnTo>
                  <a:lnTo>
                    <a:pt x="450" y="1452"/>
                  </a:lnTo>
                  <a:lnTo>
                    <a:pt x="450" y="1458"/>
                  </a:lnTo>
                  <a:lnTo>
                    <a:pt x="444" y="1458"/>
                  </a:lnTo>
                  <a:lnTo>
                    <a:pt x="438" y="1464"/>
                  </a:lnTo>
                  <a:lnTo>
                    <a:pt x="438" y="1458"/>
                  </a:lnTo>
                  <a:lnTo>
                    <a:pt x="432" y="1458"/>
                  </a:lnTo>
                  <a:lnTo>
                    <a:pt x="426" y="1458"/>
                  </a:lnTo>
                  <a:lnTo>
                    <a:pt x="432" y="1458"/>
                  </a:lnTo>
                  <a:lnTo>
                    <a:pt x="438" y="1464"/>
                  </a:lnTo>
                  <a:lnTo>
                    <a:pt x="432" y="1464"/>
                  </a:lnTo>
                  <a:lnTo>
                    <a:pt x="432" y="1470"/>
                  </a:lnTo>
                  <a:lnTo>
                    <a:pt x="426" y="1470"/>
                  </a:lnTo>
                  <a:lnTo>
                    <a:pt x="420" y="1476"/>
                  </a:lnTo>
                  <a:lnTo>
                    <a:pt x="420" y="1470"/>
                  </a:lnTo>
                  <a:lnTo>
                    <a:pt x="414" y="1470"/>
                  </a:lnTo>
                  <a:lnTo>
                    <a:pt x="414" y="1464"/>
                  </a:lnTo>
                  <a:lnTo>
                    <a:pt x="414" y="1458"/>
                  </a:lnTo>
                  <a:lnTo>
                    <a:pt x="408" y="1458"/>
                  </a:lnTo>
                  <a:close/>
                  <a:moveTo>
                    <a:pt x="270" y="1326"/>
                  </a:moveTo>
                  <a:lnTo>
                    <a:pt x="270" y="1320"/>
                  </a:lnTo>
                  <a:lnTo>
                    <a:pt x="276" y="1320"/>
                  </a:lnTo>
                  <a:lnTo>
                    <a:pt x="282" y="1326"/>
                  </a:lnTo>
                  <a:lnTo>
                    <a:pt x="288" y="1326"/>
                  </a:lnTo>
                  <a:lnTo>
                    <a:pt x="288" y="1332"/>
                  </a:lnTo>
                  <a:lnTo>
                    <a:pt x="288" y="1338"/>
                  </a:lnTo>
                  <a:lnTo>
                    <a:pt x="288" y="1344"/>
                  </a:lnTo>
                  <a:lnTo>
                    <a:pt x="282" y="1344"/>
                  </a:lnTo>
                  <a:lnTo>
                    <a:pt x="282" y="1338"/>
                  </a:lnTo>
                  <a:lnTo>
                    <a:pt x="276" y="1338"/>
                  </a:lnTo>
                  <a:lnTo>
                    <a:pt x="276" y="1332"/>
                  </a:lnTo>
                  <a:lnTo>
                    <a:pt x="270" y="1332"/>
                  </a:lnTo>
                  <a:lnTo>
                    <a:pt x="270" y="1326"/>
                  </a:lnTo>
                  <a:close/>
                  <a:moveTo>
                    <a:pt x="288" y="1458"/>
                  </a:moveTo>
                  <a:lnTo>
                    <a:pt x="294" y="1458"/>
                  </a:lnTo>
                  <a:lnTo>
                    <a:pt x="294" y="1452"/>
                  </a:lnTo>
                  <a:lnTo>
                    <a:pt x="294" y="1446"/>
                  </a:lnTo>
                  <a:lnTo>
                    <a:pt x="300" y="1446"/>
                  </a:lnTo>
                  <a:lnTo>
                    <a:pt x="300" y="1440"/>
                  </a:lnTo>
                  <a:lnTo>
                    <a:pt x="306" y="1440"/>
                  </a:lnTo>
                  <a:lnTo>
                    <a:pt x="306" y="1446"/>
                  </a:lnTo>
                  <a:lnTo>
                    <a:pt x="312" y="1452"/>
                  </a:lnTo>
                  <a:lnTo>
                    <a:pt x="306" y="1452"/>
                  </a:lnTo>
                  <a:lnTo>
                    <a:pt x="306" y="1458"/>
                  </a:lnTo>
                  <a:lnTo>
                    <a:pt x="312" y="1464"/>
                  </a:lnTo>
                  <a:lnTo>
                    <a:pt x="306" y="1464"/>
                  </a:lnTo>
                  <a:lnTo>
                    <a:pt x="306" y="1470"/>
                  </a:lnTo>
                  <a:lnTo>
                    <a:pt x="300" y="1476"/>
                  </a:lnTo>
                  <a:lnTo>
                    <a:pt x="294" y="1476"/>
                  </a:lnTo>
                  <a:lnTo>
                    <a:pt x="294" y="1470"/>
                  </a:lnTo>
                  <a:lnTo>
                    <a:pt x="288" y="1470"/>
                  </a:lnTo>
                  <a:lnTo>
                    <a:pt x="288" y="1464"/>
                  </a:lnTo>
                  <a:lnTo>
                    <a:pt x="288" y="1458"/>
                  </a:lnTo>
                  <a:close/>
                  <a:moveTo>
                    <a:pt x="270" y="1296"/>
                  </a:moveTo>
                  <a:lnTo>
                    <a:pt x="276" y="1296"/>
                  </a:lnTo>
                  <a:lnTo>
                    <a:pt x="282" y="1296"/>
                  </a:lnTo>
                  <a:lnTo>
                    <a:pt x="288" y="1296"/>
                  </a:lnTo>
                  <a:lnTo>
                    <a:pt x="288" y="1302"/>
                  </a:lnTo>
                  <a:lnTo>
                    <a:pt x="282" y="1308"/>
                  </a:lnTo>
                  <a:lnTo>
                    <a:pt x="276" y="1308"/>
                  </a:lnTo>
                  <a:lnTo>
                    <a:pt x="276" y="1302"/>
                  </a:lnTo>
                  <a:lnTo>
                    <a:pt x="270" y="1296"/>
                  </a:lnTo>
                  <a:close/>
                </a:path>
              </a:pathLst>
            </a:custGeom>
            <a:solidFill>
              <a:srgbClr val="FFC000"/>
            </a:solidFill>
            <a:ln w="9525">
              <a:solidFill>
                <a:schemeClr val="bg1"/>
              </a:solidFill>
              <a:round/>
              <a:headEnd/>
              <a:tailEnd/>
            </a:ln>
          </p:spPr>
          <p:txBody>
            <a:bodyPr/>
            <a:lstStyle/>
            <a:p>
              <a:endParaRPr lang="en-GB"/>
            </a:p>
          </p:txBody>
        </p:sp>
        <p:sp>
          <p:nvSpPr>
            <p:cNvPr id="19496" name="Freeform 20"/>
            <p:cNvSpPr>
              <a:spLocks/>
            </p:cNvSpPr>
            <p:nvPr/>
          </p:nvSpPr>
          <p:spPr bwMode="gray">
            <a:xfrm>
              <a:off x="3555660" y="4717943"/>
              <a:ext cx="487602" cy="604002"/>
            </a:xfrm>
            <a:custGeom>
              <a:avLst/>
              <a:gdLst>
                <a:gd name="T0" fmla="*/ 23442 w 624"/>
                <a:gd name="T1" fmla="*/ 49125 h 750"/>
                <a:gd name="T2" fmla="*/ 21098 w 624"/>
                <a:gd name="T3" fmla="*/ 49931 h 750"/>
                <a:gd name="T4" fmla="*/ 17973 w 624"/>
                <a:gd name="T5" fmla="*/ 47515 h 750"/>
                <a:gd name="T6" fmla="*/ 15628 w 624"/>
                <a:gd name="T7" fmla="*/ 46709 h 750"/>
                <a:gd name="T8" fmla="*/ 14847 w 624"/>
                <a:gd name="T9" fmla="*/ 45099 h 750"/>
                <a:gd name="T10" fmla="*/ 13284 w 624"/>
                <a:gd name="T11" fmla="*/ 44293 h 750"/>
                <a:gd name="T12" fmla="*/ 12503 w 624"/>
                <a:gd name="T13" fmla="*/ 41072 h 750"/>
                <a:gd name="T14" fmla="*/ 10940 w 624"/>
                <a:gd name="T15" fmla="*/ 38656 h 750"/>
                <a:gd name="T16" fmla="*/ 9377 w 624"/>
                <a:gd name="T17" fmla="*/ 37045 h 750"/>
                <a:gd name="T18" fmla="*/ 9377 w 624"/>
                <a:gd name="T19" fmla="*/ 35435 h 750"/>
                <a:gd name="T20" fmla="*/ 8596 w 624"/>
                <a:gd name="T21" fmla="*/ 33019 h 750"/>
                <a:gd name="T22" fmla="*/ 6251 w 624"/>
                <a:gd name="T23" fmla="*/ 30603 h 750"/>
                <a:gd name="T24" fmla="*/ 4688 w 624"/>
                <a:gd name="T25" fmla="*/ 30603 h 750"/>
                <a:gd name="T26" fmla="*/ 4688 w 624"/>
                <a:gd name="T27" fmla="*/ 28187 h 750"/>
                <a:gd name="T28" fmla="*/ 5470 w 624"/>
                <a:gd name="T29" fmla="*/ 24965 h 750"/>
                <a:gd name="T30" fmla="*/ 7814 w 624"/>
                <a:gd name="T31" fmla="*/ 21744 h 750"/>
                <a:gd name="T32" fmla="*/ 6251 w 624"/>
                <a:gd name="T33" fmla="*/ 18523 h 750"/>
                <a:gd name="T34" fmla="*/ 4688 w 624"/>
                <a:gd name="T35" fmla="*/ 18523 h 750"/>
                <a:gd name="T36" fmla="*/ 2344 w 624"/>
                <a:gd name="T37" fmla="*/ 17717 h 750"/>
                <a:gd name="T38" fmla="*/ 0 w 624"/>
                <a:gd name="T39" fmla="*/ 17717 h 750"/>
                <a:gd name="T40" fmla="*/ 0 w 624"/>
                <a:gd name="T41" fmla="*/ 15301 h 750"/>
                <a:gd name="T42" fmla="*/ 781 w 624"/>
                <a:gd name="T43" fmla="*/ 14496 h 750"/>
                <a:gd name="T44" fmla="*/ 1563 w 624"/>
                <a:gd name="T45" fmla="*/ 11275 h 750"/>
                <a:gd name="T46" fmla="*/ 3126 w 624"/>
                <a:gd name="T47" fmla="*/ 13691 h 750"/>
                <a:gd name="T48" fmla="*/ 4688 w 624"/>
                <a:gd name="T49" fmla="*/ 13691 h 750"/>
                <a:gd name="T50" fmla="*/ 5470 w 624"/>
                <a:gd name="T51" fmla="*/ 13691 h 750"/>
                <a:gd name="T52" fmla="*/ 7033 w 624"/>
                <a:gd name="T53" fmla="*/ 12080 h 750"/>
                <a:gd name="T54" fmla="*/ 7814 w 624"/>
                <a:gd name="T55" fmla="*/ 11275 h 750"/>
                <a:gd name="T56" fmla="*/ 8596 w 624"/>
                <a:gd name="T57" fmla="*/ 9664 h 750"/>
                <a:gd name="T58" fmla="*/ 10158 w 624"/>
                <a:gd name="T59" fmla="*/ 9664 h 750"/>
                <a:gd name="T60" fmla="*/ 14065 w 624"/>
                <a:gd name="T61" fmla="*/ 8053 h 750"/>
                <a:gd name="T62" fmla="*/ 17191 w 624"/>
                <a:gd name="T63" fmla="*/ 3221 h 750"/>
                <a:gd name="T64" fmla="*/ 18754 w 624"/>
                <a:gd name="T65" fmla="*/ 3221 h 750"/>
                <a:gd name="T66" fmla="*/ 20317 w 624"/>
                <a:gd name="T67" fmla="*/ 1611 h 750"/>
                <a:gd name="T68" fmla="*/ 22661 w 624"/>
                <a:gd name="T69" fmla="*/ 0 h 750"/>
                <a:gd name="T70" fmla="*/ 25005 w 624"/>
                <a:gd name="T71" fmla="*/ 1611 h 750"/>
                <a:gd name="T72" fmla="*/ 26568 w 624"/>
                <a:gd name="T73" fmla="*/ 4027 h 750"/>
                <a:gd name="T74" fmla="*/ 27349 w 624"/>
                <a:gd name="T75" fmla="*/ 6443 h 750"/>
                <a:gd name="T76" fmla="*/ 30475 w 624"/>
                <a:gd name="T77" fmla="*/ 8859 h 750"/>
                <a:gd name="T78" fmla="*/ 32819 w 624"/>
                <a:gd name="T79" fmla="*/ 11275 h 750"/>
                <a:gd name="T80" fmla="*/ 35945 w 624"/>
                <a:gd name="T81" fmla="*/ 9664 h 750"/>
                <a:gd name="T82" fmla="*/ 38289 w 624"/>
                <a:gd name="T83" fmla="*/ 9664 h 750"/>
                <a:gd name="T84" fmla="*/ 39852 w 624"/>
                <a:gd name="T85" fmla="*/ 9664 h 750"/>
                <a:gd name="T86" fmla="*/ 41415 w 624"/>
                <a:gd name="T87" fmla="*/ 9664 h 750"/>
                <a:gd name="T88" fmla="*/ 41415 w 624"/>
                <a:gd name="T89" fmla="*/ 13691 h 750"/>
                <a:gd name="T90" fmla="*/ 39852 w 624"/>
                <a:gd name="T91" fmla="*/ 16107 h 750"/>
                <a:gd name="T92" fmla="*/ 38289 w 624"/>
                <a:gd name="T93" fmla="*/ 20939 h 750"/>
                <a:gd name="T94" fmla="*/ 36726 w 624"/>
                <a:gd name="T95" fmla="*/ 20939 h 750"/>
                <a:gd name="T96" fmla="*/ 34382 w 624"/>
                <a:gd name="T97" fmla="*/ 20939 h 750"/>
                <a:gd name="T98" fmla="*/ 33601 w 624"/>
                <a:gd name="T99" fmla="*/ 21744 h 750"/>
                <a:gd name="T100" fmla="*/ 35164 w 624"/>
                <a:gd name="T101" fmla="*/ 25771 h 750"/>
                <a:gd name="T102" fmla="*/ 34382 w 624"/>
                <a:gd name="T103" fmla="*/ 34629 h 750"/>
                <a:gd name="T104" fmla="*/ 34382 w 624"/>
                <a:gd name="T105" fmla="*/ 37851 h 750"/>
                <a:gd name="T106" fmla="*/ 34382 w 624"/>
                <a:gd name="T107" fmla="*/ 43488 h 750"/>
                <a:gd name="T108" fmla="*/ 32038 w 624"/>
                <a:gd name="T109" fmla="*/ 48320 h 750"/>
                <a:gd name="T110" fmla="*/ 32819 w 624"/>
                <a:gd name="T111" fmla="*/ 49931 h 750"/>
                <a:gd name="T112" fmla="*/ 33601 w 624"/>
                <a:gd name="T113" fmla="*/ 52347 h 750"/>
                <a:gd name="T114" fmla="*/ 30475 w 624"/>
                <a:gd name="T115" fmla="*/ 50736 h 750"/>
                <a:gd name="T116" fmla="*/ 27349 w 624"/>
                <a:gd name="T117" fmla="*/ 49931 h 7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24"/>
                <a:gd name="T178" fmla="*/ 0 h 750"/>
                <a:gd name="T179" fmla="*/ 624 w 624"/>
                <a:gd name="T180" fmla="*/ 750 h 75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24" h="750">
                  <a:moveTo>
                    <a:pt x="390" y="702"/>
                  </a:moveTo>
                  <a:lnTo>
                    <a:pt x="372" y="696"/>
                  </a:lnTo>
                  <a:lnTo>
                    <a:pt x="360" y="702"/>
                  </a:lnTo>
                  <a:lnTo>
                    <a:pt x="348" y="702"/>
                  </a:lnTo>
                  <a:lnTo>
                    <a:pt x="336" y="702"/>
                  </a:lnTo>
                  <a:lnTo>
                    <a:pt x="330" y="702"/>
                  </a:lnTo>
                  <a:lnTo>
                    <a:pt x="318" y="708"/>
                  </a:lnTo>
                  <a:lnTo>
                    <a:pt x="306" y="708"/>
                  </a:lnTo>
                  <a:lnTo>
                    <a:pt x="294" y="690"/>
                  </a:lnTo>
                  <a:lnTo>
                    <a:pt x="294" y="684"/>
                  </a:lnTo>
                  <a:lnTo>
                    <a:pt x="276" y="684"/>
                  </a:lnTo>
                  <a:lnTo>
                    <a:pt x="270" y="678"/>
                  </a:lnTo>
                  <a:lnTo>
                    <a:pt x="240" y="672"/>
                  </a:lnTo>
                  <a:lnTo>
                    <a:pt x="234" y="672"/>
                  </a:lnTo>
                  <a:lnTo>
                    <a:pt x="228" y="672"/>
                  </a:lnTo>
                  <a:lnTo>
                    <a:pt x="228" y="666"/>
                  </a:lnTo>
                  <a:lnTo>
                    <a:pt x="222" y="666"/>
                  </a:lnTo>
                  <a:lnTo>
                    <a:pt x="216" y="660"/>
                  </a:lnTo>
                  <a:lnTo>
                    <a:pt x="216" y="654"/>
                  </a:lnTo>
                  <a:lnTo>
                    <a:pt x="216" y="642"/>
                  </a:lnTo>
                  <a:lnTo>
                    <a:pt x="210" y="642"/>
                  </a:lnTo>
                  <a:lnTo>
                    <a:pt x="204" y="636"/>
                  </a:lnTo>
                  <a:lnTo>
                    <a:pt x="198" y="636"/>
                  </a:lnTo>
                  <a:lnTo>
                    <a:pt x="192" y="636"/>
                  </a:lnTo>
                  <a:lnTo>
                    <a:pt x="192" y="624"/>
                  </a:lnTo>
                  <a:lnTo>
                    <a:pt x="186" y="612"/>
                  </a:lnTo>
                  <a:lnTo>
                    <a:pt x="186" y="600"/>
                  </a:lnTo>
                  <a:lnTo>
                    <a:pt x="186" y="588"/>
                  </a:lnTo>
                  <a:lnTo>
                    <a:pt x="180" y="582"/>
                  </a:lnTo>
                  <a:lnTo>
                    <a:pt x="180" y="570"/>
                  </a:lnTo>
                  <a:lnTo>
                    <a:pt x="174" y="558"/>
                  </a:lnTo>
                  <a:lnTo>
                    <a:pt x="162" y="558"/>
                  </a:lnTo>
                  <a:lnTo>
                    <a:pt x="144" y="564"/>
                  </a:lnTo>
                  <a:lnTo>
                    <a:pt x="138" y="552"/>
                  </a:lnTo>
                  <a:lnTo>
                    <a:pt x="144" y="540"/>
                  </a:lnTo>
                  <a:lnTo>
                    <a:pt x="138" y="534"/>
                  </a:lnTo>
                  <a:lnTo>
                    <a:pt x="138" y="528"/>
                  </a:lnTo>
                  <a:lnTo>
                    <a:pt x="132" y="522"/>
                  </a:lnTo>
                  <a:lnTo>
                    <a:pt x="144" y="522"/>
                  </a:lnTo>
                  <a:lnTo>
                    <a:pt x="144" y="510"/>
                  </a:lnTo>
                  <a:lnTo>
                    <a:pt x="144" y="504"/>
                  </a:lnTo>
                  <a:lnTo>
                    <a:pt x="138" y="492"/>
                  </a:lnTo>
                  <a:lnTo>
                    <a:pt x="138" y="474"/>
                  </a:lnTo>
                  <a:lnTo>
                    <a:pt x="126" y="468"/>
                  </a:lnTo>
                  <a:lnTo>
                    <a:pt x="120" y="456"/>
                  </a:lnTo>
                  <a:lnTo>
                    <a:pt x="114" y="450"/>
                  </a:lnTo>
                  <a:lnTo>
                    <a:pt x="108" y="438"/>
                  </a:lnTo>
                  <a:lnTo>
                    <a:pt x="96" y="432"/>
                  </a:lnTo>
                  <a:lnTo>
                    <a:pt x="84" y="432"/>
                  </a:lnTo>
                  <a:lnTo>
                    <a:pt x="78" y="432"/>
                  </a:lnTo>
                  <a:lnTo>
                    <a:pt x="72" y="432"/>
                  </a:lnTo>
                  <a:lnTo>
                    <a:pt x="66" y="432"/>
                  </a:lnTo>
                  <a:lnTo>
                    <a:pt x="60" y="426"/>
                  </a:lnTo>
                  <a:lnTo>
                    <a:pt x="66" y="420"/>
                  </a:lnTo>
                  <a:lnTo>
                    <a:pt x="66" y="408"/>
                  </a:lnTo>
                  <a:lnTo>
                    <a:pt x="72" y="408"/>
                  </a:lnTo>
                  <a:lnTo>
                    <a:pt x="72" y="384"/>
                  </a:lnTo>
                  <a:lnTo>
                    <a:pt x="72" y="366"/>
                  </a:lnTo>
                  <a:lnTo>
                    <a:pt x="78" y="354"/>
                  </a:lnTo>
                  <a:lnTo>
                    <a:pt x="84" y="354"/>
                  </a:lnTo>
                  <a:lnTo>
                    <a:pt x="90" y="348"/>
                  </a:lnTo>
                  <a:lnTo>
                    <a:pt x="102" y="336"/>
                  </a:lnTo>
                  <a:lnTo>
                    <a:pt x="114" y="324"/>
                  </a:lnTo>
                  <a:lnTo>
                    <a:pt x="120" y="312"/>
                  </a:lnTo>
                  <a:lnTo>
                    <a:pt x="126" y="294"/>
                  </a:lnTo>
                  <a:lnTo>
                    <a:pt x="126" y="288"/>
                  </a:lnTo>
                  <a:lnTo>
                    <a:pt x="120" y="276"/>
                  </a:lnTo>
                  <a:lnTo>
                    <a:pt x="96" y="270"/>
                  </a:lnTo>
                  <a:lnTo>
                    <a:pt x="84" y="270"/>
                  </a:lnTo>
                  <a:lnTo>
                    <a:pt x="78" y="270"/>
                  </a:lnTo>
                  <a:lnTo>
                    <a:pt x="72" y="270"/>
                  </a:lnTo>
                  <a:lnTo>
                    <a:pt x="72" y="264"/>
                  </a:lnTo>
                  <a:lnTo>
                    <a:pt x="60" y="252"/>
                  </a:lnTo>
                  <a:lnTo>
                    <a:pt x="42" y="252"/>
                  </a:lnTo>
                  <a:lnTo>
                    <a:pt x="42" y="258"/>
                  </a:lnTo>
                  <a:lnTo>
                    <a:pt x="36" y="258"/>
                  </a:lnTo>
                  <a:lnTo>
                    <a:pt x="36" y="252"/>
                  </a:lnTo>
                  <a:lnTo>
                    <a:pt x="18" y="252"/>
                  </a:lnTo>
                  <a:lnTo>
                    <a:pt x="6" y="258"/>
                  </a:lnTo>
                  <a:lnTo>
                    <a:pt x="0" y="258"/>
                  </a:lnTo>
                  <a:lnTo>
                    <a:pt x="0" y="252"/>
                  </a:lnTo>
                  <a:lnTo>
                    <a:pt x="6" y="240"/>
                  </a:lnTo>
                  <a:lnTo>
                    <a:pt x="6" y="234"/>
                  </a:lnTo>
                  <a:lnTo>
                    <a:pt x="6" y="222"/>
                  </a:lnTo>
                  <a:lnTo>
                    <a:pt x="6" y="216"/>
                  </a:lnTo>
                  <a:lnTo>
                    <a:pt x="6" y="210"/>
                  </a:lnTo>
                  <a:lnTo>
                    <a:pt x="6" y="204"/>
                  </a:lnTo>
                  <a:lnTo>
                    <a:pt x="12" y="204"/>
                  </a:lnTo>
                  <a:lnTo>
                    <a:pt x="12" y="198"/>
                  </a:lnTo>
                  <a:lnTo>
                    <a:pt x="12" y="186"/>
                  </a:lnTo>
                  <a:lnTo>
                    <a:pt x="12" y="180"/>
                  </a:lnTo>
                  <a:lnTo>
                    <a:pt x="24" y="162"/>
                  </a:lnTo>
                  <a:lnTo>
                    <a:pt x="30" y="162"/>
                  </a:lnTo>
                  <a:lnTo>
                    <a:pt x="30" y="156"/>
                  </a:lnTo>
                  <a:lnTo>
                    <a:pt x="42" y="156"/>
                  </a:lnTo>
                  <a:lnTo>
                    <a:pt x="48" y="198"/>
                  </a:lnTo>
                  <a:lnTo>
                    <a:pt x="48" y="204"/>
                  </a:lnTo>
                  <a:lnTo>
                    <a:pt x="54" y="198"/>
                  </a:lnTo>
                  <a:lnTo>
                    <a:pt x="60" y="204"/>
                  </a:lnTo>
                  <a:lnTo>
                    <a:pt x="66" y="198"/>
                  </a:lnTo>
                  <a:lnTo>
                    <a:pt x="66" y="204"/>
                  </a:lnTo>
                  <a:lnTo>
                    <a:pt x="72" y="204"/>
                  </a:lnTo>
                  <a:lnTo>
                    <a:pt x="78" y="204"/>
                  </a:lnTo>
                  <a:lnTo>
                    <a:pt x="78" y="192"/>
                  </a:lnTo>
                  <a:lnTo>
                    <a:pt x="84" y="192"/>
                  </a:lnTo>
                  <a:lnTo>
                    <a:pt x="90" y="192"/>
                  </a:lnTo>
                  <a:lnTo>
                    <a:pt x="96" y="186"/>
                  </a:lnTo>
                  <a:lnTo>
                    <a:pt x="102" y="180"/>
                  </a:lnTo>
                  <a:lnTo>
                    <a:pt x="102" y="174"/>
                  </a:lnTo>
                  <a:lnTo>
                    <a:pt x="108" y="168"/>
                  </a:lnTo>
                  <a:lnTo>
                    <a:pt x="108" y="162"/>
                  </a:lnTo>
                  <a:lnTo>
                    <a:pt x="114" y="156"/>
                  </a:lnTo>
                  <a:lnTo>
                    <a:pt x="120" y="156"/>
                  </a:lnTo>
                  <a:lnTo>
                    <a:pt x="126" y="156"/>
                  </a:lnTo>
                  <a:lnTo>
                    <a:pt x="132" y="150"/>
                  </a:lnTo>
                  <a:lnTo>
                    <a:pt x="132" y="144"/>
                  </a:lnTo>
                  <a:lnTo>
                    <a:pt x="138" y="138"/>
                  </a:lnTo>
                  <a:lnTo>
                    <a:pt x="144" y="138"/>
                  </a:lnTo>
                  <a:lnTo>
                    <a:pt x="150" y="138"/>
                  </a:lnTo>
                  <a:lnTo>
                    <a:pt x="150" y="132"/>
                  </a:lnTo>
                  <a:lnTo>
                    <a:pt x="150" y="126"/>
                  </a:lnTo>
                  <a:lnTo>
                    <a:pt x="156" y="126"/>
                  </a:lnTo>
                  <a:lnTo>
                    <a:pt x="174" y="126"/>
                  </a:lnTo>
                  <a:lnTo>
                    <a:pt x="204" y="120"/>
                  </a:lnTo>
                  <a:lnTo>
                    <a:pt x="210" y="78"/>
                  </a:lnTo>
                  <a:lnTo>
                    <a:pt x="246" y="60"/>
                  </a:lnTo>
                  <a:lnTo>
                    <a:pt x="258" y="60"/>
                  </a:lnTo>
                  <a:lnTo>
                    <a:pt x="258" y="48"/>
                  </a:lnTo>
                  <a:lnTo>
                    <a:pt x="264" y="48"/>
                  </a:lnTo>
                  <a:lnTo>
                    <a:pt x="270" y="54"/>
                  </a:lnTo>
                  <a:lnTo>
                    <a:pt x="276" y="54"/>
                  </a:lnTo>
                  <a:lnTo>
                    <a:pt x="276" y="48"/>
                  </a:lnTo>
                  <a:lnTo>
                    <a:pt x="282" y="48"/>
                  </a:lnTo>
                  <a:lnTo>
                    <a:pt x="288" y="42"/>
                  </a:lnTo>
                  <a:lnTo>
                    <a:pt x="294" y="42"/>
                  </a:lnTo>
                  <a:lnTo>
                    <a:pt x="294" y="18"/>
                  </a:lnTo>
                  <a:lnTo>
                    <a:pt x="312" y="6"/>
                  </a:lnTo>
                  <a:lnTo>
                    <a:pt x="318" y="6"/>
                  </a:lnTo>
                  <a:lnTo>
                    <a:pt x="324" y="6"/>
                  </a:lnTo>
                  <a:lnTo>
                    <a:pt x="330" y="0"/>
                  </a:lnTo>
                  <a:lnTo>
                    <a:pt x="336" y="0"/>
                  </a:lnTo>
                  <a:lnTo>
                    <a:pt x="342" y="0"/>
                  </a:lnTo>
                  <a:lnTo>
                    <a:pt x="354" y="6"/>
                  </a:lnTo>
                  <a:lnTo>
                    <a:pt x="366" y="18"/>
                  </a:lnTo>
                  <a:lnTo>
                    <a:pt x="378" y="36"/>
                  </a:lnTo>
                  <a:lnTo>
                    <a:pt x="390" y="42"/>
                  </a:lnTo>
                  <a:lnTo>
                    <a:pt x="390" y="48"/>
                  </a:lnTo>
                  <a:lnTo>
                    <a:pt x="396" y="60"/>
                  </a:lnTo>
                  <a:lnTo>
                    <a:pt x="402" y="72"/>
                  </a:lnTo>
                  <a:lnTo>
                    <a:pt x="408" y="78"/>
                  </a:lnTo>
                  <a:lnTo>
                    <a:pt x="402" y="84"/>
                  </a:lnTo>
                  <a:lnTo>
                    <a:pt x="408" y="90"/>
                  </a:lnTo>
                  <a:lnTo>
                    <a:pt x="414" y="102"/>
                  </a:lnTo>
                  <a:lnTo>
                    <a:pt x="444" y="114"/>
                  </a:lnTo>
                  <a:lnTo>
                    <a:pt x="450" y="114"/>
                  </a:lnTo>
                  <a:lnTo>
                    <a:pt x="450" y="126"/>
                  </a:lnTo>
                  <a:lnTo>
                    <a:pt x="456" y="126"/>
                  </a:lnTo>
                  <a:lnTo>
                    <a:pt x="462" y="144"/>
                  </a:lnTo>
                  <a:lnTo>
                    <a:pt x="480" y="156"/>
                  </a:lnTo>
                  <a:lnTo>
                    <a:pt x="492" y="156"/>
                  </a:lnTo>
                  <a:lnTo>
                    <a:pt x="516" y="150"/>
                  </a:lnTo>
                  <a:lnTo>
                    <a:pt x="516" y="144"/>
                  </a:lnTo>
                  <a:lnTo>
                    <a:pt x="516" y="138"/>
                  </a:lnTo>
                  <a:lnTo>
                    <a:pt x="528" y="138"/>
                  </a:lnTo>
                  <a:lnTo>
                    <a:pt x="546" y="144"/>
                  </a:lnTo>
                  <a:lnTo>
                    <a:pt x="546" y="138"/>
                  </a:lnTo>
                  <a:lnTo>
                    <a:pt x="552" y="138"/>
                  </a:lnTo>
                  <a:lnTo>
                    <a:pt x="564" y="138"/>
                  </a:lnTo>
                  <a:lnTo>
                    <a:pt x="570" y="132"/>
                  </a:lnTo>
                  <a:lnTo>
                    <a:pt x="576" y="138"/>
                  </a:lnTo>
                  <a:lnTo>
                    <a:pt x="582" y="138"/>
                  </a:lnTo>
                  <a:lnTo>
                    <a:pt x="588" y="138"/>
                  </a:lnTo>
                  <a:lnTo>
                    <a:pt x="594" y="138"/>
                  </a:lnTo>
                  <a:lnTo>
                    <a:pt x="594" y="144"/>
                  </a:lnTo>
                  <a:lnTo>
                    <a:pt x="600" y="138"/>
                  </a:lnTo>
                  <a:lnTo>
                    <a:pt x="606" y="138"/>
                  </a:lnTo>
                  <a:lnTo>
                    <a:pt x="606" y="144"/>
                  </a:lnTo>
                  <a:lnTo>
                    <a:pt x="612" y="144"/>
                  </a:lnTo>
                  <a:lnTo>
                    <a:pt x="618" y="156"/>
                  </a:lnTo>
                  <a:lnTo>
                    <a:pt x="612" y="198"/>
                  </a:lnTo>
                  <a:lnTo>
                    <a:pt x="624" y="198"/>
                  </a:lnTo>
                  <a:lnTo>
                    <a:pt x="624" y="204"/>
                  </a:lnTo>
                  <a:lnTo>
                    <a:pt x="612" y="216"/>
                  </a:lnTo>
                  <a:lnTo>
                    <a:pt x="594" y="234"/>
                  </a:lnTo>
                  <a:lnTo>
                    <a:pt x="588" y="252"/>
                  </a:lnTo>
                  <a:lnTo>
                    <a:pt x="576" y="270"/>
                  </a:lnTo>
                  <a:lnTo>
                    <a:pt x="564" y="282"/>
                  </a:lnTo>
                  <a:lnTo>
                    <a:pt x="564" y="294"/>
                  </a:lnTo>
                  <a:lnTo>
                    <a:pt x="558" y="282"/>
                  </a:lnTo>
                  <a:lnTo>
                    <a:pt x="552" y="282"/>
                  </a:lnTo>
                  <a:lnTo>
                    <a:pt x="546" y="288"/>
                  </a:lnTo>
                  <a:lnTo>
                    <a:pt x="546" y="294"/>
                  </a:lnTo>
                  <a:lnTo>
                    <a:pt x="540" y="294"/>
                  </a:lnTo>
                  <a:lnTo>
                    <a:pt x="534" y="294"/>
                  </a:lnTo>
                  <a:lnTo>
                    <a:pt x="522" y="300"/>
                  </a:lnTo>
                  <a:lnTo>
                    <a:pt x="510" y="294"/>
                  </a:lnTo>
                  <a:lnTo>
                    <a:pt x="492" y="300"/>
                  </a:lnTo>
                  <a:lnTo>
                    <a:pt x="492" y="306"/>
                  </a:lnTo>
                  <a:lnTo>
                    <a:pt x="498" y="312"/>
                  </a:lnTo>
                  <a:lnTo>
                    <a:pt x="498" y="318"/>
                  </a:lnTo>
                  <a:lnTo>
                    <a:pt x="498" y="324"/>
                  </a:lnTo>
                  <a:lnTo>
                    <a:pt x="504" y="336"/>
                  </a:lnTo>
                  <a:lnTo>
                    <a:pt x="510" y="348"/>
                  </a:lnTo>
                  <a:lnTo>
                    <a:pt x="516" y="366"/>
                  </a:lnTo>
                  <a:lnTo>
                    <a:pt x="522" y="432"/>
                  </a:lnTo>
                  <a:lnTo>
                    <a:pt x="522" y="456"/>
                  </a:lnTo>
                  <a:lnTo>
                    <a:pt x="504" y="492"/>
                  </a:lnTo>
                  <a:lnTo>
                    <a:pt x="504" y="498"/>
                  </a:lnTo>
                  <a:lnTo>
                    <a:pt x="498" y="504"/>
                  </a:lnTo>
                  <a:lnTo>
                    <a:pt x="498" y="522"/>
                  </a:lnTo>
                  <a:lnTo>
                    <a:pt x="504" y="534"/>
                  </a:lnTo>
                  <a:lnTo>
                    <a:pt x="510" y="546"/>
                  </a:lnTo>
                  <a:lnTo>
                    <a:pt x="516" y="558"/>
                  </a:lnTo>
                  <a:lnTo>
                    <a:pt x="516" y="588"/>
                  </a:lnTo>
                  <a:lnTo>
                    <a:pt x="516" y="600"/>
                  </a:lnTo>
                  <a:lnTo>
                    <a:pt x="510" y="618"/>
                  </a:lnTo>
                  <a:lnTo>
                    <a:pt x="504" y="636"/>
                  </a:lnTo>
                  <a:lnTo>
                    <a:pt x="504" y="642"/>
                  </a:lnTo>
                  <a:lnTo>
                    <a:pt x="474" y="654"/>
                  </a:lnTo>
                  <a:lnTo>
                    <a:pt x="474" y="690"/>
                  </a:lnTo>
                  <a:lnTo>
                    <a:pt x="474" y="696"/>
                  </a:lnTo>
                  <a:lnTo>
                    <a:pt x="480" y="702"/>
                  </a:lnTo>
                  <a:lnTo>
                    <a:pt x="486" y="708"/>
                  </a:lnTo>
                  <a:lnTo>
                    <a:pt x="492" y="708"/>
                  </a:lnTo>
                  <a:lnTo>
                    <a:pt x="498" y="726"/>
                  </a:lnTo>
                  <a:lnTo>
                    <a:pt x="504" y="726"/>
                  </a:lnTo>
                  <a:lnTo>
                    <a:pt x="504" y="738"/>
                  </a:lnTo>
                  <a:lnTo>
                    <a:pt x="498" y="744"/>
                  </a:lnTo>
                  <a:lnTo>
                    <a:pt x="486" y="750"/>
                  </a:lnTo>
                  <a:lnTo>
                    <a:pt x="474" y="744"/>
                  </a:lnTo>
                  <a:lnTo>
                    <a:pt x="462" y="744"/>
                  </a:lnTo>
                  <a:lnTo>
                    <a:pt x="456" y="732"/>
                  </a:lnTo>
                  <a:lnTo>
                    <a:pt x="444" y="732"/>
                  </a:lnTo>
                  <a:lnTo>
                    <a:pt x="432" y="726"/>
                  </a:lnTo>
                  <a:lnTo>
                    <a:pt x="420" y="720"/>
                  </a:lnTo>
                  <a:lnTo>
                    <a:pt x="408" y="708"/>
                  </a:lnTo>
                  <a:lnTo>
                    <a:pt x="402" y="708"/>
                  </a:lnTo>
                  <a:lnTo>
                    <a:pt x="390" y="702"/>
                  </a:lnTo>
                  <a:close/>
                </a:path>
              </a:pathLst>
            </a:custGeom>
            <a:solidFill>
              <a:srgbClr val="FFC000"/>
            </a:solidFill>
            <a:ln w="9525">
              <a:solidFill>
                <a:schemeClr val="bg1"/>
              </a:solidFill>
              <a:round/>
              <a:headEnd/>
              <a:tailEnd/>
            </a:ln>
          </p:spPr>
          <p:txBody>
            <a:bodyPr/>
            <a:lstStyle/>
            <a:p>
              <a:endParaRPr lang="en-GB"/>
            </a:p>
          </p:txBody>
        </p:sp>
        <p:sp>
          <p:nvSpPr>
            <p:cNvPr id="19497" name="Freeform 21"/>
            <p:cNvSpPr>
              <a:spLocks/>
            </p:cNvSpPr>
            <p:nvPr/>
          </p:nvSpPr>
          <p:spPr bwMode="gray">
            <a:xfrm>
              <a:off x="3861295" y="4876220"/>
              <a:ext cx="459336" cy="574894"/>
            </a:xfrm>
            <a:custGeom>
              <a:avLst/>
              <a:gdLst>
                <a:gd name="T0" fmla="*/ 11718 w 588"/>
                <a:gd name="T1" fmla="*/ 47505 h 714"/>
                <a:gd name="T2" fmla="*/ 10937 w 588"/>
                <a:gd name="T3" fmla="*/ 46700 h 714"/>
                <a:gd name="T4" fmla="*/ 7031 w 588"/>
                <a:gd name="T5" fmla="*/ 43479 h 714"/>
                <a:gd name="T6" fmla="*/ 3125 w 588"/>
                <a:gd name="T7" fmla="*/ 43479 h 714"/>
                <a:gd name="T8" fmla="*/ 0 w 588"/>
                <a:gd name="T9" fmla="*/ 40259 h 714"/>
                <a:gd name="T10" fmla="*/ 0 w 588"/>
                <a:gd name="T11" fmla="*/ 35428 h 714"/>
                <a:gd name="T12" fmla="*/ 3125 w 588"/>
                <a:gd name="T13" fmla="*/ 37038 h 714"/>
                <a:gd name="T14" fmla="*/ 5468 w 588"/>
                <a:gd name="T15" fmla="*/ 37843 h 714"/>
                <a:gd name="T16" fmla="*/ 7812 w 588"/>
                <a:gd name="T17" fmla="*/ 37038 h 714"/>
                <a:gd name="T18" fmla="*/ 6249 w 588"/>
                <a:gd name="T19" fmla="*/ 35428 h 714"/>
                <a:gd name="T20" fmla="*/ 7812 w 588"/>
                <a:gd name="T21" fmla="*/ 31402 h 714"/>
                <a:gd name="T22" fmla="*/ 8593 w 588"/>
                <a:gd name="T23" fmla="*/ 27376 h 714"/>
                <a:gd name="T24" fmla="*/ 7031 w 588"/>
                <a:gd name="T25" fmla="*/ 22545 h 714"/>
                <a:gd name="T26" fmla="*/ 8593 w 588"/>
                <a:gd name="T27" fmla="*/ 17714 h 714"/>
                <a:gd name="T28" fmla="*/ 7812 w 588"/>
                <a:gd name="T29" fmla="*/ 9662 h 714"/>
                <a:gd name="T30" fmla="*/ 7031 w 588"/>
                <a:gd name="T31" fmla="*/ 7247 h 714"/>
                <a:gd name="T32" fmla="*/ 9374 w 588"/>
                <a:gd name="T33" fmla="*/ 6441 h 714"/>
                <a:gd name="T34" fmla="*/ 10937 w 588"/>
                <a:gd name="T35" fmla="*/ 5636 h 714"/>
                <a:gd name="T36" fmla="*/ 13280 w 588"/>
                <a:gd name="T37" fmla="*/ 8052 h 714"/>
                <a:gd name="T38" fmla="*/ 17967 w 588"/>
                <a:gd name="T39" fmla="*/ 11272 h 714"/>
                <a:gd name="T40" fmla="*/ 21873 w 588"/>
                <a:gd name="T41" fmla="*/ 3221 h 714"/>
                <a:gd name="T42" fmla="*/ 27341 w 588"/>
                <a:gd name="T43" fmla="*/ 1610 h 714"/>
                <a:gd name="T44" fmla="*/ 29685 w 588"/>
                <a:gd name="T45" fmla="*/ 0 h 714"/>
                <a:gd name="T46" fmla="*/ 31247 w 588"/>
                <a:gd name="T47" fmla="*/ 1610 h 714"/>
                <a:gd name="T48" fmla="*/ 30466 w 588"/>
                <a:gd name="T49" fmla="*/ 3221 h 714"/>
                <a:gd name="T50" fmla="*/ 32029 w 588"/>
                <a:gd name="T51" fmla="*/ 4026 h 714"/>
                <a:gd name="T52" fmla="*/ 32810 w 588"/>
                <a:gd name="T53" fmla="*/ 5636 h 714"/>
                <a:gd name="T54" fmla="*/ 33591 w 588"/>
                <a:gd name="T55" fmla="*/ 7247 h 714"/>
                <a:gd name="T56" fmla="*/ 33591 w 588"/>
                <a:gd name="T57" fmla="*/ 8052 h 714"/>
                <a:gd name="T58" fmla="*/ 33591 w 588"/>
                <a:gd name="T59" fmla="*/ 9662 h 714"/>
                <a:gd name="T60" fmla="*/ 34372 w 588"/>
                <a:gd name="T61" fmla="*/ 9662 h 714"/>
                <a:gd name="T62" fmla="*/ 35934 w 588"/>
                <a:gd name="T63" fmla="*/ 10467 h 714"/>
                <a:gd name="T64" fmla="*/ 36716 w 588"/>
                <a:gd name="T65" fmla="*/ 11272 h 714"/>
                <a:gd name="T66" fmla="*/ 37497 w 588"/>
                <a:gd name="T67" fmla="*/ 12078 h 714"/>
                <a:gd name="T68" fmla="*/ 38278 w 588"/>
                <a:gd name="T69" fmla="*/ 12078 h 714"/>
                <a:gd name="T70" fmla="*/ 37497 w 588"/>
                <a:gd name="T71" fmla="*/ 13688 h 714"/>
                <a:gd name="T72" fmla="*/ 38278 w 588"/>
                <a:gd name="T73" fmla="*/ 15298 h 714"/>
                <a:gd name="T74" fmla="*/ 38278 w 588"/>
                <a:gd name="T75" fmla="*/ 16103 h 714"/>
                <a:gd name="T76" fmla="*/ 39840 w 588"/>
                <a:gd name="T77" fmla="*/ 16909 h 714"/>
                <a:gd name="T78" fmla="*/ 39059 w 588"/>
                <a:gd name="T79" fmla="*/ 17714 h 714"/>
                <a:gd name="T80" fmla="*/ 36716 w 588"/>
                <a:gd name="T81" fmla="*/ 18519 h 714"/>
                <a:gd name="T82" fmla="*/ 36716 w 588"/>
                <a:gd name="T83" fmla="*/ 20935 h 714"/>
                <a:gd name="T84" fmla="*/ 36716 w 588"/>
                <a:gd name="T85" fmla="*/ 25766 h 714"/>
                <a:gd name="T86" fmla="*/ 34372 w 588"/>
                <a:gd name="T87" fmla="*/ 28181 h 714"/>
                <a:gd name="T88" fmla="*/ 32810 w 588"/>
                <a:gd name="T89" fmla="*/ 31402 h 714"/>
                <a:gd name="T90" fmla="*/ 32810 w 588"/>
                <a:gd name="T91" fmla="*/ 33012 h 714"/>
                <a:gd name="T92" fmla="*/ 32810 w 588"/>
                <a:gd name="T93" fmla="*/ 33817 h 714"/>
                <a:gd name="T94" fmla="*/ 32029 w 588"/>
                <a:gd name="T95" fmla="*/ 35428 h 714"/>
                <a:gd name="T96" fmla="*/ 30466 w 588"/>
                <a:gd name="T97" fmla="*/ 34622 h 714"/>
                <a:gd name="T98" fmla="*/ 28904 w 588"/>
                <a:gd name="T99" fmla="*/ 35428 h 714"/>
                <a:gd name="T100" fmla="*/ 27341 w 588"/>
                <a:gd name="T101" fmla="*/ 37038 h 714"/>
                <a:gd name="T102" fmla="*/ 24217 w 588"/>
                <a:gd name="T103" fmla="*/ 36233 h 714"/>
                <a:gd name="T104" fmla="*/ 18748 w 588"/>
                <a:gd name="T105" fmla="*/ 36233 h 714"/>
                <a:gd name="T106" fmla="*/ 19530 w 588"/>
                <a:gd name="T107" fmla="*/ 37843 h 714"/>
                <a:gd name="T108" fmla="*/ 19530 w 588"/>
                <a:gd name="T109" fmla="*/ 39454 h 714"/>
                <a:gd name="T110" fmla="*/ 19530 w 588"/>
                <a:gd name="T111" fmla="*/ 40259 h 714"/>
                <a:gd name="T112" fmla="*/ 18748 w 588"/>
                <a:gd name="T113" fmla="*/ 41064 h 714"/>
                <a:gd name="T114" fmla="*/ 17186 w 588"/>
                <a:gd name="T115" fmla="*/ 42674 h 714"/>
                <a:gd name="T116" fmla="*/ 17967 w 588"/>
                <a:gd name="T117" fmla="*/ 45090 h 714"/>
                <a:gd name="T118" fmla="*/ 15624 w 588"/>
                <a:gd name="T119" fmla="*/ 46700 h 714"/>
                <a:gd name="T120" fmla="*/ 14842 w 588"/>
                <a:gd name="T121" fmla="*/ 49921 h 7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88"/>
                <a:gd name="T184" fmla="*/ 0 h 714"/>
                <a:gd name="T185" fmla="*/ 588 w 588"/>
                <a:gd name="T186" fmla="*/ 714 h 7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88" h="714">
                  <a:moveTo>
                    <a:pt x="216" y="714"/>
                  </a:moveTo>
                  <a:lnTo>
                    <a:pt x="198" y="702"/>
                  </a:lnTo>
                  <a:lnTo>
                    <a:pt x="186" y="696"/>
                  </a:lnTo>
                  <a:lnTo>
                    <a:pt x="180" y="684"/>
                  </a:lnTo>
                  <a:lnTo>
                    <a:pt x="174" y="684"/>
                  </a:lnTo>
                  <a:lnTo>
                    <a:pt x="174" y="678"/>
                  </a:lnTo>
                  <a:lnTo>
                    <a:pt x="168" y="672"/>
                  </a:lnTo>
                  <a:lnTo>
                    <a:pt x="162" y="666"/>
                  </a:lnTo>
                  <a:lnTo>
                    <a:pt x="156" y="636"/>
                  </a:lnTo>
                  <a:lnTo>
                    <a:pt x="144" y="630"/>
                  </a:lnTo>
                  <a:lnTo>
                    <a:pt x="108" y="630"/>
                  </a:lnTo>
                  <a:lnTo>
                    <a:pt x="102" y="624"/>
                  </a:lnTo>
                  <a:lnTo>
                    <a:pt x="96" y="624"/>
                  </a:lnTo>
                  <a:lnTo>
                    <a:pt x="72" y="624"/>
                  </a:lnTo>
                  <a:lnTo>
                    <a:pt x="54" y="624"/>
                  </a:lnTo>
                  <a:lnTo>
                    <a:pt x="42" y="618"/>
                  </a:lnTo>
                  <a:lnTo>
                    <a:pt x="30" y="612"/>
                  </a:lnTo>
                  <a:lnTo>
                    <a:pt x="6" y="606"/>
                  </a:lnTo>
                  <a:lnTo>
                    <a:pt x="0" y="606"/>
                  </a:lnTo>
                  <a:lnTo>
                    <a:pt x="0" y="570"/>
                  </a:lnTo>
                  <a:lnTo>
                    <a:pt x="6" y="552"/>
                  </a:lnTo>
                  <a:lnTo>
                    <a:pt x="6" y="522"/>
                  </a:lnTo>
                  <a:lnTo>
                    <a:pt x="0" y="510"/>
                  </a:lnTo>
                  <a:lnTo>
                    <a:pt x="0" y="504"/>
                  </a:lnTo>
                  <a:lnTo>
                    <a:pt x="12" y="510"/>
                  </a:lnTo>
                  <a:lnTo>
                    <a:pt x="18" y="510"/>
                  </a:lnTo>
                  <a:lnTo>
                    <a:pt x="30" y="522"/>
                  </a:lnTo>
                  <a:lnTo>
                    <a:pt x="42" y="528"/>
                  </a:lnTo>
                  <a:lnTo>
                    <a:pt x="54" y="534"/>
                  </a:lnTo>
                  <a:lnTo>
                    <a:pt x="66" y="534"/>
                  </a:lnTo>
                  <a:lnTo>
                    <a:pt x="72" y="546"/>
                  </a:lnTo>
                  <a:lnTo>
                    <a:pt x="84" y="546"/>
                  </a:lnTo>
                  <a:lnTo>
                    <a:pt x="96" y="552"/>
                  </a:lnTo>
                  <a:lnTo>
                    <a:pt x="108" y="546"/>
                  </a:lnTo>
                  <a:lnTo>
                    <a:pt x="114" y="540"/>
                  </a:lnTo>
                  <a:lnTo>
                    <a:pt x="114" y="528"/>
                  </a:lnTo>
                  <a:lnTo>
                    <a:pt x="108" y="528"/>
                  </a:lnTo>
                  <a:lnTo>
                    <a:pt x="102" y="510"/>
                  </a:lnTo>
                  <a:lnTo>
                    <a:pt x="96" y="510"/>
                  </a:lnTo>
                  <a:lnTo>
                    <a:pt x="90" y="504"/>
                  </a:lnTo>
                  <a:lnTo>
                    <a:pt x="84" y="498"/>
                  </a:lnTo>
                  <a:lnTo>
                    <a:pt x="84" y="492"/>
                  </a:lnTo>
                  <a:lnTo>
                    <a:pt x="84" y="456"/>
                  </a:lnTo>
                  <a:lnTo>
                    <a:pt x="114" y="444"/>
                  </a:lnTo>
                  <a:lnTo>
                    <a:pt x="114" y="438"/>
                  </a:lnTo>
                  <a:lnTo>
                    <a:pt x="120" y="420"/>
                  </a:lnTo>
                  <a:lnTo>
                    <a:pt x="126" y="402"/>
                  </a:lnTo>
                  <a:lnTo>
                    <a:pt x="126" y="390"/>
                  </a:lnTo>
                  <a:lnTo>
                    <a:pt x="126" y="360"/>
                  </a:lnTo>
                  <a:lnTo>
                    <a:pt x="120" y="348"/>
                  </a:lnTo>
                  <a:lnTo>
                    <a:pt x="114" y="336"/>
                  </a:lnTo>
                  <a:lnTo>
                    <a:pt x="108" y="324"/>
                  </a:lnTo>
                  <a:lnTo>
                    <a:pt x="108" y="306"/>
                  </a:lnTo>
                  <a:lnTo>
                    <a:pt x="114" y="300"/>
                  </a:lnTo>
                  <a:lnTo>
                    <a:pt x="114" y="294"/>
                  </a:lnTo>
                  <a:lnTo>
                    <a:pt x="132" y="258"/>
                  </a:lnTo>
                  <a:lnTo>
                    <a:pt x="132" y="234"/>
                  </a:lnTo>
                  <a:lnTo>
                    <a:pt x="126" y="168"/>
                  </a:lnTo>
                  <a:lnTo>
                    <a:pt x="120" y="150"/>
                  </a:lnTo>
                  <a:lnTo>
                    <a:pt x="114" y="138"/>
                  </a:lnTo>
                  <a:lnTo>
                    <a:pt x="108" y="126"/>
                  </a:lnTo>
                  <a:lnTo>
                    <a:pt x="108" y="120"/>
                  </a:lnTo>
                  <a:lnTo>
                    <a:pt x="108" y="114"/>
                  </a:lnTo>
                  <a:lnTo>
                    <a:pt x="102" y="108"/>
                  </a:lnTo>
                  <a:lnTo>
                    <a:pt x="102" y="102"/>
                  </a:lnTo>
                  <a:lnTo>
                    <a:pt x="120" y="96"/>
                  </a:lnTo>
                  <a:lnTo>
                    <a:pt x="132" y="102"/>
                  </a:lnTo>
                  <a:lnTo>
                    <a:pt x="144" y="96"/>
                  </a:lnTo>
                  <a:lnTo>
                    <a:pt x="150" y="96"/>
                  </a:lnTo>
                  <a:lnTo>
                    <a:pt x="156" y="96"/>
                  </a:lnTo>
                  <a:lnTo>
                    <a:pt x="156" y="90"/>
                  </a:lnTo>
                  <a:lnTo>
                    <a:pt x="162" y="84"/>
                  </a:lnTo>
                  <a:lnTo>
                    <a:pt x="168" y="84"/>
                  </a:lnTo>
                  <a:lnTo>
                    <a:pt x="174" y="96"/>
                  </a:lnTo>
                  <a:lnTo>
                    <a:pt x="186" y="96"/>
                  </a:lnTo>
                  <a:lnTo>
                    <a:pt x="192" y="114"/>
                  </a:lnTo>
                  <a:lnTo>
                    <a:pt x="204" y="132"/>
                  </a:lnTo>
                  <a:lnTo>
                    <a:pt x="216" y="144"/>
                  </a:lnTo>
                  <a:lnTo>
                    <a:pt x="240" y="162"/>
                  </a:lnTo>
                  <a:lnTo>
                    <a:pt x="270" y="156"/>
                  </a:lnTo>
                  <a:lnTo>
                    <a:pt x="282" y="126"/>
                  </a:lnTo>
                  <a:lnTo>
                    <a:pt x="282" y="96"/>
                  </a:lnTo>
                  <a:lnTo>
                    <a:pt x="294" y="54"/>
                  </a:lnTo>
                  <a:lnTo>
                    <a:pt x="324" y="48"/>
                  </a:lnTo>
                  <a:lnTo>
                    <a:pt x="342" y="48"/>
                  </a:lnTo>
                  <a:lnTo>
                    <a:pt x="384" y="48"/>
                  </a:lnTo>
                  <a:lnTo>
                    <a:pt x="390" y="30"/>
                  </a:lnTo>
                  <a:lnTo>
                    <a:pt x="402" y="18"/>
                  </a:lnTo>
                  <a:lnTo>
                    <a:pt x="438" y="6"/>
                  </a:lnTo>
                  <a:lnTo>
                    <a:pt x="438" y="0"/>
                  </a:lnTo>
                  <a:lnTo>
                    <a:pt x="444" y="0"/>
                  </a:lnTo>
                  <a:lnTo>
                    <a:pt x="444" y="6"/>
                  </a:lnTo>
                  <a:lnTo>
                    <a:pt x="450" y="6"/>
                  </a:lnTo>
                  <a:lnTo>
                    <a:pt x="456" y="12"/>
                  </a:lnTo>
                  <a:lnTo>
                    <a:pt x="456" y="18"/>
                  </a:lnTo>
                  <a:lnTo>
                    <a:pt x="462" y="24"/>
                  </a:lnTo>
                  <a:lnTo>
                    <a:pt x="462" y="30"/>
                  </a:lnTo>
                  <a:lnTo>
                    <a:pt x="468" y="36"/>
                  </a:lnTo>
                  <a:lnTo>
                    <a:pt x="462" y="36"/>
                  </a:lnTo>
                  <a:lnTo>
                    <a:pt x="456" y="42"/>
                  </a:lnTo>
                  <a:lnTo>
                    <a:pt x="462" y="42"/>
                  </a:lnTo>
                  <a:lnTo>
                    <a:pt x="468" y="48"/>
                  </a:lnTo>
                  <a:lnTo>
                    <a:pt x="468" y="54"/>
                  </a:lnTo>
                  <a:lnTo>
                    <a:pt x="474" y="54"/>
                  </a:lnTo>
                  <a:lnTo>
                    <a:pt x="474" y="60"/>
                  </a:lnTo>
                  <a:lnTo>
                    <a:pt x="486" y="78"/>
                  </a:lnTo>
                  <a:lnTo>
                    <a:pt x="486" y="84"/>
                  </a:lnTo>
                  <a:lnTo>
                    <a:pt x="492" y="84"/>
                  </a:lnTo>
                  <a:lnTo>
                    <a:pt x="492" y="90"/>
                  </a:lnTo>
                  <a:lnTo>
                    <a:pt x="492" y="96"/>
                  </a:lnTo>
                  <a:lnTo>
                    <a:pt x="492" y="102"/>
                  </a:lnTo>
                  <a:lnTo>
                    <a:pt x="498" y="102"/>
                  </a:lnTo>
                  <a:lnTo>
                    <a:pt x="504" y="102"/>
                  </a:lnTo>
                  <a:lnTo>
                    <a:pt x="504" y="108"/>
                  </a:lnTo>
                  <a:lnTo>
                    <a:pt x="504" y="114"/>
                  </a:lnTo>
                  <a:lnTo>
                    <a:pt x="498" y="114"/>
                  </a:lnTo>
                  <a:lnTo>
                    <a:pt x="498" y="120"/>
                  </a:lnTo>
                  <a:lnTo>
                    <a:pt x="498" y="126"/>
                  </a:lnTo>
                  <a:lnTo>
                    <a:pt x="504" y="126"/>
                  </a:lnTo>
                  <a:lnTo>
                    <a:pt x="498" y="132"/>
                  </a:lnTo>
                  <a:lnTo>
                    <a:pt x="504" y="138"/>
                  </a:lnTo>
                  <a:lnTo>
                    <a:pt x="504" y="132"/>
                  </a:lnTo>
                  <a:lnTo>
                    <a:pt x="510" y="132"/>
                  </a:lnTo>
                  <a:lnTo>
                    <a:pt x="510" y="138"/>
                  </a:lnTo>
                  <a:lnTo>
                    <a:pt x="516" y="144"/>
                  </a:lnTo>
                  <a:lnTo>
                    <a:pt x="522" y="144"/>
                  </a:lnTo>
                  <a:lnTo>
                    <a:pt x="522" y="150"/>
                  </a:lnTo>
                  <a:lnTo>
                    <a:pt x="528" y="150"/>
                  </a:lnTo>
                  <a:lnTo>
                    <a:pt x="534" y="150"/>
                  </a:lnTo>
                  <a:lnTo>
                    <a:pt x="534" y="156"/>
                  </a:lnTo>
                  <a:lnTo>
                    <a:pt x="534" y="162"/>
                  </a:lnTo>
                  <a:lnTo>
                    <a:pt x="540" y="156"/>
                  </a:lnTo>
                  <a:lnTo>
                    <a:pt x="546" y="156"/>
                  </a:lnTo>
                  <a:lnTo>
                    <a:pt x="546" y="162"/>
                  </a:lnTo>
                  <a:lnTo>
                    <a:pt x="546" y="168"/>
                  </a:lnTo>
                  <a:lnTo>
                    <a:pt x="552" y="168"/>
                  </a:lnTo>
                  <a:lnTo>
                    <a:pt x="546" y="168"/>
                  </a:lnTo>
                  <a:lnTo>
                    <a:pt x="546" y="174"/>
                  </a:lnTo>
                  <a:lnTo>
                    <a:pt x="558" y="180"/>
                  </a:lnTo>
                  <a:lnTo>
                    <a:pt x="564" y="180"/>
                  </a:lnTo>
                  <a:lnTo>
                    <a:pt x="564" y="186"/>
                  </a:lnTo>
                  <a:lnTo>
                    <a:pt x="558" y="192"/>
                  </a:lnTo>
                  <a:lnTo>
                    <a:pt x="558" y="198"/>
                  </a:lnTo>
                  <a:lnTo>
                    <a:pt x="552" y="198"/>
                  </a:lnTo>
                  <a:lnTo>
                    <a:pt x="558" y="204"/>
                  </a:lnTo>
                  <a:lnTo>
                    <a:pt x="564" y="204"/>
                  </a:lnTo>
                  <a:lnTo>
                    <a:pt x="564" y="210"/>
                  </a:lnTo>
                  <a:lnTo>
                    <a:pt x="570" y="216"/>
                  </a:lnTo>
                  <a:lnTo>
                    <a:pt x="576" y="222"/>
                  </a:lnTo>
                  <a:lnTo>
                    <a:pt x="576" y="228"/>
                  </a:lnTo>
                  <a:lnTo>
                    <a:pt x="570" y="228"/>
                  </a:lnTo>
                  <a:lnTo>
                    <a:pt x="570" y="234"/>
                  </a:lnTo>
                  <a:lnTo>
                    <a:pt x="576" y="234"/>
                  </a:lnTo>
                  <a:lnTo>
                    <a:pt x="582" y="234"/>
                  </a:lnTo>
                  <a:lnTo>
                    <a:pt x="588" y="234"/>
                  </a:lnTo>
                  <a:lnTo>
                    <a:pt x="588" y="240"/>
                  </a:lnTo>
                  <a:lnTo>
                    <a:pt x="588" y="246"/>
                  </a:lnTo>
                  <a:lnTo>
                    <a:pt x="588" y="252"/>
                  </a:lnTo>
                  <a:lnTo>
                    <a:pt x="582" y="252"/>
                  </a:lnTo>
                  <a:lnTo>
                    <a:pt x="576" y="252"/>
                  </a:lnTo>
                  <a:lnTo>
                    <a:pt x="582" y="258"/>
                  </a:lnTo>
                  <a:lnTo>
                    <a:pt x="582" y="264"/>
                  </a:lnTo>
                  <a:lnTo>
                    <a:pt x="576" y="264"/>
                  </a:lnTo>
                  <a:lnTo>
                    <a:pt x="546" y="264"/>
                  </a:lnTo>
                  <a:lnTo>
                    <a:pt x="546" y="276"/>
                  </a:lnTo>
                  <a:lnTo>
                    <a:pt x="540" y="282"/>
                  </a:lnTo>
                  <a:lnTo>
                    <a:pt x="540" y="294"/>
                  </a:lnTo>
                  <a:lnTo>
                    <a:pt x="540" y="300"/>
                  </a:lnTo>
                  <a:lnTo>
                    <a:pt x="540" y="324"/>
                  </a:lnTo>
                  <a:lnTo>
                    <a:pt x="552" y="330"/>
                  </a:lnTo>
                  <a:lnTo>
                    <a:pt x="558" y="342"/>
                  </a:lnTo>
                  <a:lnTo>
                    <a:pt x="546" y="372"/>
                  </a:lnTo>
                  <a:lnTo>
                    <a:pt x="534" y="372"/>
                  </a:lnTo>
                  <a:lnTo>
                    <a:pt x="534" y="384"/>
                  </a:lnTo>
                  <a:lnTo>
                    <a:pt x="522" y="384"/>
                  </a:lnTo>
                  <a:lnTo>
                    <a:pt x="510" y="402"/>
                  </a:lnTo>
                  <a:lnTo>
                    <a:pt x="504" y="420"/>
                  </a:lnTo>
                  <a:lnTo>
                    <a:pt x="492" y="426"/>
                  </a:lnTo>
                  <a:lnTo>
                    <a:pt x="486" y="432"/>
                  </a:lnTo>
                  <a:lnTo>
                    <a:pt x="486" y="444"/>
                  </a:lnTo>
                  <a:lnTo>
                    <a:pt x="486" y="450"/>
                  </a:lnTo>
                  <a:lnTo>
                    <a:pt x="486" y="456"/>
                  </a:lnTo>
                  <a:lnTo>
                    <a:pt x="486" y="462"/>
                  </a:lnTo>
                  <a:lnTo>
                    <a:pt x="486" y="468"/>
                  </a:lnTo>
                  <a:lnTo>
                    <a:pt x="480" y="468"/>
                  </a:lnTo>
                  <a:lnTo>
                    <a:pt x="480" y="474"/>
                  </a:lnTo>
                  <a:lnTo>
                    <a:pt x="480" y="480"/>
                  </a:lnTo>
                  <a:lnTo>
                    <a:pt x="480" y="486"/>
                  </a:lnTo>
                  <a:lnTo>
                    <a:pt x="480" y="492"/>
                  </a:lnTo>
                  <a:lnTo>
                    <a:pt x="480" y="498"/>
                  </a:lnTo>
                  <a:lnTo>
                    <a:pt x="474" y="504"/>
                  </a:lnTo>
                  <a:lnTo>
                    <a:pt x="468" y="510"/>
                  </a:lnTo>
                  <a:lnTo>
                    <a:pt x="462" y="510"/>
                  </a:lnTo>
                  <a:lnTo>
                    <a:pt x="456" y="504"/>
                  </a:lnTo>
                  <a:lnTo>
                    <a:pt x="456" y="498"/>
                  </a:lnTo>
                  <a:lnTo>
                    <a:pt x="450" y="498"/>
                  </a:lnTo>
                  <a:lnTo>
                    <a:pt x="444" y="498"/>
                  </a:lnTo>
                  <a:lnTo>
                    <a:pt x="438" y="498"/>
                  </a:lnTo>
                  <a:lnTo>
                    <a:pt x="432" y="498"/>
                  </a:lnTo>
                  <a:lnTo>
                    <a:pt x="426" y="504"/>
                  </a:lnTo>
                  <a:lnTo>
                    <a:pt x="426" y="510"/>
                  </a:lnTo>
                  <a:lnTo>
                    <a:pt x="420" y="516"/>
                  </a:lnTo>
                  <a:lnTo>
                    <a:pt x="414" y="522"/>
                  </a:lnTo>
                  <a:lnTo>
                    <a:pt x="402" y="528"/>
                  </a:lnTo>
                  <a:lnTo>
                    <a:pt x="396" y="528"/>
                  </a:lnTo>
                  <a:lnTo>
                    <a:pt x="384" y="528"/>
                  </a:lnTo>
                  <a:lnTo>
                    <a:pt x="366" y="540"/>
                  </a:lnTo>
                  <a:lnTo>
                    <a:pt x="360" y="522"/>
                  </a:lnTo>
                  <a:lnTo>
                    <a:pt x="348" y="504"/>
                  </a:lnTo>
                  <a:lnTo>
                    <a:pt x="330" y="504"/>
                  </a:lnTo>
                  <a:lnTo>
                    <a:pt x="282" y="516"/>
                  </a:lnTo>
                  <a:lnTo>
                    <a:pt x="282" y="522"/>
                  </a:lnTo>
                  <a:lnTo>
                    <a:pt x="282" y="534"/>
                  </a:lnTo>
                  <a:lnTo>
                    <a:pt x="288" y="540"/>
                  </a:lnTo>
                  <a:lnTo>
                    <a:pt x="294" y="540"/>
                  </a:lnTo>
                  <a:lnTo>
                    <a:pt x="288" y="540"/>
                  </a:lnTo>
                  <a:lnTo>
                    <a:pt x="282" y="540"/>
                  </a:lnTo>
                  <a:lnTo>
                    <a:pt x="282" y="546"/>
                  </a:lnTo>
                  <a:lnTo>
                    <a:pt x="288" y="552"/>
                  </a:lnTo>
                  <a:lnTo>
                    <a:pt x="294" y="564"/>
                  </a:lnTo>
                  <a:lnTo>
                    <a:pt x="300" y="564"/>
                  </a:lnTo>
                  <a:lnTo>
                    <a:pt x="300" y="570"/>
                  </a:lnTo>
                  <a:lnTo>
                    <a:pt x="294" y="570"/>
                  </a:lnTo>
                  <a:lnTo>
                    <a:pt x="288" y="570"/>
                  </a:lnTo>
                  <a:lnTo>
                    <a:pt x="288" y="576"/>
                  </a:lnTo>
                  <a:lnTo>
                    <a:pt x="288" y="582"/>
                  </a:lnTo>
                  <a:lnTo>
                    <a:pt x="276" y="588"/>
                  </a:lnTo>
                  <a:lnTo>
                    <a:pt x="276" y="594"/>
                  </a:lnTo>
                  <a:lnTo>
                    <a:pt x="270" y="606"/>
                  </a:lnTo>
                  <a:lnTo>
                    <a:pt x="264" y="612"/>
                  </a:lnTo>
                  <a:lnTo>
                    <a:pt x="258" y="612"/>
                  </a:lnTo>
                  <a:lnTo>
                    <a:pt x="252" y="612"/>
                  </a:lnTo>
                  <a:lnTo>
                    <a:pt x="252" y="618"/>
                  </a:lnTo>
                  <a:lnTo>
                    <a:pt x="252" y="624"/>
                  </a:lnTo>
                  <a:lnTo>
                    <a:pt x="252" y="630"/>
                  </a:lnTo>
                  <a:lnTo>
                    <a:pt x="264" y="642"/>
                  </a:lnTo>
                  <a:lnTo>
                    <a:pt x="258" y="648"/>
                  </a:lnTo>
                  <a:lnTo>
                    <a:pt x="246" y="654"/>
                  </a:lnTo>
                  <a:lnTo>
                    <a:pt x="240" y="660"/>
                  </a:lnTo>
                  <a:lnTo>
                    <a:pt x="234" y="672"/>
                  </a:lnTo>
                  <a:lnTo>
                    <a:pt x="234" y="678"/>
                  </a:lnTo>
                  <a:lnTo>
                    <a:pt x="228" y="684"/>
                  </a:lnTo>
                  <a:lnTo>
                    <a:pt x="228" y="696"/>
                  </a:lnTo>
                  <a:lnTo>
                    <a:pt x="216" y="714"/>
                  </a:lnTo>
                  <a:close/>
                </a:path>
              </a:pathLst>
            </a:custGeom>
            <a:solidFill>
              <a:srgbClr val="FFC000"/>
            </a:solidFill>
            <a:ln w="9525">
              <a:solidFill>
                <a:schemeClr val="bg1"/>
              </a:solidFill>
              <a:round/>
              <a:headEnd/>
              <a:tailEnd/>
            </a:ln>
          </p:spPr>
          <p:txBody>
            <a:bodyPr/>
            <a:lstStyle/>
            <a:p>
              <a:endParaRPr lang="en-GB"/>
            </a:p>
          </p:txBody>
        </p:sp>
        <p:sp>
          <p:nvSpPr>
            <p:cNvPr id="19498" name="Freeform 22"/>
            <p:cNvSpPr>
              <a:spLocks/>
            </p:cNvSpPr>
            <p:nvPr/>
          </p:nvSpPr>
          <p:spPr bwMode="gray">
            <a:xfrm>
              <a:off x="3403727" y="4870763"/>
              <a:ext cx="367469" cy="562158"/>
            </a:xfrm>
            <a:custGeom>
              <a:avLst/>
              <a:gdLst>
                <a:gd name="T0" fmla="*/ 0 w 468"/>
                <a:gd name="T1" fmla="*/ 49270 h 696"/>
                <a:gd name="T2" fmla="*/ 785 w 468"/>
                <a:gd name="T3" fmla="*/ 46846 h 696"/>
                <a:gd name="T4" fmla="*/ 1570 w 468"/>
                <a:gd name="T5" fmla="*/ 43616 h 696"/>
                <a:gd name="T6" fmla="*/ 2356 w 468"/>
                <a:gd name="T7" fmla="*/ 41193 h 696"/>
                <a:gd name="T8" fmla="*/ 3141 w 468"/>
                <a:gd name="T9" fmla="*/ 38770 h 696"/>
                <a:gd name="T10" fmla="*/ 4711 w 468"/>
                <a:gd name="T11" fmla="*/ 35539 h 696"/>
                <a:gd name="T12" fmla="*/ 3926 w 468"/>
                <a:gd name="T13" fmla="*/ 33116 h 696"/>
                <a:gd name="T14" fmla="*/ 5496 w 468"/>
                <a:gd name="T15" fmla="*/ 30693 h 696"/>
                <a:gd name="T16" fmla="*/ 6282 w 468"/>
                <a:gd name="T17" fmla="*/ 29077 h 696"/>
                <a:gd name="T18" fmla="*/ 5496 w 468"/>
                <a:gd name="T19" fmla="*/ 26654 h 696"/>
                <a:gd name="T20" fmla="*/ 4711 w 468"/>
                <a:gd name="T21" fmla="*/ 23423 h 696"/>
                <a:gd name="T22" fmla="*/ 3141 w 468"/>
                <a:gd name="T23" fmla="*/ 17769 h 696"/>
                <a:gd name="T24" fmla="*/ 1570 w 468"/>
                <a:gd name="T25" fmla="*/ 11308 h 696"/>
                <a:gd name="T26" fmla="*/ 9422 w 468"/>
                <a:gd name="T27" fmla="*/ 8885 h 696"/>
                <a:gd name="T28" fmla="*/ 10993 w 468"/>
                <a:gd name="T29" fmla="*/ 1615 h 696"/>
                <a:gd name="T30" fmla="*/ 12563 w 468"/>
                <a:gd name="T31" fmla="*/ 0 h 696"/>
                <a:gd name="T32" fmla="*/ 13348 w 468"/>
                <a:gd name="T33" fmla="*/ 0 h 696"/>
                <a:gd name="T34" fmla="*/ 14133 w 468"/>
                <a:gd name="T35" fmla="*/ 808 h 696"/>
                <a:gd name="T36" fmla="*/ 13348 w 468"/>
                <a:gd name="T37" fmla="*/ 1615 h 696"/>
                <a:gd name="T38" fmla="*/ 13348 w 468"/>
                <a:gd name="T39" fmla="*/ 3231 h 696"/>
                <a:gd name="T40" fmla="*/ 13348 w 468"/>
                <a:gd name="T41" fmla="*/ 4846 h 696"/>
                <a:gd name="T42" fmla="*/ 15704 w 468"/>
                <a:gd name="T43" fmla="*/ 4846 h 696"/>
                <a:gd name="T44" fmla="*/ 17274 w 468"/>
                <a:gd name="T45" fmla="*/ 4038 h 696"/>
                <a:gd name="T46" fmla="*/ 18845 w 468"/>
                <a:gd name="T47" fmla="*/ 5654 h 696"/>
                <a:gd name="T48" fmla="*/ 21985 w 468"/>
                <a:gd name="T49" fmla="*/ 5654 h 696"/>
                <a:gd name="T50" fmla="*/ 21985 w 468"/>
                <a:gd name="T51" fmla="*/ 8885 h 696"/>
                <a:gd name="T52" fmla="*/ 19630 w 468"/>
                <a:gd name="T53" fmla="*/ 11308 h 696"/>
                <a:gd name="T54" fmla="*/ 18059 w 468"/>
                <a:gd name="T55" fmla="*/ 12115 h 696"/>
                <a:gd name="T56" fmla="*/ 18059 w 468"/>
                <a:gd name="T57" fmla="*/ 15346 h 696"/>
                <a:gd name="T58" fmla="*/ 18059 w 468"/>
                <a:gd name="T59" fmla="*/ 16962 h 696"/>
                <a:gd name="T60" fmla="*/ 18845 w 468"/>
                <a:gd name="T61" fmla="*/ 16962 h 696"/>
                <a:gd name="T62" fmla="*/ 21200 w 468"/>
                <a:gd name="T63" fmla="*/ 18577 h 696"/>
                <a:gd name="T64" fmla="*/ 22771 w 468"/>
                <a:gd name="T65" fmla="*/ 19385 h 696"/>
                <a:gd name="T66" fmla="*/ 22771 w 468"/>
                <a:gd name="T67" fmla="*/ 22616 h 696"/>
                <a:gd name="T68" fmla="*/ 22771 w 468"/>
                <a:gd name="T69" fmla="*/ 23423 h 696"/>
                <a:gd name="T70" fmla="*/ 22771 w 468"/>
                <a:gd name="T71" fmla="*/ 25846 h 696"/>
                <a:gd name="T72" fmla="*/ 25126 w 468"/>
                <a:gd name="T73" fmla="*/ 25846 h 696"/>
                <a:gd name="T74" fmla="*/ 25911 w 468"/>
                <a:gd name="T75" fmla="*/ 28269 h 696"/>
                <a:gd name="T76" fmla="*/ 26696 w 468"/>
                <a:gd name="T77" fmla="*/ 30693 h 696"/>
                <a:gd name="T78" fmla="*/ 27482 w 468"/>
                <a:gd name="T79" fmla="*/ 31500 h 696"/>
                <a:gd name="T80" fmla="*/ 28267 w 468"/>
                <a:gd name="T81" fmla="*/ 32308 h 696"/>
                <a:gd name="T82" fmla="*/ 29052 w 468"/>
                <a:gd name="T83" fmla="*/ 33116 h 696"/>
                <a:gd name="T84" fmla="*/ 29837 w 468"/>
                <a:gd name="T85" fmla="*/ 33923 h 696"/>
                <a:gd name="T86" fmla="*/ 32193 w 468"/>
                <a:gd name="T87" fmla="*/ 35539 h 696"/>
                <a:gd name="T88" fmla="*/ 31408 w 468"/>
                <a:gd name="T89" fmla="*/ 35539 h 696"/>
                <a:gd name="T90" fmla="*/ 29052 w 468"/>
                <a:gd name="T91" fmla="*/ 36346 h 696"/>
                <a:gd name="T92" fmla="*/ 28267 w 468"/>
                <a:gd name="T93" fmla="*/ 38770 h 696"/>
                <a:gd name="T94" fmla="*/ 26696 w 468"/>
                <a:gd name="T95" fmla="*/ 39577 h 696"/>
                <a:gd name="T96" fmla="*/ 25126 w 468"/>
                <a:gd name="T97" fmla="*/ 41193 h 696"/>
                <a:gd name="T98" fmla="*/ 24341 w 468"/>
                <a:gd name="T99" fmla="*/ 41193 h 696"/>
                <a:gd name="T100" fmla="*/ 20415 w 468"/>
                <a:gd name="T101" fmla="*/ 39577 h 696"/>
                <a:gd name="T102" fmla="*/ 18059 w 468"/>
                <a:gd name="T103" fmla="*/ 41193 h 696"/>
                <a:gd name="T104" fmla="*/ 16489 w 468"/>
                <a:gd name="T105" fmla="*/ 41193 h 696"/>
                <a:gd name="T106" fmla="*/ 15704 w 468"/>
                <a:gd name="T107" fmla="*/ 42000 h 696"/>
                <a:gd name="T108" fmla="*/ 13348 w 468"/>
                <a:gd name="T109" fmla="*/ 44423 h 696"/>
                <a:gd name="T110" fmla="*/ 11778 w 468"/>
                <a:gd name="T111" fmla="*/ 45231 h 696"/>
                <a:gd name="T112" fmla="*/ 11778 w 468"/>
                <a:gd name="T113" fmla="*/ 47654 h 696"/>
                <a:gd name="T114" fmla="*/ 10993 w 468"/>
                <a:gd name="T115" fmla="*/ 47654 h 696"/>
                <a:gd name="T116" fmla="*/ 9422 w 468"/>
                <a:gd name="T117" fmla="*/ 47654 h 696"/>
                <a:gd name="T118" fmla="*/ 8637 w 468"/>
                <a:gd name="T119" fmla="*/ 46039 h 696"/>
                <a:gd name="T120" fmla="*/ 7067 w 468"/>
                <a:gd name="T121" fmla="*/ 46039 h 696"/>
                <a:gd name="T122" fmla="*/ 4711 w 468"/>
                <a:gd name="T123" fmla="*/ 46846 h 696"/>
                <a:gd name="T124" fmla="*/ 3141 w 468"/>
                <a:gd name="T125" fmla="*/ 48462 h 6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8"/>
                <a:gd name="T190" fmla="*/ 0 h 696"/>
                <a:gd name="T191" fmla="*/ 468 w 468"/>
                <a:gd name="T192" fmla="*/ 696 h 6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8" h="696">
                  <a:moveTo>
                    <a:pt x="30" y="696"/>
                  </a:moveTo>
                  <a:lnTo>
                    <a:pt x="18" y="696"/>
                  </a:lnTo>
                  <a:lnTo>
                    <a:pt x="6" y="696"/>
                  </a:lnTo>
                  <a:lnTo>
                    <a:pt x="0" y="690"/>
                  </a:lnTo>
                  <a:lnTo>
                    <a:pt x="6" y="678"/>
                  </a:lnTo>
                  <a:lnTo>
                    <a:pt x="12" y="666"/>
                  </a:lnTo>
                  <a:lnTo>
                    <a:pt x="18" y="654"/>
                  </a:lnTo>
                  <a:lnTo>
                    <a:pt x="18" y="642"/>
                  </a:lnTo>
                  <a:lnTo>
                    <a:pt x="18" y="618"/>
                  </a:lnTo>
                  <a:lnTo>
                    <a:pt x="24" y="606"/>
                  </a:lnTo>
                  <a:lnTo>
                    <a:pt x="30" y="594"/>
                  </a:lnTo>
                  <a:lnTo>
                    <a:pt x="30" y="582"/>
                  </a:lnTo>
                  <a:lnTo>
                    <a:pt x="36" y="576"/>
                  </a:lnTo>
                  <a:lnTo>
                    <a:pt x="42" y="564"/>
                  </a:lnTo>
                  <a:lnTo>
                    <a:pt x="48" y="546"/>
                  </a:lnTo>
                  <a:lnTo>
                    <a:pt x="48" y="528"/>
                  </a:lnTo>
                  <a:lnTo>
                    <a:pt x="60" y="516"/>
                  </a:lnTo>
                  <a:lnTo>
                    <a:pt x="66" y="504"/>
                  </a:lnTo>
                  <a:lnTo>
                    <a:pt x="66" y="492"/>
                  </a:lnTo>
                  <a:lnTo>
                    <a:pt x="60" y="480"/>
                  </a:lnTo>
                  <a:lnTo>
                    <a:pt x="54" y="468"/>
                  </a:lnTo>
                  <a:lnTo>
                    <a:pt x="60" y="456"/>
                  </a:lnTo>
                  <a:lnTo>
                    <a:pt x="72" y="450"/>
                  </a:lnTo>
                  <a:lnTo>
                    <a:pt x="84" y="438"/>
                  </a:lnTo>
                  <a:lnTo>
                    <a:pt x="90" y="426"/>
                  </a:lnTo>
                  <a:lnTo>
                    <a:pt x="90" y="420"/>
                  </a:lnTo>
                  <a:lnTo>
                    <a:pt x="90" y="408"/>
                  </a:lnTo>
                  <a:lnTo>
                    <a:pt x="90" y="402"/>
                  </a:lnTo>
                  <a:lnTo>
                    <a:pt x="84" y="396"/>
                  </a:lnTo>
                  <a:lnTo>
                    <a:pt x="78" y="378"/>
                  </a:lnTo>
                  <a:lnTo>
                    <a:pt x="72" y="360"/>
                  </a:lnTo>
                  <a:lnTo>
                    <a:pt x="66" y="348"/>
                  </a:lnTo>
                  <a:lnTo>
                    <a:pt x="72" y="336"/>
                  </a:lnTo>
                  <a:lnTo>
                    <a:pt x="66" y="306"/>
                  </a:lnTo>
                  <a:lnTo>
                    <a:pt x="54" y="276"/>
                  </a:lnTo>
                  <a:lnTo>
                    <a:pt x="42" y="252"/>
                  </a:lnTo>
                  <a:lnTo>
                    <a:pt x="36" y="222"/>
                  </a:lnTo>
                  <a:lnTo>
                    <a:pt x="30" y="192"/>
                  </a:lnTo>
                  <a:lnTo>
                    <a:pt x="24" y="162"/>
                  </a:lnTo>
                  <a:lnTo>
                    <a:pt x="42" y="174"/>
                  </a:lnTo>
                  <a:lnTo>
                    <a:pt x="120" y="138"/>
                  </a:lnTo>
                  <a:lnTo>
                    <a:pt x="132" y="126"/>
                  </a:lnTo>
                  <a:lnTo>
                    <a:pt x="120" y="54"/>
                  </a:lnTo>
                  <a:lnTo>
                    <a:pt x="156" y="30"/>
                  </a:lnTo>
                  <a:lnTo>
                    <a:pt x="162" y="24"/>
                  </a:lnTo>
                  <a:lnTo>
                    <a:pt x="168" y="18"/>
                  </a:lnTo>
                  <a:lnTo>
                    <a:pt x="174" y="6"/>
                  </a:lnTo>
                  <a:lnTo>
                    <a:pt x="180" y="0"/>
                  </a:lnTo>
                  <a:lnTo>
                    <a:pt x="180" y="6"/>
                  </a:lnTo>
                  <a:lnTo>
                    <a:pt x="186" y="6"/>
                  </a:lnTo>
                  <a:lnTo>
                    <a:pt x="192" y="0"/>
                  </a:lnTo>
                  <a:lnTo>
                    <a:pt x="192" y="6"/>
                  </a:lnTo>
                  <a:lnTo>
                    <a:pt x="198" y="12"/>
                  </a:lnTo>
                  <a:lnTo>
                    <a:pt x="204" y="12"/>
                  </a:lnTo>
                  <a:lnTo>
                    <a:pt x="198" y="12"/>
                  </a:lnTo>
                  <a:lnTo>
                    <a:pt x="198" y="18"/>
                  </a:lnTo>
                  <a:lnTo>
                    <a:pt x="198" y="24"/>
                  </a:lnTo>
                  <a:lnTo>
                    <a:pt x="198" y="30"/>
                  </a:lnTo>
                  <a:lnTo>
                    <a:pt x="198" y="42"/>
                  </a:lnTo>
                  <a:lnTo>
                    <a:pt x="198" y="48"/>
                  </a:lnTo>
                  <a:lnTo>
                    <a:pt x="192" y="60"/>
                  </a:lnTo>
                  <a:lnTo>
                    <a:pt x="192" y="66"/>
                  </a:lnTo>
                  <a:lnTo>
                    <a:pt x="198" y="66"/>
                  </a:lnTo>
                  <a:lnTo>
                    <a:pt x="210" y="60"/>
                  </a:lnTo>
                  <a:lnTo>
                    <a:pt x="228" y="60"/>
                  </a:lnTo>
                  <a:lnTo>
                    <a:pt x="228" y="66"/>
                  </a:lnTo>
                  <a:lnTo>
                    <a:pt x="234" y="66"/>
                  </a:lnTo>
                  <a:lnTo>
                    <a:pt x="234" y="60"/>
                  </a:lnTo>
                  <a:lnTo>
                    <a:pt x="252" y="60"/>
                  </a:lnTo>
                  <a:lnTo>
                    <a:pt x="264" y="72"/>
                  </a:lnTo>
                  <a:lnTo>
                    <a:pt x="264" y="78"/>
                  </a:lnTo>
                  <a:lnTo>
                    <a:pt x="270" y="78"/>
                  </a:lnTo>
                  <a:lnTo>
                    <a:pt x="276" y="78"/>
                  </a:lnTo>
                  <a:lnTo>
                    <a:pt x="288" y="78"/>
                  </a:lnTo>
                  <a:lnTo>
                    <a:pt x="312" y="84"/>
                  </a:lnTo>
                  <a:lnTo>
                    <a:pt x="318" y="96"/>
                  </a:lnTo>
                  <a:lnTo>
                    <a:pt x="318" y="102"/>
                  </a:lnTo>
                  <a:lnTo>
                    <a:pt x="312" y="120"/>
                  </a:lnTo>
                  <a:lnTo>
                    <a:pt x="306" y="132"/>
                  </a:lnTo>
                  <a:lnTo>
                    <a:pt x="294" y="144"/>
                  </a:lnTo>
                  <a:lnTo>
                    <a:pt x="282" y="156"/>
                  </a:lnTo>
                  <a:lnTo>
                    <a:pt x="276" y="162"/>
                  </a:lnTo>
                  <a:lnTo>
                    <a:pt x="270" y="162"/>
                  </a:lnTo>
                  <a:lnTo>
                    <a:pt x="264" y="174"/>
                  </a:lnTo>
                  <a:lnTo>
                    <a:pt x="264" y="192"/>
                  </a:lnTo>
                  <a:lnTo>
                    <a:pt x="264" y="216"/>
                  </a:lnTo>
                  <a:lnTo>
                    <a:pt x="258" y="216"/>
                  </a:lnTo>
                  <a:lnTo>
                    <a:pt x="258" y="228"/>
                  </a:lnTo>
                  <a:lnTo>
                    <a:pt x="252" y="234"/>
                  </a:lnTo>
                  <a:lnTo>
                    <a:pt x="258" y="240"/>
                  </a:lnTo>
                  <a:lnTo>
                    <a:pt x="264" y="240"/>
                  </a:lnTo>
                  <a:lnTo>
                    <a:pt x="270" y="240"/>
                  </a:lnTo>
                  <a:lnTo>
                    <a:pt x="276" y="240"/>
                  </a:lnTo>
                  <a:lnTo>
                    <a:pt x="288" y="240"/>
                  </a:lnTo>
                  <a:lnTo>
                    <a:pt x="300" y="246"/>
                  </a:lnTo>
                  <a:lnTo>
                    <a:pt x="306" y="258"/>
                  </a:lnTo>
                  <a:lnTo>
                    <a:pt x="312" y="264"/>
                  </a:lnTo>
                  <a:lnTo>
                    <a:pt x="318" y="276"/>
                  </a:lnTo>
                  <a:lnTo>
                    <a:pt x="330" y="282"/>
                  </a:lnTo>
                  <a:lnTo>
                    <a:pt x="330" y="300"/>
                  </a:lnTo>
                  <a:lnTo>
                    <a:pt x="336" y="312"/>
                  </a:lnTo>
                  <a:lnTo>
                    <a:pt x="336" y="318"/>
                  </a:lnTo>
                  <a:lnTo>
                    <a:pt x="336" y="330"/>
                  </a:lnTo>
                  <a:lnTo>
                    <a:pt x="324" y="330"/>
                  </a:lnTo>
                  <a:lnTo>
                    <a:pt x="330" y="336"/>
                  </a:lnTo>
                  <a:lnTo>
                    <a:pt x="330" y="342"/>
                  </a:lnTo>
                  <a:lnTo>
                    <a:pt x="336" y="348"/>
                  </a:lnTo>
                  <a:lnTo>
                    <a:pt x="330" y="360"/>
                  </a:lnTo>
                  <a:lnTo>
                    <a:pt x="336" y="372"/>
                  </a:lnTo>
                  <a:lnTo>
                    <a:pt x="354" y="366"/>
                  </a:lnTo>
                  <a:lnTo>
                    <a:pt x="366" y="366"/>
                  </a:lnTo>
                  <a:lnTo>
                    <a:pt x="372" y="378"/>
                  </a:lnTo>
                  <a:lnTo>
                    <a:pt x="372" y="390"/>
                  </a:lnTo>
                  <a:lnTo>
                    <a:pt x="378" y="396"/>
                  </a:lnTo>
                  <a:lnTo>
                    <a:pt x="378" y="408"/>
                  </a:lnTo>
                  <a:lnTo>
                    <a:pt x="378" y="420"/>
                  </a:lnTo>
                  <a:lnTo>
                    <a:pt x="384" y="432"/>
                  </a:lnTo>
                  <a:lnTo>
                    <a:pt x="384" y="444"/>
                  </a:lnTo>
                  <a:lnTo>
                    <a:pt x="390" y="444"/>
                  </a:lnTo>
                  <a:lnTo>
                    <a:pt x="396" y="444"/>
                  </a:lnTo>
                  <a:lnTo>
                    <a:pt x="402" y="450"/>
                  </a:lnTo>
                  <a:lnTo>
                    <a:pt x="408" y="450"/>
                  </a:lnTo>
                  <a:lnTo>
                    <a:pt x="408" y="462"/>
                  </a:lnTo>
                  <a:lnTo>
                    <a:pt x="408" y="468"/>
                  </a:lnTo>
                  <a:lnTo>
                    <a:pt x="414" y="474"/>
                  </a:lnTo>
                  <a:lnTo>
                    <a:pt x="420" y="474"/>
                  </a:lnTo>
                  <a:lnTo>
                    <a:pt x="420" y="480"/>
                  </a:lnTo>
                  <a:lnTo>
                    <a:pt x="426" y="480"/>
                  </a:lnTo>
                  <a:lnTo>
                    <a:pt x="432" y="480"/>
                  </a:lnTo>
                  <a:lnTo>
                    <a:pt x="462" y="486"/>
                  </a:lnTo>
                  <a:lnTo>
                    <a:pt x="468" y="492"/>
                  </a:lnTo>
                  <a:lnTo>
                    <a:pt x="468" y="498"/>
                  </a:lnTo>
                  <a:lnTo>
                    <a:pt x="462" y="498"/>
                  </a:lnTo>
                  <a:lnTo>
                    <a:pt x="456" y="498"/>
                  </a:lnTo>
                  <a:lnTo>
                    <a:pt x="456" y="504"/>
                  </a:lnTo>
                  <a:lnTo>
                    <a:pt x="456" y="510"/>
                  </a:lnTo>
                  <a:lnTo>
                    <a:pt x="450" y="516"/>
                  </a:lnTo>
                  <a:lnTo>
                    <a:pt x="426" y="516"/>
                  </a:lnTo>
                  <a:lnTo>
                    <a:pt x="408" y="528"/>
                  </a:lnTo>
                  <a:lnTo>
                    <a:pt x="408" y="546"/>
                  </a:lnTo>
                  <a:lnTo>
                    <a:pt x="414" y="552"/>
                  </a:lnTo>
                  <a:lnTo>
                    <a:pt x="408" y="558"/>
                  </a:lnTo>
                  <a:lnTo>
                    <a:pt x="402" y="564"/>
                  </a:lnTo>
                  <a:lnTo>
                    <a:pt x="384" y="564"/>
                  </a:lnTo>
                  <a:lnTo>
                    <a:pt x="372" y="564"/>
                  </a:lnTo>
                  <a:lnTo>
                    <a:pt x="372" y="576"/>
                  </a:lnTo>
                  <a:lnTo>
                    <a:pt x="366" y="576"/>
                  </a:lnTo>
                  <a:lnTo>
                    <a:pt x="366" y="582"/>
                  </a:lnTo>
                  <a:lnTo>
                    <a:pt x="360" y="582"/>
                  </a:lnTo>
                  <a:lnTo>
                    <a:pt x="348" y="576"/>
                  </a:lnTo>
                  <a:lnTo>
                    <a:pt x="336" y="570"/>
                  </a:lnTo>
                  <a:lnTo>
                    <a:pt x="324" y="570"/>
                  </a:lnTo>
                  <a:lnTo>
                    <a:pt x="300" y="564"/>
                  </a:lnTo>
                  <a:lnTo>
                    <a:pt x="282" y="564"/>
                  </a:lnTo>
                  <a:lnTo>
                    <a:pt x="270" y="570"/>
                  </a:lnTo>
                  <a:lnTo>
                    <a:pt x="264" y="576"/>
                  </a:lnTo>
                  <a:lnTo>
                    <a:pt x="258" y="576"/>
                  </a:lnTo>
                  <a:lnTo>
                    <a:pt x="240" y="582"/>
                  </a:lnTo>
                  <a:lnTo>
                    <a:pt x="240" y="588"/>
                  </a:lnTo>
                  <a:lnTo>
                    <a:pt x="240" y="594"/>
                  </a:lnTo>
                  <a:lnTo>
                    <a:pt x="234" y="594"/>
                  </a:lnTo>
                  <a:lnTo>
                    <a:pt x="228" y="600"/>
                  </a:lnTo>
                  <a:lnTo>
                    <a:pt x="210" y="618"/>
                  </a:lnTo>
                  <a:lnTo>
                    <a:pt x="210" y="624"/>
                  </a:lnTo>
                  <a:lnTo>
                    <a:pt x="192" y="630"/>
                  </a:lnTo>
                  <a:lnTo>
                    <a:pt x="186" y="630"/>
                  </a:lnTo>
                  <a:lnTo>
                    <a:pt x="180" y="636"/>
                  </a:lnTo>
                  <a:lnTo>
                    <a:pt x="174" y="642"/>
                  </a:lnTo>
                  <a:lnTo>
                    <a:pt x="168" y="642"/>
                  </a:lnTo>
                  <a:lnTo>
                    <a:pt x="168" y="654"/>
                  </a:lnTo>
                  <a:lnTo>
                    <a:pt x="168" y="678"/>
                  </a:lnTo>
                  <a:lnTo>
                    <a:pt x="162" y="684"/>
                  </a:lnTo>
                  <a:lnTo>
                    <a:pt x="156" y="684"/>
                  </a:lnTo>
                  <a:lnTo>
                    <a:pt x="156" y="678"/>
                  </a:lnTo>
                  <a:lnTo>
                    <a:pt x="150" y="678"/>
                  </a:lnTo>
                  <a:lnTo>
                    <a:pt x="144" y="672"/>
                  </a:lnTo>
                  <a:lnTo>
                    <a:pt x="138" y="672"/>
                  </a:lnTo>
                  <a:lnTo>
                    <a:pt x="138" y="666"/>
                  </a:lnTo>
                  <a:lnTo>
                    <a:pt x="132" y="660"/>
                  </a:lnTo>
                  <a:lnTo>
                    <a:pt x="120" y="654"/>
                  </a:lnTo>
                  <a:lnTo>
                    <a:pt x="114" y="654"/>
                  </a:lnTo>
                  <a:lnTo>
                    <a:pt x="108" y="648"/>
                  </a:lnTo>
                  <a:lnTo>
                    <a:pt x="102" y="654"/>
                  </a:lnTo>
                  <a:lnTo>
                    <a:pt x="90" y="654"/>
                  </a:lnTo>
                  <a:lnTo>
                    <a:pt x="84" y="654"/>
                  </a:lnTo>
                  <a:lnTo>
                    <a:pt x="72" y="660"/>
                  </a:lnTo>
                  <a:lnTo>
                    <a:pt x="60" y="672"/>
                  </a:lnTo>
                  <a:lnTo>
                    <a:pt x="54" y="678"/>
                  </a:lnTo>
                  <a:lnTo>
                    <a:pt x="42" y="684"/>
                  </a:lnTo>
                  <a:lnTo>
                    <a:pt x="36" y="684"/>
                  </a:lnTo>
                  <a:lnTo>
                    <a:pt x="30" y="696"/>
                  </a:lnTo>
                  <a:close/>
                </a:path>
              </a:pathLst>
            </a:custGeom>
            <a:solidFill>
              <a:srgbClr val="FFC000"/>
            </a:solidFill>
            <a:ln w="9525">
              <a:solidFill>
                <a:schemeClr val="bg1"/>
              </a:solidFill>
              <a:round/>
              <a:headEnd/>
              <a:tailEnd/>
            </a:ln>
          </p:spPr>
          <p:txBody>
            <a:bodyPr/>
            <a:lstStyle/>
            <a:p>
              <a:endParaRPr lang="en-GB"/>
            </a:p>
          </p:txBody>
        </p:sp>
        <p:sp>
          <p:nvSpPr>
            <p:cNvPr id="19499" name="Freeform 23"/>
            <p:cNvSpPr>
              <a:spLocks noEditPoints="1"/>
            </p:cNvSpPr>
            <p:nvPr/>
          </p:nvSpPr>
          <p:spPr bwMode="gray">
            <a:xfrm>
              <a:off x="2576923" y="5025401"/>
              <a:ext cx="899237" cy="767738"/>
            </a:xfrm>
            <a:custGeom>
              <a:avLst/>
              <a:gdLst>
                <a:gd name="T0" fmla="*/ 68267 w 1146"/>
                <a:gd name="T1" fmla="*/ 45066 h 954"/>
                <a:gd name="T2" fmla="*/ 65128 w 1146"/>
                <a:gd name="T3" fmla="*/ 53114 h 954"/>
                <a:gd name="T4" fmla="*/ 58066 w 1146"/>
                <a:gd name="T5" fmla="*/ 55528 h 954"/>
                <a:gd name="T6" fmla="*/ 52573 w 1146"/>
                <a:gd name="T7" fmla="*/ 60357 h 954"/>
                <a:gd name="T8" fmla="*/ 46296 w 1146"/>
                <a:gd name="T9" fmla="*/ 62771 h 954"/>
                <a:gd name="T10" fmla="*/ 40803 w 1146"/>
                <a:gd name="T11" fmla="*/ 61966 h 954"/>
                <a:gd name="T12" fmla="*/ 37664 w 1146"/>
                <a:gd name="T13" fmla="*/ 63576 h 954"/>
                <a:gd name="T14" fmla="*/ 32172 w 1146"/>
                <a:gd name="T15" fmla="*/ 65990 h 954"/>
                <a:gd name="T16" fmla="*/ 22756 w 1146"/>
                <a:gd name="T17" fmla="*/ 62771 h 954"/>
                <a:gd name="T18" fmla="*/ 21971 w 1146"/>
                <a:gd name="T19" fmla="*/ 61162 h 954"/>
                <a:gd name="T20" fmla="*/ 21971 w 1146"/>
                <a:gd name="T21" fmla="*/ 57943 h 954"/>
                <a:gd name="T22" fmla="*/ 21971 w 1146"/>
                <a:gd name="T23" fmla="*/ 59552 h 954"/>
                <a:gd name="T24" fmla="*/ 16478 w 1146"/>
                <a:gd name="T25" fmla="*/ 59552 h 954"/>
                <a:gd name="T26" fmla="*/ 15693 w 1146"/>
                <a:gd name="T27" fmla="*/ 53919 h 954"/>
                <a:gd name="T28" fmla="*/ 18048 w 1146"/>
                <a:gd name="T29" fmla="*/ 51504 h 954"/>
                <a:gd name="T30" fmla="*/ 21971 w 1146"/>
                <a:gd name="T31" fmla="*/ 52309 h 954"/>
                <a:gd name="T32" fmla="*/ 25110 w 1146"/>
                <a:gd name="T33" fmla="*/ 49895 h 954"/>
                <a:gd name="T34" fmla="*/ 24325 w 1146"/>
                <a:gd name="T35" fmla="*/ 45066 h 954"/>
                <a:gd name="T36" fmla="*/ 28248 w 1146"/>
                <a:gd name="T37" fmla="*/ 43457 h 954"/>
                <a:gd name="T38" fmla="*/ 29818 w 1146"/>
                <a:gd name="T39" fmla="*/ 43457 h 954"/>
                <a:gd name="T40" fmla="*/ 25110 w 1146"/>
                <a:gd name="T41" fmla="*/ 43457 h 954"/>
                <a:gd name="T42" fmla="*/ 22756 w 1146"/>
                <a:gd name="T43" fmla="*/ 47481 h 954"/>
                <a:gd name="T44" fmla="*/ 20402 w 1146"/>
                <a:gd name="T45" fmla="*/ 47481 h 954"/>
                <a:gd name="T46" fmla="*/ 19617 w 1146"/>
                <a:gd name="T47" fmla="*/ 49090 h 954"/>
                <a:gd name="T48" fmla="*/ 15693 w 1146"/>
                <a:gd name="T49" fmla="*/ 49090 h 954"/>
                <a:gd name="T50" fmla="*/ 8631 w 1146"/>
                <a:gd name="T51" fmla="*/ 43457 h 954"/>
                <a:gd name="T52" fmla="*/ 10985 w 1146"/>
                <a:gd name="T53" fmla="*/ 40238 h 954"/>
                <a:gd name="T54" fmla="*/ 16478 w 1146"/>
                <a:gd name="T55" fmla="*/ 41043 h 954"/>
                <a:gd name="T56" fmla="*/ 18832 w 1146"/>
                <a:gd name="T57" fmla="*/ 40238 h 954"/>
                <a:gd name="T58" fmla="*/ 21971 w 1146"/>
                <a:gd name="T59" fmla="*/ 38628 h 954"/>
                <a:gd name="T60" fmla="*/ 23540 w 1146"/>
                <a:gd name="T61" fmla="*/ 39433 h 954"/>
                <a:gd name="T62" fmla="*/ 20402 w 1146"/>
                <a:gd name="T63" fmla="*/ 37824 h 954"/>
                <a:gd name="T64" fmla="*/ 15693 w 1146"/>
                <a:gd name="T65" fmla="*/ 40238 h 954"/>
                <a:gd name="T66" fmla="*/ 15693 w 1146"/>
                <a:gd name="T67" fmla="*/ 35409 h 954"/>
                <a:gd name="T68" fmla="*/ 14909 w 1146"/>
                <a:gd name="T69" fmla="*/ 37019 h 954"/>
                <a:gd name="T70" fmla="*/ 11770 w 1146"/>
                <a:gd name="T71" fmla="*/ 39433 h 954"/>
                <a:gd name="T72" fmla="*/ 6277 w 1146"/>
                <a:gd name="T73" fmla="*/ 38628 h 954"/>
                <a:gd name="T74" fmla="*/ 4708 w 1146"/>
                <a:gd name="T75" fmla="*/ 32995 h 954"/>
                <a:gd name="T76" fmla="*/ 7847 w 1146"/>
                <a:gd name="T77" fmla="*/ 32995 h 954"/>
                <a:gd name="T78" fmla="*/ 7062 w 1146"/>
                <a:gd name="T79" fmla="*/ 31386 h 954"/>
                <a:gd name="T80" fmla="*/ 10985 w 1146"/>
                <a:gd name="T81" fmla="*/ 28166 h 954"/>
                <a:gd name="T82" fmla="*/ 14909 w 1146"/>
                <a:gd name="T83" fmla="*/ 25752 h 954"/>
                <a:gd name="T84" fmla="*/ 15693 w 1146"/>
                <a:gd name="T85" fmla="*/ 23338 h 954"/>
                <a:gd name="T86" fmla="*/ 21186 w 1146"/>
                <a:gd name="T87" fmla="*/ 21728 h 954"/>
                <a:gd name="T88" fmla="*/ 25894 w 1146"/>
                <a:gd name="T89" fmla="*/ 22533 h 954"/>
                <a:gd name="T90" fmla="*/ 34526 w 1146"/>
                <a:gd name="T91" fmla="*/ 21728 h 954"/>
                <a:gd name="T92" fmla="*/ 40803 w 1146"/>
                <a:gd name="T93" fmla="*/ 32995 h 954"/>
                <a:gd name="T94" fmla="*/ 47865 w 1146"/>
                <a:gd name="T95" fmla="*/ 32190 h 954"/>
                <a:gd name="T96" fmla="*/ 54143 w 1146"/>
                <a:gd name="T97" fmla="*/ 27362 h 954"/>
                <a:gd name="T98" fmla="*/ 48650 w 1146"/>
                <a:gd name="T99" fmla="*/ 9657 h 954"/>
                <a:gd name="T100" fmla="*/ 58066 w 1146"/>
                <a:gd name="T101" fmla="*/ 6438 h 954"/>
                <a:gd name="T102" fmla="*/ 68267 w 1146"/>
                <a:gd name="T103" fmla="*/ 805 h 954"/>
                <a:gd name="T104" fmla="*/ 77683 w 1146"/>
                <a:gd name="T105" fmla="*/ 9657 h 954"/>
                <a:gd name="T106" fmla="*/ 76898 w 1146"/>
                <a:gd name="T107" fmla="*/ 21728 h 954"/>
                <a:gd name="T108" fmla="*/ 12555 w 1146"/>
                <a:gd name="T109" fmla="*/ 26557 h 954"/>
                <a:gd name="T110" fmla="*/ 8631 w 1146"/>
                <a:gd name="T111" fmla="*/ 28971 h 954"/>
                <a:gd name="T112" fmla="*/ 3923 w 1146"/>
                <a:gd name="T113" fmla="*/ 32995 h 954"/>
                <a:gd name="T114" fmla="*/ 1569 w 1146"/>
                <a:gd name="T115" fmla="*/ 28971 h 954"/>
                <a:gd name="T116" fmla="*/ 3923 w 1146"/>
                <a:gd name="T117" fmla="*/ 20924 h 954"/>
                <a:gd name="T118" fmla="*/ 7847 w 1146"/>
                <a:gd name="T119" fmla="*/ 16095 h 954"/>
                <a:gd name="T120" fmla="*/ 10201 w 1146"/>
                <a:gd name="T121" fmla="*/ 16095 h 954"/>
                <a:gd name="T122" fmla="*/ 11770 w 1146"/>
                <a:gd name="T123" fmla="*/ 21728 h 9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46"/>
                <a:gd name="T187" fmla="*/ 0 h 954"/>
                <a:gd name="T188" fmla="*/ 1146 w 1146"/>
                <a:gd name="T189" fmla="*/ 954 h 9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46" h="954">
                  <a:moveTo>
                    <a:pt x="1056" y="498"/>
                  </a:moveTo>
                  <a:lnTo>
                    <a:pt x="1044" y="510"/>
                  </a:lnTo>
                  <a:lnTo>
                    <a:pt x="1032" y="516"/>
                  </a:lnTo>
                  <a:lnTo>
                    <a:pt x="1038" y="528"/>
                  </a:lnTo>
                  <a:lnTo>
                    <a:pt x="1050" y="540"/>
                  </a:lnTo>
                  <a:lnTo>
                    <a:pt x="1050" y="546"/>
                  </a:lnTo>
                  <a:lnTo>
                    <a:pt x="1050" y="564"/>
                  </a:lnTo>
                  <a:lnTo>
                    <a:pt x="1038" y="576"/>
                  </a:lnTo>
                  <a:lnTo>
                    <a:pt x="1032" y="588"/>
                  </a:lnTo>
                  <a:lnTo>
                    <a:pt x="1020" y="594"/>
                  </a:lnTo>
                  <a:lnTo>
                    <a:pt x="1008" y="594"/>
                  </a:lnTo>
                  <a:lnTo>
                    <a:pt x="1002" y="600"/>
                  </a:lnTo>
                  <a:lnTo>
                    <a:pt x="996" y="612"/>
                  </a:lnTo>
                  <a:lnTo>
                    <a:pt x="996" y="624"/>
                  </a:lnTo>
                  <a:lnTo>
                    <a:pt x="996" y="648"/>
                  </a:lnTo>
                  <a:lnTo>
                    <a:pt x="996" y="660"/>
                  </a:lnTo>
                  <a:lnTo>
                    <a:pt x="1002" y="672"/>
                  </a:lnTo>
                  <a:lnTo>
                    <a:pt x="1002" y="684"/>
                  </a:lnTo>
                  <a:lnTo>
                    <a:pt x="996" y="684"/>
                  </a:lnTo>
                  <a:lnTo>
                    <a:pt x="984" y="690"/>
                  </a:lnTo>
                  <a:lnTo>
                    <a:pt x="972" y="690"/>
                  </a:lnTo>
                  <a:lnTo>
                    <a:pt x="966" y="696"/>
                  </a:lnTo>
                  <a:lnTo>
                    <a:pt x="966" y="702"/>
                  </a:lnTo>
                  <a:lnTo>
                    <a:pt x="966" y="714"/>
                  </a:lnTo>
                  <a:lnTo>
                    <a:pt x="972" y="726"/>
                  </a:lnTo>
                  <a:lnTo>
                    <a:pt x="978" y="744"/>
                  </a:lnTo>
                  <a:lnTo>
                    <a:pt x="978" y="750"/>
                  </a:lnTo>
                  <a:lnTo>
                    <a:pt x="972" y="756"/>
                  </a:lnTo>
                  <a:lnTo>
                    <a:pt x="966" y="756"/>
                  </a:lnTo>
                  <a:lnTo>
                    <a:pt x="942" y="762"/>
                  </a:lnTo>
                  <a:lnTo>
                    <a:pt x="930" y="768"/>
                  </a:lnTo>
                  <a:lnTo>
                    <a:pt x="924" y="774"/>
                  </a:lnTo>
                  <a:lnTo>
                    <a:pt x="918" y="768"/>
                  </a:lnTo>
                  <a:lnTo>
                    <a:pt x="906" y="768"/>
                  </a:lnTo>
                  <a:lnTo>
                    <a:pt x="894" y="762"/>
                  </a:lnTo>
                  <a:lnTo>
                    <a:pt x="882" y="756"/>
                  </a:lnTo>
                  <a:lnTo>
                    <a:pt x="876" y="756"/>
                  </a:lnTo>
                  <a:lnTo>
                    <a:pt x="876" y="762"/>
                  </a:lnTo>
                  <a:lnTo>
                    <a:pt x="864" y="768"/>
                  </a:lnTo>
                  <a:lnTo>
                    <a:pt x="858" y="774"/>
                  </a:lnTo>
                  <a:lnTo>
                    <a:pt x="852" y="774"/>
                  </a:lnTo>
                  <a:lnTo>
                    <a:pt x="840" y="780"/>
                  </a:lnTo>
                  <a:lnTo>
                    <a:pt x="840" y="786"/>
                  </a:lnTo>
                  <a:lnTo>
                    <a:pt x="840" y="792"/>
                  </a:lnTo>
                  <a:lnTo>
                    <a:pt x="840" y="804"/>
                  </a:lnTo>
                  <a:lnTo>
                    <a:pt x="840" y="810"/>
                  </a:lnTo>
                  <a:lnTo>
                    <a:pt x="828" y="816"/>
                  </a:lnTo>
                  <a:lnTo>
                    <a:pt x="810" y="810"/>
                  </a:lnTo>
                  <a:lnTo>
                    <a:pt x="792" y="810"/>
                  </a:lnTo>
                  <a:lnTo>
                    <a:pt x="786" y="816"/>
                  </a:lnTo>
                  <a:lnTo>
                    <a:pt x="780" y="816"/>
                  </a:lnTo>
                  <a:lnTo>
                    <a:pt x="780" y="822"/>
                  </a:lnTo>
                  <a:lnTo>
                    <a:pt x="780" y="828"/>
                  </a:lnTo>
                  <a:lnTo>
                    <a:pt x="780" y="834"/>
                  </a:lnTo>
                  <a:lnTo>
                    <a:pt x="786" y="840"/>
                  </a:lnTo>
                  <a:lnTo>
                    <a:pt x="786" y="846"/>
                  </a:lnTo>
                  <a:lnTo>
                    <a:pt x="786" y="852"/>
                  </a:lnTo>
                  <a:lnTo>
                    <a:pt x="780" y="858"/>
                  </a:lnTo>
                  <a:lnTo>
                    <a:pt x="768" y="858"/>
                  </a:lnTo>
                  <a:lnTo>
                    <a:pt x="762" y="864"/>
                  </a:lnTo>
                  <a:lnTo>
                    <a:pt x="756" y="864"/>
                  </a:lnTo>
                  <a:lnTo>
                    <a:pt x="750" y="870"/>
                  </a:lnTo>
                  <a:lnTo>
                    <a:pt x="744" y="876"/>
                  </a:lnTo>
                  <a:lnTo>
                    <a:pt x="732" y="876"/>
                  </a:lnTo>
                  <a:lnTo>
                    <a:pt x="726" y="876"/>
                  </a:lnTo>
                  <a:lnTo>
                    <a:pt x="720" y="870"/>
                  </a:lnTo>
                  <a:lnTo>
                    <a:pt x="714" y="864"/>
                  </a:lnTo>
                  <a:lnTo>
                    <a:pt x="708" y="870"/>
                  </a:lnTo>
                  <a:lnTo>
                    <a:pt x="702" y="870"/>
                  </a:lnTo>
                  <a:lnTo>
                    <a:pt x="696" y="876"/>
                  </a:lnTo>
                  <a:lnTo>
                    <a:pt x="696" y="882"/>
                  </a:lnTo>
                  <a:lnTo>
                    <a:pt x="696" y="894"/>
                  </a:lnTo>
                  <a:lnTo>
                    <a:pt x="690" y="900"/>
                  </a:lnTo>
                  <a:lnTo>
                    <a:pt x="684" y="900"/>
                  </a:lnTo>
                  <a:lnTo>
                    <a:pt x="672" y="900"/>
                  </a:lnTo>
                  <a:lnTo>
                    <a:pt x="666" y="900"/>
                  </a:lnTo>
                  <a:lnTo>
                    <a:pt x="654" y="888"/>
                  </a:lnTo>
                  <a:lnTo>
                    <a:pt x="654" y="882"/>
                  </a:lnTo>
                  <a:lnTo>
                    <a:pt x="642" y="876"/>
                  </a:lnTo>
                  <a:lnTo>
                    <a:pt x="636" y="876"/>
                  </a:lnTo>
                  <a:lnTo>
                    <a:pt x="630" y="876"/>
                  </a:lnTo>
                  <a:lnTo>
                    <a:pt x="630" y="870"/>
                  </a:lnTo>
                  <a:lnTo>
                    <a:pt x="618" y="858"/>
                  </a:lnTo>
                  <a:lnTo>
                    <a:pt x="612" y="858"/>
                  </a:lnTo>
                  <a:lnTo>
                    <a:pt x="612" y="864"/>
                  </a:lnTo>
                  <a:lnTo>
                    <a:pt x="612" y="870"/>
                  </a:lnTo>
                  <a:lnTo>
                    <a:pt x="606" y="876"/>
                  </a:lnTo>
                  <a:lnTo>
                    <a:pt x="606" y="882"/>
                  </a:lnTo>
                  <a:lnTo>
                    <a:pt x="606" y="888"/>
                  </a:lnTo>
                  <a:lnTo>
                    <a:pt x="600" y="894"/>
                  </a:lnTo>
                  <a:lnTo>
                    <a:pt x="594" y="894"/>
                  </a:lnTo>
                  <a:lnTo>
                    <a:pt x="588" y="900"/>
                  </a:lnTo>
                  <a:lnTo>
                    <a:pt x="582" y="894"/>
                  </a:lnTo>
                  <a:lnTo>
                    <a:pt x="576" y="894"/>
                  </a:lnTo>
                  <a:lnTo>
                    <a:pt x="582" y="900"/>
                  </a:lnTo>
                  <a:lnTo>
                    <a:pt x="576" y="906"/>
                  </a:lnTo>
                  <a:lnTo>
                    <a:pt x="576" y="918"/>
                  </a:lnTo>
                  <a:lnTo>
                    <a:pt x="570" y="918"/>
                  </a:lnTo>
                  <a:lnTo>
                    <a:pt x="570" y="912"/>
                  </a:lnTo>
                  <a:lnTo>
                    <a:pt x="564" y="912"/>
                  </a:lnTo>
                  <a:lnTo>
                    <a:pt x="564" y="918"/>
                  </a:lnTo>
                  <a:lnTo>
                    <a:pt x="558" y="918"/>
                  </a:lnTo>
                  <a:lnTo>
                    <a:pt x="558" y="912"/>
                  </a:lnTo>
                  <a:lnTo>
                    <a:pt x="552" y="906"/>
                  </a:lnTo>
                  <a:lnTo>
                    <a:pt x="552" y="912"/>
                  </a:lnTo>
                  <a:lnTo>
                    <a:pt x="546" y="912"/>
                  </a:lnTo>
                  <a:lnTo>
                    <a:pt x="540" y="906"/>
                  </a:lnTo>
                  <a:lnTo>
                    <a:pt x="534" y="906"/>
                  </a:lnTo>
                  <a:lnTo>
                    <a:pt x="528" y="906"/>
                  </a:lnTo>
                  <a:lnTo>
                    <a:pt x="522" y="906"/>
                  </a:lnTo>
                  <a:lnTo>
                    <a:pt x="522" y="918"/>
                  </a:lnTo>
                  <a:lnTo>
                    <a:pt x="516" y="918"/>
                  </a:lnTo>
                  <a:lnTo>
                    <a:pt x="516" y="924"/>
                  </a:lnTo>
                  <a:lnTo>
                    <a:pt x="510" y="924"/>
                  </a:lnTo>
                  <a:lnTo>
                    <a:pt x="504" y="924"/>
                  </a:lnTo>
                  <a:lnTo>
                    <a:pt x="498" y="930"/>
                  </a:lnTo>
                  <a:lnTo>
                    <a:pt x="492" y="924"/>
                  </a:lnTo>
                  <a:lnTo>
                    <a:pt x="486" y="930"/>
                  </a:lnTo>
                  <a:lnTo>
                    <a:pt x="480" y="942"/>
                  </a:lnTo>
                  <a:lnTo>
                    <a:pt x="468" y="948"/>
                  </a:lnTo>
                  <a:lnTo>
                    <a:pt x="444" y="942"/>
                  </a:lnTo>
                  <a:lnTo>
                    <a:pt x="438" y="954"/>
                  </a:lnTo>
                  <a:lnTo>
                    <a:pt x="426" y="954"/>
                  </a:lnTo>
                  <a:lnTo>
                    <a:pt x="420" y="948"/>
                  </a:lnTo>
                  <a:lnTo>
                    <a:pt x="408" y="936"/>
                  </a:lnTo>
                  <a:lnTo>
                    <a:pt x="396" y="936"/>
                  </a:lnTo>
                  <a:lnTo>
                    <a:pt x="390" y="930"/>
                  </a:lnTo>
                  <a:lnTo>
                    <a:pt x="390" y="924"/>
                  </a:lnTo>
                  <a:lnTo>
                    <a:pt x="384" y="924"/>
                  </a:lnTo>
                  <a:lnTo>
                    <a:pt x="378" y="924"/>
                  </a:lnTo>
                  <a:lnTo>
                    <a:pt x="366" y="924"/>
                  </a:lnTo>
                  <a:lnTo>
                    <a:pt x="360" y="924"/>
                  </a:lnTo>
                  <a:lnTo>
                    <a:pt x="348" y="918"/>
                  </a:lnTo>
                  <a:lnTo>
                    <a:pt x="342" y="906"/>
                  </a:lnTo>
                  <a:lnTo>
                    <a:pt x="336" y="906"/>
                  </a:lnTo>
                  <a:lnTo>
                    <a:pt x="330" y="906"/>
                  </a:lnTo>
                  <a:lnTo>
                    <a:pt x="312" y="906"/>
                  </a:lnTo>
                  <a:lnTo>
                    <a:pt x="312" y="900"/>
                  </a:lnTo>
                  <a:lnTo>
                    <a:pt x="318" y="900"/>
                  </a:lnTo>
                  <a:lnTo>
                    <a:pt x="318" y="894"/>
                  </a:lnTo>
                  <a:lnTo>
                    <a:pt x="318" y="900"/>
                  </a:lnTo>
                  <a:lnTo>
                    <a:pt x="318" y="894"/>
                  </a:lnTo>
                  <a:lnTo>
                    <a:pt x="318" y="888"/>
                  </a:lnTo>
                  <a:lnTo>
                    <a:pt x="312" y="882"/>
                  </a:lnTo>
                  <a:lnTo>
                    <a:pt x="306" y="876"/>
                  </a:lnTo>
                  <a:lnTo>
                    <a:pt x="312" y="876"/>
                  </a:lnTo>
                  <a:lnTo>
                    <a:pt x="312" y="870"/>
                  </a:lnTo>
                  <a:lnTo>
                    <a:pt x="318" y="876"/>
                  </a:lnTo>
                  <a:lnTo>
                    <a:pt x="318" y="870"/>
                  </a:lnTo>
                  <a:lnTo>
                    <a:pt x="324" y="876"/>
                  </a:lnTo>
                  <a:lnTo>
                    <a:pt x="330" y="876"/>
                  </a:lnTo>
                  <a:lnTo>
                    <a:pt x="336" y="876"/>
                  </a:lnTo>
                  <a:lnTo>
                    <a:pt x="342" y="876"/>
                  </a:lnTo>
                  <a:lnTo>
                    <a:pt x="336" y="876"/>
                  </a:lnTo>
                  <a:lnTo>
                    <a:pt x="330" y="870"/>
                  </a:lnTo>
                  <a:lnTo>
                    <a:pt x="324" y="870"/>
                  </a:lnTo>
                  <a:lnTo>
                    <a:pt x="318" y="870"/>
                  </a:lnTo>
                  <a:lnTo>
                    <a:pt x="312" y="870"/>
                  </a:lnTo>
                  <a:lnTo>
                    <a:pt x="318" y="864"/>
                  </a:lnTo>
                  <a:lnTo>
                    <a:pt x="318" y="858"/>
                  </a:lnTo>
                  <a:lnTo>
                    <a:pt x="318" y="852"/>
                  </a:lnTo>
                  <a:lnTo>
                    <a:pt x="312" y="852"/>
                  </a:lnTo>
                  <a:lnTo>
                    <a:pt x="306" y="852"/>
                  </a:lnTo>
                  <a:lnTo>
                    <a:pt x="306" y="846"/>
                  </a:lnTo>
                  <a:lnTo>
                    <a:pt x="312" y="828"/>
                  </a:lnTo>
                  <a:lnTo>
                    <a:pt x="312" y="822"/>
                  </a:lnTo>
                  <a:lnTo>
                    <a:pt x="318" y="822"/>
                  </a:lnTo>
                  <a:lnTo>
                    <a:pt x="312" y="816"/>
                  </a:lnTo>
                  <a:lnTo>
                    <a:pt x="306" y="816"/>
                  </a:lnTo>
                  <a:lnTo>
                    <a:pt x="306" y="810"/>
                  </a:lnTo>
                  <a:lnTo>
                    <a:pt x="306" y="816"/>
                  </a:lnTo>
                  <a:lnTo>
                    <a:pt x="312" y="822"/>
                  </a:lnTo>
                  <a:lnTo>
                    <a:pt x="306" y="822"/>
                  </a:lnTo>
                  <a:lnTo>
                    <a:pt x="306" y="828"/>
                  </a:lnTo>
                  <a:lnTo>
                    <a:pt x="306" y="834"/>
                  </a:lnTo>
                  <a:lnTo>
                    <a:pt x="300" y="840"/>
                  </a:lnTo>
                  <a:lnTo>
                    <a:pt x="300" y="846"/>
                  </a:lnTo>
                  <a:lnTo>
                    <a:pt x="306" y="852"/>
                  </a:lnTo>
                  <a:lnTo>
                    <a:pt x="306" y="858"/>
                  </a:lnTo>
                  <a:lnTo>
                    <a:pt x="312" y="858"/>
                  </a:lnTo>
                  <a:lnTo>
                    <a:pt x="312" y="864"/>
                  </a:lnTo>
                  <a:lnTo>
                    <a:pt x="306" y="864"/>
                  </a:lnTo>
                  <a:lnTo>
                    <a:pt x="300" y="864"/>
                  </a:lnTo>
                  <a:lnTo>
                    <a:pt x="294" y="864"/>
                  </a:lnTo>
                  <a:lnTo>
                    <a:pt x="288" y="864"/>
                  </a:lnTo>
                  <a:lnTo>
                    <a:pt x="282" y="870"/>
                  </a:lnTo>
                  <a:lnTo>
                    <a:pt x="276" y="870"/>
                  </a:lnTo>
                  <a:lnTo>
                    <a:pt x="270" y="876"/>
                  </a:lnTo>
                  <a:lnTo>
                    <a:pt x="264" y="876"/>
                  </a:lnTo>
                  <a:lnTo>
                    <a:pt x="258" y="876"/>
                  </a:lnTo>
                  <a:lnTo>
                    <a:pt x="258" y="870"/>
                  </a:lnTo>
                  <a:lnTo>
                    <a:pt x="252" y="870"/>
                  </a:lnTo>
                  <a:lnTo>
                    <a:pt x="252" y="864"/>
                  </a:lnTo>
                  <a:lnTo>
                    <a:pt x="246" y="858"/>
                  </a:lnTo>
                  <a:lnTo>
                    <a:pt x="246" y="852"/>
                  </a:lnTo>
                  <a:lnTo>
                    <a:pt x="246" y="846"/>
                  </a:lnTo>
                  <a:lnTo>
                    <a:pt x="246" y="840"/>
                  </a:lnTo>
                  <a:lnTo>
                    <a:pt x="246" y="834"/>
                  </a:lnTo>
                  <a:lnTo>
                    <a:pt x="246" y="828"/>
                  </a:lnTo>
                  <a:lnTo>
                    <a:pt x="246" y="822"/>
                  </a:lnTo>
                  <a:lnTo>
                    <a:pt x="240" y="816"/>
                  </a:lnTo>
                  <a:lnTo>
                    <a:pt x="240" y="810"/>
                  </a:lnTo>
                  <a:lnTo>
                    <a:pt x="240" y="804"/>
                  </a:lnTo>
                  <a:lnTo>
                    <a:pt x="240" y="798"/>
                  </a:lnTo>
                  <a:lnTo>
                    <a:pt x="234" y="798"/>
                  </a:lnTo>
                  <a:lnTo>
                    <a:pt x="234" y="792"/>
                  </a:lnTo>
                  <a:lnTo>
                    <a:pt x="234" y="786"/>
                  </a:lnTo>
                  <a:lnTo>
                    <a:pt x="234" y="780"/>
                  </a:lnTo>
                  <a:lnTo>
                    <a:pt x="228" y="780"/>
                  </a:lnTo>
                  <a:lnTo>
                    <a:pt x="228" y="774"/>
                  </a:lnTo>
                  <a:lnTo>
                    <a:pt x="228" y="768"/>
                  </a:lnTo>
                  <a:lnTo>
                    <a:pt x="222" y="762"/>
                  </a:lnTo>
                  <a:lnTo>
                    <a:pt x="222" y="756"/>
                  </a:lnTo>
                  <a:lnTo>
                    <a:pt x="222" y="750"/>
                  </a:lnTo>
                  <a:lnTo>
                    <a:pt x="222" y="744"/>
                  </a:lnTo>
                  <a:lnTo>
                    <a:pt x="222" y="738"/>
                  </a:lnTo>
                  <a:lnTo>
                    <a:pt x="216" y="732"/>
                  </a:lnTo>
                  <a:lnTo>
                    <a:pt x="222" y="732"/>
                  </a:lnTo>
                  <a:lnTo>
                    <a:pt x="228" y="732"/>
                  </a:lnTo>
                  <a:lnTo>
                    <a:pt x="234" y="732"/>
                  </a:lnTo>
                  <a:lnTo>
                    <a:pt x="240" y="732"/>
                  </a:lnTo>
                  <a:lnTo>
                    <a:pt x="246" y="732"/>
                  </a:lnTo>
                  <a:lnTo>
                    <a:pt x="246" y="738"/>
                  </a:lnTo>
                  <a:lnTo>
                    <a:pt x="252" y="738"/>
                  </a:lnTo>
                  <a:lnTo>
                    <a:pt x="258" y="738"/>
                  </a:lnTo>
                  <a:lnTo>
                    <a:pt x="258" y="732"/>
                  </a:lnTo>
                  <a:lnTo>
                    <a:pt x="264" y="732"/>
                  </a:lnTo>
                  <a:lnTo>
                    <a:pt x="270" y="732"/>
                  </a:lnTo>
                  <a:lnTo>
                    <a:pt x="276" y="732"/>
                  </a:lnTo>
                  <a:lnTo>
                    <a:pt x="282" y="732"/>
                  </a:lnTo>
                  <a:lnTo>
                    <a:pt x="288" y="732"/>
                  </a:lnTo>
                  <a:lnTo>
                    <a:pt x="294" y="732"/>
                  </a:lnTo>
                  <a:lnTo>
                    <a:pt x="300" y="732"/>
                  </a:lnTo>
                  <a:lnTo>
                    <a:pt x="300" y="738"/>
                  </a:lnTo>
                  <a:lnTo>
                    <a:pt x="306" y="738"/>
                  </a:lnTo>
                  <a:lnTo>
                    <a:pt x="306" y="744"/>
                  </a:lnTo>
                  <a:lnTo>
                    <a:pt x="306" y="750"/>
                  </a:lnTo>
                  <a:lnTo>
                    <a:pt x="312" y="750"/>
                  </a:lnTo>
                  <a:lnTo>
                    <a:pt x="312" y="756"/>
                  </a:lnTo>
                  <a:lnTo>
                    <a:pt x="318" y="756"/>
                  </a:lnTo>
                  <a:lnTo>
                    <a:pt x="318" y="750"/>
                  </a:lnTo>
                  <a:lnTo>
                    <a:pt x="312" y="750"/>
                  </a:lnTo>
                  <a:lnTo>
                    <a:pt x="312" y="744"/>
                  </a:lnTo>
                  <a:lnTo>
                    <a:pt x="318" y="738"/>
                  </a:lnTo>
                  <a:lnTo>
                    <a:pt x="324" y="738"/>
                  </a:lnTo>
                  <a:lnTo>
                    <a:pt x="330" y="738"/>
                  </a:lnTo>
                  <a:lnTo>
                    <a:pt x="336" y="738"/>
                  </a:lnTo>
                  <a:lnTo>
                    <a:pt x="342" y="738"/>
                  </a:lnTo>
                  <a:lnTo>
                    <a:pt x="348" y="732"/>
                  </a:lnTo>
                  <a:lnTo>
                    <a:pt x="354" y="732"/>
                  </a:lnTo>
                  <a:lnTo>
                    <a:pt x="360" y="732"/>
                  </a:lnTo>
                  <a:lnTo>
                    <a:pt x="360" y="726"/>
                  </a:lnTo>
                  <a:lnTo>
                    <a:pt x="366" y="726"/>
                  </a:lnTo>
                  <a:lnTo>
                    <a:pt x="366" y="720"/>
                  </a:lnTo>
                  <a:lnTo>
                    <a:pt x="366" y="714"/>
                  </a:lnTo>
                  <a:lnTo>
                    <a:pt x="360" y="708"/>
                  </a:lnTo>
                  <a:lnTo>
                    <a:pt x="354" y="708"/>
                  </a:lnTo>
                  <a:lnTo>
                    <a:pt x="348" y="702"/>
                  </a:lnTo>
                  <a:lnTo>
                    <a:pt x="354" y="702"/>
                  </a:lnTo>
                  <a:lnTo>
                    <a:pt x="354" y="696"/>
                  </a:lnTo>
                  <a:lnTo>
                    <a:pt x="348" y="696"/>
                  </a:lnTo>
                  <a:lnTo>
                    <a:pt x="348" y="690"/>
                  </a:lnTo>
                  <a:lnTo>
                    <a:pt x="342" y="690"/>
                  </a:lnTo>
                  <a:lnTo>
                    <a:pt x="342" y="684"/>
                  </a:lnTo>
                  <a:lnTo>
                    <a:pt x="342" y="678"/>
                  </a:lnTo>
                  <a:lnTo>
                    <a:pt x="342" y="666"/>
                  </a:lnTo>
                  <a:lnTo>
                    <a:pt x="342" y="660"/>
                  </a:lnTo>
                  <a:lnTo>
                    <a:pt x="348" y="654"/>
                  </a:lnTo>
                  <a:lnTo>
                    <a:pt x="348" y="642"/>
                  </a:lnTo>
                  <a:lnTo>
                    <a:pt x="354" y="642"/>
                  </a:lnTo>
                  <a:lnTo>
                    <a:pt x="360" y="642"/>
                  </a:lnTo>
                  <a:lnTo>
                    <a:pt x="366" y="642"/>
                  </a:lnTo>
                  <a:lnTo>
                    <a:pt x="372" y="648"/>
                  </a:lnTo>
                  <a:lnTo>
                    <a:pt x="366" y="642"/>
                  </a:lnTo>
                  <a:lnTo>
                    <a:pt x="372" y="642"/>
                  </a:lnTo>
                  <a:lnTo>
                    <a:pt x="378" y="642"/>
                  </a:lnTo>
                  <a:lnTo>
                    <a:pt x="384" y="642"/>
                  </a:lnTo>
                  <a:lnTo>
                    <a:pt x="390" y="642"/>
                  </a:lnTo>
                  <a:lnTo>
                    <a:pt x="396" y="642"/>
                  </a:lnTo>
                  <a:lnTo>
                    <a:pt x="396" y="636"/>
                  </a:lnTo>
                  <a:lnTo>
                    <a:pt x="402" y="636"/>
                  </a:lnTo>
                  <a:lnTo>
                    <a:pt x="408" y="636"/>
                  </a:lnTo>
                  <a:lnTo>
                    <a:pt x="402" y="636"/>
                  </a:lnTo>
                  <a:lnTo>
                    <a:pt x="402" y="630"/>
                  </a:lnTo>
                  <a:lnTo>
                    <a:pt x="408" y="630"/>
                  </a:lnTo>
                  <a:lnTo>
                    <a:pt x="408" y="624"/>
                  </a:lnTo>
                  <a:lnTo>
                    <a:pt x="408" y="618"/>
                  </a:lnTo>
                  <a:lnTo>
                    <a:pt x="414" y="618"/>
                  </a:lnTo>
                  <a:lnTo>
                    <a:pt x="420" y="618"/>
                  </a:lnTo>
                  <a:lnTo>
                    <a:pt x="426" y="624"/>
                  </a:lnTo>
                  <a:lnTo>
                    <a:pt x="432" y="624"/>
                  </a:lnTo>
                  <a:lnTo>
                    <a:pt x="438" y="624"/>
                  </a:lnTo>
                  <a:lnTo>
                    <a:pt x="438" y="618"/>
                  </a:lnTo>
                  <a:lnTo>
                    <a:pt x="444" y="618"/>
                  </a:lnTo>
                  <a:lnTo>
                    <a:pt x="450" y="618"/>
                  </a:lnTo>
                  <a:lnTo>
                    <a:pt x="444" y="618"/>
                  </a:lnTo>
                  <a:lnTo>
                    <a:pt x="438" y="618"/>
                  </a:lnTo>
                  <a:lnTo>
                    <a:pt x="438" y="612"/>
                  </a:lnTo>
                  <a:lnTo>
                    <a:pt x="438" y="618"/>
                  </a:lnTo>
                  <a:lnTo>
                    <a:pt x="432" y="624"/>
                  </a:lnTo>
                  <a:lnTo>
                    <a:pt x="426" y="618"/>
                  </a:lnTo>
                  <a:lnTo>
                    <a:pt x="420" y="612"/>
                  </a:lnTo>
                  <a:lnTo>
                    <a:pt x="414" y="612"/>
                  </a:lnTo>
                  <a:lnTo>
                    <a:pt x="408" y="612"/>
                  </a:lnTo>
                  <a:lnTo>
                    <a:pt x="402" y="612"/>
                  </a:lnTo>
                  <a:lnTo>
                    <a:pt x="402" y="618"/>
                  </a:lnTo>
                  <a:lnTo>
                    <a:pt x="402" y="624"/>
                  </a:lnTo>
                  <a:lnTo>
                    <a:pt x="396" y="630"/>
                  </a:lnTo>
                  <a:lnTo>
                    <a:pt x="390" y="630"/>
                  </a:lnTo>
                  <a:lnTo>
                    <a:pt x="384" y="630"/>
                  </a:lnTo>
                  <a:lnTo>
                    <a:pt x="390" y="630"/>
                  </a:lnTo>
                  <a:lnTo>
                    <a:pt x="384" y="630"/>
                  </a:lnTo>
                  <a:lnTo>
                    <a:pt x="378" y="630"/>
                  </a:lnTo>
                  <a:lnTo>
                    <a:pt x="378" y="636"/>
                  </a:lnTo>
                  <a:lnTo>
                    <a:pt x="372" y="630"/>
                  </a:lnTo>
                  <a:lnTo>
                    <a:pt x="366" y="630"/>
                  </a:lnTo>
                  <a:lnTo>
                    <a:pt x="360" y="630"/>
                  </a:lnTo>
                  <a:lnTo>
                    <a:pt x="354" y="630"/>
                  </a:lnTo>
                  <a:lnTo>
                    <a:pt x="354" y="636"/>
                  </a:lnTo>
                  <a:lnTo>
                    <a:pt x="348" y="636"/>
                  </a:lnTo>
                  <a:lnTo>
                    <a:pt x="348" y="642"/>
                  </a:lnTo>
                  <a:lnTo>
                    <a:pt x="342" y="642"/>
                  </a:lnTo>
                  <a:lnTo>
                    <a:pt x="342" y="648"/>
                  </a:lnTo>
                  <a:lnTo>
                    <a:pt x="342" y="654"/>
                  </a:lnTo>
                  <a:lnTo>
                    <a:pt x="336" y="654"/>
                  </a:lnTo>
                  <a:lnTo>
                    <a:pt x="336" y="660"/>
                  </a:lnTo>
                  <a:lnTo>
                    <a:pt x="336" y="666"/>
                  </a:lnTo>
                  <a:lnTo>
                    <a:pt x="330" y="672"/>
                  </a:lnTo>
                  <a:lnTo>
                    <a:pt x="330" y="678"/>
                  </a:lnTo>
                  <a:lnTo>
                    <a:pt x="330" y="684"/>
                  </a:lnTo>
                  <a:lnTo>
                    <a:pt x="330" y="690"/>
                  </a:lnTo>
                  <a:lnTo>
                    <a:pt x="324" y="696"/>
                  </a:lnTo>
                  <a:lnTo>
                    <a:pt x="324" y="702"/>
                  </a:lnTo>
                  <a:lnTo>
                    <a:pt x="318" y="702"/>
                  </a:lnTo>
                  <a:lnTo>
                    <a:pt x="318" y="708"/>
                  </a:lnTo>
                  <a:lnTo>
                    <a:pt x="312" y="708"/>
                  </a:lnTo>
                  <a:lnTo>
                    <a:pt x="312" y="702"/>
                  </a:lnTo>
                  <a:lnTo>
                    <a:pt x="306" y="702"/>
                  </a:lnTo>
                  <a:lnTo>
                    <a:pt x="300" y="702"/>
                  </a:lnTo>
                  <a:lnTo>
                    <a:pt x="294" y="696"/>
                  </a:lnTo>
                  <a:lnTo>
                    <a:pt x="288" y="696"/>
                  </a:lnTo>
                  <a:lnTo>
                    <a:pt x="282" y="690"/>
                  </a:lnTo>
                  <a:lnTo>
                    <a:pt x="288" y="684"/>
                  </a:lnTo>
                  <a:lnTo>
                    <a:pt x="294" y="684"/>
                  </a:lnTo>
                  <a:lnTo>
                    <a:pt x="294" y="678"/>
                  </a:lnTo>
                  <a:lnTo>
                    <a:pt x="300" y="678"/>
                  </a:lnTo>
                  <a:lnTo>
                    <a:pt x="294" y="678"/>
                  </a:lnTo>
                  <a:lnTo>
                    <a:pt x="294" y="672"/>
                  </a:lnTo>
                  <a:lnTo>
                    <a:pt x="294" y="666"/>
                  </a:lnTo>
                  <a:lnTo>
                    <a:pt x="288" y="666"/>
                  </a:lnTo>
                  <a:lnTo>
                    <a:pt x="288" y="672"/>
                  </a:lnTo>
                  <a:lnTo>
                    <a:pt x="294" y="672"/>
                  </a:lnTo>
                  <a:lnTo>
                    <a:pt x="288" y="678"/>
                  </a:lnTo>
                  <a:lnTo>
                    <a:pt x="282" y="684"/>
                  </a:lnTo>
                  <a:lnTo>
                    <a:pt x="282" y="678"/>
                  </a:lnTo>
                  <a:lnTo>
                    <a:pt x="276" y="678"/>
                  </a:lnTo>
                  <a:lnTo>
                    <a:pt x="282" y="684"/>
                  </a:lnTo>
                  <a:lnTo>
                    <a:pt x="282" y="690"/>
                  </a:lnTo>
                  <a:lnTo>
                    <a:pt x="282" y="696"/>
                  </a:lnTo>
                  <a:lnTo>
                    <a:pt x="288" y="702"/>
                  </a:lnTo>
                  <a:lnTo>
                    <a:pt x="294" y="708"/>
                  </a:lnTo>
                  <a:lnTo>
                    <a:pt x="294" y="714"/>
                  </a:lnTo>
                  <a:lnTo>
                    <a:pt x="288" y="714"/>
                  </a:lnTo>
                  <a:lnTo>
                    <a:pt x="282" y="714"/>
                  </a:lnTo>
                  <a:lnTo>
                    <a:pt x="276" y="714"/>
                  </a:lnTo>
                  <a:lnTo>
                    <a:pt x="270" y="714"/>
                  </a:lnTo>
                  <a:lnTo>
                    <a:pt x="276" y="714"/>
                  </a:lnTo>
                  <a:lnTo>
                    <a:pt x="270" y="714"/>
                  </a:lnTo>
                  <a:lnTo>
                    <a:pt x="264" y="714"/>
                  </a:lnTo>
                  <a:lnTo>
                    <a:pt x="258" y="714"/>
                  </a:lnTo>
                  <a:lnTo>
                    <a:pt x="252" y="714"/>
                  </a:lnTo>
                  <a:lnTo>
                    <a:pt x="246" y="714"/>
                  </a:lnTo>
                  <a:lnTo>
                    <a:pt x="240" y="714"/>
                  </a:lnTo>
                  <a:lnTo>
                    <a:pt x="240" y="708"/>
                  </a:lnTo>
                  <a:lnTo>
                    <a:pt x="234" y="708"/>
                  </a:lnTo>
                  <a:lnTo>
                    <a:pt x="228" y="708"/>
                  </a:lnTo>
                  <a:lnTo>
                    <a:pt x="222" y="702"/>
                  </a:lnTo>
                  <a:lnTo>
                    <a:pt x="216" y="702"/>
                  </a:lnTo>
                  <a:lnTo>
                    <a:pt x="210" y="702"/>
                  </a:lnTo>
                  <a:lnTo>
                    <a:pt x="198" y="696"/>
                  </a:lnTo>
                  <a:lnTo>
                    <a:pt x="192" y="690"/>
                  </a:lnTo>
                  <a:lnTo>
                    <a:pt x="186" y="690"/>
                  </a:lnTo>
                  <a:lnTo>
                    <a:pt x="180" y="684"/>
                  </a:lnTo>
                  <a:lnTo>
                    <a:pt x="174" y="684"/>
                  </a:lnTo>
                  <a:lnTo>
                    <a:pt x="168" y="684"/>
                  </a:lnTo>
                  <a:lnTo>
                    <a:pt x="168" y="678"/>
                  </a:lnTo>
                  <a:lnTo>
                    <a:pt x="156" y="672"/>
                  </a:lnTo>
                  <a:lnTo>
                    <a:pt x="150" y="660"/>
                  </a:lnTo>
                  <a:lnTo>
                    <a:pt x="126" y="630"/>
                  </a:lnTo>
                  <a:lnTo>
                    <a:pt x="126" y="624"/>
                  </a:lnTo>
                  <a:lnTo>
                    <a:pt x="126" y="618"/>
                  </a:lnTo>
                  <a:lnTo>
                    <a:pt x="126" y="624"/>
                  </a:lnTo>
                  <a:lnTo>
                    <a:pt x="126" y="618"/>
                  </a:lnTo>
                  <a:lnTo>
                    <a:pt x="126" y="612"/>
                  </a:lnTo>
                  <a:lnTo>
                    <a:pt x="126" y="606"/>
                  </a:lnTo>
                  <a:lnTo>
                    <a:pt x="126" y="600"/>
                  </a:lnTo>
                  <a:lnTo>
                    <a:pt x="132" y="594"/>
                  </a:lnTo>
                  <a:lnTo>
                    <a:pt x="138" y="594"/>
                  </a:lnTo>
                  <a:lnTo>
                    <a:pt x="144" y="588"/>
                  </a:lnTo>
                  <a:lnTo>
                    <a:pt x="144" y="582"/>
                  </a:lnTo>
                  <a:lnTo>
                    <a:pt x="150" y="582"/>
                  </a:lnTo>
                  <a:lnTo>
                    <a:pt x="150" y="576"/>
                  </a:lnTo>
                  <a:lnTo>
                    <a:pt x="156" y="576"/>
                  </a:lnTo>
                  <a:lnTo>
                    <a:pt x="156" y="582"/>
                  </a:lnTo>
                  <a:lnTo>
                    <a:pt x="156" y="576"/>
                  </a:lnTo>
                  <a:lnTo>
                    <a:pt x="162" y="576"/>
                  </a:lnTo>
                  <a:lnTo>
                    <a:pt x="168" y="576"/>
                  </a:lnTo>
                  <a:lnTo>
                    <a:pt x="174" y="576"/>
                  </a:lnTo>
                  <a:lnTo>
                    <a:pt x="180" y="582"/>
                  </a:lnTo>
                  <a:lnTo>
                    <a:pt x="192" y="582"/>
                  </a:lnTo>
                  <a:lnTo>
                    <a:pt x="198" y="582"/>
                  </a:lnTo>
                  <a:lnTo>
                    <a:pt x="204" y="582"/>
                  </a:lnTo>
                  <a:lnTo>
                    <a:pt x="210" y="582"/>
                  </a:lnTo>
                  <a:lnTo>
                    <a:pt x="216" y="588"/>
                  </a:lnTo>
                  <a:lnTo>
                    <a:pt x="222" y="588"/>
                  </a:lnTo>
                  <a:lnTo>
                    <a:pt x="234" y="588"/>
                  </a:lnTo>
                  <a:lnTo>
                    <a:pt x="240" y="588"/>
                  </a:lnTo>
                  <a:lnTo>
                    <a:pt x="240" y="594"/>
                  </a:lnTo>
                  <a:lnTo>
                    <a:pt x="240" y="588"/>
                  </a:lnTo>
                  <a:lnTo>
                    <a:pt x="246" y="588"/>
                  </a:lnTo>
                  <a:lnTo>
                    <a:pt x="246" y="594"/>
                  </a:lnTo>
                  <a:lnTo>
                    <a:pt x="252" y="588"/>
                  </a:lnTo>
                  <a:lnTo>
                    <a:pt x="258" y="588"/>
                  </a:lnTo>
                  <a:lnTo>
                    <a:pt x="258" y="594"/>
                  </a:lnTo>
                  <a:lnTo>
                    <a:pt x="252" y="594"/>
                  </a:lnTo>
                  <a:lnTo>
                    <a:pt x="252" y="600"/>
                  </a:lnTo>
                  <a:lnTo>
                    <a:pt x="246" y="600"/>
                  </a:lnTo>
                  <a:lnTo>
                    <a:pt x="246" y="606"/>
                  </a:lnTo>
                  <a:lnTo>
                    <a:pt x="246" y="600"/>
                  </a:lnTo>
                  <a:lnTo>
                    <a:pt x="252" y="600"/>
                  </a:lnTo>
                  <a:lnTo>
                    <a:pt x="258" y="594"/>
                  </a:lnTo>
                  <a:lnTo>
                    <a:pt x="264" y="594"/>
                  </a:lnTo>
                  <a:lnTo>
                    <a:pt x="264" y="588"/>
                  </a:lnTo>
                  <a:lnTo>
                    <a:pt x="270" y="588"/>
                  </a:lnTo>
                  <a:lnTo>
                    <a:pt x="270" y="582"/>
                  </a:lnTo>
                  <a:lnTo>
                    <a:pt x="270" y="576"/>
                  </a:lnTo>
                  <a:lnTo>
                    <a:pt x="276" y="576"/>
                  </a:lnTo>
                  <a:lnTo>
                    <a:pt x="276" y="570"/>
                  </a:lnTo>
                  <a:lnTo>
                    <a:pt x="276" y="564"/>
                  </a:lnTo>
                  <a:lnTo>
                    <a:pt x="270" y="558"/>
                  </a:lnTo>
                  <a:lnTo>
                    <a:pt x="276" y="558"/>
                  </a:lnTo>
                  <a:lnTo>
                    <a:pt x="276" y="552"/>
                  </a:lnTo>
                  <a:lnTo>
                    <a:pt x="276" y="558"/>
                  </a:lnTo>
                  <a:lnTo>
                    <a:pt x="282" y="558"/>
                  </a:lnTo>
                  <a:lnTo>
                    <a:pt x="288" y="558"/>
                  </a:lnTo>
                  <a:lnTo>
                    <a:pt x="294" y="558"/>
                  </a:lnTo>
                  <a:lnTo>
                    <a:pt x="300" y="558"/>
                  </a:lnTo>
                  <a:lnTo>
                    <a:pt x="306" y="558"/>
                  </a:lnTo>
                  <a:lnTo>
                    <a:pt x="312" y="558"/>
                  </a:lnTo>
                  <a:lnTo>
                    <a:pt x="318" y="558"/>
                  </a:lnTo>
                  <a:lnTo>
                    <a:pt x="318" y="564"/>
                  </a:lnTo>
                  <a:lnTo>
                    <a:pt x="324" y="564"/>
                  </a:lnTo>
                  <a:lnTo>
                    <a:pt x="324" y="570"/>
                  </a:lnTo>
                  <a:lnTo>
                    <a:pt x="330" y="570"/>
                  </a:lnTo>
                  <a:lnTo>
                    <a:pt x="336" y="570"/>
                  </a:lnTo>
                  <a:lnTo>
                    <a:pt x="342" y="570"/>
                  </a:lnTo>
                  <a:lnTo>
                    <a:pt x="348" y="570"/>
                  </a:lnTo>
                  <a:lnTo>
                    <a:pt x="354" y="570"/>
                  </a:lnTo>
                  <a:lnTo>
                    <a:pt x="360" y="570"/>
                  </a:lnTo>
                  <a:lnTo>
                    <a:pt x="366" y="570"/>
                  </a:lnTo>
                  <a:lnTo>
                    <a:pt x="360" y="570"/>
                  </a:lnTo>
                  <a:lnTo>
                    <a:pt x="360" y="564"/>
                  </a:lnTo>
                  <a:lnTo>
                    <a:pt x="354" y="564"/>
                  </a:lnTo>
                  <a:lnTo>
                    <a:pt x="348" y="564"/>
                  </a:lnTo>
                  <a:lnTo>
                    <a:pt x="342" y="564"/>
                  </a:lnTo>
                  <a:lnTo>
                    <a:pt x="342" y="570"/>
                  </a:lnTo>
                  <a:lnTo>
                    <a:pt x="336" y="564"/>
                  </a:lnTo>
                  <a:lnTo>
                    <a:pt x="336" y="570"/>
                  </a:lnTo>
                  <a:lnTo>
                    <a:pt x="336" y="564"/>
                  </a:lnTo>
                  <a:lnTo>
                    <a:pt x="330" y="564"/>
                  </a:lnTo>
                  <a:lnTo>
                    <a:pt x="324" y="558"/>
                  </a:lnTo>
                  <a:lnTo>
                    <a:pt x="324" y="564"/>
                  </a:lnTo>
                  <a:lnTo>
                    <a:pt x="324" y="558"/>
                  </a:lnTo>
                  <a:lnTo>
                    <a:pt x="318" y="558"/>
                  </a:lnTo>
                  <a:lnTo>
                    <a:pt x="312" y="552"/>
                  </a:lnTo>
                  <a:lnTo>
                    <a:pt x="312" y="558"/>
                  </a:lnTo>
                  <a:lnTo>
                    <a:pt x="312" y="552"/>
                  </a:lnTo>
                  <a:lnTo>
                    <a:pt x="306" y="552"/>
                  </a:lnTo>
                  <a:lnTo>
                    <a:pt x="300" y="546"/>
                  </a:lnTo>
                  <a:lnTo>
                    <a:pt x="294" y="546"/>
                  </a:lnTo>
                  <a:lnTo>
                    <a:pt x="288" y="546"/>
                  </a:lnTo>
                  <a:lnTo>
                    <a:pt x="282" y="546"/>
                  </a:lnTo>
                  <a:lnTo>
                    <a:pt x="276" y="546"/>
                  </a:lnTo>
                  <a:lnTo>
                    <a:pt x="276" y="552"/>
                  </a:lnTo>
                  <a:lnTo>
                    <a:pt x="270" y="552"/>
                  </a:lnTo>
                  <a:lnTo>
                    <a:pt x="270" y="558"/>
                  </a:lnTo>
                  <a:lnTo>
                    <a:pt x="270" y="564"/>
                  </a:lnTo>
                  <a:lnTo>
                    <a:pt x="264" y="570"/>
                  </a:lnTo>
                  <a:lnTo>
                    <a:pt x="258" y="576"/>
                  </a:lnTo>
                  <a:lnTo>
                    <a:pt x="258" y="582"/>
                  </a:lnTo>
                  <a:lnTo>
                    <a:pt x="252" y="582"/>
                  </a:lnTo>
                  <a:lnTo>
                    <a:pt x="246" y="582"/>
                  </a:lnTo>
                  <a:lnTo>
                    <a:pt x="240" y="582"/>
                  </a:lnTo>
                  <a:lnTo>
                    <a:pt x="234" y="576"/>
                  </a:lnTo>
                  <a:lnTo>
                    <a:pt x="228" y="576"/>
                  </a:lnTo>
                  <a:lnTo>
                    <a:pt x="222" y="576"/>
                  </a:lnTo>
                  <a:lnTo>
                    <a:pt x="222" y="570"/>
                  </a:lnTo>
                  <a:lnTo>
                    <a:pt x="216" y="564"/>
                  </a:lnTo>
                  <a:lnTo>
                    <a:pt x="216" y="558"/>
                  </a:lnTo>
                  <a:lnTo>
                    <a:pt x="210" y="558"/>
                  </a:lnTo>
                  <a:lnTo>
                    <a:pt x="210" y="552"/>
                  </a:lnTo>
                  <a:lnTo>
                    <a:pt x="216" y="552"/>
                  </a:lnTo>
                  <a:lnTo>
                    <a:pt x="216" y="546"/>
                  </a:lnTo>
                  <a:lnTo>
                    <a:pt x="216" y="540"/>
                  </a:lnTo>
                  <a:lnTo>
                    <a:pt x="222" y="534"/>
                  </a:lnTo>
                  <a:lnTo>
                    <a:pt x="222" y="528"/>
                  </a:lnTo>
                  <a:lnTo>
                    <a:pt x="228" y="522"/>
                  </a:lnTo>
                  <a:lnTo>
                    <a:pt x="228" y="516"/>
                  </a:lnTo>
                  <a:lnTo>
                    <a:pt x="228" y="510"/>
                  </a:lnTo>
                  <a:lnTo>
                    <a:pt x="234" y="510"/>
                  </a:lnTo>
                  <a:lnTo>
                    <a:pt x="240" y="516"/>
                  </a:lnTo>
                  <a:lnTo>
                    <a:pt x="246" y="522"/>
                  </a:lnTo>
                  <a:lnTo>
                    <a:pt x="246" y="516"/>
                  </a:lnTo>
                  <a:lnTo>
                    <a:pt x="240" y="516"/>
                  </a:lnTo>
                  <a:lnTo>
                    <a:pt x="240" y="510"/>
                  </a:lnTo>
                  <a:lnTo>
                    <a:pt x="234" y="510"/>
                  </a:lnTo>
                  <a:lnTo>
                    <a:pt x="234" y="504"/>
                  </a:lnTo>
                  <a:lnTo>
                    <a:pt x="228" y="504"/>
                  </a:lnTo>
                  <a:lnTo>
                    <a:pt x="222" y="504"/>
                  </a:lnTo>
                  <a:lnTo>
                    <a:pt x="222" y="498"/>
                  </a:lnTo>
                  <a:lnTo>
                    <a:pt x="222" y="504"/>
                  </a:lnTo>
                  <a:lnTo>
                    <a:pt x="222" y="510"/>
                  </a:lnTo>
                  <a:lnTo>
                    <a:pt x="222" y="516"/>
                  </a:lnTo>
                  <a:lnTo>
                    <a:pt x="216" y="522"/>
                  </a:lnTo>
                  <a:lnTo>
                    <a:pt x="216" y="528"/>
                  </a:lnTo>
                  <a:lnTo>
                    <a:pt x="210" y="528"/>
                  </a:lnTo>
                  <a:lnTo>
                    <a:pt x="216" y="528"/>
                  </a:lnTo>
                  <a:lnTo>
                    <a:pt x="210" y="534"/>
                  </a:lnTo>
                  <a:lnTo>
                    <a:pt x="210" y="540"/>
                  </a:lnTo>
                  <a:lnTo>
                    <a:pt x="210" y="546"/>
                  </a:lnTo>
                  <a:lnTo>
                    <a:pt x="204" y="546"/>
                  </a:lnTo>
                  <a:lnTo>
                    <a:pt x="204" y="552"/>
                  </a:lnTo>
                  <a:lnTo>
                    <a:pt x="204" y="558"/>
                  </a:lnTo>
                  <a:lnTo>
                    <a:pt x="204" y="564"/>
                  </a:lnTo>
                  <a:lnTo>
                    <a:pt x="198" y="570"/>
                  </a:lnTo>
                  <a:lnTo>
                    <a:pt x="192" y="564"/>
                  </a:lnTo>
                  <a:lnTo>
                    <a:pt x="186" y="564"/>
                  </a:lnTo>
                  <a:lnTo>
                    <a:pt x="180" y="564"/>
                  </a:lnTo>
                  <a:lnTo>
                    <a:pt x="174" y="564"/>
                  </a:lnTo>
                  <a:lnTo>
                    <a:pt x="168" y="564"/>
                  </a:lnTo>
                  <a:lnTo>
                    <a:pt x="162" y="564"/>
                  </a:lnTo>
                  <a:lnTo>
                    <a:pt x="156" y="570"/>
                  </a:lnTo>
                  <a:lnTo>
                    <a:pt x="150" y="570"/>
                  </a:lnTo>
                  <a:lnTo>
                    <a:pt x="150" y="564"/>
                  </a:lnTo>
                  <a:lnTo>
                    <a:pt x="150" y="570"/>
                  </a:lnTo>
                  <a:lnTo>
                    <a:pt x="150" y="576"/>
                  </a:lnTo>
                  <a:lnTo>
                    <a:pt x="144" y="576"/>
                  </a:lnTo>
                  <a:lnTo>
                    <a:pt x="138" y="576"/>
                  </a:lnTo>
                  <a:lnTo>
                    <a:pt x="132" y="582"/>
                  </a:lnTo>
                  <a:lnTo>
                    <a:pt x="126" y="582"/>
                  </a:lnTo>
                  <a:lnTo>
                    <a:pt x="120" y="582"/>
                  </a:lnTo>
                  <a:lnTo>
                    <a:pt x="114" y="576"/>
                  </a:lnTo>
                  <a:lnTo>
                    <a:pt x="108" y="564"/>
                  </a:lnTo>
                  <a:lnTo>
                    <a:pt x="102" y="558"/>
                  </a:lnTo>
                  <a:lnTo>
                    <a:pt x="96" y="552"/>
                  </a:lnTo>
                  <a:lnTo>
                    <a:pt x="90" y="546"/>
                  </a:lnTo>
                  <a:lnTo>
                    <a:pt x="90" y="540"/>
                  </a:lnTo>
                  <a:lnTo>
                    <a:pt x="84" y="534"/>
                  </a:lnTo>
                  <a:lnTo>
                    <a:pt x="84" y="528"/>
                  </a:lnTo>
                  <a:lnTo>
                    <a:pt x="78" y="522"/>
                  </a:lnTo>
                  <a:lnTo>
                    <a:pt x="78" y="516"/>
                  </a:lnTo>
                  <a:lnTo>
                    <a:pt x="72" y="510"/>
                  </a:lnTo>
                  <a:lnTo>
                    <a:pt x="66" y="504"/>
                  </a:lnTo>
                  <a:lnTo>
                    <a:pt x="66" y="498"/>
                  </a:lnTo>
                  <a:lnTo>
                    <a:pt x="66" y="492"/>
                  </a:lnTo>
                  <a:lnTo>
                    <a:pt x="66" y="486"/>
                  </a:lnTo>
                  <a:lnTo>
                    <a:pt x="66" y="480"/>
                  </a:lnTo>
                  <a:lnTo>
                    <a:pt x="66" y="474"/>
                  </a:lnTo>
                  <a:lnTo>
                    <a:pt x="72" y="474"/>
                  </a:lnTo>
                  <a:lnTo>
                    <a:pt x="72" y="468"/>
                  </a:lnTo>
                  <a:lnTo>
                    <a:pt x="78" y="462"/>
                  </a:lnTo>
                  <a:lnTo>
                    <a:pt x="78" y="456"/>
                  </a:lnTo>
                  <a:lnTo>
                    <a:pt x="84" y="456"/>
                  </a:lnTo>
                  <a:lnTo>
                    <a:pt x="84" y="450"/>
                  </a:lnTo>
                  <a:lnTo>
                    <a:pt x="84" y="444"/>
                  </a:lnTo>
                  <a:lnTo>
                    <a:pt x="90" y="444"/>
                  </a:lnTo>
                  <a:lnTo>
                    <a:pt x="96" y="444"/>
                  </a:lnTo>
                  <a:lnTo>
                    <a:pt x="96" y="450"/>
                  </a:lnTo>
                  <a:lnTo>
                    <a:pt x="102" y="450"/>
                  </a:lnTo>
                  <a:lnTo>
                    <a:pt x="108" y="450"/>
                  </a:lnTo>
                  <a:lnTo>
                    <a:pt x="108" y="456"/>
                  </a:lnTo>
                  <a:lnTo>
                    <a:pt x="108" y="462"/>
                  </a:lnTo>
                  <a:lnTo>
                    <a:pt x="114" y="462"/>
                  </a:lnTo>
                  <a:lnTo>
                    <a:pt x="114" y="468"/>
                  </a:lnTo>
                  <a:lnTo>
                    <a:pt x="114" y="474"/>
                  </a:lnTo>
                  <a:lnTo>
                    <a:pt x="114" y="480"/>
                  </a:lnTo>
                  <a:lnTo>
                    <a:pt x="114" y="486"/>
                  </a:lnTo>
                  <a:lnTo>
                    <a:pt x="120" y="486"/>
                  </a:lnTo>
                  <a:lnTo>
                    <a:pt x="126" y="486"/>
                  </a:lnTo>
                  <a:lnTo>
                    <a:pt x="132" y="486"/>
                  </a:lnTo>
                  <a:lnTo>
                    <a:pt x="126" y="480"/>
                  </a:lnTo>
                  <a:lnTo>
                    <a:pt x="120" y="480"/>
                  </a:lnTo>
                  <a:lnTo>
                    <a:pt x="114" y="480"/>
                  </a:lnTo>
                  <a:lnTo>
                    <a:pt x="120" y="480"/>
                  </a:lnTo>
                  <a:lnTo>
                    <a:pt x="120" y="474"/>
                  </a:lnTo>
                  <a:lnTo>
                    <a:pt x="120" y="468"/>
                  </a:lnTo>
                  <a:lnTo>
                    <a:pt x="114" y="468"/>
                  </a:lnTo>
                  <a:lnTo>
                    <a:pt x="114" y="462"/>
                  </a:lnTo>
                  <a:lnTo>
                    <a:pt x="114" y="456"/>
                  </a:lnTo>
                  <a:lnTo>
                    <a:pt x="108" y="456"/>
                  </a:lnTo>
                  <a:lnTo>
                    <a:pt x="108" y="450"/>
                  </a:lnTo>
                  <a:lnTo>
                    <a:pt x="108" y="444"/>
                  </a:lnTo>
                  <a:lnTo>
                    <a:pt x="114" y="438"/>
                  </a:lnTo>
                  <a:lnTo>
                    <a:pt x="120" y="438"/>
                  </a:lnTo>
                  <a:lnTo>
                    <a:pt x="120" y="432"/>
                  </a:lnTo>
                  <a:lnTo>
                    <a:pt x="132" y="426"/>
                  </a:lnTo>
                  <a:lnTo>
                    <a:pt x="138" y="420"/>
                  </a:lnTo>
                  <a:lnTo>
                    <a:pt x="144" y="420"/>
                  </a:lnTo>
                  <a:lnTo>
                    <a:pt x="144" y="414"/>
                  </a:lnTo>
                  <a:lnTo>
                    <a:pt x="144" y="420"/>
                  </a:lnTo>
                  <a:lnTo>
                    <a:pt x="150" y="420"/>
                  </a:lnTo>
                  <a:lnTo>
                    <a:pt x="150" y="414"/>
                  </a:lnTo>
                  <a:lnTo>
                    <a:pt x="156" y="414"/>
                  </a:lnTo>
                  <a:lnTo>
                    <a:pt x="162" y="414"/>
                  </a:lnTo>
                  <a:lnTo>
                    <a:pt x="162" y="408"/>
                  </a:lnTo>
                  <a:lnTo>
                    <a:pt x="168" y="408"/>
                  </a:lnTo>
                  <a:lnTo>
                    <a:pt x="174" y="414"/>
                  </a:lnTo>
                  <a:lnTo>
                    <a:pt x="174" y="408"/>
                  </a:lnTo>
                  <a:lnTo>
                    <a:pt x="180" y="402"/>
                  </a:lnTo>
                  <a:lnTo>
                    <a:pt x="180" y="396"/>
                  </a:lnTo>
                  <a:lnTo>
                    <a:pt x="186" y="396"/>
                  </a:lnTo>
                  <a:lnTo>
                    <a:pt x="186" y="390"/>
                  </a:lnTo>
                  <a:lnTo>
                    <a:pt x="192" y="390"/>
                  </a:lnTo>
                  <a:lnTo>
                    <a:pt x="198" y="384"/>
                  </a:lnTo>
                  <a:lnTo>
                    <a:pt x="204" y="384"/>
                  </a:lnTo>
                  <a:lnTo>
                    <a:pt x="204" y="390"/>
                  </a:lnTo>
                  <a:lnTo>
                    <a:pt x="204" y="384"/>
                  </a:lnTo>
                  <a:lnTo>
                    <a:pt x="210" y="378"/>
                  </a:lnTo>
                  <a:lnTo>
                    <a:pt x="210" y="372"/>
                  </a:lnTo>
                  <a:lnTo>
                    <a:pt x="216" y="372"/>
                  </a:lnTo>
                  <a:lnTo>
                    <a:pt x="222" y="366"/>
                  </a:lnTo>
                  <a:lnTo>
                    <a:pt x="228" y="360"/>
                  </a:lnTo>
                  <a:lnTo>
                    <a:pt x="234" y="360"/>
                  </a:lnTo>
                  <a:lnTo>
                    <a:pt x="234" y="354"/>
                  </a:lnTo>
                  <a:lnTo>
                    <a:pt x="240" y="354"/>
                  </a:lnTo>
                  <a:lnTo>
                    <a:pt x="246" y="348"/>
                  </a:lnTo>
                  <a:lnTo>
                    <a:pt x="252" y="348"/>
                  </a:lnTo>
                  <a:lnTo>
                    <a:pt x="252" y="342"/>
                  </a:lnTo>
                  <a:lnTo>
                    <a:pt x="246" y="342"/>
                  </a:lnTo>
                  <a:lnTo>
                    <a:pt x="240" y="342"/>
                  </a:lnTo>
                  <a:lnTo>
                    <a:pt x="240" y="348"/>
                  </a:lnTo>
                  <a:lnTo>
                    <a:pt x="240" y="342"/>
                  </a:lnTo>
                  <a:lnTo>
                    <a:pt x="234" y="342"/>
                  </a:lnTo>
                  <a:lnTo>
                    <a:pt x="228" y="336"/>
                  </a:lnTo>
                  <a:lnTo>
                    <a:pt x="222" y="336"/>
                  </a:lnTo>
                  <a:lnTo>
                    <a:pt x="216" y="336"/>
                  </a:lnTo>
                  <a:lnTo>
                    <a:pt x="222" y="324"/>
                  </a:lnTo>
                  <a:lnTo>
                    <a:pt x="222" y="318"/>
                  </a:lnTo>
                  <a:lnTo>
                    <a:pt x="222" y="312"/>
                  </a:lnTo>
                  <a:lnTo>
                    <a:pt x="234" y="318"/>
                  </a:lnTo>
                  <a:lnTo>
                    <a:pt x="246" y="318"/>
                  </a:lnTo>
                  <a:lnTo>
                    <a:pt x="258" y="318"/>
                  </a:lnTo>
                  <a:lnTo>
                    <a:pt x="270" y="312"/>
                  </a:lnTo>
                  <a:lnTo>
                    <a:pt x="276" y="312"/>
                  </a:lnTo>
                  <a:lnTo>
                    <a:pt x="288" y="324"/>
                  </a:lnTo>
                  <a:lnTo>
                    <a:pt x="294" y="318"/>
                  </a:lnTo>
                  <a:lnTo>
                    <a:pt x="294" y="312"/>
                  </a:lnTo>
                  <a:lnTo>
                    <a:pt x="294" y="306"/>
                  </a:lnTo>
                  <a:lnTo>
                    <a:pt x="300" y="300"/>
                  </a:lnTo>
                  <a:lnTo>
                    <a:pt x="306" y="306"/>
                  </a:lnTo>
                  <a:lnTo>
                    <a:pt x="312" y="318"/>
                  </a:lnTo>
                  <a:lnTo>
                    <a:pt x="318" y="312"/>
                  </a:lnTo>
                  <a:lnTo>
                    <a:pt x="324" y="312"/>
                  </a:lnTo>
                  <a:lnTo>
                    <a:pt x="330" y="312"/>
                  </a:lnTo>
                  <a:lnTo>
                    <a:pt x="342" y="306"/>
                  </a:lnTo>
                  <a:lnTo>
                    <a:pt x="348" y="306"/>
                  </a:lnTo>
                  <a:lnTo>
                    <a:pt x="348" y="312"/>
                  </a:lnTo>
                  <a:lnTo>
                    <a:pt x="348" y="318"/>
                  </a:lnTo>
                  <a:lnTo>
                    <a:pt x="354" y="318"/>
                  </a:lnTo>
                  <a:lnTo>
                    <a:pt x="354" y="324"/>
                  </a:lnTo>
                  <a:lnTo>
                    <a:pt x="354" y="330"/>
                  </a:lnTo>
                  <a:lnTo>
                    <a:pt x="360" y="330"/>
                  </a:lnTo>
                  <a:lnTo>
                    <a:pt x="360" y="336"/>
                  </a:lnTo>
                  <a:lnTo>
                    <a:pt x="366" y="330"/>
                  </a:lnTo>
                  <a:lnTo>
                    <a:pt x="378" y="324"/>
                  </a:lnTo>
                  <a:lnTo>
                    <a:pt x="384" y="324"/>
                  </a:lnTo>
                  <a:lnTo>
                    <a:pt x="384" y="318"/>
                  </a:lnTo>
                  <a:lnTo>
                    <a:pt x="390" y="312"/>
                  </a:lnTo>
                  <a:lnTo>
                    <a:pt x="396" y="312"/>
                  </a:lnTo>
                  <a:lnTo>
                    <a:pt x="396" y="306"/>
                  </a:lnTo>
                  <a:lnTo>
                    <a:pt x="402" y="306"/>
                  </a:lnTo>
                  <a:lnTo>
                    <a:pt x="408" y="306"/>
                  </a:lnTo>
                  <a:lnTo>
                    <a:pt x="414" y="300"/>
                  </a:lnTo>
                  <a:lnTo>
                    <a:pt x="420" y="300"/>
                  </a:lnTo>
                  <a:lnTo>
                    <a:pt x="426" y="300"/>
                  </a:lnTo>
                  <a:lnTo>
                    <a:pt x="432" y="300"/>
                  </a:lnTo>
                  <a:lnTo>
                    <a:pt x="444" y="288"/>
                  </a:lnTo>
                  <a:lnTo>
                    <a:pt x="450" y="294"/>
                  </a:lnTo>
                  <a:lnTo>
                    <a:pt x="468" y="300"/>
                  </a:lnTo>
                  <a:lnTo>
                    <a:pt x="498" y="312"/>
                  </a:lnTo>
                  <a:lnTo>
                    <a:pt x="504" y="324"/>
                  </a:lnTo>
                  <a:lnTo>
                    <a:pt x="516" y="330"/>
                  </a:lnTo>
                  <a:lnTo>
                    <a:pt x="516" y="336"/>
                  </a:lnTo>
                  <a:lnTo>
                    <a:pt x="540" y="342"/>
                  </a:lnTo>
                  <a:lnTo>
                    <a:pt x="558" y="372"/>
                  </a:lnTo>
                  <a:lnTo>
                    <a:pt x="594" y="384"/>
                  </a:lnTo>
                  <a:lnTo>
                    <a:pt x="606" y="402"/>
                  </a:lnTo>
                  <a:lnTo>
                    <a:pt x="600" y="420"/>
                  </a:lnTo>
                  <a:lnTo>
                    <a:pt x="588" y="444"/>
                  </a:lnTo>
                  <a:lnTo>
                    <a:pt x="588" y="450"/>
                  </a:lnTo>
                  <a:lnTo>
                    <a:pt x="588" y="456"/>
                  </a:lnTo>
                  <a:lnTo>
                    <a:pt x="594" y="456"/>
                  </a:lnTo>
                  <a:lnTo>
                    <a:pt x="594" y="462"/>
                  </a:lnTo>
                  <a:lnTo>
                    <a:pt x="594" y="468"/>
                  </a:lnTo>
                  <a:lnTo>
                    <a:pt x="594" y="474"/>
                  </a:lnTo>
                  <a:lnTo>
                    <a:pt x="600" y="474"/>
                  </a:lnTo>
                  <a:lnTo>
                    <a:pt x="606" y="480"/>
                  </a:lnTo>
                  <a:lnTo>
                    <a:pt x="606" y="486"/>
                  </a:lnTo>
                  <a:lnTo>
                    <a:pt x="612" y="486"/>
                  </a:lnTo>
                  <a:lnTo>
                    <a:pt x="618" y="486"/>
                  </a:lnTo>
                  <a:lnTo>
                    <a:pt x="624" y="486"/>
                  </a:lnTo>
                  <a:lnTo>
                    <a:pt x="636" y="486"/>
                  </a:lnTo>
                  <a:lnTo>
                    <a:pt x="642" y="486"/>
                  </a:lnTo>
                  <a:lnTo>
                    <a:pt x="648" y="480"/>
                  </a:lnTo>
                  <a:lnTo>
                    <a:pt x="654" y="474"/>
                  </a:lnTo>
                  <a:lnTo>
                    <a:pt x="660" y="468"/>
                  </a:lnTo>
                  <a:lnTo>
                    <a:pt x="666" y="468"/>
                  </a:lnTo>
                  <a:lnTo>
                    <a:pt x="684" y="468"/>
                  </a:lnTo>
                  <a:lnTo>
                    <a:pt x="696" y="468"/>
                  </a:lnTo>
                  <a:lnTo>
                    <a:pt x="696" y="462"/>
                  </a:lnTo>
                  <a:lnTo>
                    <a:pt x="702" y="456"/>
                  </a:lnTo>
                  <a:lnTo>
                    <a:pt x="708" y="450"/>
                  </a:lnTo>
                  <a:lnTo>
                    <a:pt x="714" y="450"/>
                  </a:lnTo>
                  <a:lnTo>
                    <a:pt x="720" y="450"/>
                  </a:lnTo>
                  <a:lnTo>
                    <a:pt x="720" y="438"/>
                  </a:lnTo>
                  <a:lnTo>
                    <a:pt x="726" y="432"/>
                  </a:lnTo>
                  <a:lnTo>
                    <a:pt x="738" y="420"/>
                  </a:lnTo>
                  <a:lnTo>
                    <a:pt x="744" y="420"/>
                  </a:lnTo>
                  <a:lnTo>
                    <a:pt x="750" y="414"/>
                  </a:lnTo>
                  <a:lnTo>
                    <a:pt x="762" y="408"/>
                  </a:lnTo>
                  <a:lnTo>
                    <a:pt x="768" y="408"/>
                  </a:lnTo>
                  <a:lnTo>
                    <a:pt x="768" y="402"/>
                  </a:lnTo>
                  <a:lnTo>
                    <a:pt x="780" y="396"/>
                  </a:lnTo>
                  <a:lnTo>
                    <a:pt x="786" y="396"/>
                  </a:lnTo>
                  <a:lnTo>
                    <a:pt x="786" y="390"/>
                  </a:lnTo>
                  <a:lnTo>
                    <a:pt x="792" y="384"/>
                  </a:lnTo>
                  <a:lnTo>
                    <a:pt x="792" y="378"/>
                  </a:lnTo>
                  <a:lnTo>
                    <a:pt x="798" y="366"/>
                  </a:lnTo>
                  <a:lnTo>
                    <a:pt x="804" y="360"/>
                  </a:lnTo>
                  <a:lnTo>
                    <a:pt x="816" y="342"/>
                  </a:lnTo>
                  <a:lnTo>
                    <a:pt x="816" y="312"/>
                  </a:lnTo>
                  <a:lnTo>
                    <a:pt x="804" y="300"/>
                  </a:lnTo>
                  <a:lnTo>
                    <a:pt x="798" y="288"/>
                  </a:lnTo>
                  <a:lnTo>
                    <a:pt x="762" y="264"/>
                  </a:lnTo>
                  <a:lnTo>
                    <a:pt x="738" y="234"/>
                  </a:lnTo>
                  <a:lnTo>
                    <a:pt x="738" y="222"/>
                  </a:lnTo>
                  <a:lnTo>
                    <a:pt x="744" y="210"/>
                  </a:lnTo>
                  <a:lnTo>
                    <a:pt x="732" y="174"/>
                  </a:lnTo>
                  <a:lnTo>
                    <a:pt x="714" y="156"/>
                  </a:lnTo>
                  <a:lnTo>
                    <a:pt x="708" y="144"/>
                  </a:lnTo>
                  <a:lnTo>
                    <a:pt x="714" y="126"/>
                  </a:lnTo>
                  <a:lnTo>
                    <a:pt x="720" y="114"/>
                  </a:lnTo>
                  <a:lnTo>
                    <a:pt x="732" y="102"/>
                  </a:lnTo>
                  <a:lnTo>
                    <a:pt x="744" y="102"/>
                  </a:lnTo>
                  <a:lnTo>
                    <a:pt x="762" y="108"/>
                  </a:lnTo>
                  <a:lnTo>
                    <a:pt x="774" y="114"/>
                  </a:lnTo>
                  <a:lnTo>
                    <a:pt x="780" y="138"/>
                  </a:lnTo>
                  <a:lnTo>
                    <a:pt x="786" y="144"/>
                  </a:lnTo>
                  <a:lnTo>
                    <a:pt x="798" y="138"/>
                  </a:lnTo>
                  <a:lnTo>
                    <a:pt x="804" y="132"/>
                  </a:lnTo>
                  <a:lnTo>
                    <a:pt x="816" y="120"/>
                  </a:lnTo>
                  <a:lnTo>
                    <a:pt x="816" y="108"/>
                  </a:lnTo>
                  <a:lnTo>
                    <a:pt x="828" y="102"/>
                  </a:lnTo>
                  <a:lnTo>
                    <a:pt x="828" y="96"/>
                  </a:lnTo>
                  <a:lnTo>
                    <a:pt x="840" y="96"/>
                  </a:lnTo>
                  <a:lnTo>
                    <a:pt x="840" y="84"/>
                  </a:lnTo>
                  <a:lnTo>
                    <a:pt x="852" y="90"/>
                  </a:lnTo>
                  <a:lnTo>
                    <a:pt x="852" y="96"/>
                  </a:lnTo>
                  <a:lnTo>
                    <a:pt x="870" y="90"/>
                  </a:lnTo>
                  <a:lnTo>
                    <a:pt x="894" y="78"/>
                  </a:lnTo>
                  <a:lnTo>
                    <a:pt x="912" y="78"/>
                  </a:lnTo>
                  <a:lnTo>
                    <a:pt x="942" y="66"/>
                  </a:lnTo>
                  <a:lnTo>
                    <a:pt x="942" y="60"/>
                  </a:lnTo>
                  <a:lnTo>
                    <a:pt x="954" y="48"/>
                  </a:lnTo>
                  <a:lnTo>
                    <a:pt x="966" y="30"/>
                  </a:lnTo>
                  <a:lnTo>
                    <a:pt x="978" y="30"/>
                  </a:lnTo>
                  <a:lnTo>
                    <a:pt x="978" y="24"/>
                  </a:lnTo>
                  <a:lnTo>
                    <a:pt x="984" y="12"/>
                  </a:lnTo>
                  <a:lnTo>
                    <a:pt x="990" y="12"/>
                  </a:lnTo>
                  <a:lnTo>
                    <a:pt x="996" y="12"/>
                  </a:lnTo>
                  <a:lnTo>
                    <a:pt x="1014" y="6"/>
                  </a:lnTo>
                  <a:lnTo>
                    <a:pt x="1026" y="6"/>
                  </a:lnTo>
                  <a:lnTo>
                    <a:pt x="1044" y="6"/>
                  </a:lnTo>
                  <a:lnTo>
                    <a:pt x="1050" y="6"/>
                  </a:lnTo>
                  <a:lnTo>
                    <a:pt x="1056" y="6"/>
                  </a:lnTo>
                  <a:lnTo>
                    <a:pt x="1062" y="6"/>
                  </a:lnTo>
                  <a:lnTo>
                    <a:pt x="1068" y="6"/>
                  </a:lnTo>
                  <a:lnTo>
                    <a:pt x="1074" y="6"/>
                  </a:lnTo>
                  <a:lnTo>
                    <a:pt x="1080" y="6"/>
                  </a:lnTo>
                  <a:lnTo>
                    <a:pt x="1086" y="0"/>
                  </a:lnTo>
                  <a:lnTo>
                    <a:pt x="1092" y="30"/>
                  </a:lnTo>
                  <a:lnTo>
                    <a:pt x="1098" y="60"/>
                  </a:lnTo>
                  <a:lnTo>
                    <a:pt x="1110" y="84"/>
                  </a:lnTo>
                  <a:lnTo>
                    <a:pt x="1122" y="114"/>
                  </a:lnTo>
                  <a:lnTo>
                    <a:pt x="1128" y="144"/>
                  </a:lnTo>
                  <a:lnTo>
                    <a:pt x="1122" y="156"/>
                  </a:lnTo>
                  <a:lnTo>
                    <a:pt x="1128" y="168"/>
                  </a:lnTo>
                  <a:lnTo>
                    <a:pt x="1134" y="186"/>
                  </a:lnTo>
                  <a:lnTo>
                    <a:pt x="1140" y="204"/>
                  </a:lnTo>
                  <a:lnTo>
                    <a:pt x="1146" y="210"/>
                  </a:lnTo>
                  <a:lnTo>
                    <a:pt x="1146" y="216"/>
                  </a:lnTo>
                  <a:lnTo>
                    <a:pt x="1146" y="228"/>
                  </a:lnTo>
                  <a:lnTo>
                    <a:pt x="1146" y="234"/>
                  </a:lnTo>
                  <a:lnTo>
                    <a:pt x="1140" y="246"/>
                  </a:lnTo>
                  <a:lnTo>
                    <a:pt x="1128" y="258"/>
                  </a:lnTo>
                  <a:lnTo>
                    <a:pt x="1116" y="264"/>
                  </a:lnTo>
                  <a:lnTo>
                    <a:pt x="1110" y="276"/>
                  </a:lnTo>
                  <a:lnTo>
                    <a:pt x="1116" y="288"/>
                  </a:lnTo>
                  <a:lnTo>
                    <a:pt x="1122" y="300"/>
                  </a:lnTo>
                  <a:lnTo>
                    <a:pt x="1122" y="312"/>
                  </a:lnTo>
                  <a:lnTo>
                    <a:pt x="1116" y="324"/>
                  </a:lnTo>
                  <a:lnTo>
                    <a:pt x="1104" y="336"/>
                  </a:lnTo>
                  <a:lnTo>
                    <a:pt x="1104" y="354"/>
                  </a:lnTo>
                  <a:lnTo>
                    <a:pt x="1098" y="372"/>
                  </a:lnTo>
                  <a:lnTo>
                    <a:pt x="1092" y="384"/>
                  </a:lnTo>
                  <a:lnTo>
                    <a:pt x="1086" y="390"/>
                  </a:lnTo>
                  <a:lnTo>
                    <a:pt x="1086" y="402"/>
                  </a:lnTo>
                  <a:lnTo>
                    <a:pt x="1080" y="414"/>
                  </a:lnTo>
                  <a:lnTo>
                    <a:pt x="1074" y="426"/>
                  </a:lnTo>
                  <a:lnTo>
                    <a:pt x="1074" y="450"/>
                  </a:lnTo>
                  <a:lnTo>
                    <a:pt x="1074" y="462"/>
                  </a:lnTo>
                  <a:lnTo>
                    <a:pt x="1068" y="474"/>
                  </a:lnTo>
                  <a:lnTo>
                    <a:pt x="1062" y="486"/>
                  </a:lnTo>
                  <a:lnTo>
                    <a:pt x="1056" y="498"/>
                  </a:lnTo>
                  <a:close/>
                  <a:moveTo>
                    <a:pt x="186" y="378"/>
                  </a:moveTo>
                  <a:lnTo>
                    <a:pt x="186" y="384"/>
                  </a:lnTo>
                  <a:lnTo>
                    <a:pt x="180" y="390"/>
                  </a:lnTo>
                  <a:lnTo>
                    <a:pt x="174" y="396"/>
                  </a:lnTo>
                  <a:lnTo>
                    <a:pt x="168" y="396"/>
                  </a:lnTo>
                  <a:lnTo>
                    <a:pt x="162" y="396"/>
                  </a:lnTo>
                  <a:lnTo>
                    <a:pt x="156" y="396"/>
                  </a:lnTo>
                  <a:lnTo>
                    <a:pt x="156" y="402"/>
                  </a:lnTo>
                  <a:lnTo>
                    <a:pt x="150" y="402"/>
                  </a:lnTo>
                  <a:lnTo>
                    <a:pt x="144" y="402"/>
                  </a:lnTo>
                  <a:lnTo>
                    <a:pt x="144" y="408"/>
                  </a:lnTo>
                  <a:lnTo>
                    <a:pt x="138" y="408"/>
                  </a:lnTo>
                  <a:lnTo>
                    <a:pt x="132" y="414"/>
                  </a:lnTo>
                  <a:lnTo>
                    <a:pt x="126" y="414"/>
                  </a:lnTo>
                  <a:lnTo>
                    <a:pt x="120" y="414"/>
                  </a:lnTo>
                  <a:lnTo>
                    <a:pt x="120" y="420"/>
                  </a:lnTo>
                  <a:lnTo>
                    <a:pt x="114" y="426"/>
                  </a:lnTo>
                  <a:lnTo>
                    <a:pt x="108" y="426"/>
                  </a:lnTo>
                  <a:lnTo>
                    <a:pt x="102" y="426"/>
                  </a:lnTo>
                  <a:lnTo>
                    <a:pt x="102" y="432"/>
                  </a:lnTo>
                  <a:lnTo>
                    <a:pt x="96" y="432"/>
                  </a:lnTo>
                  <a:lnTo>
                    <a:pt x="90" y="432"/>
                  </a:lnTo>
                  <a:lnTo>
                    <a:pt x="84" y="438"/>
                  </a:lnTo>
                  <a:lnTo>
                    <a:pt x="78" y="438"/>
                  </a:lnTo>
                  <a:lnTo>
                    <a:pt x="78" y="444"/>
                  </a:lnTo>
                  <a:lnTo>
                    <a:pt x="72" y="444"/>
                  </a:lnTo>
                  <a:lnTo>
                    <a:pt x="72" y="450"/>
                  </a:lnTo>
                  <a:lnTo>
                    <a:pt x="66" y="456"/>
                  </a:lnTo>
                  <a:lnTo>
                    <a:pt x="66" y="462"/>
                  </a:lnTo>
                  <a:lnTo>
                    <a:pt x="60" y="462"/>
                  </a:lnTo>
                  <a:lnTo>
                    <a:pt x="60" y="468"/>
                  </a:lnTo>
                  <a:lnTo>
                    <a:pt x="60" y="474"/>
                  </a:lnTo>
                  <a:lnTo>
                    <a:pt x="54" y="474"/>
                  </a:lnTo>
                  <a:lnTo>
                    <a:pt x="48" y="468"/>
                  </a:lnTo>
                  <a:lnTo>
                    <a:pt x="42" y="468"/>
                  </a:lnTo>
                  <a:lnTo>
                    <a:pt x="42" y="462"/>
                  </a:lnTo>
                  <a:lnTo>
                    <a:pt x="42" y="456"/>
                  </a:lnTo>
                  <a:lnTo>
                    <a:pt x="36" y="456"/>
                  </a:lnTo>
                  <a:lnTo>
                    <a:pt x="36" y="450"/>
                  </a:lnTo>
                  <a:lnTo>
                    <a:pt x="36" y="444"/>
                  </a:lnTo>
                  <a:lnTo>
                    <a:pt x="30" y="444"/>
                  </a:lnTo>
                  <a:lnTo>
                    <a:pt x="30" y="438"/>
                  </a:lnTo>
                  <a:lnTo>
                    <a:pt x="30" y="432"/>
                  </a:lnTo>
                  <a:lnTo>
                    <a:pt x="24" y="432"/>
                  </a:lnTo>
                  <a:lnTo>
                    <a:pt x="24" y="426"/>
                  </a:lnTo>
                  <a:lnTo>
                    <a:pt x="18" y="420"/>
                  </a:lnTo>
                  <a:lnTo>
                    <a:pt x="18" y="414"/>
                  </a:lnTo>
                  <a:lnTo>
                    <a:pt x="12" y="414"/>
                  </a:lnTo>
                  <a:lnTo>
                    <a:pt x="12" y="408"/>
                  </a:lnTo>
                  <a:lnTo>
                    <a:pt x="6" y="402"/>
                  </a:lnTo>
                  <a:lnTo>
                    <a:pt x="6" y="396"/>
                  </a:lnTo>
                  <a:lnTo>
                    <a:pt x="0" y="396"/>
                  </a:lnTo>
                  <a:lnTo>
                    <a:pt x="6" y="384"/>
                  </a:lnTo>
                  <a:lnTo>
                    <a:pt x="18" y="372"/>
                  </a:lnTo>
                  <a:lnTo>
                    <a:pt x="30" y="348"/>
                  </a:lnTo>
                  <a:lnTo>
                    <a:pt x="30" y="342"/>
                  </a:lnTo>
                  <a:lnTo>
                    <a:pt x="42" y="330"/>
                  </a:lnTo>
                  <a:lnTo>
                    <a:pt x="42" y="324"/>
                  </a:lnTo>
                  <a:lnTo>
                    <a:pt x="48" y="318"/>
                  </a:lnTo>
                  <a:lnTo>
                    <a:pt x="54" y="306"/>
                  </a:lnTo>
                  <a:lnTo>
                    <a:pt x="54" y="294"/>
                  </a:lnTo>
                  <a:lnTo>
                    <a:pt x="60" y="282"/>
                  </a:lnTo>
                  <a:lnTo>
                    <a:pt x="60" y="276"/>
                  </a:lnTo>
                  <a:lnTo>
                    <a:pt x="60" y="270"/>
                  </a:lnTo>
                  <a:lnTo>
                    <a:pt x="66" y="270"/>
                  </a:lnTo>
                  <a:lnTo>
                    <a:pt x="72" y="258"/>
                  </a:lnTo>
                  <a:lnTo>
                    <a:pt x="84" y="246"/>
                  </a:lnTo>
                  <a:lnTo>
                    <a:pt x="90" y="234"/>
                  </a:lnTo>
                  <a:lnTo>
                    <a:pt x="96" y="234"/>
                  </a:lnTo>
                  <a:lnTo>
                    <a:pt x="96" y="228"/>
                  </a:lnTo>
                  <a:lnTo>
                    <a:pt x="102" y="222"/>
                  </a:lnTo>
                  <a:lnTo>
                    <a:pt x="102" y="228"/>
                  </a:lnTo>
                  <a:lnTo>
                    <a:pt x="102" y="234"/>
                  </a:lnTo>
                  <a:lnTo>
                    <a:pt x="108" y="234"/>
                  </a:lnTo>
                  <a:lnTo>
                    <a:pt x="108" y="228"/>
                  </a:lnTo>
                  <a:lnTo>
                    <a:pt x="114" y="228"/>
                  </a:lnTo>
                  <a:lnTo>
                    <a:pt x="114" y="234"/>
                  </a:lnTo>
                  <a:lnTo>
                    <a:pt x="120" y="228"/>
                  </a:lnTo>
                  <a:lnTo>
                    <a:pt x="120" y="222"/>
                  </a:lnTo>
                  <a:lnTo>
                    <a:pt x="126" y="222"/>
                  </a:lnTo>
                  <a:lnTo>
                    <a:pt x="132" y="222"/>
                  </a:lnTo>
                  <a:lnTo>
                    <a:pt x="126" y="228"/>
                  </a:lnTo>
                  <a:lnTo>
                    <a:pt x="132" y="228"/>
                  </a:lnTo>
                  <a:lnTo>
                    <a:pt x="138" y="228"/>
                  </a:lnTo>
                  <a:lnTo>
                    <a:pt x="138" y="234"/>
                  </a:lnTo>
                  <a:lnTo>
                    <a:pt x="144" y="234"/>
                  </a:lnTo>
                  <a:lnTo>
                    <a:pt x="144" y="228"/>
                  </a:lnTo>
                  <a:lnTo>
                    <a:pt x="150" y="228"/>
                  </a:lnTo>
                  <a:lnTo>
                    <a:pt x="156" y="228"/>
                  </a:lnTo>
                  <a:lnTo>
                    <a:pt x="156" y="234"/>
                  </a:lnTo>
                  <a:lnTo>
                    <a:pt x="150" y="234"/>
                  </a:lnTo>
                  <a:lnTo>
                    <a:pt x="156" y="240"/>
                  </a:lnTo>
                  <a:lnTo>
                    <a:pt x="156" y="246"/>
                  </a:lnTo>
                  <a:lnTo>
                    <a:pt x="162" y="240"/>
                  </a:lnTo>
                  <a:lnTo>
                    <a:pt x="162" y="246"/>
                  </a:lnTo>
                  <a:lnTo>
                    <a:pt x="162" y="258"/>
                  </a:lnTo>
                  <a:lnTo>
                    <a:pt x="162" y="264"/>
                  </a:lnTo>
                  <a:lnTo>
                    <a:pt x="156" y="270"/>
                  </a:lnTo>
                  <a:lnTo>
                    <a:pt x="162" y="270"/>
                  </a:lnTo>
                  <a:lnTo>
                    <a:pt x="162" y="282"/>
                  </a:lnTo>
                  <a:lnTo>
                    <a:pt x="168" y="282"/>
                  </a:lnTo>
                  <a:lnTo>
                    <a:pt x="174" y="282"/>
                  </a:lnTo>
                  <a:lnTo>
                    <a:pt x="186" y="288"/>
                  </a:lnTo>
                  <a:lnTo>
                    <a:pt x="186" y="294"/>
                  </a:lnTo>
                  <a:lnTo>
                    <a:pt x="180" y="300"/>
                  </a:lnTo>
                  <a:lnTo>
                    <a:pt x="174" y="318"/>
                  </a:lnTo>
                  <a:lnTo>
                    <a:pt x="174" y="324"/>
                  </a:lnTo>
                  <a:lnTo>
                    <a:pt x="168" y="330"/>
                  </a:lnTo>
                  <a:lnTo>
                    <a:pt x="168" y="342"/>
                  </a:lnTo>
                  <a:lnTo>
                    <a:pt x="168" y="348"/>
                  </a:lnTo>
                  <a:lnTo>
                    <a:pt x="174" y="354"/>
                  </a:lnTo>
                  <a:lnTo>
                    <a:pt x="174" y="360"/>
                  </a:lnTo>
                  <a:lnTo>
                    <a:pt x="180" y="366"/>
                  </a:lnTo>
                  <a:lnTo>
                    <a:pt x="186" y="378"/>
                  </a:lnTo>
                  <a:close/>
                </a:path>
              </a:pathLst>
            </a:custGeom>
            <a:solidFill>
              <a:srgbClr val="33CC33"/>
            </a:solidFill>
            <a:ln w="9525">
              <a:solidFill>
                <a:schemeClr val="bg1"/>
              </a:solidFill>
              <a:round/>
              <a:headEnd/>
              <a:tailEnd/>
            </a:ln>
          </p:spPr>
          <p:txBody>
            <a:bodyPr/>
            <a:lstStyle/>
            <a:p>
              <a:endParaRPr lang="en-GB"/>
            </a:p>
          </p:txBody>
        </p:sp>
        <p:sp>
          <p:nvSpPr>
            <p:cNvPr id="19500" name="Freeform 24"/>
            <p:cNvSpPr>
              <a:spLocks/>
            </p:cNvSpPr>
            <p:nvPr/>
          </p:nvSpPr>
          <p:spPr bwMode="gray">
            <a:xfrm>
              <a:off x="2596357" y="4474159"/>
              <a:ext cx="855070" cy="942389"/>
            </a:xfrm>
            <a:custGeom>
              <a:avLst/>
              <a:gdLst>
                <a:gd name="T0" fmla="*/ 70473 w 1092"/>
                <a:gd name="T1" fmla="*/ 48328 h 1170"/>
                <a:gd name="T2" fmla="*/ 64992 w 1092"/>
                <a:gd name="T3" fmla="*/ 49939 h 1170"/>
                <a:gd name="T4" fmla="*/ 56378 w 1092"/>
                <a:gd name="T5" fmla="*/ 54771 h 1170"/>
                <a:gd name="T6" fmla="*/ 53246 w 1092"/>
                <a:gd name="T7" fmla="*/ 57188 h 1170"/>
                <a:gd name="T8" fmla="*/ 47765 w 1092"/>
                <a:gd name="T9" fmla="*/ 55577 h 1170"/>
                <a:gd name="T10" fmla="*/ 50114 w 1092"/>
                <a:gd name="T11" fmla="*/ 66048 h 1170"/>
                <a:gd name="T12" fmla="*/ 52463 w 1092"/>
                <a:gd name="T13" fmla="*/ 74908 h 1170"/>
                <a:gd name="T14" fmla="*/ 48548 w 1092"/>
                <a:gd name="T15" fmla="*/ 77324 h 1170"/>
                <a:gd name="T16" fmla="*/ 46199 w 1092"/>
                <a:gd name="T17" fmla="*/ 79741 h 1170"/>
                <a:gd name="T18" fmla="*/ 41501 w 1092"/>
                <a:gd name="T19" fmla="*/ 81352 h 1170"/>
                <a:gd name="T20" fmla="*/ 39152 w 1092"/>
                <a:gd name="T21" fmla="*/ 80546 h 1170"/>
                <a:gd name="T22" fmla="*/ 39152 w 1092"/>
                <a:gd name="T23" fmla="*/ 74908 h 1170"/>
                <a:gd name="T24" fmla="*/ 28972 w 1092"/>
                <a:gd name="T25" fmla="*/ 68464 h 1170"/>
                <a:gd name="T26" fmla="*/ 25057 w 1092"/>
                <a:gd name="T27" fmla="*/ 69270 h 1170"/>
                <a:gd name="T28" fmla="*/ 22708 w 1092"/>
                <a:gd name="T29" fmla="*/ 70881 h 1170"/>
                <a:gd name="T30" fmla="*/ 21142 w 1092"/>
                <a:gd name="T31" fmla="*/ 69270 h 1170"/>
                <a:gd name="T32" fmla="*/ 18010 w 1092"/>
                <a:gd name="T33" fmla="*/ 70075 h 1170"/>
                <a:gd name="T34" fmla="*/ 13312 w 1092"/>
                <a:gd name="T35" fmla="*/ 70075 h 1170"/>
                <a:gd name="T36" fmla="*/ 14095 w 1092"/>
                <a:gd name="T37" fmla="*/ 71686 h 1170"/>
                <a:gd name="T38" fmla="*/ 12528 w 1092"/>
                <a:gd name="T39" fmla="*/ 74102 h 1170"/>
                <a:gd name="T40" fmla="*/ 9396 w 1092"/>
                <a:gd name="T41" fmla="*/ 71686 h 1170"/>
                <a:gd name="T42" fmla="*/ 10179 w 1092"/>
                <a:gd name="T43" fmla="*/ 67659 h 1170"/>
                <a:gd name="T44" fmla="*/ 9396 w 1092"/>
                <a:gd name="T45" fmla="*/ 64437 h 1170"/>
                <a:gd name="T46" fmla="*/ 7830 w 1092"/>
                <a:gd name="T47" fmla="*/ 64437 h 1170"/>
                <a:gd name="T48" fmla="*/ 6264 w 1092"/>
                <a:gd name="T49" fmla="*/ 63631 h 1170"/>
                <a:gd name="T50" fmla="*/ 4698 w 1092"/>
                <a:gd name="T51" fmla="*/ 62826 h 1170"/>
                <a:gd name="T52" fmla="*/ 4698 w 1092"/>
                <a:gd name="T53" fmla="*/ 62020 h 1170"/>
                <a:gd name="T54" fmla="*/ 3132 w 1092"/>
                <a:gd name="T55" fmla="*/ 60410 h 1170"/>
                <a:gd name="T56" fmla="*/ 0 w 1092"/>
                <a:gd name="T57" fmla="*/ 57993 h 1170"/>
                <a:gd name="T58" fmla="*/ 0 w 1092"/>
                <a:gd name="T59" fmla="*/ 55577 h 1170"/>
                <a:gd name="T60" fmla="*/ 2349 w 1092"/>
                <a:gd name="T61" fmla="*/ 53966 h 1170"/>
                <a:gd name="T62" fmla="*/ 4698 w 1092"/>
                <a:gd name="T63" fmla="*/ 49939 h 1170"/>
                <a:gd name="T64" fmla="*/ 6264 w 1092"/>
                <a:gd name="T65" fmla="*/ 46717 h 1170"/>
                <a:gd name="T66" fmla="*/ 3915 w 1092"/>
                <a:gd name="T67" fmla="*/ 43495 h 1170"/>
                <a:gd name="T68" fmla="*/ 4698 w 1092"/>
                <a:gd name="T69" fmla="*/ 40273 h 1170"/>
                <a:gd name="T70" fmla="*/ 6264 w 1092"/>
                <a:gd name="T71" fmla="*/ 37051 h 1170"/>
                <a:gd name="T72" fmla="*/ 7830 w 1092"/>
                <a:gd name="T73" fmla="*/ 34635 h 1170"/>
                <a:gd name="T74" fmla="*/ 10962 w 1092"/>
                <a:gd name="T75" fmla="*/ 30608 h 1170"/>
                <a:gd name="T76" fmla="*/ 24274 w 1092"/>
                <a:gd name="T77" fmla="*/ 32218 h 1170"/>
                <a:gd name="T78" fmla="*/ 23491 w 1092"/>
                <a:gd name="T79" fmla="*/ 37051 h 1170"/>
                <a:gd name="T80" fmla="*/ 28189 w 1092"/>
                <a:gd name="T81" fmla="*/ 37857 h 1170"/>
                <a:gd name="T82" fmla="*/ 32104 w 1092"/>
                <a:gd name="T83" fmla="*/ 35440 h 1170"/>
                <a:gd name="T84" fmla="*/ 33670 w 1092"/>
                <a:gd name="T85" fmla="*/ 31413 h 1170"/>
                <a:gd name="T86" fmla="*/ 34453 w 1092"/>
                <a:gd name="T87" fmla="*/ 28191 h 1170"/>
                <a:gd name="T88" fmla="*/ 34453 w 1092"/>
                <a:gd name="T89" fmla="*/ 23358 h 1170"/>
                <a:gd name="T90" fmla="*/ 37585 w 1092"/>
                <a:gd name="T91" fmla="*/ 19331 h 1170"/>
                <a:gd name="T92" fmla="*/ 38369 w 1092"/>
                <a:gd name="T93" fmla="*/ 15304 h 1170"/>
                <a:gd name="T94" fmla="*/ 39935 w 1092"/>
                <a:gd name="T95" fmla="*/ 11276 h 1170"/>
                <a:gd name="T96" fmla="*/ 42284 w 1092"/>
                <a:gd name="T97" fmla="*/ 8055 h 1170"/>
                <a:gd name="T98" fmla="*/ 41501 w 1092"/>
                <a:gd name="T99" fmla="*/ 5638 h 1170"/>
                <a:gd name="T100" fmla="*/ 43067 w 1092"/>
                <a:gd name="T101" fmla="*/ 2416 h 1170"/>
                <a:gd name="T102" fmla="*/ 45416 w 1092"/>
                <a:gd name="T103" fmla="*/ 0 h 1170"/>
                <a:gd name="T104" fmla="*/ 50897 w 1092"/>
                <a:gd name="T105" fmla="*/ 1611 h 1170"/>
                <a:gd name="T106" fmla="*/ 47765 w 1092"/>
                <a:gd name="T107" fmla="*/ 4833 h 1170"/>
                <a:gd name="T108" fmla="*/ 52463 w 1092"/>
                <a:gd name="T109" fmla="*/ 5638 h 1170"/>
                <a:gd name="T110" fmla="*/ 55595 w 1092"/>
                <a:gd name="T111" fmla="*/ 4833 h 1170"/>
                <a:gd name="T112" fmla="*/ 58727 w 1092"/>
                <a:gd name="T113" fmla="*/ 7249 h 1170"/>
                <a:gd name="T114" fmla="*/ 64209 w 1092"/>
                <a:gd name="T115" fmla="*/ 9666 h 1170"/>
                <a:gd name="T116" fmla="*/ 65775 w 1092"/>
                <a:gd name="T117" fmla="*/ 13693 h 1170"/>
                <a:gd name="T118" fmla="*/ 73605 w 1092"/>
                <a:gd name="T119" fmla="*/ 18526 h 1170"/>
                <a:gd name="T120" fmla="*/ 73605 w 1092"/>
                <a:gd name="T121" fmla="*/ 27386 h 1170"/>
                <a:gd name="T122" fmla="*/ 70473 w 1092"/>
                <a:gd name="T123" fmla="*/ 33024 h 1170"/>
                <a:gd name="T124" fmla="*/ 71256 w 1092"/>
                <a:gd name="T125" fmla="*/ 41078 h 11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2"/>
                <a:gd name="T190" fmla="*/ 0 h 1170"/>
                <a:gd name="T191" fmla="*/ 1092 w 1092"/>
                <a:gd name="T192" fmla="*/ 1170 h 11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2" h="1170">
                  <a:moveTo>
                    <a:pt x="1056" y="654"/>
                  </a:moveTo>
                  <a:lnTo>
                    <a:pt x="1062" y="684"/>
                  </a:lnTo>
                  <a:lnTo>
                    <a:pt x="1056" y="690"/>
                  </a:lnTo>
                  <a:lnTo>
                    <a:pt x="1050" y="690"/>
                  </a:lnTo>
                  <a:lnTo>
                    <a:pt x="1044" y="690"/>
                  </a:lnTo>
                  <a:lnTo>
                    <a:pt x="1038" y="690"/>
                  </a:lnTo>
                  <a:lnTo>
                    <a:pt x="1032" y="690"/>
                  </a:lnTo>
                  <a:lnTo>
                    <a:pt x="1026" y="690"/>
                  </a:lnTo>
                  <a:lnTo>
                    <a:pt x="1020" y="690"/>
                  </a:lnTo>
                  <a:lnTo>
                    <a:pt x="1002" y="690"/>
                  </a:lnTo>
                  <a:lnTo>
                    <a:pt x="990" y="690"/>
                  </a:lnTo>
                  <a:lnTo>
                    <a:pt x="972" y="696"/>
                  </a:lnTo>
                  <a:lnTo>
                    <a:pt x="966" y="696"/>
                  </a:lnTo>
                  <a:lnTo>
                    <a:pt x="960" y="696"/>
                  </a:lnTo>
                  <a:lnTo>
                    <a:pt x="954" y="708"/>
                  </a:lnTo>
                  <a:lnTo>
                    <a:pt x="954" y="714"/>
                  </a:lnTo>
                  <a:lnTo>
                    <a:pt x="942" y="714"/>
                  </a:lnTo>
                  <a:lnTo>
                    <a:pt x="930" y="732"/>
                  </a:lnTo>
                  <a:lnTo>
                    <a:pt x="918" y="744"/>
                  </a:lnTo>
                  <a:lnTo>
                    <a:pt x="918" y="750"/>
                  </a:lnTo>
                  <a:lnTo>
                    <a:pt x="888" y="762"/>
                  </a:lnTo>
                  <a:lnTo>
                    <a:pt x="870" y="762"/>
                  </a:lnTo>
                  <a:lnTo>
                    <a:pt x="846" y="774"/>
                  </a:lnTo>
                  <a:lnTo>
                    <a:pt x="828" y="780"/>
                  </a:lnTo>
                  <a:lnTo>
                    <a:pt x="828" y="774"/>
                  </a:lnTo>
                  <a:lnTo>
                    <a:pt x="816" y="768"/>
                  </a:lnTo>
                  <a:lnTo>
                    <a:pt x="816" y="780"/>
                  </a:lnTo>
                  <a:lnTo>
                    <a:pt x="804" y="780"/>
                  </a:lnTo>
                  <a:lnTo>
                    <a:pt x="804" y="786"/>
                  </a:lnTo>
                  <a:lnTo>
                    <a:pt x="792" y="792"/>
                  </a:lnTo>
                  <a:lnTo>
                    <a:pt x="792" y="804"/>
                  </a:lnTo>
                  <a:lnTo>
                    <a:pt x="780" y="816"/>
                  </a:lnTo>
                  <a:lnTo>
                    <a:pt x="774" y="822"/>
                  </a:lnTo>
                  <a:lnTo>
                    <a:pt x="762" y="828"/>
                  </a:lnTo>
                  <a:lnTo>
                    <a:pt x="756" y="822"/>
                  </a:lnTo>
                  <a:lnTo>
                    <a:pt x="750" y="798"/>
                  </a:lnTo>
                  <a:lnTo>
                    <a:pt x="738" y="792"/>
                  </a:lnTo>
                  <a:lnTo>
                    <a:pt x="720" y="786"/>
                  </a:lnTo>
                  <a:lnTo>
                    <a:pt x="708" y="786"/>
                  </a:lnTo>
                  <a:lnTo>
                    <a:pt x="696" y="798"/>
                  </a:lnTo>
                  <a:lnTo>
                    <a:pt x="690" y="810"/>
                  </a:lnTo>
                  <a:lnTo>
                    <a:pt x="684" y="828"/>
                  </a:lnTo>
                  <a:lnTo>
                    <a:pt x="690" y="840"/>
                  </a:lnTo>
                  <a:lnTo>
                    <a:pt x="708" y="858"/>
                  </a:lnTo>
                  <a:lnTo>
                    <a:pt x="720" y="894"/>
                  </a:lnTo>
                  <a:lnTo>
                    <a:pt x="714" y="906"/>
                  </a:lnTo>
                  <a:lnTo>
                    <a:pt x="714" y="918"/>
                  </a:lnTo>
                  <a:lnTo>
                    <a:pt x="738" y="948"/>
                  </a:lnTo>
                  <a:lnTo>
                    <a:pt x="774" y="972"/>
                  </a:lnTo>
                  <a:lnTo>
                    <a:pt x="780" y="984"/>
                  </a:lnTo>
                  <a:lnTo>
                    <a:pt x="792" y="996"/>
                  </a:lnTo>
                  <a:lnTo>
                    <a:pt x="792" y="1026"/>
                  </a:lnTo>
                  <a:lnTo>
                    <a:pt x="780" y="1044"/>
                  </a:lnTo>
                  <a:lnTo>
                    <a:pt x="774" y="1050"/>
                  </a:lnTo>
                  <a:lnTo>
                    <a:pt x="768" y="1062"/>
                  </a:lnTo>
                  <a:lnTo>
                    <a:pt x="768" y="1068"/>
                  </a:lnTo>
                  <a:lnTo>
                    <a:pt x="762" y="1074"/>
                  </a:lnTo>
                  <a:lnTo>
                    <a:pt x="762" y="1080"/>
                  </a:lnTo>
                  <a:lnTo>
                    <a:pt x="756" y="1080"/>
                  </a:lnTo>
                  <a:lnTo>
                    <a:pt x="744" y="1086"/>
                  </a:lnTo>
                  <a:lnTo>
                    <a:pt x="744" y="1092"/>
                  </a:lnTo>
                  <a:lnTo>
                    <a:pt x="738" y="1092"/>
                  </a:lnTo>
                  <a:lnTo>
                    <a:pt x="726" y="1098"/>
                  </a:lnTo>
                  <a:lnTo>
                    <a:pt x="720" y="1104"/>
                  </a:lnTo>
                  <a:lnTo>
                    <a:pt x="714" y="1104"/>
                  </a:lnTo>
                  <a:lnTo>
                    <a:pt x="702" y="1116"/>
                  </a:lnTo>
                  <a:lnTo>
                    <a:pt x="696" y="1122"/>
                  </a:lnTo>
                  <a:lnTo>
                    <a:pt x="696" y="1134"/>
                  </a:lnTo>
                  <a:lnTo>
                    <a:pt x="690" y="1134"/>
                  </a:lnTo>
                  <a:lnTo>
                    <a:pt x="684" y="1134"/>
                  </a:lnTo>
                  <a:lnTo>
                    <a:pt x="678" y="1140"/>
                  </a:lnTo>
                  <a:lnTo>
                    <a:pt x="672" y="1146"/>
                  </a:lnTo>
                  <a:lnTo>
                    <a:pt x="672" y="1152"/>
                  </a:lnTo>
                  <a:lnTo>
                    <a:pt x="660" y="1152"/>
                  </a:lnTo>
                  <a:lnTo>
                    <a:pt x="642" y="1152"/>
                  </a:lnTo>
                  <a:lnTo>
                    <a:pt x="636" y="1152"/>
                  </a:lnTo>
                  <a:lnTo>
                    <a:pt x="630" y="1158"/>
                  </a:lnTo>
                  <a:lnTo>
                    <a:pt x="624" y="1164"/>
                  </a:lnTo>
                  <a:lnTo>
                    <a:pt x="618" y="1170"/>
                  </a:lnTo>
                  <a:lnTo>
                    <a:pt x="612" y="1170"/>
                  </a:lnTo>
                  <a:lnTo>
                    <a:pt x="600" y="1170"/>
                  </a:lnTo>
                  <a:lnTo>
                    <a:pt x="594" y="1170"/>
                  </a:lnTo>
                  <a:lnTo>
                    <a:pt x="588" y="1170"/>
                  </a:lnTo>
                  <a:lnTo>
                    <a:pt x="582" y="1170"/>
                  </a:lnTo>
                  <a:lnTo>
                    <a:pt x="582" y="1164"/>
                  </a:lnTo>
                  <a:lnTo>
                    <a:pt x="576" y="1158"/>
                  </a:lnTo>
                  <a:lnTo>
                    <a:pt x="570" y="1158"/>
                  </a:lnTo>
                  <a:lnTo>
                    <a:pt x="570" y="1152"/>
                  </a:lnTo>
                  <a:lnTo>
                    <a:pt x="570" y="1146"/>
                  </a:lnTo>
                  <a:lnTo>
                    <a:pt x="570" y="1140"/>
                  </a:lnTo>
                  <a:lnTo>
                    <a:pt x="564" y="1140"/>
                  </a:lnTo>
                  <a:lnTo>
                    <a:pt x="564" y="1134"/>
                  </a:lnTo>
                  <a:lnTo>
                    <a:pt x="564" y="1128"/>
                  </a:lnTo>
                  <a:lnTo>
                    <a:pt x="576" y="1104"/>
                  </a:lnTo>
                  <a:lnTo>
                    <a:pt x="582" y="1086"/>
                  </a:lnTo>
                  <a:lnTo>
                    <a:pt x="570" y="1068"/>
                  </a:lnTo>
                  <a:lnTo>
                    <a:pt x="534" y="1056"/>
                  </a:lnTo>
                  <a:lnTo>
                    <a:pt x="516" y="1026"/>
                  </a:lnTo>
                  <a:lnTo>
                    <a:pt x="492" y="1020"/>
                  </a:lnTo>
                  <a:lnTo>
                    <a:pt x="492" y="1014"/>
                  </a:lnTo>
                  <a:lnTo>
                    <a:pt x="480" y="1008"/>
                  </a:lnTo>
                  <a:lnTo>
                    <a:pt x="474" y="996"/>
                  </a:lnTo>
                  <a:lnTo>
                    <a:pt x="444" y="984"/>
                  </a:lnTo>
                  <a:lnTo>
                    <a:pt x="426" y="978"/>
                  </a:lnTo>
                  <a:lnTo>
                    <a:pt x="420" y="972"/>
                  </a:lnTo>
                  <a:lnTo>
                    <a:pt x="408" y="984"/>
                  </a:lnTo>
                  <a:lnTo>
                    <a:pt x="402" y="984"/>
                  </a:lnTo>
                  <a:lnTo>
                    <a:pt x="396" y="984"/>
                  </a:lnTo>
                  <a:lnTo>
                    <a:pt x="390" y="984"/>
                  </a:lnTo>
                  <a:lnTo>
                    <a:pt x="384" y="990"/>
                  </a:lnTo>
                  <a:lnTo>
                    <a:pt x="378" y="990"/>
                  </a:lnTo>
                  <a:lnTo>
                    <a:pt x="372" y="990"/>
                  </a:lnTo>
                  <a:lnTo>
                    <a:pt x="372" y="996"/>
                  </a:lnTo>
                  <a:lnTo>
                    <a:pt x="366" y="996"/>
                  </a:lnTo>
                  <a:lnTo>
                    <a:pt x="360" y="1002"/>
                  </a:lnTo>
                  <a:lnTo>
                    <a:pt x="360" y="1008"/>
                  </a:lnTo>
                  <a:lnTo>
                    <a:pt x="354" y="1008"/>
                  </a:lnTo>
                  <a:lnTo>
                    <a:pt x="342" y="1014"/>
                  </a:lnTo>
                  <a:lnTo>
                    <a:pt x="336" y="1020"/>
                  </a:lnTo>
                  <a:lnTo>
                    <a:pt x="336" y="1014"/>
                  </a:lnTo>
                  <a:lnTo>
                    <a:pt x="330" y="1014"/>
                  </a:lnTo>
                  <a:lnTo>
                    <a:pt x="330" y="1008"/>
                  </a:lnTo>
                  <a:lnTo>
                    <a:pt x="330" y="1002"/>
                  </a:lnTo>
                  <a:lnTo>
                    <a:pt x="324" y="1002"/>
                  </a:lnTo>
                  <a:lnTo>
                    <a:pt x="324" y="996"/>
                  </a:lnTo>
                  <a:lnTo>
                    <a:pt x="324" y="990"/>
                  </a:lnTo>
                  <a:lnTo>
                    <a:pt x="318" y="990"/>
                  </a:lnTo>
                  <a:lnTo>
                    <a:pt x="306" y="996"/>
                  </a:lnTo>
                  <a:lnTo>
                    <a:pt x="300" y="996"/>
                  </a:lnTo>
                  <a:lnTo>
                    <a:pt x="294" y="996"/>
                  </a:lnTo>
                  <a:lnTo>
                    <a:pt x="288" y="1002"/>
                  </a:lnTo>
                  <a:lnTo>
                    <a:pt x="282" y="990"/>
                  </a:lnTo>
                  <a:lnTo>
                    <a:pt x="276" y="984"/>
                  </a:lnTo>
                  <a:lnTo>
                    <a:pt x="270" y="990"/>
                  </a:lnTo>
                  <a:lnTo>
                    <a:pt x="270" y="996"/>
                  </a:lnTo>
                  <a:lnTo>
                    <a:pt x="270" y="1002"/>
                  </a:lnTo>
                  <a:lnTo>
                    <a:pt x="264" y="1008"/>
                  </a:lnTo>
                  <a:lnTo>
                    <a:pt x="252" y="996"/>
                  </a:lnTo>
                  <a:lnTo>
                    <a:pt x="246" y="996"/>
                  </a:lnTo>
                  <a:lnTo>
                    <a:pt x="234" y="1002"/>
                  </a:lnTo>
                  <a:lnTo>
                    <a:pt x="222" y="1002"/>
                  </a:lnTo>
                  <a:lnTo>
                    <a:pt x="210" y="1002"/>
                  </a:lnTo>
                  <a:lnTo>
                    <a:pt x="198" y="996"/>
                  </a:lnTo>
                  <a:lnTo>
                    <a:pt x="198" y="1002"/>
                  </a:lnTo>
                  <a:lnTo>
                    <a:pt x="198" y="1008"/>
                  </a:lnTo>
                  <a:lnTo>
                    <a:pt x="192" y="1020"/>
                  </a:lnTo>
                  <a:lnTo>
                    <a:pt x="198" y="1020"/>
                  </a:lnTo>
                  <a:lnTo>
                    <a:pt x="204" y="1020"/>
                  </a:lnTo>
                  <a:lnTo>
                    <a:pt x="210" y="1026"/>
                  </a:lnTo>
                  <a:lnTo>
                    <a:pt x="216" y="1026"/>
                  </a:lnTo>
                  <a:lnTo>
                    <a:pt x="216" y="1032"/>
                  </a:lnTo>
                  <a:lnTo>
                    <a:pt x="210" y="1032"/>
                  </a:lnTo>
                  <a:lnTo>
                    <a:pt x="210" y="1038"/>
                  </a:lnTo>
                  <a:lnTo>
                    <a:pt x="204" y="1038"/>
                  </a:lnTo>
                  <a:lnTo>
                    <a:pt x="204" y="1044"/>
                  </a:lnTo>
                  <a:lnTo>
                    <a:pt x="198" y="1044"/>
                  </a:lnTo>
                  <a:lnTo>
                    <a:pt x="192" y="1044"/>
                  </a:lnTo>
                  <a:lnTo>
                    <a:pt x="186" y="1050"/>
                  </a:lnTo>
                  <a:lnTo>
                    <a:pt x="186" y="1056"/>
                  </a:lnTo>
                  <a:lnTo>
                    <a:pt x="180" y="1056"/>
                  </a:lnTo>
                  <a:lnTo>
                    <a:pt x="180" y="1062"/>
                  </a:lnTo>
                  <a:lnTo>
                    <a:pt x="174" y="1062"/>
                  </a:lnTo>
                  <a:lnTo>
                    <a:pt x="168" y="1062"/>
                  </a:lnTo>
                  <a:lnTo>
                    <a:pt x="162" y="1062"/>
                  </a:lnTo>
                  <a:lnTo>
                    <a:pt x="156" y="1050"/>
                  </a:lnTo>
                  <a:lnTo>
                    <a:pt x="150" y="1044"/>
                  </a:lnTo>
                  <a:lnTo>
                    <a:pt x="150" y="1038"/>
                  </a:lnTo>
                  <a:lnTo>
                    <a:pt x="144" y="1032"/>
                  </a:lnTo>
                  <a:lnTo>
                    <a:pt x="144" y="1026"/>
                  </a:lnTo>
                  <a:lnTo>
                    <a:pt x="144" y="1014"/>
                  </a:lnTo>
                  <a:lnTo>
                    <a:pt x="150" y="1008"/>
                  </a:lnTo>
                  <a:lnTo>
                    <a:pt x="150" y="1002"/>
                  </a:lnTo>
                  <a:lnTo>
                    <a:pt x="156" y="984"/>
                  </a:lnTo>
                  <a:lnTo>
                    <a:pt x="162" y="978"/>
                  </a:lnTo>
                  <a:lnTo>
                    <a:pt x="162" y="972"/>
                  </a:lnTo>
                  <a:lnTo>
                    <a:pt x="150" y="966"/>
                  </a:lnTo>
                  <a:lnTo>
                    <a:pt x="144" y="966"/>
                  </a:lnTo>
                  <a:lnTo>
                    <a:pt x="138" y="966"/>
                  </a:lnTo>
                  <a:lnTo>
                    <a:pt x="138" y="954"/>
                  </a:lnTo>
                  <a:lnTo>
                    <a:pt x="132" y="954"/>
                  </a:lnTo>
                  <a:lnTo>
                    <a:pt x="138" y="948"/>
                  </a:lnTo>
                  <a:lnTo>
                    <a:pt x="138" y="942"/>
                  </a:lnTo>
                  <a:lnTo>
                    <a:pt x="138" y="930"/>
                  </a:lnTo>
                  <a:lnTo>
                    <a:pt x="138" y="924"/>
                  </a:lnTo>
                  <a:lnTo>
                    <a:pt x="132" y="930"/>
                  </a:lnTo>
                  <a:lnTo>
                    <a:pt x="132" y="924"/>
                  </a:lnTo>
                  <a:lnTo>
                    <a:pt x="126" y="918"/>
                  </a:lnTo>
                  <a:lnTo>
                    <a:pt x="132" y="918"/>
                  </a:lnTo>
                  <a:lnTo>
                    <a:pt x="132" y="912"/>
                  </a:lnTo>
                  <a:lnTo>
                    <a:pt x="126" y="912"/>
                  </a:lnTo>
                  <a:lnTo>
                    <a:pt x="120" y="912"/>
                  </a:lnTo>
                  <a:lnTo>
                    <a:pt x="120" y="918"/>
                  </a:lnTo>
                  <a:lnTo>
                    <a:pt x="114" y="918"/>
                  </a:lnTo>
                  <a:lnTo>
                    <a:pt x="114" y="912"/>
                  </a:lnTo>
                  <a:lnTo>
                    <a:pt x="108" y="912"/>
                  </a:lnTo>
                  <a:lnTo>
                    <a:pt x="102" y="912"/>
                  </a:lnTo>
                  <a:lnTo>
                    <a:pt x="108" y="906"/>
                  </a:lnTo>
                  <a:lnTo>
                    <a:pt x="102" y="906"/>
                  </a:lnTo>
                  <a:lnTo>
                    <a:pt x="96" y="906"/>
                  </a:lnTo>
                  <a:lnTo>
                    <a:pt x="96" y="912"/>
                  </a:lnTo>
                  <a:lnTo>
                    <a:pt x="90" y="918"/>
                  </a:lnTo>
                  <a:lnTo>
                    <a:pt x="90" y="912"/>
                  </a:lnTo>
                  <a:lnTo>
                    <a:pt x="84" y="912"/>
                  </a:lnTo>
                  <a:lnTo>
                    <a:pt x="84" y="918"/>
                  </a:lnTo>
                  <a:lnTo>
                    <a:pt x="78" y="918"/>
                  </a:lnTo>
                  <a:lnTo>
                    <a:pt x="78" y="912"/>
                  </a:lnTo>
                  <a:lnTo>
                    <a:pt x="78" y="906"/>
                  </a:lnTo>
                  <a:lnTo>
                    <a:pt x="72" y="900"/>
                  </a:lnTo>
                  <a:lnTo>
                    <a:pt x="78" y="900"/>
                  </a:lnTo>
                  <a:lnTo>
                    <a:pt x="72" y="900"/>
                  </a:lnTo>
                  <a:lnTo>
                    <a:pt x="72" y="894"/>
                  </a:lnTo>
                  <a:lnTo>
                    <a:pt x="78" y="894"/>
                  </a:lnTo>
                  <a:lnTo>
                    <a:pt x="72" y="894"/>
                  </a:lnTo>
                  <a:lnTo>
                    <a:pt x="78" y="894"/>
                  </a:lnTo>
                  <a:lnTo>
                    <a:pt x="78" y="888"/>
                  </a:lnTo>
                  <a:lnTo>
                    <a:pt x="72" y="888"/>
                  </a:lnTo>
                  <a:lnTo>
                    <a:pt x="72" y="882"/>
                  </a:lnTo>
                  <a:lnTo>
                    <a:pt x="66" y="876"/>
                  </a:lnTo>
                  <a:lnTo>
                    <a:pt x="60" y="882"/>
                  </a:lnTo>
                  <a:lnTo>
                    <a:pt x="54" y="876"/>
                  </a:lnTo>
                  <a:lnTo>
                    <a:pt x="54" y="882"/>
                  </a:lnTo>
                  <a:lnTo>
                    <a:pt x="48" y="882"/>
                  </a:lnTo>
                  <a:lnTo>
                    <a:pt x="42" y="870"/>
                  </a:lnTo>
                  <a:lnTo>
                    <a:pt x="42" y="864"/>
                  </a:lnTo>
                  <a:lnTo>
                    <a:pt x="36" y="858"/>
                  </a:lnTo>
                  <a:lnTo>
                    <a:pt x="36" y="852"/>
                  </a:lnTo>
                  <a:lnTo>
                    <a:pt x="30" y="852"/>
                  </a:lnTo>
                  <a:lnTo>
                    <a:pt x="30" y="846"/>
                  </a:lnTo>
                  <a:lnTo>
                    <a:pt x="24" y="846"/>
                  </a:lnTo>
                  <a:lnTo>
                    <a:pt x="18" y="840"/>
                  </a:lnTo>
                  <a:lnTo>
                    <a:pt x="12" y="834"/>
                  </a:lnTo>
                  <a:lnTo>
                    <a:pt x="0" y="828"/>
                  </a:lnTo>
                  <a:lnTo>
                    <a:pt x="0" y="822"/>
                  </a:lnTo>
                  <a:lnTo>
                    <a:pt x="0" y="816"/>
                  </a:lnTo>
                  <a:lnTo>
                    <a:pt x="0" y="810"/>
                  </a:lnTo>
                  <a:lnTo>
                    <a:pt x="6" y="804"/>
                  </a:lnTo>
                  <a:lnTo>
                    <a:pt x="12" y="804"/>
                  </a:lnTo>
                  <a:lnTo>
                    <a:pt x="12" y="798"/>
                  </a:lnTo>
                  <a:lnTo>
                    <a:pt x="12" y="792"/>
                  </a:lnTo>
                  <a:lnTo>
                    <a:pt x="6" y="792"/>
                  </a:lnTo>
                  <a:lnTo>
                    <a:pt x="6" y="786"/>
                  </a:lnTo>
                  <a:lnTo>
                    <a:pt x="6" y="780"/>
                  </a:lnTo>
                  <a:lnTo>
                    <a:pt x="18" y="780"/>
                  </a:lnTo>
                  <a:lnTo>
                    <a:pt x="18" y="774"/>
                  </a:lnTo>
                  <a:lnTo>
                    <a:pt x="24" y="768"/>
                  </a:lnTo>
                  <a:lnTo>
                    <a:pt x="30" y="768"/>
                  </a:lnTo>
                  <a:lnTo>
                    <a:pt x="30" y="774"/>
                  </a:lnTo>
                  <a:lnTo>
                    <a:pt x="36" y="768"/>
                  </a:lnTo>
                  <a:lnTo>
                    <a:pt x="42" y="768"/>
                  </a:lnTo>
                  <a:lnTo>
                    <a:pt x="60" y="750"/>
                  </a:lnTo>
                  <a:lnTo>
                    <a:pt x="60" y="744"/>
                  </a:lnTo>
                  <a:lnTo>
                    <a:pt x="54" y="738"/>
                  </a:lnTo>
                  <a:lnTo>
                    <a:pt x="60" y="732"/>
                  </a:lnTo>
                  <a:lnTo>
                    <a:pt x="54" y="732"/>
                  </a:lnTo>
                  <a:lnTo>
                    <a:pt x="60" y="726"/>
                  </a:lnTo>
                  <a:lnTo>
                    <a:pt x="66" y="720"/>
                  </a:lnTo>
                  <a:lnTo>
                    <a:pt x="72" y="714"/>
                  </a:lnTo>
                  <a:lnTo>
                    <a:pt x="78" y="708"/>
                  </a:lnTo>
                  <a:lnTo>
                    <a:pt x="78" y="702"/>
                  </a:lnTo>
                  <a:lnTo>
                    <a:pt x="84" y="696"/>
                  </a:lnTo>
                  <a:lnTo>
                    <a:pt x="90" y="684"/>
                  </a:lnTo>
                  <a:lnTo>
                    <a:pt x="90" y="678"/>
                  </a:lnTo>
                  <a:lnTo>
                    <a:pt x="90" y="672"/>
                  </a:lnTo>
                  <a:lnTo>
                    <a:pt x="96" y="666"/>
                  </a:lnTo>
                  <a:lnTo>
                    <a:pt x="90" y="660"/>
                  </a:lnTo>
                  <a:lnTo>
                    <a:pt x="84" y="654"/>
                  </a:lnTo>
                  <a:lnTo>
                    <a:pt x="84" y="648"/>
                  </a:lnTo>
                  <a:lnTo>
                    <a:pt x="78" y="636"/>
                  </a:lnTo>
                  <a:lnTo>
                    <a:pt x="66" y="630"/>
                  </a:lnTo>
                  <a:lnTo>
                    <a:pt x="66" y="624"/>
                  </a:lnTo>
                  <a:lnTo>
                    <a:pt x="60" y="624"/>
                  </a:lnTo>
                  <a:lnTo>
                    <a:pt x="60" y="618"/>
                  </a:lnTo>
                  <a:lnTo>
                    <a:pt x="60" y="612"/>
                  </a:lnTo>
                  <a:lnTo>
                    <a:pt x="60" y="600"/>
                  </a:lnTo>
                  <a:lnTo>
                    <a:pt x="66" y="600"/>
                  </a:lnTo>
                  <a:lnTo>
                    <a:pt x="60" y="594"/>
                  </a:lnTo>
                  <a:lnTo>
                    <a:pt x="60" y="588"/>
                  </a:lnTo>
                  <a:lnTo>
                    <a:pt x="66" y="588"/>
                  </a:lnTo>
                  <a:lnTo>
                    <a:pt x="66" y="582"/>
                  </a:lnTo>
                  <a:lnTo>
                    <a:pt x="72" y="582"/>
                  </a:lnTo>
                  <a:lnTo>
                    <a:pt x="78" y="576"/>
                  </a:lnTo>
                  <a:lnTo>
                    <a:pt x="72" y="576"/>
                  </a:lnTo>
                  <a:lnTo>
                    <a:pt x="66" y="570"/>
                  </a:lnTo>
                  <a:lnTo>
                    <a:pt x="72" y="564"/>
                  </a:lnTo>
                  <a:lnTo>
                    <a:pt x="78" y="558"/>
                  </a:lnTo>
                  <a:lnTo>
                    <a:pt x="78" y="546"/>
                  </a:lnTo>
                  <a:lnTo>
                    <a:pt x="78" y="540"/>
                  </a:lnTo>
                  <a:lnTo>
                    <a:pt x="90" y="528"/>
                  </a:lnTo>
                  <a:lnTo>
                    <a:pt x="96" y="522"/>
                  </a:lnTo>
                  <a:lnTo>
                    <a:pt x="102" y="522"/>
                  </a:lnTo>
                  <a:lnTo>
                    <a:pt x="102" y="516"/>
                  </a:lnTo>
                  <a:lnTo>
                    <a:pt x="114" y="510"/>
                  </a:lnTo>
                  <a:lnTo>
                    <a:pt x="120" y="510"/>
                  </a:lnTo>
                  <a:lnTo>
                    <a:pt x="120" y="504"/>
                  </a:lnTo>
                  <a:lnTo>
                    <a:pt x="120" y="498"/>
                  </a:lnTo>
                  <a:lnTo>
                    <a:pt x="120" y="492"/>
                  </a:lnTo>
                  <a:lnTo>
                    <a:pt x="126" y="480"/>
                  </a:lnTo>
                  <a:lnTo>
                    <a:pt x="132" y="474"/>
                  </a:lnTo>
                  <a:lnTo>
                    <a:pt x="132" y="468"/>
                  </a:lnTo>
                  <a:lnTo>
                    <a:pt x="138" y="462"/>
                  </a:lnTo>
                  <a:lnTo>
                    <a:pt x="138" y="456"/>
                  </a:lnTo>
                  <a:lnTo>
                    <a:pt x="138" y="450"/>
                  </a:lnTo>
                  <a:lnTo>
                    <a:pt x="144" y="444"/>
                  </a:lnTo>
                  <a:lnTo>
                    <a:pt x="162" y="438"/>
                  </a:lnTo>
                  <a:lnTo>
                    <a:pt x="186" y="438"/>
                  </a:lnTo>
                  <a:lnTo>
                    <a:pt x="210" y="444"/>
                  </a:lnTo>
                  <a:lnTo>
                    <a:pt x="276" y="450"/>
                  </a:lnTo>
                  <a:lnTo>
                    <a:pt x="342" y="450"/>
                  </a:lnTo>
                  <a:lnTo>
                    <a:pt x="348" y="450"/>
                  </a:lnTo>
                  <a:lnTo>
                    <a:pt x="354" y="450"/>
                  </a:lnTo>
                  <a:lnTo>
                    <a:pt x="360" y="456"/>
                  </a:lnTo>
                  <a:lnTo>
                    <a:pt x="354" y="462"/>
                  </a:lnTo>
                  <a:lnTo>
                    <a:pt x="354" y="468"/>
                  </a:lnTo>
                  <a:lnTo>
                    <a:pt x="354" y="474"/>
                  </a:lnTo>
                  <a:lnTo>
                    <a:pt x="348" y="468"/>
                  </a:lnTo>
                  <a:lnTo>
                    <a:pt x="342" y="474"/>
                  </a:lnTo>
                  <a:lnTo>
                    <a:pt x="342" y="480"/>
                  </a:lnTo>
                  <a:lnTo>
                    <a:pt x="348" y="498"/>
                  </a:lnTo>
                  <a:lnTo>
                    <a:pt x="342" y="510"/>
                  </a:lnTo>
                  <a:lnTo>
                    <a:pt x="348" y="528"/>
                  </a:lnTo>
                  <a:lnTo>
                    <a:pt x="348" y="534"/>
                  </a:lnTo>
                  <a:lnTo>
                    <a:pt x="354" y="552"/>
                  </a:lnTo>
                  <a:lnTo>
                    <a:pt x="366" y="546"/>
                  </a:lnTo>
                  <a:lnTo>
                    <a:pt x="372" y="540"/>
                  </a:lnTo>
                  <a:lnTo>
                    <a:pt x="384" y="540"/>
                  </a:lnTo>
                  <a:lnTo>
                    <a:pt x="396" y="534"/>
                  </a:lnTo>
                  <a:lnTo>
                    <a:pt x="402" y="534"/>
                  </a:lnTo>
                  <a:lnTo>
                    <a:pt x="414" y="546"/>
                  </a:lnTo>
                  <a:lnTo>
                    <a:pt x="432" y="540"/>
                  </a:lnTo>
                  <a:lnTo>
                    <a:pt x="450" y="534"/>
                  </a:lnTo>
                  <a:lnTo>
                    <a:pt x="450" y="528"/>
                  </a:lnTo>
                  <a:lnTo>
                    <a:pt x="456" y="528"/>
                  </a:lnTo>
                  <a:lnTo>
                    <a:pt x="456" y="522"/>
                  </a:lnTo>
                  <a:lnTo>
                    <a:pt x="456" y="516"/>
                  </a:lnTo>
                  <a:lnTo>
                    <a:pt x="462" y="516"/>
                  </a:lnTo>
                  <a:lnTo>
                    <a:pt x="468" y="510"/>
                  </a:lnTo>
                  <a:lnTo>
                    <a:pt x="468" y="504"/>
                  </a:lnTo>
                  <a:lnTo>
                    <a:pt x="474" y="504"/>
                  </a:lnTo>
                  <a:lnTo>
                    <a:pt x="480" y="504"/>
                  </a:lnTo>
                  <a:lnTo>
                    <a:pt x="486" y="498"/>
                  </a:lnTo>
                  <a:lnTo>
                    <a:pt x="492" y="498"/>
                  </a:lnTo>
                  <a:lnTo>
                    <a:pt x="486" y="480"/>
                  </a:lnTo>
                  <a:lnTo>
                    <a:pt x="492" y="462"/>
                  </a:lnTo>
                  <a:lnTo>
                    <a:pt x="498" y="444"/>
                  </a:lnTo>
                  <a:lnTo>
                    <a:pt x="498" y="426"/>
                  </a:lnTo>
                  <a:lnTo>
                    <a:pt x="498" y="420"/>
                  </a:lnTo>
                  <a:lnTo>
                    <a:pt x="504" y="426"/>
                  </a:lnTo>
                  <a:lnTo>
                    <a:pt x="504" y="420"/>
                  </a:lnTo>
                  <a:lnTo>
                    <a:pt x="510" y="420"/>
                  </a:lnTo>
                  <a:lnTo>
                    <a:pt x="510" y="414"/>
                  </a:lnTo>
                  <a:lnTo>
                    <a:pt x="510" y="408"/>
                  </a:lnTo>
                  <a:lnTo>
                    <a:pt x="504" y="402"/>
                  </a:lnTo>
                  <a:lnTo>
                    <a:pt x="504" y="396"/>
                  </a:lnTo>
                  <a:lnTo>
                    <a:pt x="504" y="384"/>
                  </a:lnTo>
                  <a:lnTo>
                    <a:pt x="504" y="378"/>
                  </a:lnTo>
                  <a:lnTo>
                    <a:pt x="504" y="360"/>
                  </a:lnTo>
                  <a:lnTo>
                    <a:pt x="504" y="354"/>
                  </a:lnTo>
                  <a:lnTo>
                    <a:pt x="504" y="348"/>
                  </a:lnTo>
                  <a:lnTo>
                    <a:pt x="510" y="348"/>
                  </a:lnTo>
                  <a:lnTo>
                    <a:pt x="510" y="336"/>
                  </a:lnTo>
                  <a:lnTo>
                    <a:pt x="516" y="330"/>
                  </a:lnTo>
                  <a:lnTo>
                    <a:pt x="522" y="324"/>
                  </a:lnTo>
                  <a:lnTo>
                    <a:pt x="528" y="318"/>
                  </a:lnTo>
                  <a:lnTo>
                    <a:pt x="534" y="312"/>
                  </a:lnTo>
                  <a:lnTo>
                    <a:pt x="534" y="300"/>
                  </a:lnTo>
                  <a:lnTo>
                    <a:pt x="540" y="294"/>
                  </a:lnTo>
                  <a:lnTo>
                    <a:pt x="546" y="288"/>
                  </a:lnTo>
                  <a:lnTo>
                    <a:pt x="552" y="276"/>
                  </a:lnTo>
                  <a:lnTo>
                    <a:pt x="558" y="264"/>
                  </a:lnTo>
                  <a:lnTo>
                    <a:pt x="558" y="258"/>
                  </a:lnTo>
                  <a:lnTo>
                    <a:pt x="558" y="252"/>
                  </a:lnTo>
                  <a:lnTo>
                    <a:pt x="558" y="246"/>
                  </a:lnTo>
                  <a:lnTo>
                    <a:pt x="564" y="246"/>
                  </a:lnTo>
                  <a:lnTo>
                    <a:pt x="564" y="240"/>
                  </a:lnTo>
                  <a:lnTo>
                    <a:pt x="570" y="234"/>
                  </a:lnTo>
                  <a:lnTo>
                    <a:pt x="564" y="216"/>
                  </a:lnTo>
                  <a:lnTo>
                    <a:pt x="564" y="210"/>
                  </a:lnTo>
                  <a:lnTo>
                    <a:pt x="570" y="210"/>
                  </a:lnTo>
                  <a:lnTo>
                    <a:pt x="570" y="204"/>
                  </a:lnTo>
                  <a:lnTo>
                    <a:pt x="570" y="198"/>
                  </a:lnTo>
                  <a:lnTo>
                    <a:pt x="582" y="180"/>
                  </a:lnTo>
                  <a:lnTo>
                    <a:pt x="582" y="174"/>
                  </a:lnTo>
                  <a:lnTo>
                    <a:pt x="582" y="168"/>
                  </a:lnTo>
                  <a:lnTo>
                    <a:pt x="582" y="162"/>
                  </a:lnTo>
                  <a:lnTo>
                    <a:pt x="582" y="156"/>
                  </a:lnTo>
                  <a:lnTo>
                    <a:pt x="606" y="150"/>
                  </a:lnTo>
                  <a:lnTo>
                    <a:pt x="612" y="150"/>
                  </a:lnTo>
                  <a:lnTo>
                    <a:pt x="618" y="150"/>
                  </a:lnTo>
                  <a:lnTo>
                    <a:pt x="624" y="138"/>
                  </a:lnTo>
                  <a:lnTo>
                    <a:pt x="618" y="132"/>
                  </a:lnTo>
                  <a:lnTo>
                    <a:pt x="618" y="126"/>
                  </a:lnTo>
                  <a:lnTo>
                    <a:pt x="618" y="120"/>
                  </a:lnTo>
                  <a:lnTo>
                    <a:pt x="618" y="114"/>
                  </a:lnTo>
                  <a:lnTo>
                    <a:pt x="612" y="108"/>
                  </a:lnTo>
                  <a:lnTo>
                    <a:pt x="612" y="102"/>
                  </a:lnTo>
                  <a:lnTo>
                    <a:pt x="618" y="90"/>
                  </a:lnTo>
                  <a:lnTo>
                    <a:pt x="624" y="84"/>
                  </a:lnTo>
                  <a:lnTo>
                    <a:pt x="618" y="84"/>
                  </a:lnTo>
                  <a:lnTo>
                    <a:pt x="618" y="78"/>
                  </a:lnTo>
                  <a:lnTo>
                    <a:pt x="612" y="78"/>
                  </a:lnTo>
                  <a:lnTo>
                    <a:pt x="606" y="78"/>
                  </a:lnTo>
                  <a:lnTo>
                    <a:pt x="600" y="72"/>
                  </a:lnTo>
                  <a:lnTo>
                    <a:pt x="600" y="66"/>
                  </a:lnTo>
                  <a:lnTo>
                    <a:pt x="600" y="60"/>
                  </a:lnTo>
                  <a:lnTo>
                    <a:pt x="600" y="48"/>
                  </a:lnTo>
                  <a:lnTo>
                    <a:pt x="612" y="42"/>
                  </a:lnTo>
                  <a:lnTo>
                    <a:pt x="618" y="36"/>
                  </a:lnTo>
                  <a:lnTo>
                    <a:pt x="624" y="36"/>
                  </a:lnTo>
                  <a:lnTo>
                    <a:pt x="630" y="36"/>
                  </a:lnTo>
                  <a:lnTo>
                    <a:pt x="630" y="30"/>
                  </a:lnTo>
                  <a:lnTo>
                    <a:pt x="636" y="24"/>
                  </a:lnTo>
                  <a:lnTo>
                    <a:pt x="642" y="24"/>
                  </a:lnTo>
                  <a:lnTo>
                    <a:pt x="648" y="24"/>
                  </a:lnTo>
                  <a:lnTo>
                    <a:pt x="648" y="18"/>
                  </a:lnTo>
                  <a:lnTo>
                    <a:pt x="654" y="12"/>
                  </a:lnTo>
                  <a:lnTo>
                    <a:pt x="660" y="0"/>
                  </a:lnTo>
                  <a:lnTo>
                    <a:pt x="678" y="0"/>
                  </a:lnTo>
                  <a:lnTo>
                    <a:pt x="696" y="0"/>
                  </a:lnTo>
                  <a:lnTo>
                    <a:pt x="702" y="0"/>
                  </a:lnTo>
                  <a:lnTo>
                    <a:pt x="714" y="0"/>
                  </a:lnTo>
                  <a:lnTo>
                    <a:pt x="720" y="6"/>
                  </a:lnTo>
                  <a:lnTo>
                    <a:pt x="720" y="18"/>
                  </a:lnTo>
                  <a:lnTo>
                    <a:pt x="726" y="18"/>
                  </a:lnTo>
                  <a:lnTo>
                    <a:pt x="744" y="24"/>
                  </a:lnTo>
                  <a:lnTo>
                    <a:pt x="744" y="30"/>
                  </a:lnTo>
                  <a:lnTo>
                    <a:pt x="732" y="42"/>
                  </a:lnTo>
                  <a:lnTo>
                    <a:pt x="726" y="42"/>
                  </a:lnTo>
                  <a:lnTo>
                    <a:pt x="720" y="42"/>
                  </a:lnTo>
                  <a:lnTo>
                    <a:pt x="720" y="48"/>
                  </a:lnTo>
                  <a:lnTo>
                    <a:pt x="714" y="48"/>
                  </a:lnTo>
                  <a:lnTo>
                    <a:pt x="708" y="54"/>
                  </a:lnTo>
                  <a:lnTo>
                    <a:pt x="702" y="66"/>
                  </a:lnTo>
                  <a:lnTo>
                    <a:pt x="708" y="66"/>
                  </a:lnTo>
                  <a:lnTo>
                    <a:pt x="714" y="90"/>
                  </a:lnTo>
                  <a:lnTo>
                    <a:pt x="726" y="84"/>
                  </a:lnTo>
                  <a:lnTo>
                    <a:pt x="738" y="84"/>
                  </a:lnTo>
                  <a:lnTo>
                    <a:pt x="750" y="96"/>
                  </a:lnTo>
                  <a:lnTo>
                    <a:pt x="768" y="96"/>
                  </a:lnTo>
                  <a:lnTo>
                    <a:pt x="768" y="90"/>
                  </a:lnTo>
                  <a:lnTo>
                    <a:pt x="774" y="84"/>
                  </a:lnTo>
                  <a:lnTo>
                    <a:pt x="780" y="78"/>
                  </a:lnTo>
                  <a:lnTo>
                    <a:pt x="786" y="78"/>
                  </a:lnTo>
                  <a:lnTo>
                    <a:pt x="792" y="72"/>
                  </a:lnTo>
                  <a:lnTo>
                    <a:pt x="804" y="72"/>
                  </a:lnTo>
                  <a:lnTo>
                    <a:pt x="804" y="66"/>
                  </a:lnTo>
                  <a:lnTo>
                    <a:pt x="810" y="66"/>
                  </a:lnTo>
                  <a:lnTo>
                    <a:pt x="810" y="72"/>
                  </a:lnTo>
                  <a:lnTo>
                    <a:pt x="816" y="66"/>
                  </a:lnTo>
                  <a:lnTo>
                    <a:pt x="828" y="66"/>
                  </a:lnTo>
                  <a:lnTo>
                    <a:pt x="834" y="72"/>
                  </a:lnTo>
                  <a:lnTo>
                    <a:pt x="840" y="72"/>
                  </a:lnTo>
                  <a:lnTo>
                    <a:pt x="840" y="78"/>
                  </a:lnTo>
                  <a:lnTo>
                    <a:pt x="840" y="84"/>
                  </a:lnTo>
                  <a:lnTo>
                    <a:pt x="852" y="84"/>
                  </a:lnTo>
                  <a:lnTo>
                    <a:pt x="858" y="96"/>
                  </a:lnTo>
                  <a:lnTo>
                    <a:pt x="864" y="108"/>
                  </a:lnTo>
                  <a:lnTo>
                    <a:pt x="876" y="114"/>
                  </a:lnTo>
                  <a:lnTo>
                    <a:pt x="894" y="114"/>
                  </a:lnTo>
                  <a:lnTo>
                    <a:pt x="906" y="114"/>
                  </a:lnTo>
                  <a:lnTo>
                    <a:pt x="906" y="126"/>
                  </a:lnTo>
                  <a:lnTo>
                    <a:pt x="912" y="144"/>
                  </a:lnTo>
                  <a:lnTo>
                    <a:pt x="930" y="138"/>
                  </a:lnTo>
                  <a:lnTo>
                    <a:pt x="936" y="138"/>
                  </a:lnTo>
                  <a:lnTo>
                    <a:pt x="942" y="144"/>
                  </a:lnTo>
                  <a:lnTo>
                    <a:pt x="948" y="150"/>
                  </a:lnTo>
                  <a:lnTo>
                    <a:pt x="954" y="156"/>
                  </a:lnTo>
                  <a:lnTo>
                    <a:pt x="954" y="168"/>
                  </a:lnTo>
                  <a:lnTo>
                    <a:pt x="954" y="174"/>
                  </a:lnTo>
                  <a:lnTo>
                    <a:pt x="960" y="180"/>
                  </a:lnTo>
                  <a:lnTo>
                    <a:pt x="966" y="186"/>
                  </a:lnTo>
                  <a:lnTo>
                    <a:pt x="960" y="186"/>
                  </a:lnTo>
                  <a:lnTo>
                    <a:pt x="966" y="192"/>
                  </a:lnTo>
                  <a:lnTo>
                    <a:pt x="966" y="198"/>
                  </a:lnTo>
                  <a:lnTo>
                    <a:pt x="978" y="204"/>
                  </a:lnTo>
                  <a:lnTo>
                    <a:pt x="1050" y="186"/>
                  </a:lnTo>
                  <a:lnTo>
                    <a:pt x="1056" y="198"/>
                  </a:lnTo>
                  <a:lnTo>
                    <a:pt x="1068" y="210"/>
                  </a:lnTo>
                  <a:lnTo>
                    <a:pt x="1074" y="216"/>
                  </a:lnTo>
                  <a:lnTo>
                    <a:pt x="1080" y="252"/>
                  </a:lnTo>
                  <a:lnTo>
                    <a:pt x="1086" y="270"/>
                  </a:lnTo>
                  <a:lnTo>
                    <a:pt x="1092" y="282"/>
                  </a:lnTo>
                  <a:lnTo>
                    <a:pt x="1086" y="300"/>
                  </a:lnTo>
                  <a:lnTo>
                    <a:pt x="1074" y="330"/>
                  </a:lnTo>
                  <a:lnTo>
                    <a:pt x="1068" y="336"/>
                  </a:lnTo>
                  <a:lnTo>
                    <a:pt x="1062" y="348"/>
                  </a:lnTo>
                  <a:lnTo>
                    <a:pt x="1062" y="360"/>
                  </a:lnTo>
                  <a:lnTo>
                    <a:pt x="1068" y="378"/>
                  </a:lnTo>
                  <a:lnTo>
                    <a:pt x="1074" y="390"/>
                  </a:lnTo>
                  <a:lnTo>
                    <a:pt x="1068" y="396"/>
                  </a:lnTo>
                  <a:lnTo>
                    <a:pt x="1068" y="408"/>
                  </a:lnTo>
                  <a:lnTo>
                    <a:pt x="1062" y="414"/>
                  </a:lnTo>
                  <a:lnTo>
                    <a:pt x="1050" y="432"/>
                  </a:lnTo>
                  <a:lnTo>
                    <a:pt x="1044" y="450"/>
                  </a:lnTo>
                  <a:lnTo>
                    <a:pt x="1038" y="456"/>
                  </a:lnTo>
                  <a:lnTo>
                    <a:pt x="1026" y="468"/>
                  </a:lnTo>
                  <a:lnTo>
                    <a:pt x="1026" y="474"/>
                  </a:lnTo>
                  <a:lnTo>
                    <a:pt x="1026" y="480"/>
                  </a:lnTo>
                  <a:lnTo>
                    <a:pt x="1032" y="492"/>
                  </a:lnTo>
                  <a:lnTo>
                    <a:pt x="1044" y="504"/>
                  </a:lnTo>
                  <a:lnTo>
                    <a:pt x="1044" y="516"/>
                  </a:lnTo>
                  <a:lnTo>
                    <a:pt x="1038" y="528"/>
                  </a:lnTo>
                  <a:lnTo>
                    <a:pt x="1032" y="546"/>
                  </a:lnTo>
                  <a:lnTo>
                    <a:pt x="1032" y="570"/>
                  </a:lnTo>
                  <a:lnTo>
                    <a:pt x="1050" y="594"/>
                  </a:lnTo>
                  <a:lnTo>
                    <a:pt x="1056" y="624"/>
                  </a:lnTo>
                  <a:lnTo>
                    <a:pt x="1056" y="654"/>
                  </a:lnTo>
                  <a:close/>
                </a:path>
              </a:pathLst>
            </a:custGeom>
            <a:solidFill>
              <a:srgbClr val="33CC33"/>
            </a:solidFill>
            <a:ln w="9525">
              <a:solidFill>
                <a:schemeClr val="bg1"/>
              </a:solidFill>
              <a:round/>
              <a:headEnd/>
              <a:tailEnd/>
            </a:ln>
          </p:spPr>
          <p:txBody>
            <a:bodyPr/>
            <a:lstStyle/>
            <a:p>
              <a:endParaRPr lang="en-GB"/>
            </a:p>
          </p:txBody>
        </p:sp>
        <p:sp>
          <p:nvSpPr>
            <p:cNvPr id="19501" name="Freeform 25"/>
            <p:cNvSpPr>
              <a:spLocks/>
            </p:cNvSpPr>
            <p:nvPr/>
          </p:nvSpPr>
          <p:spPr bwMode="gray">
            <a:xfrm>
              <a:off x="2769490" y="3879253"/>
              <a:ext cx="1254339" cy="1131594"/>
            </a:xfrm>
            <a:custGeom>
              <a:avLst/>
              <a:gdLst>
                <a:gd name="T0" fmla="*/ 90826 w 1602"/>
                <a:gd name="T1" fmla="*/ 73344 h 1404"/>
                <a:gd name="T2" fmla="*/ 86911 w 1602"/>
                <a:gd name="T3" fmla="*/ 76568 h 1404"/>
                <a:gd name="T4" fmla="*/ 79864 w 1602"/>
                <a:gd name="T5" fmla="*/ 81404 h 1404"/>
                <a:gd name="T6" fmla="*/ 77515 w 1602"/>
                <a:gd name="T7" fmla="*/ 83016 h 1404"/>
                <a:gd name="T8" fmla="*/ 75166 w 1602"/>
                <a:gd name="T9" fmla="*/ 85434 h 1404"/>
                <a:gd name="T10" fmla="*/ 72817 w 1602"/>
                <a:gd name="T11" fmla="*/ 87046 h 1404"/>
                <a:gd name="T12" fmla="*/ 68903 w 1602"/>
                <a:gd name="T13" fmla="*/ 85434 h 1404"/>
                <a:gd name="T14" fmla="*/ 67337 w 1602"/>
                <a:gd name="T15" fmla="*/ 87046 h 1404"/>
                <a:gd name="T16" fmla="*/ 63422 w 1602"/>
                <a:gd name="T17" fmla="*/ 95911 h 1404"/>
                <a:gd name="T18" fmla="*/ 55592 w 1602"/>
                <a:gd name="T19" fmla="*/ 87852 h 1404"/>
                <a:gd name="T20" fmla="*/ 56375 w 1602"/>
                <a:gd name="T21" fmla="*/ 81404 h 1404"/>
                <a:gd name="T22" fmla="*/ 57941 w 1602"/>
                <a:gd name="T23" fmla="*/ 74956 h 1404"/>
                <a:gd name="T24" fmla="*/ 57158 w 1602"/>
                <a:gd name="T25" fmla="*/ 66090 h 1404"/>
                <a:gd name="T26" fmla="*/ 50111 w 1602"/>
                <a:gd name="T27" fmla="*/ 63672 h 1404"/>
                <a:gd name="T28" fmla="*/ 46196 w 1602"/>
                <a:gd name="T29" fmla="*/ 60448 h 1404"/>
                <a:gd name="T30" fmla="*/ 42281 w 1602"/>
                <a:gd name="T31" fmla="*/ 57224 h 1404"/>
                <a:gd name="T32" fmla="*/ 39932 w 1602"/>
                <a:gd name="T33" fmla="*/ 56419 h 1404"/>
                <a:gd name="T34" fmla="*/ 35234 w 1602"/>
                <a:gd name="T35" fmla="*/ 57224 h 1404"/>
                <a:gd name="T36" fmla="*/ 33668 w 1602"/>
                <a:gd name="T37" fmla="*/ 54807 h 1404"/>
                <a:gd name="T38" fmla="*/ 33668 w 1602"/>
                <a:gd name="T39" fmla="*/ 51583 h 1404"/>
                <a:gd name="T40" fmla="*/ 28187 w 1602"/>
                <a:gd name="T41" fmla="*/ 53195 h 1404"/>
                <a:gd name="T42" fmla="*/ 24272 w 1602"/>
                <a:gd name="T43" fmla="*/ 44329 h 1404"/>
                <a:gd name="T44" fmla="*/ 19575 w 1602"/>
                <a:gd name="T45" fmla="*/ 42717 h 1404"/>
                <a:gd name="T46" fmla="*/ 14877 w 1602"/>
                <a:gd name="T47" fmla="*/ 41105 h 1404"/>
                <a:gd name="T48" fmla="*/ 13311 w 1602"/>
                <a:gd name="T49" fmla="*/ 34657 h 1404"/>
                <a:gd name="T50" fmla="*/ 13311 w 1602"/>
                <a:gd name="T51" fmla="*/ 31433 h 1404"/>
                <a:gd name="T52" fmla="*/ 9396 w 1602"/>
                <a:gd name="T53" fmla="*/ 31433 h 1404"/>
                <a:gd name="T54" fmla="*/ 7830 w 1602"/>
                <a:gd name="T55" fmla="*/ 28209 h 1404"/>
                <a:gd name="T56" fmla="*/ 3915 w 1602"/>
                <a:gd name="T57" fmla="*/ 24179 h 1404"/>
                <a:gd name="T58" fmla="*/ 2349 w 1602"/>
                <a:gd name="T59" fmla="*/ 21761 h 1404"/>
                <a:gd name="T60" fmla="*/ 1566 w 1602"/>
                <a:gd name="T61" fmla="*/ 20149 h 1404"/>
                <a:gd name="T62" fmla="*/ 0 w 1602"/>
                <a:gd name="T63" fmla="*/ 17732 h 1404"/>
                <a:gd name="T64" fmla="*/ 6264 w 1602"/>
                <a:gd name="T65" fmla="*/ 11284 h 1404"/>
                <a:gd name="T66" fmla="*/ 12528 w 1602"/>
                <a:gd name="T67" fmla="*/ 12896 h 1404"/>
                <a:gd name="T68" fmla="*/ 24272 w 1602"/>
                <a:gd name="T69" fmla="*/ 14508 h 1404"/>
                <a:gd name="T70" fmla="*/ 33668 w 1602"/>
                <a:gd name="T71" fmla="*/ 13702 h 1404"/>
                <a:gd name="T72" fmla="*/ 36800 w 1602"/>
                <a:gd name="T73" fmla="*/ 4836 h 1404"/>
                <a:gd name="T74" fmla="*/ 40715 w 1602"/>
                <a:gd name="T75" fmla="*/ 0 h 1404"/>
                <a:gd name="T76" fmla="*/ 43064 w 1602"/>
                <a:gd name="T77" fmla="*/ 2418 h 1404"/>
                <a:gd name="T78" fmla="*/ 46196 w 1602"/>
                <a:gd name="T79" fmla="*/ 7254 h 1404"/>
                <a:gd name="T80" fmla="*/ 48545 w 1602"/>
                <a:gd name="T81" fmla="*/ 12896 h 1404"/>
                <a:gd name="T82" fmla="*/ 51677 w 1602"/>
                <a:gd name="T83" fmla="*/ 16120 h 1404"/>
                <a:gd name="T84" fmla="*/ 54809 w 1602"/>
                <a:gd name="T85" fmla="*/ 20149 h 1404"/>
                <a:gd name="T86" fmla="*/ 57941 w 1602"/>
                <a:gd name="T87" fmla="*/ 24179 h 1404"/>
                <a:gd name="T88" fmla="*/ 59507 w 1602"/>
                <a:gd name="T89" fmla="*/ 21761 h 1404"/>
                <a:gd name="T90" fmla="*/ 61073 w 1602"/>
                <a:gd name="T91" fmla="*/ 21761 h 1404"/>
                <a:gd name="T92" fmla="*/ 61073 w 1602"/>
                <a:gd name="T93" fmla="*/ 18538 h 1404"/>
                <a:gd name="T94" fmla="*/ 64205 w 1602"/>
                <a:gd name="T95" fmla="*/ 16120 h 1404"/>
                <a:gd name="T96" fmla="*/ 64205 w 1602"/>
                <a:gd name="T97" fmla="*/ 14508 h 1404"/>
                <a:gd name="T98" fmla="*/ 70468 w 1602"/>
                <a:gd name="T99" fmla="*/ 19343 h 1404"/>
                <a:gd name="T100" fmla="*/ 70468 w 1602"/>
                <a:gd name="T101" fmla="*/ 36269 h 1404"/>
                <a:gd name="T102" fmla="*/ 81430 w 1602"/>
                <a:gd name="T103" fmla="*/ 33045 h 1404"/>
                <a:gd name="T104" fmla="*/ 91609 w 1602"/>
                <a:gd name="T105" fmla="*/ 31433 h 1404"/>
                <a:gd name="T106" fmla="*/ 97873 w 1602"/>
                <a:gd name="T107" fmla="*/ 31433 h 1404"/>
                <a:gd name="T108" fmla="*/ 99439 w 1602"/>
                <a:gd name="T109" fmla="*/ 34657 h 1404"/>
                <a:gd name="T110" fmla="*/ 102571 w 1602"/>
                <a:gd name="T111" fmla="*/ 42717 h 1404"/>
                <a:gd name="T112" fmla="*/ 104137 w 1602"/>
                <a:gd name="T113" fmla="*/ 48359 h 1404"/>
                <a:gd name="T114" fmla="*/ 108052 w 1602"/>
                <a:gd name="T115" fmla="*/ 58836 h 1404"/>
                <a:gd name="T116" fmla="*/ 106486 w 1602"/>
                <a:gd name="T117" fmla="*/ 64478 h 1404"/>
                <a:gd name="T118" fmla="*/ 101005 w 1602"/>
                <a:gd name="T119" fmla="*/ 70120 h 1404"/>
                <a:gd name="T120" fmla="*/ 96307 w 1602"/>
                <a:gd name="T121" fmla="*/ 76568 h 14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02"/>
                <a:gd name="T184" fmla="*/ 0 h 1404"/>
                <a:gd name="T185" fmla="*/ 1602 w 1602"/>
                <a:gd name="T186" fmla="*/ 1404 h 140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02" h="1404">
                  <a:moveTo>
                    <a:pt x="1392" y="1080"/>
                  </a:moveTo>
                  <a:lnTo>
                    <a:pt x="1380" y="1074"/>
                  </a:lnTo>
                  <a:lnTo>
                    <a:pt x="1368" y="1056"/>
                  </a:lnTo>
                  <a:lnTo>
                    <a:pt x="1356" y="1044"/>
                  </a:lnTo>
                  <a:lnTo>
                    <a:pt x="1344" y="1038"/>
                  </a:lnTo>
                  <a:lnTo>
                    <a:pt x="1338" y="1038"/>
                  </a:lnTo>
                  <a:lnTo>
                    <a:pt x="1332" y="1038"/>
                  </a:lnTo>
                  <a:lnTo>
                    <a:pt x="1326" y="1044"/>
                  </a:lnTo>
                  <a:lnTo>
                    <a:pt x="1320" y="1044"/>
                  </a:lnTo>
                  <a:lnTo>
                    <a:pt x="1314" y="1044"/>
                  </a:lnTo>
                  <a:lnTo>
                    <a:pt x="1296" y="1056"/>
                  </a:lnTo>
                  <a:lnTo>
                    <a:pt x="1296" y="1080"/>
                  </a:lnTo>
                  <a:lnTo>
                    <a:pt x="1290" y="1080"/>
                  </a:lnTo>
                  <a:lnTo>
                    <a:pt x="1284" y="1086"/>
                  </a:lnTo>
                  <a:lnTo>
                    <a:pt x="1278" y="1086"/>
                  </a:lnTo>
                  <a:lnTo>
                    <a:pt x="1278" y="1092"/>
                  </a:lnTo>
                  <a:lnTo>
                    <a:pt x="1272" y="1092"/>
                  </a:lnTo>
                  <a:lnTo>
                    <a:pt x="1266" y="1086"/>
                  </a:lnTo>
                  <a:lnTo>
                    <a:pt x="1260" y="1086"/>
                  </a:lnTo>
                  <a:lnTo>
                    <a:pt x="1260" y="1098"/>
                  </a:lnTo>
                  <a:lnTo>
                    <a:pt x="1248" y="1098"/>
                  </a:lnTo>
                  <a:lnTo>
                    <a:pt x="1212" y="1116"/>
                  </a:lnTo>
                  <a:lnTo>
                    <a:pt x="1206" y="1158"/>
                  </a:lnTo>
                  <a:lnTo>
                    <a:pt x="1176" y="1164"/>
                  </a:lnTo>
                  <a:lnTo>
                    <a:pt x="1158" y="1164"/>
                  </a:lnTo>
                  <a:lnTo>
                    <a:pt x="1152" y="1164"/>
                  </a:lnTo>
                  <a:lnTo>
                    <a:pt x="1152" y="1170"/>
                  </a:lnTo>
                  <a:lnTo>
                    <a:pt x="1152" y="1176"/>
                  </a:lnTo>
                  <a:lnTo>
                    <a:pt x="1146" y="1176"/>
                  </a:lnTo>
                  <a:lnTo>
                    <a:pt x="1140" y="1176"/>
                  </a:lnTo>
                  <a:lnTo>
                    <a:pt x="1134" y="1182"/>
                  </a:lnTo>
                  <a:lnTo>
                    <a:pt x="1134" y="1188"/>
                  </a:lnTo>
                  <a:lnTo>
                    <a:pt x="1128" y="1194"/>
                  </a:lnTo>
                  <a:lnTo>
                    <a:pt x="1122" y="1194"/>
                  </a:lnTo>
                  <a:lnTo>
                    <a:pt x="1116" y="1194"/>
                  </a:lnTo>
                  <a:lnTo>
                    <a:pt x="1110" y="1200"/>
                  </a:lnTo>
                  <a:lnTo>
                    <a:pt x="1110" y="1206"/>
                  </a:lnTo>
                  <a:lnTo>
                    <a:pt x="1104" y="1212"/>
                  </a:lnTo>
                  <a:lnTo>
                    <a:pt x="1104" y="1218"/>
                  </a:lnTo>
                  <a:lnTo>
                    <a:pt x="1098" y="1224"/>
                  </a:lnTo>
                  <a:lnTo>
                    <a:pt x="1092" y="1230"/>
                  </a:lnTo>
                  <a:lnTo>
                    <a:pt x="1086" y="1230"/>
                  </a:lnTo>
                  <a:lnTo>
                    <a:pt x="1080" y="1230"/>
                  </a:lnTo>
                  <a:lnTo>
                    <a:pt x="1080" y="1242"/>
                  </a:lnTo>
                  <a:lnTo>
                    <a:pt x="1074" y="1242"/>
                  </a:lnTo>
                  <a:lnTo>
                    <a:pt x="1068" y="1242"/>
                  </a:lnTo>
                  <a:lnTo>
                    <a:pt x="1068" y="1236"/>
                  </a:lnTo>
                  <a:lnTo>
                    <a:pt x="1062" y="1242"/>
                  </a:lnTo>
                  <a:lnTo>
                    <a:pt x="1056" y="1236"/>
                  </a:lnTo>
                  <a:lnTo>
                    <a:pt x="1050" y="1242"/>
                  </a:lnTo>
                  <a:lnTo>
                    <a:pt x="1050" y="1236"/>
                  </a:lnTo>
                  <a:lnTo>
                    <a:pt x="1044" y="1194"/>
                  </a:lnTo>
                  <a:lnTo>
                    <a:pt x="1032" y="1194"/>
                  </a:lnTo>
                  <a:lnTo>
                    <a:pt x="1032" y="1200"/>
                  </a:lnTo>
                  <a:lnTo>
                    <a:pt x="1026" y="1200"/>
                  </a:lnTo>
                  <a:lnTo>
                    <a:pt x="1014" y="1218"/>
                  </a:lnTo>
                  <a:lnTo>
                    <a:pt x="1014" y="1224"/>
                  </a:lnTo>
                  <a:lnTo>
                    <a:pt x="1014" y="1236"/>
                  </a:lnTo>
                  <a:lnTo>
                    <a:pt x="1014" y="1242"/>
                  </a:lnTo>
                  <a:lnTo>
                    <a:pt x="1008" y="1242"/>
                  </a:lnTo>
                  <a:lnTo>
                    <a:pt x="1002" y="1236"/>
                  </a:lnTo>
                  <a:lnTo>
                    <a:pt x="1002" y="1230"/>
                  </a:lnTo>
                  <a:lnTo>
                    <a:pt x="996" y="1236"/>
                  </a:lnTo>
                  <a:lnTo>
                    <a:pt x="990" y="1236"/>
                  </a:lnTo>
                  <a:lnTo>
                    <a:pt x="990" y="1230"/>
                  </a:lnTo>
                  <a:lnTo>
                    <a:pt x="984" y="1236"/>
                  </a:lnTo>
                  <a:lnTo>
                    <a:pt x="978" y="1248"/>
                  </a:lnTo>
                  <a:lnTo>
                    <a:pt x="972" y="1254"/>
                  </a:lnTo>
                  <a:lnTo>
                    <a:pt x="966" y="1260"/>
                  </a:lnTo>
                  <a:lnTo>
                    <a:pt x="930" y="1284"/>
                  </a:lnTo>
                  <a:lnTo>
                    <a:pt x="942" y="1356"/>
                  </a:lnTo>
                  <a:lnTo>
                    <a:pt x="930" y="1368"/>
                  </a:lnTo>
                  <a:lnTo>
                    <a:pt x="852" y="1404"/>
                  </a:lnTo>
                  <a:lnTo>
                    <a:pt x="834" y="1392"/>
                  </a:lnTo>
                  <a:lnTo>
                    <a:pt x="834" y="1362"/>
                  </a:lnTo>
                  <a:lnTo>
                    <a:pt x="828" y="1332"/>
                  </a:lnTo>
                  <a:lnTo>
                    <a:pt x="810" y="1308"/>
                  </a:lnTo>
                  <a:lnTo>
                    <a:pt x="810" y="1284"/>
                  </a:lnTo>
                  <a:lnTo>
                    <a:pt x="816" y="1266"/>
                  </a:lnTo>
                  <a:lnTo>
                    <a:pt x="822" y="1254"/>
                  </a:lnTo>
                  <a:lnTo>
                    <a:pt x="822" y="1242"/>
                  </a:lnTo>
                  <a:lnTo>
                    <a:pt x="810" y="1230"/>
                  </a:lnTo>
                  <a:lnTo>
                    <a:pt x="804" y="1218"/>
                  </a:lnTo>
                  <a:lnTo>
                    <a:pt x="804" y="1212"/>
                  </a:lnTo>
                  <a:lnTo>
                    <a:pt x="804" y="1206"/>
                  </a:lnTo>
                  <a:lnTo>
                    <a:pt x="816" y="1194"/>
                  </a:lnTo>
                  <a:lnTo>
                    <a:pt x="822" y="1188"/>
                  </a:lnTo>
                  <a:lnTo>
                    <a:pt x="828" y="1170"/>
                  </a:lnTo>
                  <a:lnTo>
                    <a:pt x="840" y="1152"/>
                  </a:lnTo>
                  <a:lnTo>
                    <a:pt x="846" y="1146"/>
                  </a:lnTo>
                  <a:lnTo>
                    <a:pt x="846" y="1134"/>
                  </a:lnTo>
                  <a:lnTo>
                    <a:pt x="852" y="1128"/>
                  </a:lnTo>
                  <a:lnTo>
                    <a:pt x="846" y="1116"/>
                  </a:lnTo>
                  <a:lnTo>
                    <a:pt x="840" y="1098"/>
                  </a:lnTo>
                  <a:lnTo>
                    <a:pt x="840" y="1086"/>
                  </a:lnTo>
                  <a:lnTo>
                    <a:pt x="846" y="1074"/>
                  </a:lnTo>
                  <a:lnTo>
                    <a:pt x="852" y="1068"/>
                  </a:lnTo>
                  <a:lnTo>
                    <a:pt x="864" y="1038"/>
                  </a:lnTo>
                  <a:lnTo>
                    <a:pt x="870" y="1020"/>
                  </a:lnTo>
                  <a:lnTo>
                    <a:pt x="864" y="1008"/>
                  </a:lnTo>
                  <a:lnTo>
                    <a:pt x="858" y="990"/>
                  </a:lnTo>
                  <a:lnTo>
                    <a:pt x="852" y="954"/>
                  </a:lnTo>
                  <a:lnTo>
                    <a:pt x="846" y="948"/>
                  </a:lnTo>
                  <a:lnTo>
                    <a:pt x="834" y="936"/>
                  </a:lnTo>
                  <a:lnTo>
                    <a:pt x="828" y="924"/>
                  </a:lnTo>
                  <a:lnTo>
                    <a:pt x="756" y="942"/>
                  </a:lnTo>
                  <a:lnTo>
                    <a:pt x="744" y="936"/>
                  </a:lnTo>
                  <a:lnTo>
                    <a:pt x="744" y="930"/>
                  </a:lnTo>
                  <a:lnTo>
                    <a:pt x="738" y="924"/>
                  </a:lnTo>
                  <a:lnTo>
                    <a:pt x="744" y="924"/>
                  </a:lnTo>
                  <a:lnTo>
                    <a:pt x="738" y="918"/>
                  </a:lnTo>
                  <a:lnTo>
                    <a:pt x="732" y="912"/>
                  </a:lnTo>
                  <a:lnTo>
                    <a:pt x="732" y="906"/>
                  </a:lnTo>
                  <a:lnTo>
                    <a:pt x="732" y="894"/>
                  </a:lnTo>
                  <a:lnTo>
                    <a:pt x="726" y="888"/>
                  </a:lnTo>
                  <a:lnTo>
                    <a:pt x="720" y="882"/>
                  </a:lnTo>
                  <a:lnTo>
                    <a:pt x="714" y="876"/>
                  </a:lnTo>
                  <a:lnTo>
                    <a:pt x="708" y="876"/>
                  </a:lnTo>
                  <a:lnTo>
                    <a:pt x="690" y="882"/>
                  </a:lnTo>
                  <a:lnTo>
                    <a:pt x="684" y="864"/>
                  </a:lnTo>
                  <a:lnTo>
                    <a:pt x="684" y="852"/>
                  </a:lnTo>
                  <a:lnTo>
                    <a:pt x="672" y="852"/>
                  </a:lnTo>
                  <a:lnTo>
                    <a:pt x="654" y="852"/>
                  </a:lnTo>
                  <a:lnTo>
                    <a:pt x="642" y="846"/>
                  </a:lnTo>
                  <a:lnTo>
                    <a:pt x="636" y="834"/>
                  </a:lnTo>
                  <a:lnTo>
                    <a:pt x="630" y="822"/>
                  </a:lnTo>
                  <a:lnTo>
                    <a:pt x="618" y="822"/>
                  </a:lnTo>
                  <a:lnTo>
                    <a:pt x="618" y="816"/>
                  </a:lnTo>
                  <a:lnTo>
                    <a:pt x="618" y="810"/>
                  </a:lnTo>
                  <a:lnTo>
                    <a:pt x="612" y="810"/>
                  </a:lnTo>
                  <a:lnTo>
                    <a:pt x="606" y="804"/>
                  </a:lnTo>
                  <a:lnTo>
                    <a:pt x="594" y="804"/>
                  </a:lnTo>
                  <a:lnTo>
                    <a:pt x="588" y="810"/>
                  </a:lnTo>
                  <a:lnTo>
                    <a:pt x="588" y="804"/>
                  </a:lnTo>
                  <a:lnTo>
                    <a:pt x="582" y="804"/>
                  </a:lnTo>
                  <a:lnTo>
                    <a:pt x="582" y="810"/>
                  </a:lnTo>
                  <a:lnTo>
                    <a:pt x="570" y="810"/>
                  </a:lnTo>
                  <a:lnTo>
                    <a:pt x="564" y="816"/>
                  </a:lnTo>
                  <a:lnTo>
                    <a:pt x="558" y="816"/>
                  </a:lnTo>
                  <a:lnTo>
                    <a:pt x="552" y="822"/>
                  </a:lnTo>
                  <a:lnTo>
                    <a:pt x="546" y="828"/>
                  </a:lnTo>
                  <a:lnTo>
                    <a:pt x="546" y="834"/>
                  </a:lnTo>
                  <a:lnTo>
                    <a:pt x="528" y="834"/>
                  </a:lnTo>
                  <a:lnTo>
                    <a:pt x="516" y="822"/>
                  </a:lnTo>
                  <a:lnTo>
                    <a:pt x="504" y="822"/>
                  </a:lnTo>
                  <a:lnTo>
                    <a:pt x="492" y="828"/>
                  </a:lnTo>
                  <a:lnTo>
                    <a:pt x="486" y="804"/>
                  </a:lnTo>
                  <a:lnTo>
                    <a:pt x="480" y="804"/>
                  </a:lnTo>
                  <a:lnTo>
                    <a:pt x="486" y="792"/>
                  </a:lnTo>
                  <a:lnTo>
                    <a:pt x="492" y="786"/>
                  </a:lnTo>
                  <a:lnTo>
                    <a:pt x="498" y="786"/>
                  </a:lnTo>
                  <a:lnTo>
                    <a:pt x="498" y="780"/>
                  </a:lnTo>
                  <a:lnTo>
                    <a:pt x="504" y="780"/>
                  </a:lnTo>
                  <a:lnTo>
                    <a:pt x="510" y="780"/>
                  </a:lnTo>
                  <a:lnTo>
                    <a:pt x="522" y="768"/>
                  </a:lnTo>
                  <a:lnTo>
                    <a:pt x="522" y="762"/>
                  </a:lnTo>
                  <a:lnTo>
                    <a:pt x="504" y="756"/>
                  </a:lnTo>
                  <a:lnTo>
                    <a:pt x="498" y="756"/>
                  </a:lnTo>
                  <a:lnTo>
                    <a:pt x="498" y="744"/>
                  </a:lnTo>
                  <a:lnTo>
                    <a:pt x="492" y="738"/>
                  </a:lnTo>
                  <a:lnTo>
                    <a:pt x="480" y="738"/>
                  </a:lnTo>
                  <a:lnTo>
                    <a:pt x="474" y="738"/>
                  </a:lnTo>
                  <a:lnTo>
                    <a:pt x="456" y="738"/>
                  </a:lnTo>
                  <a:lnTo>
                    <a:pt x="438" y="738"/>
                  </a:lnTo>
                  <a:lnTo>
                    <a:pt x="432" y="750"/>
                  </a:lnTo>
                  <a:lnTo>
                    <a:pt x="426" y="756"/>
                  </a:lnTo>
                  <a:lnTo>
                    <a:pt x="426" y="762"/>
                  </a:lnTo>
                  <a:lnTo>
                    <a:pt x="420" y="762"/>
                  </a:lnTo>
                  <a:lnTo>
                    <a:pt x="408" y="744"/>
                  </a:lnTo>
                  <a:lnTo>
                    <a:pt x="408" y="732"/>
                  </a:lnTo>
                  <a:lnTo>
                    <a:pt x="390" y="714"/>
                  </a:lnTo>
                  <a:lnTo>
                    <a:pt x="384" y="702"/>
                  </a:lnTo>
                  <a:lnTo>
                    <a:pt x="384" y="690"/>
                  </a:lnTo>
                  <a:lnTo>
                    <a:pt x="372" y="690"/>
                  </a:lnTo>
                  <a:lnTo>
                    <a:pt x="366" y="660"/>
                  </a:lnTo>
                  <a:lnTo>
                    <a:pt x="354" y="630"/>
                  </a:lnTo>
                  <a:lnTo>
                    <a:pt x="348" y="630"/>
                  </a:lnTo>
                  <a:lnTo>
                    <a:pt x="336" y="630"/>
                  </a:lnTo>
                  <a:lnTo>
                    <a:pt x="330" y="630"/>
                  </a:lnTo>
                  <a:lnTo>
                    <a:pt x="318" y="630"/>
                  </a:lnTo>
                  <a:lnTo>
                    <a:pt x="312" y="624"/>
                  </a:lnTo>
                  <a:lnTo>
                    <a:pt x="306" y="624"/>
                  </a:lnTo>
                  <a:lnTo>
                    <a:pt x="294" y="618"/>
                  </a:lnTo>
                  <a:lnTo>
                    <a:pt x="288" y="612"/>
                  </a:lnTo>
                  <a:lnTo>
                    <a:pt x="276" y="600"/>
                  </a:lnTo>
                  <a:lnTo>
                    <a:pt x="276" y="582"/>
                  </a:lnTo>
                  <a:lnTo>
                    <a:pt x="270" y="582"/>
                  </a:lnTo>
                  <a:lnTo>
                    <a:pt x="258" y="588"/>
                  </a:lnTo>
                  <a:lnTo>
                    <a:pt x="252" y="582"/>
                  </a:lnTo>
                  <a:lnTo>
                    <a:pt x="246" y="582"/>
                  </a:lnTo>
                  <a:lnTo>
                    <a:pt x="240" y="588"/>
                  </a:lnTo>
                  <a:lnTo>
                    <a:pt x="216" y="582"/>
                  </a:lnTo>
                  <a:lnTo>
                    <a:pt x="210" y="588"/>
                  </a:lnTo>
                  <a:lnTo>
                    <a:pt x="198" y="582"/>
                  </a:lnTo>
                  <a:lnTo>
                    <a:pt x="180" y="582"/>
                  </a:lnTo>
                  <a:lnTo>
                    <a:pt x="174" y="552"/>
                  </a:lnTo>
                  <a:lnTo>
                    <a:pt x="168" y="504"/>
                  </a:lnTo>
                  <a:lnTo>
                    <a:pt x="186" y="504"/>
                  </a:lnTo>
                  <a:lnTo>
                    <a:pt x="192" y="504"/>
                  </a:lnTo>
                  <a:lnTo>
                    <a:pt x="192" y="498"/>
                  </a:lnTo>
                  <a:lnTo>
                    <a:pt x="192" y="492"/>
                  </a:lnTo>
                  <a:lnTo>
                    <a:pt x="192" y="486"/>
                  </a:lnTo>
                  <a:lnTo>
                    <a:pt x="198" y="486"/>
                  </a:lnTo>
                  <a:lnTo>
                    <a:pt x="198" y="480"/>
                  </a:lnTo>
                  <a:lnTo>
                    <a:pt x="204" y="474"/>
                  </a:lnTo>
                  <a:lnTo>
                    <a:pt x="210" y="468"/>
                  </a:lnTo>
                  <a:lnTo>
                    <a:pt x="198" y="462"/>
                  </a:lnTo>
                  <a:lnTo>
                    <a:pt x="192" y="444"/>
                  </a:lnTo>
                  <a:lnTo>
                    <a:pt x="204" y="438"/>
                  </a:lnTo>
                  <a:lnTo>
                    <a:pt x="198" y="432"/>
                  </a:lnTo>
                  <a:lnTo>
                    <a:pt x="192" y="426"/>
                  </a:lnTo>
                  <a:lnTo>
                    <a:pt x="186" y="432"/>
                  </a:lnTo>
                  <a:lnTo>
                    <a:pt x="168" y="438"/>
                  </a:lnTo>
                  <a:lnTo>
                    <a:pt x="150" y="450"/>
                  </a:lnTo>
                  <a:lnTo>
                    <a:pt x="144" y="456"/>
                  </a:lnTo>
                  <a:lnTo>
                    <a:pt x="132" y="456"/>
                  </a:lnTo>
                  <a:lnTo>
                    <a:pt x="126" y="468"/>
                  </a:lnTo>
                  <a:lnTo>
                    <a:pt x="114" y="468"/>
                  </a:lnTo>
                  <a:lnTo>
                    <a:pt x="108" y="468"/>
                  </a:lnTo>
                  <a:lnTo>
                    <a:pt x="108" y="426"/>
                  </a:lnTo>
                  <a:lnTo>
                    <a:pt x="108" y="420"/>
                  </a:lnTo>
                  <a:lnTo>
                    <a:pt x="102" y="414"/>
                  </a:lnTo>
                  <a:lnTo>
                    <a:pt x="108" y="396"/>
                  </a:lnTo>
                  <a:lnTo>
                    <a:pt x="120" y="396"/>
                  </a:lnTo>
                  <a:lnTo>
                    <a:pt x="126" y="384"/>
                  </a:lnTo>
                  <a:lnTo>
                    <a:pt x="126" y="360"/>
                  </a:lnTo>
                  <a:lnTo>
                    <a:pt x="120" y="348"/>
                  </a:lnTo>
                  <a:lnTo>
                    <a:pt x="108" y="348"/>
                  </a:lnTo>
                  <a:lnTo>
                    <a:pt x="84" y="354"/>
                  </a:lnTo>
                  <a:lnTo>
                    <a:pt x="72" y="354"/>
                  </a:lnTo>
                  <a:lnTo>
                    <a:pt x="66" y="354"/>
                  </a:lnTo>
                  <a:lnTo>
                    <a:pt x="60" y="348"/>
                  </a:lnTo>
                  <a:lnTo>
                    <a:pt x="54" y="342"/>
                  </a:lnTo>
                  <a:lnTo>
                    <a:pt x="54" y="336"/>
                  </a:lnTo>
                  <a:lnTo>
                    <a:pt x="54" y="330"/>
                  </a:lnTo>
                  <a:lnTo>
                    <a:pt x="54" y="324"/>
                  </a:lnTo>
                  <a:lnTo>
                    <a:pt x="60" y="318"/>
                  </a:lnTo>
                  <a:lnTo>
                    <a:pt x="42" y="324"/>
                  </a:lnTo>
                  <a:lnTo>
                    <a:pt x="36" y="318"/>
                  </a:lnTo>
                  <a:lnTo>
                    <a:pt x="36" y="312"/>
                  </a:lnTo>
                  <a:lnTo>
                    <a:pt x="36" y="306"/>
                  </a:lnTo>
                  <a:lnTo>
                    <a:pt x="36" y="300"/>
                  </a:lnTo>
                  <a:lnTo>
                    <a:pt x="30" y="300"/>
                  </a:lnTo>
                  <a:lnTo>
                    <a:pt x="30" y="306"/>
                  </a:lnTo>
                  <a:lnTo>
                    <a:pt x="24" y="306"/>
                  </a:lnTo>
                  <a:lnTo>
                    <a:pt x="24" y="300"/>
                  </a:lnTo>
                  <a:lnTo>
                    <a:pt x="24" y="294"/>
                  </a:lnTo>
                  <a:lnTo>
                    <a:pt x="24" y="288"/>
                  </a:lnTo>
                  <a:lnTo>
                    <a:pt x="24" y="282"/>
                  </a:lnTo>
                  <a:lnTo>
                    <a:pt x="18" y="282"/>
                  </a:lnTo>
                  <a:lnTo>
                    <a:pt x="24" y="276"/>
                  </a:lnTo>
                  <a:lnTo>
                    <a:pt x="18" y="276"/>
                  </a:lnTo>
                  <a:lnTo>
                    <a:pt x="6" y="264"/>
                  </a:lnTo>
                  <a:lnTo>
                    <a:pt x="6" y="258"/>
                  </a:lnTo>
                  <a:lnTo>
                    <a:pt x="0" y="258"/>
                  </a:lnTo>
                  <a:lnTo>
                    <a:pt x="0" y="252"/>
                  </a:lnTo>
                  <a:lnTo>
                    <a:pt x="6" y="240"/>
                  </a:lnTo>
                  <a:lnTo>
                    <a:pt x="18" y="234"/>
                  </a:lnTo>
                  <a:lnTo>
                    <a:pt x="30" y="228"/>
                  </a:lnTo>
                  <a:lnTo>
                    <a:pt x="30" y="216"/>
                  </a:lnTo>
                  <a:lnTo>
                    <a:pt x="30" y="210"/>
                  </a:lnTo>
                  <a:lnTo>
                    <a:pt x="42" y="192"/>
                  </a:lnTo>
                  <a:lnTo>
                    <a:pt x="66" y="186"/>
                  </a:lnTo>
                  <a:lnTo>
                    <a:pt x="90" y="156"/>
                  </a:lnTo>
                  <a:lnTo>
                    <a:pt x="102" y="144"/>
                  </a:lnTo>
                  <a:lnTo>
                    <a:pt x="138" y="150"/>
                  </a:lnTo>
                  <a:lnTo>
                    <a:pt x="162" y="168"/>
                  </a:lnTo>
                  <a:lnTo>
                    <a:pt x="174" y="174"/>
                  </a:lnTo>
                  <a:lnTo>
                    <a:pt x="180" y="174"/>
                  </a:lnTo>
                  <a:lnTo>
                    <a:pt x="180" y="180"/>
                  </a:lnTo>
                  <a:lnTo>
                    <a:pt x="174" y="180"/>
                  </a:lnTo>
                  <a:lnTo>
                    <a:pt x="180" y="186"/>
                  </a:lnTo>
                  <a:lnTo>
                    <a:pt x="186" y="186"/>
                  </a:lnTo>
                  <a:lnTo>
                    <a:pt x="198" y="192"/>
                  </a:lnTo>
                  <a:lnTo>
                    <a:pt x="216" y="198"/>
                  </a:lnTo>
                  <a:lnTo>
                    <a:pt x="252" y="204"/>
                  </a:lnTo>
                  <a:lnTo>
                    <a:pt x="258" y="210"/>
                  </a:lnTo>
                  <a:lnTo>
                    <a:pt x="306" y="216"/>
                  </a:lnTo>
                  <a:lnTo>
                    <a:pt x="342" y="216"/>
                  </a:lnTo>
                  <a:lnTo>
                    <a:pt x="354" y="210"/>
                  </a:lnTo>
                  <a:lnTo>
                    <a:pt x="384" y="210"/>
                  </a:lnTo>
                  <a:lnTo>
                    <a:pt x="408" y="222"/>
                  </a:lnTo>
                  <a:lnTo>
                    <a:pt x="438" y="228"/>
                  </a:lnTo>
                  <a:lnTo>
                    <a:pt x="468" y="222"/>
                  </a:lnTo>
                  <a:lnTo>
                    <a:pt x="468" y="228"/>
                  </a:lnTo>
                  <a:lnTo>
                    <a:pt x="486" y="222"/>
                  </a:lnTo>
                  <a:lnTo>
                    <a:pt x="492" y="210"/>
                  </a:lnTo>
                  <a:lnTo>
                    <a:pt x="492" y="198"/>
                  </a:lnTo>
                  <a:lnTo>
                    <a:pt x="486" y="180"/>
                  </a:lnTo>
                  <a:lnTo>
                    <a:pt x="492" y="162"/>
                  </a:lnTo>
                  <a:lnTo>
                    <a:pt x="510" y="96"/>
                  </a:lnTo>
                  <a:lnTo>
                    <a:pt x="516" y="84"/>
                  </a:lnTo>
                  <a:lnTo>
                    <a:pt x="522" y="84"/>
                  </a:lnTo>
                  <a:lnTo>
                    <a:pt x="528" y="84"/>
                  </a:lnTo>
                  <a:lnTo>
                    <a:pt x="528" y="78"/>
                  </a:lnTo>
                  <a:lnTo>
                    <a:pt x="534" y="72"/>
                  </a:lnTo>
                  <a:lnTo>
                    <a:pt x="534" y="60"/>
                  </a:lnTo>
                  <a:lnTo>
                    <a:pt x="540" y="36"/>
                  </a:lnTo>
                  <a:lnTo>
                    <a:pt x="546" y="6"/>
                  </a:lnTo>
                  <a:lnTo>
                    <a:pt x="558" y="6"/>
                  </a:lnTo>
                  <a:lnTo>
                    <a:pt x="564" y="0"/>
                  </a:lnTo>
                  <a:lnTo>
                    <a:pt x="582" y="0"/>
                  </a:lnTo>
                  <a:lnTo>
                    <a:pt x="588" y="0"/>
                  </a:lnTo>
                  <a:lnTo>
                    <a:pt x="594" y="6"/>
                  </a:lnTo>
                  <a:lnTo>
                    <a:pt x="600" y="12"/>
                  </a:lnTo>
                  <a:lnTo>
                    <a:pt x="600" y="18"/>
                  </a:lnTo>
                  <a:lnTo>
                    <a:pt x="606" y="18"/>
                  </a:lnTo>
                  <a:lnTo>
                    <a:pt x="612" y="18"/>
                  </a:lnTo>
                  <a:lnTo>
                    <a:pt x="618" y="18"/>
                  </a:lnTo>
                  <a:lnTo>
                    <a:pt x="624" y="24"/>
                  </a:lnTo>
                  <a:lnTo>
                    <a:pt x="630" y="30"/>
                  </a:lnTo>
                  <a:lnTo>
                    <a:pt x="636" y="30"/>
                  </a:lnTo>
                  <a:lnTo>
                    <a:pt x="636" y="36"/>
                  </a:lnTo>
                  <a:lnTo>
                    <a:pt x="642" y="36"/>
                  </a:lnTo>
                  <a:lnTo>
                    <a:pt x="642" y="42"/>
                  </a:lnTo>
                  <a:lnTo>
                    <a:pt x="648" y="54"/>
                  </a:lnTo>
                  <a:lnTo>
                    <a:pt x="660" y="72"/>
                  </a:lnTo>
                  <a:lnTo>
                    <a:pt x="666" y="78"/>
                  </a:lnTo>
                  <a:lnTo>
                    <a:pt x="672" y="90"/>
                  </a:lnTo>
                  <a:lnTo>
                    <a:pt x="678" y="102"/>
                  </a:lnTo>
                  <a:lnTo>
                    <a:pt x="678" y="114"/>
                  </a:lnTo>
                  <a:lnTo>
                    <a:pt x="684" y="132"/>
                  </a:lnTo>
                  <a:lnTo>
                    <a:pt x="684" y="144"/>
                  </a:lnTo>
                  <a:lnTo>
                    <a:pt x="690" y="162"/>
                  </a:lnTo>
                  <a:lnTo>
                    <a:pt x="696" y="168"/>
                  </a:lnTo>
                  <a:lnTo>
                    <a:pt x="696" y="180"/>
                  </a:lnTo>
                  <a:lnTo>
                    <a:pt x="702" y="186"/>
                  </a:lnTo>
                  <a:lnTo>
                    <a:pt x="708" y="186"/>
                  </a:lnTo>
                  <a:lnTo>
                    <a:pt x="714" y="198"/>
                  </a:lnTo>
                  <a:lnTo>
                    <a:pt x="720" y="198"/>
                  </a:lnTo>
                  <a:lnTo>
                    <a:pt x="732" y="204"/>
                  </a:lnTo>
                  <a:lnTo>
                    <a:pt x="738" y="210"/>
                  </a:lnTo>
                  <a:lnTo>
                    <a:pt x="738" y="216"/>
                  </a:lnTo>
                  <a:lnTo>
                    <a:pt x="744" y="222"/>
                  </a:lnTo>
                  <a:lnTo>
                    <a:pt x="750" y="228"/>
                  </a:lnTo>
                  <a:lnTo>
                    <a:pt x="756" y="228"/>
                  </a:lnTo>
                  <a:lnTo>
                    <a:pt x="768" y="240"/>
                  </a:lnTo>
                  <a:lnTo>
                    <a:pt x="774" y="252"/>
                  </a:lnTo>
                  <a:lnTo>
                    <a:pt x="780" y="258"/>
                  </a:lnTo>
                  <a:lnTo>
                    <a:pt x="786" y="258"/>
                  </a:lnTo>
                  <a:lnTo>
                    <a:pt x="798" y="264"/>
                  </a:lnTo>
                  <a:lnTo>
                    <a:pt x="798" y="270"/>
                  </a:lnTo>
                  <a:lnTo>
                    <a:pt x="798" y="276"/>
                  </a:lnTo>
                  <a:lnTo>
                    <a:pt x="810" y="288"/>
                  </a:lnTo>
                  <a:lnTo>
                    <a:pt x="816" y="288"/>
                  </a:lnTo>
                  <a:lnTo>
                    <a:pt x="816" y="300"/>
                  </a:lnTo>
                  <a:lnTo>
                    <a:pt x="816" y="306"/>
                  </a:lnTo>
                  <a:lnTo>
                    <a:pt x="822" y="318"/>
                  </a:lnTo>
                  <a:lnTo>
                    <a:pt x="828" y="324"/>
                  </a:lnTo>
                  <a:lnTo>
                    <a:pt x="834" y="330"/>
                  </a:lnTo>
                  <a:lnTo>
                    <a:pt x="846" y="336"/>
                  </a:lnTo>
                  <a:lnTo>
                    <a:pt x="846" y="342"/>
                  </a:lnTo>
                  <a:lnTo>
                    <a:pt x="852" y="348"/>
                  </a:lnTo>
                  <a:lnTo>
                    <a:pt x="852" y="354"/>
                  </a:lnTo>
                  <a:lnTo>
                    <a:pt x="858" y="354"/>
                  </a:lnTo>
                  <a:lnTo>
                    <a:pt x="858" y="348"/>
                  </a:lnTo>
                  <a:lnTo>
                    <a:pt x="864" y="342"/>
                  </a:lnTo>
                  <a:lnTo>
                    <a:pt x="864" y="336"/>
                  </a:lnTo>
                  <a:lnTo>
                    <a:pt x="864" y="318"/>
                  </a:lnTo>
                  <a:lnTo>
                    <a:pt x="870" y="318"/>
                  </a:lnTo>
                  <a:lnTo>
                    <a:pt x="876" y="312"/>
                  </a:lnTo>
                  <a:lnTo>
                    <a:pt x="876" y="306"/>
                  </a:lnTo>
                  <a:lnTo>
                    <a:pt x="870" y="300"/>
                  </a:lnTo>
                  <a:lnTo>
                    <a:pt x="870" y="294"/>
                  </a:lnTo>
                  <a:lnTo>
                    <a:pt x="876" y="294"/>
                  </a:lnTo>
                  <a:lnTo>
                    <a:pt x="882" y="300"/>
                  </a:lnTo>
                  <a:lnTo>
                    <a:pt x="888" y="300"/>
                  </a:lnTo>
                  <a:lnTo>
                    <a:pt x="888" y="306"/>
                  </a:lnTo>
                  <a:lnTo>
                    <a:pt x="894" y="300"/>
                  </a:lnTo>
                  <a:lnTo>
                    <a:pt x="900" y="294"/>
                  </a:lnTo>
                  <a:lnTo>
                    <a:pt x="894" y="288"/>
                  </a:lnTo>
                  <a:lnTo>
                    <a:pt x="888" y="282"/>
                  </a:lnTo>
                  <a:lnTo>
                    <a:pt x="888" y="276"/>
                  </a:lnTo>
                  <a:lnTo>
                    <a:pt x="894" y="276"/>
                  </a:lnTo>
                  <a:lnTo>
                    <a:pt x="900" y="276"/>
                  </a:lnTo>
                  <a:lnTo>
                    <a:pt x="900" y="270"/>
                  </a:lnTo>
                  <a:lnTo>
                    <a:pt x="906" y="264"/>
                  </a:lnTo>
                  <a:lnTo>
                    <a:pt x="906" y="258"/>
                  </a:lnTo>
                  <a:lnTo>
                    <a:pt x="918" y="264"/>
                  </a:lnTo>
                  <a:lnTo>
                    <a:pt x="918" y="258"/>
                  </a:lnTo>
                  <a:lnTo>
                    <a:pt x="924" y="252"/>
                  </a:lnTo>
                  <a:lnTo>
                    <a:pt x="930" y="252"/>
                  </a:lnTo>
                  <a:lnTo>
                    <a:pt x="930" y="246"/>
                  </a:lnTo>
                  <a:lnTo>
                    <a:pt x="936" y="234"/>
                  </a:lnTo>
                  <a:lnTo>
                    <a:pt x="942" y="228"/>
                  </a:lnTo>
                  <a:lnTo>
                    <a:pt x="942" y="222"/>
                  </a:lnTo>
                  <a:lnTo>
                    <a:pt x="948" y="222"/>
                  </a:lnTo>
                  <a:lnTo>
                    <a:pt x="948" y="216"/>
                  </a:lnTo>
                  <a:lnTo>
                    <a:pt x="942" y="216"/>
                  </a:lnTo>
                  <a:lnTo>
                    <a:pt x="936" y="216"/>
                  </a:lnTo>
                  <a:lnTo>
                    <a:pt x="936" y="210"/>
                  </a:lnTo>
                  <a:lnTo>
                    <a:pt x="942" y="210"/>
                  </a:lnTo>
                  <a:lnTo>
                    <a:pt x="972" y="210"/>
                  </a:lnTo>
                  <a:lnTo>
                    <a:pt x="1032" y="216"/>
                  </a:lnTo>
                  <a:lnTo>
                    <a:pt x="1068" y="216"/>
                  </a:lnTo>
                  <a:lnTo>
                    <a:pt x="1056" y="234"/>
                  </a:lnTo>
                  <a:lnTo>
                    <a:pt x="1050" y="240"/>
                  </a:lnTo>
                  <a:lnTo>
                    <a:pt x="1044" y="246"/>
                  </a:lnTo>
                  <a:lnTo>
                    <a:pt x="1038" y="246"/>
                  </a:lnTo>
                  <a:lnTo>
                    <a:pt x="1026" y="282"/>
                  </a:lnTo>
                  <a:lnTo>
                    <a:pt x="1032" y="306"/>
                  </a:lnTo>
                  <a:lnTo>
                    <a:pt x="1044" y="324"/>
                  </a:lnTo>
                  <a:lnTo>
                    <a:pt x="1044" y="342"/>
                  </a:lnTo>
                  <a:lnTo>
                    <a:pt x="1062" y="366"/>
                  </a:lnTo>
                  <a:lnTo>
                    <a:pt x="1056" y="396"/>
                  </a:lnTo>
                  <a:lnTo>
                    <a:pt x="1038" y="462"/>
                  </a:lnTo>
                  <a:lnTo>
                    <a:pt x="1038" y="498"/>
                  </a:lnTo>
                  <a:lnTo>
                    <a:pt x="1038" y="522"/>
                  </a:lnTo>
                  <a:lnTo>
                    <a:pt x="1038" y="534"/>
                  </a:lnTo>
                  <a:lnTo>
                    <a:pt x="1056" y="522"/>
                  </a:lnTo>
                  <a:lnTo>
                    <a:pt x="1098" y="504"/>
                  </a:lnTo>
                  <a:lnTo>
                    <a:pt x="1104" y="498"/>
                  </a:lnTo>
                  <a:lnTo>
                    <a:pt x="1128" y="492"/>
                  </a:lnTo>
                  <a:lnTo>
                    <a:pt x="1152" y="480"/>
                  </a:lnTo>
                  <a:lnTo>
                    <a:pt x="1170" y="474"/>
                  </a:lnTo>
                  <a:lnTo>
                    <a:pt x="1188" y="468"/>
                  </a:lnTo>
                  <a:lnTo>
                    <a:pt x="1200" y="462"/>
                  </a:lnTo>
                  <a:lnTo>
                    <a:pt x="1224" y="450"/>
                  </a:lnTo>
                  <a:lnTo>
                    <a:pt x="1248" y="450"/>
                  </a:lnTo>
                  <a:lnTo>
                    <a:pt x="1266" y="450"/>
                  </a:lnTo>
                  <a:lnTo>
                    <a:pt x="1296" y="456"/>
                  </a:lnTo>
                  <a:lnTo>
                    <a:pt x="1308" y="456"/>
                  </a:lnTo>
                  <a:lnTo>
                    <a:pt x="1326" y="456"/>
                  </a:lnTo>
                  <a:lnTo>
                    <a:pt x="1338" y="456"/>
                  </a:lnTo>
                  <a:lnTo>
                    <a:pt x="1350" y="462"/>
                  </a:lnTo>
                  <a:lnTo>
                    <a:pt x="1356" y="462"/>
                  </a:lnTo>
                  <a:lnTo>
                    <a:pt x="1374" y="456"/>
                  </a:lnTo>
                  <a:lnTo>
                    <a:pt x="1386" y="456"/>
                  </a:lnTo>
                  <a:lnTo>
                    <a:pt x="1392" y="456"/>
                  </a:lnTo>
                  <a:lnTo>
                    <a:pt x="1398" y="456"/>
                  </a:lnTo>
                  <a:lnTo>
                    <a:pt x="1422" y="456"/>
                  </a:lnTo>
                  <a:lnTo>
                    <a:pt x="1440" y="456"/>
                  </a:lnTo>
                  <a:lnTo>
                    <a:pt x="1446" y="456"/>
                  </a:lnTo>
                  <a:lnTo>
                    <a:pt x="1476" y="456"/>
                  </a:lnTo>
                  <a:lnTo>
                    <a:pt x="1470" y="468"/>
                  </a:lnTo>
                  <a:lnTo>
                    <a:pt x="1470" y="474"/>
                  </a:lnTo>
                  <a:lnTo>
                    <a:pt x="1470" y="486"/>
                  </a:lnTo>
                  <a:lnTo>
                    <a:pt x="1464" y="492"/>
                  </a:lnTo>
                  <a:lnTo>
                    <a:pt x="1464" y="498"/>
                  </a:lnTo>
                  <a:lnTo>
                    <a:pt x="1458" y="498"/>
                  </a:lnTo>
                  <a:lnTo>
                    <a:pt x="1458" y="510"/>
                  </a:lnTo>
                  <a:lnTo>
                    <a:pt x="1452" y="522"/>
                  </a:lnTo>
                  <a:lnTo>
                    <a:pt x="1458" y="528"/>
                  </a:lnTo>
                  <a:lnTo>
                    <a:pt x="1464" y="546"/>
                  </a:lnTo>
                  <a:lnTo>
                    <a:pt x="1470" y="552"/>
                  </a:lnTo>
                  <a:lnTo>
                    <a:pt x="1476" y="564"/>
                  </a:lnTo>
                  <a:lnTo>
                    <a:pt x="1488" y="588"/>
                  </a:lnTo>
                  <a:lnTo>
                    <a:pt x="1506" y="606"/>
                  </a:lnTo>
                  <a:lnTo>
                    <a:pt x="1506" y="612"/>
                  </a:lnTo>
                  <a:lnTo>
                    <a:pt x="1518" y="618"/>
                  </a:lnTo>
                  <a:lnTo>
                    <a:pt x="1512" y="630"/>
                  </a:lnTo>
                  <a:lnTo>
                    <a:pt x="1518" y="642"/>
                  </a:lnTo>
                  <a:lnTo>
                    <a:pt x="1518" y="648"/>
                  </a:lnTo>
                  <a:lnTo>
                    <a:pt x="1530" y="666"/>
                  </a:lnTo>
                  <a:lnTo>
                    <a:pt x="1518" y="672"/>
                  </a:lnTo>
                  <a:lnTo>
                    <a:pt x="1524" y="696"/>
                  </a:lnTo>
                  <a:lnTo>
                    <a:pt x="1518" y="732"/>
                  </a:lnTo>
                  <a:lnTo>
                    <a:pt x="1524" y="762"/>
                  </a:lnTo>
                  <a:lnTo>
                    <a:pt x="1524" y="780"/>
                  </a:lnTo>
                  <a:lnTo>
                    <a:pt x="1524" y="810"/>
                  </a:lnTo>
                  <a:lnTo>
                    <a:pt x="1530" y="834"/>
                  </a:lnTo>
                  <a:lnTo>
                    <a:pt x="1536" y="846"/>
                  </a:lnTo>
                  <a:lnTo>
                    <a:pt x="1542" y="846"/>
                  </a:lnTo>
                  <a:lnTo>
                    <a:pt x="1584" y="840"/>
                  </a:lnTo>
                  <a:lnTo>
                    <a:pt x="1590" y="846"/>
                  </a:lnTo>
                  <a:lnTo>
                    <a:pt x="1596" y="858"/>
                  </a:lnTo>
                  <a:lnTo>
                    <a:pt x="1602" y="864"/>
                  </a:lnTo>
                  <a:lnTo>
                    <a:pt x="1596" y="870"/>
                  </a:lnTo>
                  <a:lnTo>
                    <a:pt x="1590" y="864"/>
                  </a:lnTo>
                  <a:lnTo>
                    <a:pt x="1578" y="882"/>
                  </a:lnTo>
                  <a:lnTo>
                    <a:pt x="1572" y="906"/>
                  </a:lnTo>
                  <a:lnTo>
                    <a:pt x="1560" y="924"/>
                  </a:lnTo>
                  <a:lnTo>
                    <a:pt x="1560" y="936"/>
                  </a:lnTo>
                  <a:lnTo>
                    <a:pt x="1548" y="960"/>
                  </a:lnTo>
                  <a:lnTo>
                    <a:pt x="1542" y="978"/>
                  </a:lnTo>
                  <a:lnTo>
                    <a:pt x="1536" y="990"/>
                  </a:lnTo>
                  <a:lnTo>
                    <a:pt x="1530" y="990"/>
                  </a:lnTo>
                  <a:lnTo>
                    <a:pt x="1506" y="996"/>
                  </a:lnTo>
                  <a:lnTo>
                    <a:pt x="1494" y="1002"/>
                  </a:lnTo>
                  <a:lnTo>
                    <a:pt x="1482" y="1002"/>
                  </a:lnTo>
                  <a:lnTo>
                    <a:pt x="1464" y="1008"/>
                  </a:lnTo>
                  <a:lnTo>
                    <a:pt x="1446" y="1026"/>
                  </a:lnTo>
                  <a:lnTo>
                    <a:pt x="1440" y="1026"/>
                  </a:lnTo>
                  <a:lnTo>
                    <a:pt x="1434" y="1038"/>
                  </a:lnTo>
                  <a:lnTo>
                    <a:pt x="1428" y="1044"/>
                  </a:lnTo>
                  <a:lnTo>
                    <a:pt x="1428" y="1062"/>
                  </a:lnTo>
                  <a:lnTo>
                    <a:pt x="1428" y="1086"/>
                  </a:lnTo>
                  <a:lnTo>
                    <a:pt x="1416" y="1092"/>
                  </a:lnTo>
                  <a:lnTo>
                    <a:pt x="1410" y="1080"/>
                  </a:lnTo>
                  <a:lnTo>
                    <a:pt x="1392" y="1080"/>
                  </a:lnTo>
                  <a:close/>
                </a:path>
              </a:pathLst>
            </a:custGeom>
            <a:solidFill>
              <a:srgbClr val="FFC000"/>
            </a:solidFill>
            <a:ln w="9525">
              <a:solidFill>
                <a:schemeClr val="bg1"/>
              </a:solidFill>
              <a:round/>
              <a:headEnd/>
              <a:tailEnd/>
            </a:ln>
          </p:spPr>
          <p:txBody>
            <a:bodyPr/>
            <a:lstStyle/>
            <a:p>
              <a:endParaRPr lang="en-GB"/>
            </a:p>
          </p:txBody>
        </p:sp>
        <p:sp>
          <p:nvSpPr>
            <p:cNvPr id="19502" name="Freeform 27"/>
            <p:cNvSpPr>
              <a:spLocks/>
            </p:cNvSpPr>
            <p:nvPr/>
          </p:nvSpPr>
          <p:spPr bwMode="gray">
            <a:xfrm>
              <a:off x="1435651" y="4281315"/>
              <a:ext cx="959304" cy="845967"/>
            </a:xfrm>
            <a:custGeom>
              <a:avLst/>
              <a:gdLst>
                <a:gd name="T0" fmla="*/ 74456 w 1224"/>
                <a:gd name="T1" fmla="*/ 71706 h 1050"/>
                <a:gd name="T2" fmla="*/ 70537 w 1224"/>
                <a:gd name="T3" fmla="*/ 67677 h 1050"/>
                <a:gd name="T4" fmla="*/ 65835 w 1224"/>
                <a:gd name="T5" fmla="*/ 66872 h 1050"/>
                <a:gd name="T6" fmla="*/ 64267 w 1224"/>
                <a:gd name="T7" fmla="*/ 64455 h 1050"/>
                <a:gd name="T8" fmla="*/ 66618 w 1224"/>
                <a:gd name="T9" fmla="*/ 62038 h 1050"/>
                <a:gd name="T10" fmla="*/ 63483 w 1224"/>
                <a:gd name="T11" fmla="*/ 61232 h 1050"/>
                <a:gd name="T12" fmla="*/ 60348 w 1224"/>
                <a:gd name="T13" fmla="*/ 62038 h 1050"/>
                <a:gd name="T14" fmla="*/ 61132 w 1224"/>
                <a:gd name="T15" fmla="*/ 58815 h 1050"/>
                <a:gd name="T16" fmla="*/ 46241 w 1224"/>
                <a:gd name="T17" fmla="*/ 57203 h 1050"/>
                <a:gd name="T18" fmla="*/ 32134 w 1224"/>
                <a:gd name="T19" fmla="*/ 58815 h 1050"/>
                <a:gd name="T20" fmla="*/ 25864 w 1224"/>
                <a:gd name="T21" fmla="*/ 57203 h 1050"/>
                <a:gd name="T22" fmla="*/ 23512 w 1224"/>
                <a:gd name="T23" fmla="*/ 60426 h 1050"/>
                <a:gd name="T24" fmla="*/ 21161 w 1224"/>
                <a:gd name="T25" fmla="*/ 64455 h 1050"/>
                <a:gd name="T26" fmla="*/ 9405 w 1224"/>
                <a:gd name="T27" fmla="*/ 65260 h 1050"/>
                <a:gd name="T28" fmla="*/ 7054 w 1224"/>
                <a:gd name="T29" fmla="*/ 67677 h 1050"/>
                <a:gd name="T30" fmla="*/ 4702 w 1224"/>
                <a:gd name="T31" fmla="*/ 66872 h 1050"/>
                <a:gd name="T32" fmla="*/ 784 w 1224"/>
                <a:gd name="T33" fmla="*/ 66872 h 1050"/>
                <a:gd name="T34" fmla="*/ 2351 w 1224"/>
                <a:gd name="T35" fmla="*/ 62038 h 1050"/>
                <a:gd name="T36" fmla="*/ 3919 w 1224"/>
                <a:gd name="T37" fmla="*/ 56398 h 1050"/>
                <a:gd name="T38" fmla="*/ 1567 w 1224"/>
                <a:gd name="T39" fmla="*/ 52369 h 1050"/>
                <a:gd name="T40" fmla="*/ 2351 w 1224"/>
                <a:gd name="T41" fmla="*/ 46730 h 1050"/>
                <a:gd name="T42" fmla="*/ 3135 w 1224"/>
                <a:gd name="T43" fmla="*/ 41090 h 1050"/>
                <a:gd name="T44" fmla="*/ 2351 w 1224"/>
                <a:gd name="T45" fmla="*/ 37867 h 1050"/>
                <a:gd name="T46" fmla="*/ 3135 w 1224"/>
                <a:gd name="T47" fmla="*/ 31422 h 1050"/>
                <a:gd name="T48" fmla="*/ 4702 w 1224"/>
                <a:gd name="T49" fmla="*/ 23365 h 1050"/>
                <a:gd name="T50" fmla="*/ 2351 w 1224"/>
                <a:gd name="T51" fmla="*/ 17725 h 1050"/>
                <a:gd name="T52" fmla="*/ 1567 w 1224"/>
                <a:gd name="T53" fmla="*/ 11280 h 1050"/>
                <a:gd name="T54" fmla="*/ 0 w 1224"/>
                <a:gd name="T55" fmla="*/ 4834 h 1050"/>
                <a:gd name="T56" fmla="*/ 7054 w 1224"/>
                <a:gd name="T57" fmla="*/ 806 h 1050"/>
                <a:gd name="T58" fmla="*/ 8621 w 1224"/>
                <a:gd name="T59" fmla="*/ 6445 h 1050"/>
                <a:gd name="T60" fmla="*/ 11756 w 1224"/>
                <a:gd name="T61" fmla="*/ 7251 h 1050"/>
                <a:gd name="T62" fmla="*/ 14107 w 1224"/>
                <a:gd name="T63" fmla="*/ 6445 h 1050"/>
                <a:gd name="T64" fmla="*/ 14107 w 1224"/>
                <a:gd name="T65" fmla="*/ 10474 h 1050"/>
                <a:gd name="T66" fmla="*/ 13324 w 1224"/>
                <a:gd name="T67" fmla="*/ 12085 h 1050"/>
                <a:gd name="T68" fmla="*/ 13324 w 1224"/>
                <a:gd name="T69" fmla="*/ 13697 h 1050"/>
                <a:gd name="T70" fmla="*/ 13324 w 1224"/>
                <a:gd name="T71" fmla="*/ 16919 h 1050"/>
                <a:gd name="T72" fmla="*/ 16459 w 1224"/>
                <a:gd name="T73" fmla="*/ 20142 h 1050"/>
                <a:gd name="T74" fmla="*/ 18810 w 1224"/>
                <a:gd name="T75" fmla="*/ 24976 h 1050"/>
                <a:gd name="T76" fmla="*/ 27431 w 1224"/>
                <a:gd name="T77" fmla="*/ 27393 h 1050"/>
                <a:gd name="T78" fmla="*/ 31350 w 1224"/>
                <a:gd name="T79" fmla="*/ 21753 h 1050"/>
                <a:gd name="T80" fmla="*/ 36052 w 1224"/>
                <a:gd name="T81" fmla="*/ 24170 h 1050"/>
                <a:gd name="T82" fmla="*/ 39971 w 1224"/>
                <a:gd name="T83" fmla="*/ 21753 h 1050"/>
                <a:gd name="T84" fmla="*/ 46241 w 1224"/>
                <a:gd name="T85" fmla="*/ 31422 h 1050"/>
                <a:gd name="T86" fmla="*/ 46241 w 1224"/>
                <a:gd name="T87" fmla="*/ 36256 h 1050"/>
                <a:gd name="T88" fmla="*/ 56430 w 1224"/>
                <a:gd name="T89" fmla="*/ 36256 h 1050"/>
                <a:gd name="T90" fmla="*/ 61916 w 1224"/>
                <a:gd name="T91" fmla="*/ 35450 h 1050"/>
                <a:gd name="T92" fmla="*/ 68186 w 1224"/>
                <a:gd name="T93" fmla="*/ 38673 h 1050"/>
                <a:gd name="T94" fmla="*/ 72888 w 1224"/>
                <a:gd name="T95" fmla="*/ 40284 h 1050"/>
                <a:gd name="T96" fmla="*/ 76807 w 1224"/>
                <a:gd name="T97" fmla="*/ 41090 h 1050"/>
                <a:gd name="T98" fmla="*/ 83077 w 1224"/>
                <a:gd name="T99" fmla="*/ 40284 h 1050"/>
                <a:gd name="T100" fmla="*/ 81509 w 1224"/>
                <a:gd name="T101" fmla="*/ 43507 h 1050"/>
                <a:gd name="T102" fmla="*/ 81509 w 1224"/>
                <a:gd name="T103" fmla="*/ 48341 h 1050"/>
                <a:gd name="T104" fmla="*/ 79158 w 1224"/>
                <a:gd name="T105" fmla="*/ 50758 h 1050"/>
                <a:gd name="T106" fmla="*/ 76807 w 1224"/>
                <a:gd name="T107" fmla="*/ 53175 h 1050"/>
                <a:gd name="T108" fmla="*/ 74456 w 1224"/>
                <a:gd name="T109" fmla="*/ 54786 h 1050"/>
                <a:gd name="T110" fmla="*/ 72888 w 1224"/>
                <a:gd name="T111" fmla="*/ 58009 h 1050"/>
                <a:gd name="T112" fmla="*/ 76807 w 1224"/>
                <a:gd name="T113" fmla="*/ 60426 h 1050"/>
                <a:gd name="T114" fmla="*/ 79942 w 1224"/>
                <a:gd name="T115" fmla="*/ 62038 h 1050"/>
                <a:gd name="T116" fmla="*/ 83861 w 1224"/>
                <a:gd name="T117" fmla="*/ 61232 h 1050"/>
                <a:gd name="T118" fmla="*/ 81509 w 1224"/>
                <a:gd name="T119" fmla="*/ 67677 h 1050"/>
                <a:gd name="T120" fmla="*/ 80726 w 1224"/>
                <a:gd name="T121" fmla="*/ 70094 h 1050"/>
                <a:gd name="T122" fmla="*/ 81509 w 1224"/>
                <a:gd name="T123" fmla="*/ 73317 h 105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24"/>
                <a:gd name="T187" fmla="*/ 0 h 1050"/>
                <a:gd name="T188" fmla="*/ 1224 w 1224"/>
                <a:gd name="T189" fmla="*/ 1050 h 105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24" h="1050">
                  <a:moveTo>
                    <a:pt x="1128" y="1032"/>
                  </a:moveTo>
                  <a:lnTo>
                    <a:pt x="1122" y="1026"/>
                  </a:lnTo>
                  <a:lnTo>
                    <a:pt x="1116" y="1026"/>
                  </a:lnTo>
                  <a:lnTo>
                    <a:pt x="1110" y="1026"/>
                  </a:lnTo>
                  <a:lnTo>
                    <a:pt x="1104" y="1026"/>
                  </a:lnTo>
                  <a:lnTo>
                    <a:pt x="1104" y="1020"/>
                  </a:lnTo>
                  <a:lnTo>
                    <a:pt x="1098" y="1020"/>
                  </a:lnTo>
                  <a:lnTo>
                    <a:pt x="1092" y="1020"/>
                  </a:lnTo>
                  <a:lnTo>
                    <a:pt x="1086" y="1020"/>
                  </a:lnTo>
                  <a:lnTo>
                    <a:pt x="1080" y="1014"/>
                  </a:lnTo>
                  <a:lnTo>
                    <a:pt x="1068" y="1014"/>
                  </a:lnTo>
                  <a:lnTo>
                    <a:pt x="1062" y="1014"/>
                  </a:lnTo>
                  <a:lnTo>
                    <a:pt x="1062" y="1008"/>
                  </a:lnTo>
                  <a:lnTo>
                    <a:pt x="1062" y="990"/>
                  </a:lnTo>
                  <a:lnTo>
                    <a:pt x="1062" y="984"/>
                  </a:lnTo>
                  <a:lnTo>
                    <a:pt x="1062" y="972"/>
                  </a:lnTo>
                  <a:lnTo>
                    <a:pt x="1044" y="966"/>
                  </a:lnTo>
                  <a:lnTo>
                    <a:pt x="1026" y="966"/>
                  </a:lnTo>
                  <a:lnTo>
                    <a:pt x="1014" y="966"/>
                  </a:lnTo>
                  <a:lnTo>
                    <a:pt x="996" y="966"/>
                  </a:lnTo>
                  <a:lnTo>
                    <a:pt x="996" y="972"/>
                  </a:lnTo>
                  <a:lnTo>
                    <a:pt x="990" y="972"/>
                  </a:lnTo>
                  <a:lnTo>
                    <a:pt x="984" y="966"/>
                  </a:lnTo>
                  <a:lnTo>
                    <a:pt x="978" y="966"/>
                  </a:lnTo>
                  <a:lnTo>
                    <a:pt x="978" y="960"/>
                  </a:lnTo>
                  <a:lnTo>
                    <a:pt x="972" y="954"/>
                  </a:lnTo>
                  <a:lnTo>
                    <a:pt x="966" y="954"/>
                  </a:lnTo>
                  <a:lnTo>
                    <a:pt x="960" y="954"/>
                  </a:lnTo>
                  <a:lnTo>
                    <a:pt x="954" y="954"/>
                  </a:lnTo>
                  <a:lnTo>
                    <a:pt x="954" y="948"/>
                  </a:lnTo>
                  <a:lnTo>
                    <a:pt x="942" y="942"/>
                  </a:lnTo>
                  <a:lnTo>
                    <a:pt x="936" y="942"/>
                  </a:lnTo>
                  <a:lnTo>
                    <a:pt x="936" y="936"/>
                  </a:lnTo>
                  <a:lnTo>
                    <a:pt x="936" y="930"/>
                  </a:lnTo>
                  <a:lnTo>
                    <a:pt x="942" y="930"/>
                  </a:lnTo>
                  <a:lnTo>
                    <a:pt x="942" y="924"/>
                  </a:lnTo>
                  <a:lnTo>
                    <a:pt x="942" y="918"/>
                  </a:lnTo>
                  <a:lnTo>
                    <a:pt x="948" y="918"/>
                  </a:lnTo>
                  <a:lnTo>
                    <a:pt x="960" y="918"/>
                  </a:lnTo>
                  <a:lnTo>
                    <a:pt x="966" y="912"/>
                  </a:lnTo>
                  <a:lnTo>
                    <a:pt x="978" y="906"/>
                  </a:lnTo>
                  <a:lnTo>
                    <a:pt x="978" y="900"/>
                  </a:lnTo>
                  <a:lnTo>
                    <a:pt x="978" y="894"/>
                  </a:lnTo>
                  <a:lnTo>
                    <a:pt x="978" y="888"/>
                  </a:lnTo>
                  <a:lnTo>
                    <a:pt x="972" y="888"/>
                  </a:lnTo>
                  <a:lnTo>
                    <a:pt x="978" y="888"/>
                  </a:lnTo>
                  <a:lnTo>
                    <a:pt x="978" y="882"/>
                  </a:lnTo>
                  <a:lnTo>
                    <a:pt x="972" y="876"/>
                  </a:lnTo>
                  <a:lnTo>
                    <a:pt x="966" y="870"/>
                  </a:lnTo>
                  <a:lnTo>
                    <a:pt x="954" y="876"/>
                  </a:lnTo>
                  <a:lnTo>
                    <a:pt x="948" y="876"/>
                  </a:lnTo>
                  <a:lnTo>
                    <a:pt x="942" y="870"/>
                  </a:lnTo>
                  <a:lnTo>
                    <a:pt x="936" y="876"/>
                  </a:lnTo>
                  <a:lnTo>
                    <a:pt x="930" y="876"/>
                  </a:lnTo>
                  <a:lnTo>
                    <a:pt x="924" y="882"/>
                  </a:lnTo>
                  <a:lnTo>
                    <a:pt x="912" y="888"/>
                  </a:lnTo>
                  <a:lnTo>
                    <a:pt x="906" y="894"/>
                  </a:lnTo>
                  <a:lnTo>
                    <a:pt x="900" y="900"/>
                  </a:lnTo>
                  <a:lnTo>
                    <a:pt x="894" y="888"/>
                  </a:lnTo>
                  <a:lnTo>
                    <a:pt x="888" y="894"/>
                  </a:lnTo>
                  <a:lnTo>
                    <a:pt x="882" y="888"/>
                  </a:lnTo>
                  <a:lnTo>
                    <a:pt x="876" y="894"/>
                  </a:lnTo>
                  <a:lnTo>
                    <a:pt x="876" y="888"/>
                  </a:lnTo>
                  <a:lnTo>
                    <a:pt x="876" y="882"/>
                  </a:lnTo>
                  <a:lnTo>
                    <a:pt x="876" y="876"/>
                  </a:lnTo>
                  <a:lnTo>
                    <a:pt x="870" y="858"/>
                  </a:lnTo>
                  <a:lnTo>
                    <a:pt x="864" y="858"/>
                  </a:lnTo>
                  <a:lnTo>
                    <a:pt x="870" y="852"/>
                  </a:lnTo>
                  <a:lnTo>
                    <a:pt x="870" y="846"/>
                  </a:lnTo>
                  <a:lnTo>
                    <a:pt x="876" y="846"/>
                  </a:lnTo>
                  <a:lnTo>
                    <a:pt x="882" y="846"/>
                  </a:lnTo>
                  <a:lnTo>
                    <a:pt x="888" y="840"/>
                  </a:lnTo>
                  <a:lnTo>
                    <a:pt x="894" y="834"/>
                  </a:lnTo>
                  <a:lnTo>
                    <a:pt x="894" y="828"/>
                  </a:lnTo>
                  <a:lnTo>
                    <a:pt x="894" y="816"/>
                  </a:lnTo>
                  <a:lnTo>
                    <a:pt x="858" y="810"/>
                  </a:lnTo>
                  <a:lnTo>
                    <a:pt x="858" y="816"/>
                  </a:lnTo>
                  <a:lnTo>
                    <a:pt x="852" y="816"/>
                  </a:lnTo>
                  <a:lnTo>
                    <a:pt x="780" y="816"/>
                  </a:lnTo>
                  <a:lnTo>
                    <a:pt x="750" y="816"/>
                  </a:lnTo>
                  <a:lnTo>
                    <a:pt x="684" y="816"/>
                  </a:lnTo>
                  <a:lnTo>
                    <a:pt x="636" y="816"/>
                  </a:lnTo>
                  <a:lnTo>
                    <a:pt x="612" y="816"/>
                  </a:lnTo>
                  <a:lnTo>
                    <a:pt x="492" y="816"/>
                  </a:lnTo>
                  <a:lnTo>
                    <a:pt x="486" y="816"/>
                  </a:lnTo>
                  <a:lnTo>
                    <a:pt x="480" y="816"/>
                  </a:lnTo>
                  <a:lnTo>
                    <a:pt x="480" y="822"/>
                  </a:lnTo>
                  <a:lnTo>
                    <a:pt x="480" y="834"/>
                  </a:lnTo>
                  <a:lnTo>
                    <a:pt x="474" y="840"/>
                  </a:lnTo>
                  <a:lnTo>
                    <a:pt x="468" y="840"/>
                  </a:lnTo>
                  <a:lnTo>
                    <a:pt x="432" y="840"/>
                  </a:lnTo>
                  <a:lnTo>
                    <a:pt x="426" y="834"/>
                  </a:lnTo>
                  <a:lnTo>
                    <a:pt x="420" y="834"/>
                  </a:lnTo>
                  <a:lnTo>
                    <a:pt x="420" y="828"/>
                  </a:lnTo>
                  <a:lnTo>
                    <a:pt x="414" y="822"/>
                  </a:lnTo>
                  <a:lnTo>
                    <a:pt x="408" y="822"/>
                  </a:lnTo>
                  <a:lnTo>
                    <a:pt x="396" y="822"/>
                  </a:lnTo>
                  <a:lnTo>
                    <a:pt x="396" y="816"/>
                  </a:lnTo>
                  <a:lnTo>
                    <a:pt x="384" y="816"/>
                  </a:lnTo>
                  <a:lnTo>
                    <a:pt x="372" y="810"/>
                  </a:lnTo>
                  <a:lnTo>
                    <a:pt x="372" y="804"/>
                  </a:lnTo>
                  <a:lnTo>
                    <a:pt x="366" y="804"/>
                  </a:lnTo>
                  <a:lnTo>
                    <a:pt x="360" y="804"/>
                  </a:lnTo>
                  <a:lnTo>
                    <a:pt x="348" y="828"/>
                  </a:lnTo>
                  <a:lnTo>
                    <a:pt x="348" y="834"/>
                  </a:lnTo>
                  <a:lnTo>
                    <a:pt x="348" y="852"/>
                  </a:lnTo>
                  <a:lnTo>
                    <a:pt x="348" y="858"/>
                  </a:lnTo>
                  <a:lnTo>
                    <a:pt x="342" y="864"/>
                  </a:lnTo>
                  <a:lnTo>
                    <a:pt x="342" y="870"/>
                  </a:lnTo>
                  <a:lnTo>
                    <a:pt x="330" y="876"/>
                  </a:lnTo>
                  <a:lnTo>
                    <a:pt x="324" y="888"/>
                  </a:lnTo>
                  <a:lnTo>
                    <a:pt x="324" y="894"/>
                  </a:lnTo>
                  <a:lnTo>
                    <a:pt x="330" y="900"/>
                  </a:lnTo>
                  <a:lnTo>
                    <a:pt x="330" y="906"/>
                  </a:lnTo>
                  <a:lnTo>
                    <a:pt x="324" y="906"/>
                  </a:lnTo>
                  <a:lnTo>
                    <a:pt x="318" y="912"/>
                  </a:lnTo>
                  <a:lnTo>
                    <a:pt x="312" y="918"/>
                  </a:lnTo>
                  <a:lnTo>
                    <a:pt x="306" y="924"/>
                  </a:lnTo>
                  <a:lnTo>
                    <a:pt x="288" y="924"/>
                  </a:lnTo>
                  <a:lnTo>
                    <a:pt x="282" y="924"/>
                  </a:lnTo>
                  <a:lnTo>
                    <a:pt x="276" y="930"/>
                  </a:lnTo>
                  <a:lnTo>
                    <a:pt x="270" y="930"/>
                  </a:lnTo>
                  <a:lnTo>
                    <a:pt x="264" y="930"/>
                  </a:lnTo>
                  <a:lnTo>
                    <a:pt x="198" y="930"/>
                  </a:lnTo>
                  <a:lnTo>
                    <a:pt x="132" y="930"/>
                  </a:lnTo>
                  <a:lnTo>
                    <a:pt x="132" y="936"/>
                  </a:lnTo>
                  <a:lnTo>
                    <a:pt x="132" y="942"/>
                  </a:lnTo>
                  <a:lnTo>
                    <a:pt x="132" y="948"/>
                  </a:lnTo>
                  <a:lnTo>
                    <a:pt x="126" y="948"/>
                  </a:lnTo>
                  <a:lnTo>
                    <a:pt x="120" y="948"/>
                  </a:lnTo>
                  <a:lnTo>
                    <a:pt x="120" y="954"/>
                  </a:lnTo>
                  <a:lnTo>
                    <a:pt x="114" y="954"/>
                  </a:lnTo>
                  <a:lnTo>
                    <a:pt x="114" y="960"/>
                  </a:lnTo>
                  <a:lnTo>
                    <a:pt x="108" y="960"/>
                  </a:lnTo>
                  <a:lnTo>
                    <a:pt x="108" y="966"/>
                  </a:lnTo>
                  <a:lnTo>
                    <a:pt x="102" y="966"/>
                  </a:lnTo>
                  <a:lnTo>
                    <a:pt x="102" y="972"/>
                  </a:lnTo>
                  <a:lnTo>
                    <a:pt x="96" y="972"/>
                  </a:lnTo>
                  <a:lnTo>
                    <a:pt x="96" y="966"/>
                  </a:lnTo>
                  <a:lnTo>
                    <a:pt x="90" y="966"/>
                  </a:lnTo>
                  <a:lnTo>
                    <a:pt x="84" y="966"/>
                  </a:lnTo>
                  <a:lnTo>
                    <a:pt x="78" y="960"/>
                  </a:lnTo>
                  <a:lnTo>
                    <a:pt x="72" y="960"/>
                  </a:lnTo>
                  <a:lnTo>
                    <a:pt x="66" y="960"/>
                  </a:lnTo>
                  <a:lnTo>
                    <a:pt x="60" y="960"/>
                  </a:lnTo>
                  <a:lnTo>
                    <a:pt x="54" y="966"/>
                  </a:lnTo>
                  <a:lnTo>
                    <a:pt x="48" y="966"/>
                  </a:lnTo>
                  <a:lnTo>
                    <a:pt x="42" y="966"/>
                  </a:lnTo>
                  <a:lnTo>
                    <a:pt x="36" y="966"/>
                  </a:lnTo>
                  <a:lnTo>
                    <a:pt x="30" y="966"/>
                  </a:lnTo>
                  <a:lnTo>
                    <a:pt x="24" y="960"/>
                  </a:lnTo>
                  <a:lnTo>
                    <a:pt x="18" y="960"/>
                  </a:lnTo>
                  <a:lnTo>
                    <a:pt x="12" y="960"/>
                  </a:lnTo>
                  <a:lnTo>
                    <a:pt x="12" y="948"/>
                  </a:lnTo>
                  <a:lnTo>
                    <a:pt x="18" y="942"/>
                  </a:lnTo>
                  <a:lnTo>
                    <a:pt x="18" y="936"/>
                  </a:lnTo>
                  <a:lnTo>
                    <a:pt x="18" y="930"/>
                  </a:lnTo>
                  <a:lnTo>
                    <a:pt x="18" y="924"/>
                  </a:lnTo>
                  <a:lnTo>
                    <a:pt x="18" y="912"/>
                  </a:lnTo>
                  <a:lnTo>
                    <a:pt x="24" y="906"/>
                  </a:lnTo>
                  <a:lnTo>
                    <a:pt x="30" y="900"/>
                  </a:lnTo>
                  <a:lnTo>
                    <a:pt x="36" y="894"/>
                  </a:lnTo>
                  <a:lnTo>
                    <a:pt x="36" y="882"/>
                  </a:lnTo>
                  <a:lnTo>
                    <a:pt x="30" y="876"/>
                  </a:lnTo>
                  <a:lnTo>
                    <a:pt x="30" y="870"/>
                  </a:lnTo>
                  <a:lnTo>
                    <a:pt x="24" y="858"/>
                  </a:lnTo>
                  <a:lnTo>
                    <a:pt x="24" y="846"/>
                  </a:lnTo>
                  <a:lnTo>
                    <a:pt x="36" y="822"/>
                  </a:lnTo>
                  <a:lnTo>
                    <a:pt x="42" y="816"/>
                  </a:lnTo>
                  <a:lnTo>
                    <a:pt x="48" y="816"/>
                  </a:lnTo>
                  <a:lnTo>
                    <a:pt x="60" y="804"/>
                  </a:lnTo>
                  <a:lnTo>
                    <a:pt x="60" y="786"/>
                  </a:lnTo>
                  <a:lnTo>
                    <a:pt x="60" y="774"/>
                  </a:lnTo>
                  <a:lnTo>
                    <a:pt x="60" y="768"/>
                  </a:lnTo>
                  <a:lnTo>
                    <a:pt x="54" y="762"/>
                  </a:lnTo>
                  <a:lnTo>
                    <a:pt x="42" y="762"/>
                  </a:lnTo>
                  <a:lnTo>
                    <a:pt x="36" y="762"/>
                  </a:lnTo>
                  <a:lnTo>
                    <a:pt x="30" y="762"/>
                  </a:lnTo>
                  <a:lnTo>
                    <a:pt x="30" y="756"/>
                  </a:lnTo>
                  <a:lnTo>
                    <a:pt x="24" y="750"/>
                  </a:lnTo>
                  <a:lnTo>
                    <a:pt x="24" y="744"/>
                  </a:lnTo>
                  <a:lnTo>
                    <a:pt x="24" y="738"/>
                  </a:lnTo>
                  <a:lnTo>
                    <a:pt x="24" y="732"/>
                  </a:lnTo>
                  <a:lnTo>
                    <a:pt x="36" y="714"/>
                  </a:lnTo>
                  <a:lnTo>
                    <a:pt x="30" y="708"/>
                  </a:lnTo>
                  <a:lnTo>
                    <a:pt x="30" y="702"/>
                  </a:lnTo>
                  <a:lnTo>
                    <a:pt x="36" y="684"/>
                  </a:lnTo>
                  <a:lnTo>
                    <a:pt x="36" y="678"/>
                  </a:lnTo>
                  <a:lnTo>
                    <a:pt x="36" y="666"/>
                  </a:lnTo>
                  <a:lnTo>
                    <a:pt x="36" y="654"/>
                  </a:lnTo>
                  <a:lnTo>
                    <a:pt x="18" y="654"/>
                  </a:lnTo>
                  <a:lnTo>
                    <a:pt x="18" y="648"/>
                  </a:lnTo>
                  <a:lnTo>
                    <a:pt x="18" y="618"/>
                  </a:lnTo>
                  <a:lnTo>
                    <a:pt x="18" y="612"/>
                  </a:lnTo>
                  <a:lnTo>
                    <a:pt x="24" y="612"/>
                  </a:lnTo>
                  <a:lnTo>
                    <a:pt x="30" y="600"/>
                  </a:lnTo>
                  <a:lnTo>
                    <a:pt x="36" y="594"/>
                  </a:lnTo>
                  <a:lnTo>
                    <a:pt x="48" y="594"/>
                  </a:lnTo>
                  <a:lnTo>
                    <a:pt x="54" y="588"/>
                  </a:lnTo>
                  <a:lnTo>
                    <a:pt x="60" y="588"/>
                  </a:lnTo>
                  <a:lnTo>
                    <a:pt x="60" y="582"/>
                  </a:lnTo>
                  <a:lnTo>
                    <a:pt x="54" y="576"/>
                  </a:lnTo>
                  <a:lnTo>
                    <a:pt x="48" y="564"/>
                  </a:lnTo>
                  <a:lnTo>
                    <a:pt x="42" y="564"/>
                  </a:lnTo>
                  <a:lnTo>
                    <a:pt x="36" y="558"/>
                  </a:lnTo>
                  <a:lnTo>
                    <a:pt x="30" y="552"/>
                  </a:lnTo>
                  <a:lnTo>
                    <a:pt x="30" y="546"/>
                  </a:lnTo>
                  <a:lnTo>
                    <a:pt x="36" y="540"/>
                  </a:lnTo>
                  <a:lnTo>
                    <a:pt x="48" y="534"/>
                  </a:lnTo>
                  <a:lnTo>
                    <a:pt x="54" y="528"/>
                  </a:lnTo>
                  <a:lnTo>
                    <a:pt x="60" y="504"/>
                  </a:lnTo>
                  <a:lnTo>
                    <a:pt x="60" y="492"/>
                  </a:lnTo>
                  <a:lnTo>
                    <a:pt x="54" y="492"/>
                  </a:lnTo>
                  <a:lnTo>
                    <a:pt x="54" y="480"/>
                  </a:lnTo>
                  <a:lnTo>
                    <a:pt x="48" y="456"/>
                  </a:lnTo>
                  <a:lnTo>
                    <a:pt x="42" y="450"/>
                  </a:lnTo>
                  <a:lnTo>
                    <a:pt x="36" y="444"/>
                  </a:lnTo>
                  <a:lnTo>
                    <a:pt x="36" y="420"/>
                  </a:lnTo>
                  <a:lnTo>
                    <a:pt x="36" y="408"/>
                  </a:lnTo>
                  <a:lnTo>
                    <a:pt x="36" y="372"/>
                  </a:lnTo>
                  <a:lnTo>
                    <a:pt x="36" y="342"/>
                  </a:lnTo>
                  <a:lnTo>
                    <a:pt x="42" y="342"/>
                  </a:lnTo>
                  <a:lnTo>
                    <a:pt x="60" y="342"/>
                  </a:lnTo>
                  <a:lnTo>
                    <a:pt x="66" y="336"/>
                  </a:lnTo>
                  <a:lnTo>
                    <a:pt x="66" y="330"/>
                  </a:lnTo>
                  <a:lnTo>
                    <a:pt x="66" y="300"/>
                  </a:lnTo>
                  <a:lnTo>
                    <a:pt x="60" y="294"/>
                  </a:lnTo>
                  <a:lnTo>
                    <a:pt x="60" y="288"/>
                  </a:lnTo>
                  <a:lnTo>
                    <a:pt x="54" y="282"/>
                  </a:lnTo>
                  <a:lnTo>
                    <a:pt x="42" y="276"/>
                  </a:lnTo>
                  <a:lnTo>
                    <a:pt x="36" y="276"/>
                  </a:lnTo>
                  <a:lnTo>
                    <a:pt x="36" y="270"/>
                  </a:lnTo>
                  <a:lnTo>
                    <a:pt x="30" y="264"/>
                  </a:lnTo>
                  <a:lnTo>
                    <a:pt x="36" y="258"/>
                  </a:lnTo>
                  <a:lnTo>
                    <a:pt x="30" y="252"/>
                  </a:lnTo>
                  <a:lnTo>
                    <a:pt x="24" y="246"/>
                  </a:lnTo>
                  <a:lnTo>
                    <a:pt x="24" y="240"/>
                  </a:lnTo>
                  <a:lnTo>
                    <a:pt x="24" y="228"/>
                  </a:lnTo>
                  <a:lnTo>
                    <a:pt x="24" y="216"/>
                  </a:lnTo>
                  <a:lnTo>
                    <a:pt x="24" y="210"/>
                  </a:lnTo>
                  <a:lnTo>
                    <a:pt x="18" y="192"/>
                  </a:lnTo>
                  <a:lnTo>
                    <a:pt x="18" y="186"/>
                  </a:lnTo>
                  <a:lnTo>
                    <a:pt x="24" y="162"/>
                  </a:lnTo>
                  <a:lnTo>
                    <a:pt x="24" y="144"/>
                  </a:lnTo>
                  <a:lnTo>
                    <a:pt x="24" y="132"/>
                  </a:lnTo>
                  <a:lnTo>
                    <a:pt x="24" y="114"/>
                  </a:lnTo>
                  <a:lnTo>
                    <a:pt x="24" y="102"/>
                  </a:lnTo>
                  <a:lnTo>
                    <a:pt x="18" y="90"/>
                  </a:lnTo>
                  <a:lnTo>
                    <a:pt x="12" y="90"/>
                  </a:lnTo>
                  <a:lnTo>
                    <a:pt x="12" y="84"/>
                  </a:lnTo>
                  <a:lnTo>
                    <a:pt x="6" y="78"/>
                  </a:lnTo>
                  <a:lnTo>
                    <a:pt x="6" y="72"/>
                  </a:lnTo>
                  <a:lnTo>
                    <a:pt x="0" y="60"/>
                  </a:lnTo>
                  <a:lnTo>
                    <a:pt x="18" y="48"/>
                  </a:lnTo>
                  <a:lnTo>
                    <a:pt x="42" y="36"/>
                  </a:lnTo>
                  <a:lnTo>
                    <a:pt x="54" y="24"/>
                  </a:lnTo>
                  <a:lnTo>
                    <a:pt x="60" y="0"/>
                  </a:lnTo>
                  <a:lnTo>
                    <a:pt x="78" y="0"/>
                  </a:lnTo>
                  <a:lnTo>
                    <a:pt x="78" y="6"/>
                  </a:lnTo>
                  <a:lnTo>
                    <a:pt x="90" y="6"/>
                  </a:lnTo>
                  <a:lnTo>
                    <a:pt x="102" y="12"/>
                  </a:lnTo>
                  <a:lnTo>
                    <a:pt x="138" y="12"/>
                  </a:lnTo>
                  <a:lnTo>
                    <a:pt x="138" y="18"/>
                  </a:lnTo>
                  <a:lnTo>
                    <a:pt x="126" y="18"/>
                  </a:lnTo>
                  <a:lnTo>
                    <a:pt x="126" y="24"/>
                  </a:lnTo>
                  <a:lnTo>
                    <a:pt x="120" y="30"/>
                  </a:lnTo>
                  <a:lnTo>
                    <a:pt x="114" y="60"/>
                  </a:lnTo>
                  <a:lnTo>
                    <a:pt x="120" y="60"/>
                  </a:lnTo>
                  <a:lnTo>
                    <a:pt x="114" y="84"/>
                  </a:lnTo>
                  <a:lnTo>
                    <a:pt x="120" y="90"/>
                  </a:lnTo>
                  <a:lnTo>
                    <a:pt x="126" y="96"/>
                  </a:lnTo>
                  <a:lnTo>
                    <a:pt x="132" y="96"/>
                  </a:lnTo>
                  <a:lnTo>
                    <a:pt x="138" y="96"/>
                  </a:lnTo>
                  <a:lnTo>
                    <a:pt x="138" y="102"/>
                  </a:lnTo>
                  <a:lnTo>
                    <a:pt x="138" y="114"/>
                  </a:lnTo>
                  <a:lnTo>
                    <a:pt x="138" y="132"/>
                  </a:lnTo>
                  <a:lnTo>
                    <a:pt x="162" y="126"/>
                  </a:lnTo>
                  <a:lnTo>
                    <a:pt x="162" y="114"/>
                  </a:lnTo>
                  <a:lnTo>
                    <a:pt x="174" y="108"/>
                  </a:lnTo>
                  <a:lnTo>
                    <a:pt x="174" y="102"/>
                  </a:lnTo>
                  <a:lnTo>
                    <a:pt x="180" y="96"/>
                  </a:lnTo>
                  <a:lnTo>
                    <a:pt x="180" y="60"/>
                  </a:lnTo>
                  <a:lnTo>
                    <a:pt x="192" y="60"/>
                  </a:lnTo>
                  <a:lnTo>
                    <a:pt x="192" y="72"/>
                  </a:lnTo>
                  <a:lnTo>
                    <a:pt x="198" y="72"/>
                  </a:lnTo>
                  <a:lnTo>
                    <a:pt x="198" y="78"/>
                  </a:lnTo>
                  <a:lnTo>
                    <a:pt x="204" y="78"/>
                  </a:lnTo>
                  <a:lnTo>
                    <a:pt x="204" y="96"/>
                  </a:lnTo>
                  <a:lnTo>
                    <a:pt x="204" y="102"/>
                  </a:lnTo>
                  <a:lnTo>
                    <a:pt x="204" y="108"/>
                  </a:lnTo>
                  <a:lnTo>
                    <a:pt x="204" y="114"/>
                  </a:lnTo>
                  <a:lnTo>
                    <a:pt x="204" y="120"/>
                  </a:lnTo>
                  <a:lnTo>
                    <a:pt x="204" y="126"/>
                  </a:lnTo>
                  <a:lnTo>
                    <a:pt x="210" y="126"/>
                  </a:lnTo>
                  <a:lnTo>
                    <a:pt x="210" y="132"/>
                  </a:lnTo>
                  <a:lnTo>
                    <a:pt x="204" y="138"/>
                  </a:lnTo>
                  <a:lnTo>
                    <a:pt x="204" y="150"/>
                  </a:lnTo>
                  <a:lnTo>
                    <a:pt x="198" y="150"/>
                  </a:lnTo>
                  <a:lnTo>
                    <a:pt x="192" y="150"/>
                  </a:lnTo>
                  <a:lnTo>
                    <a:pt x="192" y="156"/>
                  </a:lnTo>
                  <a:lnTo>
                    <a:pt x="198" y="156"/>
                  </a:lnTo>
                  <a:lnTo>
                    <a:pt x="204" y="156"/>
                  </a:lnTo>
                  <a:lnTo>
                    <a:pt x="204" y="162"/>
                  </a:lnTo>
                  <a:lnTo>
                    <a:pt x="198" y="162"/>
                  </a:lnTo>
                  <a:lnTo>
                    <a:pt x="192" y="162"/>
                  </a:lnTo>
                  <a:lnTo>
                    <a:pt x="192" y="168"/>
                  </a:lnTo>
                  <a:lnTo>
                    <a:pt x="198" y="168"/>
                  </a:lnTo>
                  <a:lnTo>
                    <a:pt x="198" y="174"/>
                  </a:lnTo>
                  <a:lnTo>
                    <a:pt x="186" y="174"/>
                  </a:lnTo>
                  <a:lnTo>
                    <a:pt x="192" y="174"/>
                  </a:lnTo>
                  <a:lnTo>
                    <a:pt x="198" y="174"/>
                  </a:lnTo>
                  <a:lnTo>
                    <a:pt x="198" y="180"/>
                  </a:lnTo>
                  <a:lnTo>
                    <a:pt x="192" y="186"/>
                  </a:lnTo>
                  <a:lnTo>
                    <a:pt x="192" y="192"/>
                  </a:lnTo>
                  <a:lnTo>
                    <a:pt x="192" y="198"/>
                  </a:lnTo>
                  <a:lnTo>
                    <a:pt x="186" y="204"/>
                  </a:lnTo>
                  <a:lnTo>
                    <a:pt x="186" y="210"/>
                  </a:lnTo>
                  <a:lnTo>
                    <a:pt x="180" y="210"/>
                  </a:lnTo>
                  <a:lnTo>
                    <a:pt x="180" y="216"/>
                  </a:lnTo>
                  <a:lnTo>
                    <a:pt x="180" y="222"/>
                  </a:lnTo>
                  <a:lnTo>
                    <a:pt x="186" y="228"/>
                  </a:lnTo>
                  <a:lnTo>
                    <a:pt x="186" y="234"/>
                  </a:lnTo>
                  <a:lnTo>
                    <a:pt x="192" y="240"/>
                  </a:lnTo>
                  <a:lnTo>
                    <a:pt x="198" y="246"/>
                  </a:lnTo>
                  <a:lnTo>
                    <a:pt x="198" y="252"/>
                  </a:lnTo>
                  <a:lnTo>
                    <a:pt x="198" y="258"/>
                  </a:lnTo>
                  <a:lnTo>
                    <a:pt x="204" y="258"/>
                  </a:lnTo>
                  <a:lnTo>
                    <a:pt x="210" y="258"/>
                  </a:lnTo>
                  <a:lnTo>
                    <a:pt x="216" y="258"/>
                  </a:lnTo>
                  <a:lnTo>
                    <a:pt x="228" y="270"/>
                  </a:lnTo>
                  <a:lnTo>
                    <a:pt x="228" y="276"/>
                  </a:lnTo>
                  <a:lnTo>
                    <a:pt x="234" y="276"/>
                  </a:lnTo>
                  <a:lnTo>
                    <a:pt x="240" y="288"/>
                  </a:lnTo>
                  <a:lnTo>
                    <a:pt x="246" y="294"/>
                  </a:lnTo>
                  <a:lnTo>
                    <a:pt x="246" y="306"/>
                  </a:lnTo>
                  <a:lnTo>
                    <a:pt x="252" y="318"/>
                  </a:lnTo>
                  <a:lnTo>
                    <a:pt x="258" y="324"/>
                  </a:lnTo>
                  <a:lnTo>
                    <a:pt x="258" y="330"/>
                  </a:lnTo>
                  <a:lnTo>
                    <a:pt x="258" y="342"/>
                  </a:lnTo>
                  <a:lnTo>
                    <a:pt x="270" y="342"/>
                  </a:lnTo>
                  <a:lnTo>
                    <a:pt x="276" y="348"/>
                  </a:lnTo>
                  <a:lnTo>
                    <a:pt x="276" y="354"/>
                  </a:lnTo>
                  <a:lnTo>
                    <a:pt x="288" y="366"/>
                  </a:lnTo>
                  <a:lnTo>
                    <a:pt x="336" y="360"/>
                  </a:lnTo>
                  <a:lnTo>
                    <a:pt x="354" y="360"/>
                  </a:lnTo>
                  <a:lnTo>
                    <a:pt x="366" y="372"/>
                  </a:lnTo>
                  <a:lnTo>
                    <a:pt x="378" y="378"/>
                  </a:lnTo>
                  <a:lnTo>
                    <a:pt x="378" y="390"/>
                  </a:lnTo>
                  <a:lnTo>
                    <a:pt x="384" y="390"/>
                  </a:lnTo>
                  <a:lnTo>
                    <a:pt x="390" y="396"/>
                  </a:lnTo>
                  <a:lnTo>
                    <a:pt x="408" y="390"/>
                  </a:lnTo>
                  <a:lnTo>
                    <a:pt x="426" y="366"/>
                  </a:lnTo>
                  <a:lnTo>
                    <a:pt x="432" y="360"/>
                  </a:lnTo>
                  <a:lnTo>
                    <a:pt x="438" y="348"/>
                  </a:lnTo>
                  <a:lnTo>
                    <a:pt x="438" y="342"/>
                  </a:lnTo>
                  <a:lnTo>
                    <a:pt x="438" y="330"/>
                  </a:lnTo>
                  <a:lnTo>
                    <a:pt x="444" y="324"/>
                  </a:lnTo>
                  <a:lnTo>
                    <a:pt x="450" y="318"/>
                  </a:lnTo>
                  <a:lnTo>
                    <a:pt x="456" y="312"/>
                  </a:lnTo>
                  <a:lnTo>
                    <a:pt x="456" y="306"/>
                  </a:lnTo>
                  <a:lnTo>
                    <a:pt x="456" y="300"/>
                  </a:lnTo>
                  <a:lnTo>
                    <a:pt x="474" y="288"/>
                  </a:lnTo>
                  <a:lnTo>
                    <a:pt x="480" y="288"/>
                  </a:lnTo>
                  <a:lnTo>
                    <a:pt x="486" y="288"/>
                  </a:lnTo>
                  <a:lnTo>
                    <a:pt x="492" y="294"/>
                  </a:lnTo>
                  <a:lnTo>
                    <a:pt x="492" y="318"/>
                  </a:lnTo>
                  <a:lnTo>
                    <a:pt x="504" y="324"/>
                  </a:lnTo>
                  <a:lnTo>
                    <a:pt x="492" y="348"/>
                  </a:lnTo>
                  <a:lnTo>
                    <a:pt x="522" y="348"/>
                  </a:lnTo>
                  <a:lnTo>
                    <a:pt x="528" y="342"/>
                  </a:lnTo>
                  <a:lnTo>
                    <a:pt x="528" y="336"/>
                  </a:lnTo>
                  <a:lnTo>
                    <a:pt x="528" y="330"/>
                  </a:lnTo>
                  <a:lnTo>
                    <a:pt x="534" y="330"/>
                  </a:lnTo>
                  <a:lnTo>
                    <a:pt x="540" y="330"/>
                  </a:lnTo>
                  <a:lnTo>
                    <a:pt x="546" y="330"/>
                  </a:lnTo>
                  <a:lnTo>
                    <a:pt x="552" y="324"/>
                  </a:lnTo>
                  <a:lnTo>
                    <a:pt x="558" y="318"/>
                  </a:lnTo>
                  <a:lnTo>
                    <a:pt x="576" y="318"/>
                  </a:lnTo>
                  <a:lnTo>
                    <a:pt x="636" y="318"/>
                  </a:lnTo>
                  <a:lnTo>
                    <a:pt x="642" y="312"/>
                  </a:lnTo>
                  <a:lnTo>
                    <a:pt x="648" y="348"/>
                  </a:lnTo>
                  <a:lnTo>
                    <a:pt x="654" y="354"/>
                  </a:lnTo>
                  <a:lnTo>
                    <a:pt x="648" y="402"/>
                  </a:lnTo>
                  <a:lnTo>
                    <a:pt x="678" y="402"/>
                  </a:lnTo>
                  <a:lnTo>
                    <a:pt x="678" y="420"/>
                  </a:lnTo>
                  <a:lnTo>
                    <a:pt x="684" y="438"/>
                  </a:lnTo>
                  <a:lnTo>
                    <a:pt x="684" y="450"/>
                  </a:lnTo>
                  <a:lnTo>
                    <a:pt x="684" y="456"/>
                  </a:lnTo>
                  <a:lnTo>
                    <a:pt x="690" y="468"/>
                  </a:lnTo>
                  <a:lnTo>
                    <a:pt x="690" y="474"/>
                  </a:lnTo>
                  <a:lnTo>
                    <a:pt x="690" y="480"/>
                  </a:lnTo>
                  <a:lnTo>
                    <a:pt x="696" y="486"/>
                  </a:lnTo>
                  <a:lnTo>
                    <a:pt x="696" y="498"/>
                  </a:lnTo>
                  <a:lnTo>
                    <a:pt x="702" y="504"/>
                  </a:lnTo>
                  <a:lnTo>
                    <a:pt x="690" y="516"/>
                  </a:lnTo>
                  <a:lnTo>
                    <a:pt x="678" y="522"/>
                  </a:lnTo>
                  <a:lnTo>
                    <a:pt x="654" y="528"/>
                  </a:lnTo>
                  <a:lnTo>
                    <a:pt x="660" y="546"/>
                  </a:lnTo>
                  <a:lnTo>
                    <a:pt x="672" y="546"/>
                  </a:lnTo>
                  <a:lnTo>
                    <a:pt x="678" y="540"/>
                  </a:lnTo>
                  <a:lnTo>
                    <a:pt x="714" y="540"/>
                  </a:lnTo>
                  <a:lnTo>
                    <a:pt x="798" y="540"/>
                  </a:lnTo>
                  <a:lnTo>
                    <a:pt x="804" y="540"/>
                  </a:lnTo>
                  <a:lnTo>
                    <a:pt x="816" y="528"/>
                  </a:lnTo>
                  <a:lnTo>
                    <a:pt x="822" y="522"/>
                  </a:lnTo>
                  <a:lnTo>
                    <a:pt x="834" y="516"/>
                  </a:lnTo>
                  <a:lnTo>
                    <a:pt x="846" y="516"/>
                  </a:lnTo>
                  <a:lnTo>
                    <a:pt x="852" y="510"/>
                  </a:lnTo>
                  <a:lnTo>
                    <a:pt x="858" y="510"/>
                  </a:lnTo>
                  <a:lnTo>
                    <a:pt x="882" y="516"/>
                  </a:lnTo>
                  <a:lnTo>
                    <a:pt x="888" y="516"/>
                  </a:lnTo>
                  <a:lnTo>
                    <a:pt x="888" y="510"/>
                  </a:lnTo>
                  <a:lnTo>
                    <a:pt x="894" y="510"/>
                  </a:lnTo>
                  <a:lnTo>
                    <a:pt x="906" y="504"/>
                  </a:lnTo>
                  <a:lnTo>
                    <a:pt x="918" y="498"/>
                  </a:lnTo>
                  <a:lnTo>
                    <a:pt x="930" y="492"/>
                  </a:lnTo>
                  <a:lnTo>
                    <a:pt x="936" y="492"/>
                  </a:lnTo>
                  <a:lnTo>
                    <a:pt x="948" y="492"/>
                  </a:lnTo>
                  <a:lnTo>
                    <a:pt x="954" y="528"/>
                  </a:lnTo>
                  <a:lnTo>
                    <a:pt x="954" y="564"/>
                  </a:lnTo>
                  <a:lnTo>
                    <a:pt x="972" y="564"/>
                  </a:lnTo>
                  <a:lnTo>
                    <a:pt x="978" y="558"/>
                  </a:lnTo>
                  <a:lnTo>
                    <a:pt x="990" y="552"/>
                  </a:lnTo>
                  <a:lnTo>
                    <a:pt x="1002" y="540"/>
                  </a:lnTo>
                  <a:lnTo>
                    <a:pt x="1026" y="534"/>
                  </a:lnTo>
                  <a:lnTo>
                    <a:pt x="1032" y="540"/>
                  </a:lnTo>
                  <a:lnTo>
                    <a:pt x="1044" y="546"/>
                  </a:lnTo>
                  <a:lnTo>
                    <a:pt x="1062" y="552"/>
                  </a:lnTo>
                  <a:lnTo>
                    <a:pt x="1068" y="552"/>
                  </a:lnTo>
                  <a:lnTo>
                    <a:pt x="1068" y="570"/>
                  </a:lnTo>
                  <a:lnTo>
                    <a:pt x="1068" y="576"/>
                  </a:lnTo>
                  <a:lnTo>
                    <a:pt x="1068" y="582"/>
                  </a:lnTo>
                  <a:lnTo>
                    <a:pt x="1068" y="588"/>
                  </a:lnTo>
                  <a:lnTo>
                    <a:pt x="1068" y="594"/>
                  </a:lnTo>
                  <a:lnTo>
                    <a:pt x="1080" y="600"/>
                  </a:lnTo>
                  <a:lnTo>
                    <a:pt x="1086" y="606"/>
                  </a:lnTo>
                  <a:lnTo>
                    <a:pt x="1092" y="594"/>
                  </a:lnTo>
                  <a:lnTo>
                    <a:pt x="1104" y="588"/>
                  </a:lnTo>
                  <a:lnTo>
                    <a:pt x="1116" y="588"/>
                  </a:lnTo>
                  <a:lnTo>
                    <a:pt x="1122" y="588"/>
                  </a:lnTo>
                  <a:lnTo>
                    <a:pt x="1122" y="594"/>
                  </a:lnTo>
                  <a:lnTo>
                    <a:pt x="1128" y="594"/>
                  </a:lnTo>
                  <a:lnTo>
                    <a:pt x="1134" y="594"/>
                  </a:lnTo>
                  <a:lnTo>
                    <a:pt x="1140" y="594"/>
                  </a:lnTo>
                  <a:lnTo>
                    <a:pt x="1146" y="588"/>
                  </a:lnTo>
                  <a:lnTo>
                    <a:pt x="1158" y="582"/>
                  </a:lnTo>
                  <a:lnTo>
                    <a:pt x="1164" y="576"/>
                  </a:lnTo>
                  <a:lnTo>
                    <a:pt x="1176" y="576"/>
                  </a:lnTo>
                  <a:lnTo>
                    <a:pt x="1194" y="576"/>
                  </a:lnTo>
                  <a:lnTo>
                    <a:pt x="1218" y="576"/>
                  </a:lnTo>
                  <a:lnTo>
                    <a:pt x="1224" y="582"/>
                  </a:lnTo>
                  <a:lnTo>
                    <a:pt x="1224" y="588"/>
                  </a:lnTo>
                  <a:lnTo>
                    <a:pt x="1224" y="594"/>
                  </a:lnTo>
                  <a:lnTo>
                    <a:pt x="1212" y="600"/>
                  </a:lnTo>
                  <a:lnTo>
                    <a:pt x="1206" y="606"/>
                  </a:lnTo>
                  <a:lnTo>
                    <a:pt x="1200" y="606"/>
                  </a:lnTo>
                  <a:lnTo>
                    <a:pt x="1200" y="612"/>
                  </a:lnTo>
                  <a:lnTo>
                    <a:pt x="1194" y="612"/>
                  </a:lnTo>
                  <a:lnTo>
                    <a:pt x="1194" y="618"/>
                  </a:lnTo>
                  <a:lnTo>
                    <a:pt x="1194" y="624"/>
                  </a:lnTo>
                  <a:lnTo>
                    <a:pt x="1194" y="630"/>
                  </a:lnTo>
                  <a:lnTo>
                    <a:pt x="1194" y="648"/>
                  </a:lnTo>
                  <a:lnTo>
                    <a:pt x="1194" y="660"/>
                  </a:lnTo>
                  <a:lnTo>
                    <a:pt x="1194" y="666"/>
                  </a:lnTo>
                  <a:lnTo>
                    <a:pt x="1194" y="672"/>
                  </a:lnTo>
                  <a:lnTo>
                    <a:pt x="1194" y="678"/>
                  </a:lnTo>
                  <a:lnTo>
                    <a:pt x="1188" y="684"/>
                  </a:lnTo>
                  <a:lnTo>
                    <a:pt x="1188" y="690"/>
                  </a:lnTo>
                  <a:lnTo>
                    <a:pt x="1188" y="696"/>
                  </a:lnTo>
                  <a:lnTo>
                    <a:pt x="1188" y="702"/>
                  </a:lnTo>
                  <a:lnTo>
                    <a:pt x="1188" y="708"/>
                  </a:lnTo>
                  <a:lnTo>
                    <a:pt x="1188" y="714"/>
                  </a:lnTo>
                  <a:lnTo>
                    <a:pt x="1182" y="720"/>
                  </a:lnTo>
                  <a:lnTo>
                    <a:pt x="1170" y="720"/>
                  </a:lnTo>
                  <a:lnTo>
                    <a:pt x="1158" y="726"/>
                  </a:lnTo>
                  <a:lnTo>
                    <a:pt x="1152" y="726"/>
                  </a:lnTo>
                  <a:lnTo>
                    <a:pt x="1152" y="732"/>
                  </a:lnTo>
                  <a:lnTo>
                    <a:pt x="1146" y="738"/>
                  </a:lnTo>
                  <a:lnTo>
                    <a:pt x="1140" y="738"/>
                  </a:lnTo>
                  <a:lnTo>
                    <a:pt x="1140" y="744"/>
                  </a:lnTo>
                  <a:lnTo>
                    <a:pt x="1134" y="744"/>
                  </a:lnTo>
                  <a:lnTo>
                    <a:pt x="1128" y="744"/>
                  </a:lnTo>
                  <a:lnTo>
                    <a:pt x="1122" y="750"/>
                  </a:lnTo>
                  <a:lnTo>
                    <a:pt x="1128" y="750"/>
                  </a:lnTo>
                  <a:lnTo>
                    <a:pt x="1122" y="756"/>
                  </a:lnTo>
                  <a:lnTo>
                    <a:pt x="1116" y="756"/>
                  </a:lnTo>
                  <a:lnTo>
                    <a:pt x="1110" y="762"/>
                  </a:lnTo>
                  <a:lnTo>
                    <a:pt x="1104" y="762"/>
                  </a:lnTo>
                  <a:lnTo>
                    <a:pt x="1104" y="768"/>
                  </a:lnTo>
                  <a:lnTo>
                    <a:pt x="1098" y="768"/>
                  </a:lnTo>
                  <a:lnTo>
                    <a:pt x="1098" y="774"/>
                  </a:lnTo>
                  <a:lnTo>
                    <a:pt x="1092" y="774"/>
                  </a:lnTo>
                  <a:lnTo>
                    <a:pt x="1092" y="780"/>
                  </a:lnTo>
                  <a:lnTo>
                    <a:pt x="1086" y="780"/>
                  </a:lnTo>
                  <a:lnTo>
                    <a:pt x="1086" y="786"/>
                  </a:lnTo>
                  <a:lnTo>
                    <a:pt x="1080" y="786"/>
                  </a:lnTo>
                  <a:lnTo>
                    <a:pt x="1080" y="792"/>
                  </a:lnTo>
                  <a:lnTo>
                    <a:pt x="1080" y="798"/>
                  </a:lnTo>
                  <a:lnTo>
                    <a:pt x="1080" y="804"/>
                  </a:lnTo>
                  <a:lnTo>
                    <a:pt x="1086" y="810"/>
                  </a:lnTo>
                  <a:lnTo>
                    <a:pt x="1080" y="816"/>
                  </a:lnTo>
                  <a:lnTo>
                    <a:pt x="1080" y="822"/>
                  </a:lnTo>
                  <a:lnTo>
                    <a:pt x="1074" y="822"/>
                  </a:lnTo>
                  <a:lnTo>
                    <a:pt x="1068" y="828"/>
                  </a:lnTo>
                  <a:lnTo>
                    <a:pt x="1074" y="828"/>
                  </a:lnTo>
                  <a:lnTo>
                    <a:pt x="1074" y="834"/>
                  </a:lnTo>
                  <a:lnTo>
                    <a:pt x="1080" y="846"/>
                  </a:lnTo>
                  <a:lnTo>
                    <a:pt x="1086" y="846"/>
                  </a:lnTo>
                  <a:lnTo>
                    <a:pt x="1092" y="852"/>
                  </a:lnTo>
                  <a:lnTo>
                    <a:pt x="1092" y="858"/>
                  </a:lnTo>
                  <a:lnTo>
                    <a:pt x="1098" y="858"/>
                  </a:lnTo>
                  <a:lnTo>
                    <a:pt x="1110" y="864"/>
                  </a:lnTo>
                  <a:lnTo>
                    <a:pt x="1116" y="864"/>
                  </a:lnTo>
                  <a:lnTo>
                    <a:pt x="1122" y="864"/>
                  </a:lnTo>
                  <a:lnTo>
                    <a:pt x="1128" y="864"/>
                  </a:lnTo>
                  <a:lnTo>
                    <a:pt x="1134" y="876"/>
                  </a:lnTo>
                  <a:lnTo>
                    <a:pt x="1140" y="882"/>
                  </a:lnTo>
                  <a:lnTo>
                    <a:pt x="1140" y="888"/>
                  </a:lnTo>
                  <a:lnTo>
                    <a:pt x="1152" y="918"/>
                  </a:lnTo>
                  <a:lnTo>
                    <a:pt x="1158" y="894"/>
                  </a:lnTo>
                  <a:lnTo>
                    <a:pt x="1164" y="888"/>
                  </a:lnTo>
                  <a:lnTo>
                    <a:pt x="1164" y="882"/>
                  </a:lnTo>
                  <a:lnTo>
                    <a:pt x="1176" y="864"/>
                  </a:lnTo>
                  <a:lnTo>
                    <a:pt x="1182" y="858"/>
                  </a:lnTo>
                  <a:lnTo>
                    <a:pt x="1188" y="846"/>
                  </a:lnTo>
                  <a:lnTo>
                    <a:pt x="1200" y="840"/>
                  </a:lnTo>
                  <a:lnTo>
                    <a:pt x="1212" y="840"/>
                  </a:lnTo>
                  <a:lnTo>
                    <a:pt x="1218" y="846"/>
                  </a:lnTo>
                  <a:lnTo>
                    <a:pt x="1224" y="858"/>
                  </a:lnTo>
                  <a:lnTo>
                    <a:pt x="1224" y="864"/>
                  </a:lnTo>
                  <a:lnTo>
                    <a:pt x="1224" y="876"/>
                  </a:lnTo>
                  <a:lnTo>
                    <a:pt x="1212" y="912"/>
                  </a:lnTo>
                  <a:lnTo>
                    <a:pt x="1218" y="918"/>
                  </a:lnTo>
                  <a:lnTo>
                    <a:pt x="1218" y="930"/>
                  </a:lnTo>
                  <a:lnTo>
                    <a:pt x="1200" y="930"/>
                  </a:lnTo>
                  <a:lnTo>
                    <a:pt x="1200" y="942"/>
                  </a:lnTo>
                  <a:lnTo>
                    <a:pt x="1194" y="948"/>
                  </a:lnTo>
                  <a:lnTo>
                    <a:pt x="1194" y="960"/>
                  </a:lnTo>
                  <a:lnTo>
                    <a:pt x="1194" y="966"/>
                  </a:lnTo>
                  <a:lnTo>
                    <a:pt x="1188" y="972"/>
                  </a:lnTo>
                  <a:lnTo>
                    <a:pt x="1182" y="984"/>
                  </a:lnTo>
                  <a:lnTo>
                    <a:pt x="1170" y="984"/>
                  </a:lnTo>
                  <a:lnTo>
                    <a:pt x="1164" y="984"/>
                  </a:lnTo>
                  <a:lnTo>
                    <a:pt x="1158" y="984"/>
                  </a:lnTo>
                  <a:lnTo>
                    <a:pt x="1146" y="984"/>
                  </a:lnTo>
                  <a:lnTo>
                    <a:pt x="1140" y="990"/>
                  </a:lnTo>
                  <a:lnTo>
                    <a:pt x="1140" y="996"/>
                  </a:lnTo>
                  <a:lnTo>
                    <a:pt x="1152" y="996"/>
                  </a:lnTo>
                  <a:lnTo>
                    <a:pt x="1176" y="1002"/>
                  </a:lnTo>
                  <a:lnTo>
                    <a:pt x="1194" y="1008"/>
                  </a:lnTo>
                  <a:lnTo>
                    <a:pt x="1206" y="1008"/>
                  </a:lnTo>
                  <a:lnTo>
                    <a:pt x="1218" y="1014"/>
                  </a:lnTo>
                  <a:lnTo>
                    <a:pt x="1212" y="1038"/>
                  </a:lnTo>
                  <a:lnTo>
                    <a:pt x="1212" y="1044"/>
                  </a:lnTo>
                  <a:lnTo>
                    <a:pt x="1206" y="1044"/>
                  </a:lnTo>
                  <a:lnTo>
                    <a:pt x="1206" y="1050"/>
                  </a:lnTo>
                  <a:lnTo>
                    <a:pt x="1194" y="1050"/>
                  </a:lnTo>
                  <a:lnTo>
                    <a:pt x="1188" y="1044"/>
                  </a:lnTo>
                  <a:lnTo>
                    <a:pt x="1158" y="1020"/>
                  </a:lnTo>
                  <a:lnTo>
                    <a:pt x="1152" y="1020"/>
                  </a:lnTo>
                  <a:lnTo>
                    <a:pt x="1140" y="1020"/>
                  </a:lnTo>
                  <a:lnTo>
                    <a:pt x="1134" y="1020"/>
                  </a:lnTo>
                  <a:lnTo>
                    <a:pt x="1134" y="1026"/>
                  </a:lnTo>
                  <a:lnTo>
                    <a:pt x="1134" y="1032"/>
                  </a:lnTo>
                  <a:lnTo>
                    <a:pt x="1128" y="1032"/>
                  </a:lnTo>
                  <a:close/>
                </a:path>
              </a:pathLst>
            </a:custGeom>
            <a:solidFill>
              <a:srgbClr val="FFC000"/>
            </a:solidFill>
            <a:ln w="9525">
              <a:solidFill>
                <a:schemeClr val="bg1"/>
              </a:solidFill>
              <a:round/>
              <a:headEnd/>
              <a:tailEnd/>
            </a:ln>
          </p:spPr>
          <p:txBody>
            <a:bodyPr/>
            <a:lstStyle/>
            <a:p>
              <a:endParaRPr lang="en-GB"/>
            </a:p>
          </p:txBody>
        </p:sp>
        <p:sp>
          <p:nvSpPr>
            <p:cNvPr id="19503" name="Freeform 28"/>
            <p:cNvSpPr>
              <a:spLocks/>
            </p:cNvSpPr>
            <p:nvPr/>
          </p:nvSpPr>
          <p:spPr bwMode="gray">
            <a:xfrm>
              <a:off x="2117588" y="4197627"/>
              <a:ext cx="503503" cy="571255"/>
            </a:xfrm>
            <a:custGeom>
              <a:avLst/>
              <a:gdLst>
                <a:gd name="T0" fmla="*/ 33724 w 642"/>
                <a:gd name="T1" fmla="*/ 33081 h 708"/>
                <a:gd name="T2" fmla="*/ 30587 w 642"/>
                <a:gd name="T3" fmla="*/ 33081 h 708"/>
                <a:gd name="T4" fmla="*/ 29802 w 642"/>
                <a:gd name="T5" fmla="*/ 37922 h 708"/>
                <a:gd name="T6" fmla="*/ 29802 w 642"/>
                <a:gd name="T7" fmla="*/ 39536 h 708"/>
                <a:gd name="T8" fmla="*/ 29802 w 642"/>
                <a:gd name="T9" fmla="*/ 40343 h 708"/>
                <a:gd name="T10" fmla="*/ 28234 w 642"/>
                <a:gd name="T11" fmla="*/ 41957 h 708"/>
                <a:gd name="T12" fmla="*/ 27450 w 642"/>
                <a:gd name="T13" fmla="*/ 42763 h 708"/>
                <a:gd name="T14" fmla="*/ 25881 w 642"/>
                <a:gd name="T15" fmla="*/ 44377 h 708"/>
                <a:gd name="T16" fmla="*/ 25097 w 642"/>
                <a:gd name="T17" fmla="*/ 45184 h 708"/>
                <a:gd name="T18" fmla="*/ 24312 w 642"/>
                <a:gd name="T19" fmla="*/ 47605 h 708"/>
                <a:gd name="T20" fmla="*/ 20391 w 642"/>
                <a:gd name="T21" fmla="*/ 47605 h 708"/>
                <a:gd name="T22" fmla="*/ 18038 w 642"/>
                <a:gd name="T23" fmla="*/ 49218 h 708"/>
                <a:gd name="T24" fmla="*/ 15685 w 642"/>
                <a:gd name="T25" fmla="*/ 49218 h 708"/>
                <a:gd name="T26" fmla="*/ 13333 w 642"/>
                <a:gd name="T27" fmla="*/ 47605 h 708"/>
                <a:gd name="T28" fmla="*/ 11764 w 642"/>
                <a:gd name="T29" fmla="*/ 45184 h 708"/>
                <a:gd name="T30" fmla="*/ 7058 w 642"/>
                <a:gd name="T31" fmla="*/ 46798 h 708"/>
                <a:gd name="T32" fmla="*/ 4706 w 642"/>
                <a:gd name="T33" fmla="*/ 41957 h 708"/>
                <a:gd name="T34" fmla="*/ 1569 w 642"/>
                <a:gd name="T35" fmla="*/ 42763 h 708"/>
                <a:gd name="T36" fmla="*/ 784 w 642"/>
                <a:gd name="T37" fmla="*/ 41150 h 708"/>
                <a:gd name="T38" fmla="*/ 3137 w 642"/>
                <a:gd name="T39" fmla="*/ 37922 h 708"/>
                <a:gd name="T40" fmla="*/ 3921 w 642"/>
                <a:gd name="T41" fmla="*/ 33081 h 708"/>
                <a:gd name="T42" fmla="*/ 3921 w 642"/>
                <a:gd name="T43" fmla="*/ 30661 h 708"/>
                <a:gd name="T44" fmla="*/ 3921 w 642"/>
                <a:gd name="T45" fmla="*/ 28240 h 708"/>
                <a:gd name="T46" fmla="*/ 4706 w 642"/>
                <a:gd name="T47" fmla="*/ 26626 h 708"/>
                <a:gd name="T48" fmla="*/ 3921 w 642"/>
                <a:gd name="T49" fmla="*/ 23399 h 708"/>
                <a:gd name="T50" fmla="*/ 3137 w 642"/>
                <a:gd name="T51" fmla="*/ 22592 h 708"/>
                <a:gd name="T52" fmla="*/ 784 w 642"/>
                <a:gd name="T53" fmla="*/ 20978 h 708"/>
                <a:gd name="T54" fmla="*/ 784 w 642"/>
                <a:gd name="T55" fmla="*/ 19365 h 708"/>
                <a:gd name="T56" fmla="*/ 784 w 642"/>
                <a:gd name="T57" fmla="*/ 16137 h 708"/>
                <a:gd name="T58" fmla="*/ 784 w 642"/>
                <a:gd name="T59" fmla="*/ 12910 h 708"/>
                <a:gd name="T60" fmla="*/ 1569 w 642"/>
                <a:gd name="T61" fmla="*/ 11296 h 708"/>
                <a:gd name="T62" fmla="*/ 6274 w 642"/>
                <a:gd name="T63" fmla="*/ 11296 h 708"/>
                <a:gd name="T64" fmla="*/ 7058 w 642"/>
                <a:gd name="T65" fmla="*/ 8069 h 708"/>
                <a:gd name="T66" fmla="*/ 11764 w 642"/>
                <a:gd name="T67" fmla="*/ 7262 h 708"/>
                <a:gd name="T68" fmla="*/ 14117 w 642"/>
                <a:gd name="T69" fmla="*/ 11296 h 708"/>
                <a:gd name="T70" fmla="*/ 15685 w 642"/>
                <a:gd name="T71" fmla="*/ 9682 h 708"/>
                <a:gd name="T72" fmla="*/ 15685 w 642"/>
                <a:gd name="T73" fmla="*/ 8875 h 708"/>
                <a:gd name="T74" fmla="*/ 16470 w 642"/>
                <a:gd name="T75" fmla="*/ 7262 h 708"/>
                <a:gd name="T76" fmla="*/ 18823 w 642"/>
                <a:gd name="T77" fmla="*/ 7262 h 708"/>
                <a:gd name="T78" fmla="*/ 21175 w 642"/>
                <a:gd name="T79" fmla="*/ 6455 h 708"/>
                <a:gd name="T80" fmla="*/ 25881 w 642"/>
                <a:gd name="T81" fmla="*/ 1614 h 708"/>
                <a:gd name="T82" fmla="*/ 32939 w 642"/>
                <a:gd name="T83" fmla="*/ 1614 h 708"/>
                <a:gd name="T84" fmla="*/ 38429 w 642"/>
                <a:gd name="T85" fmla="*/ 807 h 708"/>
                <a:gd name="T86" fmla="*/ 41566 w 642"/>
                <a:gd name="T87" fmla="*/ 3227 h 708"/>
                <a:gd name="T88" fmla="*/ 43135 w 642"/>
                <a:gd name="T89" fmla="*/ 3227 h 708"/>
                <a:gd name="T90" fmla="*/ 43135 w 642"/>
                <a:gd name="T91" fmla="*/ 5648 h 708"/>
                <a:gd name="T92" fmla="*/ 40782 w 642"/>
                <a:gd name="T93" fmla="*/ 7262 h 708"/>
                <a:gd name="T94" fmla="*/ 38429 w 642"/>
                <a:gd name="T95" fmla="*/ 9682 h 708"/>
                <a:gd name="T96" fmla="*/ 36861 w 642"/>
                <a:gd name="T97" fmla="*/ 11296 h 708"/>
                <a:gd name="T98" fmla="*/ 36861 w 642"/>
                <a:gd name="T99" fmla="*/ 13717 h 708"/>
                <a:gd name="T100" fmla="*/ 35292 w 642"/>
                <a:gd name="T101" fmla="*/ 20978 h 708"/>
                <a:gd name="T102" fmla="*/ 39214 w 642"/>
                <a:gd name="T103" fmla="*/ 29854 h 70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42"/>
                <a:gd name="T157" fmla="*/ 0 h 708"/>
                <a:gd name="T158" fmla="*/ 642 w 642"/>
                <a:gd name="T159" fmla="*/ 708 h 70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42" h="708">
                  <a:moveTo>
                    <a:pt x="576" y="468"/>
                  </a:moveTo>
                  <a:lnTo>
                    <a:pt x="564" y="468"/>
                  </a:lnTo>
                  <a:lnTo>
                    <a:pt x="516" y="468"/>
                  </a:lnTo>
                  <a:lnTo>
                    <a:pt x="498" y="474"/>
                  </a:lnTo>
                  <a:lnTo>
                    <a:pt x="492" y="468"/>
                  </a:lnTo>
                  <a:lnTo>
                    <a:pt x="486" y="468"/>
                  </a:lnTo>
                  <a:lnTo>
                    <a:pt x="480" y="468"/>
                  </a:lnTo>
                  <a:lnTo>
                    <a:pt x="468" y="474"/>
                  </a:lnTo>
                  <a:lnTo>
                    <a:pt x="456" y="468"/>
                  </a:lnTo>
                  <a:lnTo>
                    <a:pt x="444" y="474"/>
                  </a:lnTo>
                  <a:lnTo>
                    <a:pt x="438" y="492"/>
                  </a:lnTo>
                  <a:lnTo>
                    <a:pt x="438" y="504"/>
                  </a:lnTo>
                  <a:lnTo>
                    <a:pt x="432" y="516"/>
                  </a:lnTo>
                  <a:lnTo>
                    <a:pt x="432" y="528"/>
                  </a:lnTo>
                  <a:lnTo>
                    <a:pt x="432" y="534"/>
                  </a:lnTo>
                  <a:lnTo>
                    <a:pt x="444" y="540"/>
                  </a:lnTo>
                  <a:lnTo>
                    <a:pt x="444" y="546"/>
                  </a:lnTo>
                  <a:lnTo>
                    <a:pt x="438" y="546"/>
                  </a:lnTo>
                  <a:lnTo>
                    <a:pt x="432" y="552"/>
                  </a:lnTo>
                  <a:lnTo>
                    <a:pt x="432" y="558"/>
                  </a:lnTo>
                  <a:lnTo>
                    <a:pt x="438" y="564"/>
                  </a:lnTo>
                  <a:lnTo>
                    <a:pt x="444" y="564"/>
                  </a:lnTo>
                  <a:lnTo>
                    <a:pt x="438" y="564"/>
                  </a:lnTo>
                  <a:lnTo>
                    <a:pt x="438" y="570"/>
                  </a:lnTo>
                  <a:lnTo>
                    <a:pt x="432" y="570"/>
                  </a:lnTo>
                  <a:lnTo>
                    <a:pt x="432" y="576"/>
                  </a:lnTo>
                  <a:lnTo>
                    <a:pt x="426" y="588"/>
                  </a:lnTo>
                  <a:lnTo>
                    <a:pt x="420" y="594"/>
                  </a:lnTo>
                  <a:lnTo>
                    <a:pt x="420" y="600"/>
                  </a:lnTo>
                  <a:lnTo>
                    <a:pt x="414" y="600"/>
                  </a:lnTo>
                  <a:lnTo>
                    <a:pt x="414" y="606"/>
                  </a:lnTo>
                  <a:lnTo>
                    <a:pt x="408" y="606"/>
                  </a:lnTo>
                  <a:lnTo>
                    <a:pt x="408" y="612"/>
                  </a:lnTo>
                  <a:lnTo>
                    <a:pt x="402" y="612"/>
                  </a:lnTo>
                  <a:lnTo>
                    <a:pt x="396" y="612"/>
                  </a:lnTo>
                  <a:lnTo>
                    <a:pt x="390" y="612"/>
                  </a:lnTo>
                  <a:lnTo>
                    <a:pt x="390" y="618"/>
                  </a:lnTo>
                  <a:lnTo>
                    <a:pt x="384" y="618"/>
                  </a:lnTo>
                  <a:lnTo>
                    <a:pt x="378" y="618"/>
                  </a:lnTo>
                  <a:lnTo>
                    <a:pt x="378" y="624"/>
                  </a:lnTo>
                  <a:lnTo>
                    <a:pt x="384" y="630"/>
                  </a:lnTo>
                  <a:lnTo>
                    <a:pt x="384" y="636"/>
                  </a:lnTo>
                  <a:lnTo>
                    <a:pt x="378" y="630"/>
                  </a:lnTo>
                  <a:lnTo>
                    <a:pt x="372" y="636"/>
                  </a:lnTo>
                  <a:lnTo>
                    <a:pt x="372" y="642"/>
                  </a:lnTo>
                  <a:lnTo>
                    <a:pt x="366" y="642"/>
                  </a:lnTo>
                  <a:lnTo>
                    <a:pt x="360" y="654"/>
                  </a:lnTo>
                  <a:lnTo>
                    <a:pt x="354" y="666"/>
                  </a:lnTo>
                  <a:lnTo>
                    <a:pt x="354" y="672"/>
                  </a:lnTo>
                  <a:lnTo>
                    <a:pt x="354" y="678"/>
                  </a:lnTo>
                  <a:lnTo>
                    <a:pt x="354" y="684"/>
                  </a:lnTo>
                  <a:lnTo>
                    <a:pt x="348" y="678"/>
                  </a:lnTo>
                  <a:lnTo>
                    <a:pt x="324" y="678"/>
                  </a:lnTo>
                  <a:lnTo>
                    <a:pt x="306" y="678"/>
                  </a:lnTo>
                  <a:lnTo>
                    <a:pt x="294" y="678"/>
                  </a:lnTo>
                  <a:lnTo>
                    <a:pt x="288" y="684"/>
                  </a:lnTo>
                  <a:lnTo>
                    <a:pt x="276" y="690"/>
                  </a:lnTo>
                  <a:lnTo>
                    <a:pt x="270" y="696"/>
                  </a:lnTo>
                  <a:lnTo>
                    <a:pt x="264" y="696"/>
                  </a:lnTo>
                  <a:lnTo>
                    <a:pt x="258" y="696"/>
                  </a:lnTo>
                  <a:lnTo>
                    <a:pt x="252" y="696"/>
                  </a:lnTo>
                  <a:lnTo>
                    <a:pt x="252" y="690"/>
                  </a:lnTo>
                  <a:lnTo>
                    <a:pt x="246" y="690"/>
                  </a:lnTo>
                  <a:lnTo>
                    <a:pt x="234" y="690"/>
                  </a:lnTo>
                  <a:lnTo>
                    <a:pt x="222" y="696"/>
                  </a:lnTo>
                  <a:lnTo>
                    <a:pt x="216" y="708"/>
                  </a:lnTo>
                  <a:lnTo>
                    <a:pt x="210" y="702"/>
                  </a:lnTo>
                  <a:lnTo>
                    <a:pt x="198" y="696"/>
                  </a:lnTo>
                  <a:lnTo>
                    <a:pt x="198" y="690"/>
                  </a:lnTo>
                  <a:lnTo>
                    <a:pt x="198" y="684"/>
                  </a:lnTo>
                  <a:lnTo>
                    <a:pt x="198" y="678"/>
                  </a:lnTo>
                  <a:lnTo>
                    <a:pt x="198" y="672"/>
                  </a:lnTo>
                  <a:lnTo>
                    <a:pt x="198" y="654"/>
                  </a:lnTo>
                  <a:lnTo>
                    <a:pt x="192" y="654"/>
                  </a:lnTo>
                  <a:lnTo>
                    <a:pt x="174" y="648"/>
                  </a:lnTo>
                  <a:lnTo>
                    <a:pt x="162" y="642"/>
                  </a:lnTo>
                  <a:lnTo>
                    <a:pt x="156" y="636"/>
                  </a:lnTo>
                  <a:lnTo>
                    <a:pt x="132" y="642"/>
                  </a:lnTo>
                  <a:lnTo>
                    <a:pt x="120" y="654"/>
                  </a:lnTo>
                  <a:lnTo>
                    <a:pt x="108" y="660"/>
                  </a:lnTo>
                  <a:lnTo>
                    <a:pt x="102" y="666"/>
                  </a:lnTo>
                  <a:lnTo>
                    <a:pt x="84" y="666"/>
                  </a:lnTo>
                  <a:lnTo>
                    <a:pt x="84" y="630"/>
                  </a:lnTo>
                  <a:lnTo>
                    <a:pt x="78" y="594"/>
                  </a:lnTo>
                  <a:lnTo>
                    <a:pt x="66" y="594"/>
                  </a:lnTo>
                  <a:lnTo>
                    <a:pt x="60" y="594"/>
                  </a:lnTo>
                  <a:lnTo>
                    <a:pt x="48" y="600"/>
                  </a:lnTo>
                  <a:lnTo>
                    <a:pt x="36" y="606"/>
                  </a:lnTo>
                  <a:lnTo>
                    <a:pt x="24" y="612"/>
                  </a:lnTo>
                  <a:lnTo>
                    <a:pt x="18" y="612"/>
                  </a:lnTo>
                  <a:lnTo>
                    <a:pt x="12" y="606"/>
                  </a:lnTo>
                  <a:lnTo>
                    <a:pt x="12" y="600"/>
                  </a:lnTo>
                  <a:lnTo>
                    <a:pt x="12" y="594"/>
                  </a:lnTo>
                  <a:lnTo>
                    <a:pt x="12" y="588"/>
                  </a:lnTo>
                  <a:lnTo>
                    <a:pt x="12" y="582"/>
                  </a:lnTo>
                  <a:lnTo>
                    <a:pt x="12" y="576"/>
                  </a:lnTo>
                  <a:lnTo>
                    <a:pt x="18" y="552"/>
                  </a:lnTo>
                  <a:lnTo>
                    <a:pt x="30" y="552"/>
                  </a:lnTo>
                  <a:lnTo>
                    <a:pt x="30" y="540"/>
                  </a:lnTo>
                  <a:lnTo>
                    <a:pt x="42" y="534"/>
                  </a:lnTo>
                  <a:lnTo>
                    <a:pt x="42" y="522"/>
                  </a:lnTo>
                  <a:lnTo>
                    <a:pt x="48" y="516"/>
                  </a:lnTo>
                  <a:lnTo>
                    <a:pt x="48" y="492"/>
                  </a:lnTo>
                  <a:lnTo>
                    <a:pt x="48" y="480"/>
                  </a:lnTo>
                  <a:lnTo>
                    <a:pt x="54" y="468"/>
                  </a:lnTo>
                  <a:lnTo>
                    <a:pt x="48" y="456"/>
                  </a:lnTo>
                  <a:lnTo>
                    <a:pt x="48" y="450"/>
                  </a:lnTo>
                  <a:lnTo>
                    <a:pt x="48" y="444"/>
                  </a:lnTo>
                  <a:lnTo>
                    <a:pt x="48" y="438"/>
                  </a:lnTo>
                  <a:lnTo>
                    <a:pt x="54" y="432"/>
                  </a:lnTo>
                  <a:lnTo>
                    <a:pt x="54" y="426"/>
                  </a:lnTo>
                  <a:lnTo>
                    <a:pt x="54" y="420"/>
                  </a:lnTo>
                  <a:lnTo>
                    <a:pt x="54" y="414"/>
                  </a:lnTo>
                  <a:lnTo>
                    <a:pt x="60" y="408"/>
                  </a:lnTo>
                  <a:lnTo>
                    <a:pt x="60" y="402"/>
                  </a:lnTo>
                  <a:lnTo>
                    <a:pt x="60" y="396"/>
                  </a:lnTo>
                  <a:lnTo>
                    <a:pt x="66" y="390"/>
                  </a:lnTo>
                  <a:lnTo>
                    <a:pt x="72" y="384"/>
                  </a:lnTo>
                  <a:lnTo>
                    <a:pt x="72" y="378"/>
                  </a:lnTo>
                  <a:lnTo>
                    <a:pt x="66" y="378"/>
                  </a:lnTo>
                  <a:lnTo>
                    <a:pt x="66" y="366"/>
                  </a:lnTo>
                  <a:lnTo>
                    <a:pt x="60" y="360"/>
                  </a:lnTo>
                  <a:lnTo>
                    <a:pt x="66" y="354"/>
                  </a:lnTo>
                  <a:lnTo>
                    <a:pt x="60" y="342"/>
                  </a:lnTo>
                  <a:lnTo>
                    <a:pt x="60" y="336"/>
                  </a:lnTo>
                  <a:lnTo>
                    <a:pt x="60" y="330"/>
                  </a:lnTo>
                  <a:lnTo>
                    <a:pt x="54" y="330"/>
                  </a:lnTo>
                  <a:lnTo>
                    <a:pt x="54" y="324"/>
                  </a:lnTo>
                  <a:lnTo>
                    <a:pt x="54" y="318"/>
                  </a:lnTo>
                  <a:lnTo>
                    <a:pt x="48" y="318"/>
                  </a:lnTo>
                  <a:lnTo>
                    <a:pt x="48" y="312"/>
                  </a:lnTo>
                  <a:lnTo>
                    <a:pt x="30" y="312"/>
                  </a:lnTo>
                  <a:lnTo>
                    <a:pt x="24" y="306"/>
                  </a:lnTo>
                  <a:lnTo>
                    <a:pt x="18" y="306"/>
                  </a:lnTo>
                  <a:lnTo>
                    <a:pt x="12" y="294"/>
                  </a:lnTo>
                  <a:lnTo>
                    <a:pt x="12" y="282"/>
                  </a:lnTo>
                  <a:lnTo>
                    <a:pt x="6" y="276"/>
                  </a:lnTo>
                  <a:lnTo>
                    <a:pt x="0" y="276"/>
                  </a:lnTo>
                  <a:lnTo>
                    <a:pt x="0" y="270"/>
                  </a:lnTo>
                  <a:lnTo>
                    <a:pt x="12" y="270"/>
                  </a:lnTo>
                  <a:lnTo>
                    <a:pt x="12" y="246"/>
                  </a:lnTo>
                  <a:lnTo>
                    <a:pt x="12" y="240"/>
                  </a:lnTo>
                  <a:lnTo>
                    <a:pt x="6" y="234"/>
                  </a:lnTo>
                  <a:lnTo>
                    <a:pt x="6" y="228"/>
                  </a:lnTo>
                  <a:lnTo>
                    <a:pt x="12" y="228"/>
                  </a:lnTo>
                  <a:lnTo>
                    <a:pt x="12" y="222"/>
                  </a:lnTo>
                  <a:lnTo>
                    <a:pt x="6" y="210"/>
                  </a:lnTo>
                  <a:lnTo>
                    <a:pt x="12" y="204"/>
                  </a:lnTo>
                  <a:lnTo>
                    <a:pt x="12" y="198"/>
                  </a:lnTo>
                  <a:lnTo>
                    <a:pt x="12" y="186"/>
                  </a:lnTo>
                  <a:lnTo>
                    <a:pt x="18" y="174"/>
                  </a:lnTo>
                  <a:lnTo>
                    <a:pt x="12" y="168"/>
                  </a:lnTo>
                  <a:lnTo>
                    <a:pt x="18" y="162"/>
                  </a:lnTo>
                  <a:lnTo>
                    <a:pt x="18" y="156"/>
                  </a:lnTo>
                  <a:lnTo>
                    <a:pt x="24" y="156"/>
                  </a:lnTo>
                  <a:lnTo>
                    <a:pt x="24" y="162"/>
                  </a:lnTo>
                  <a:lnTo>
                    <a:pt x="30" y="168"/>
                  </a:lnTo>
                  <a:lnTo>
                    <a:pt x="48" y="162"/>
                  </a:lnTo>
                  <a:lnTo>
                    <a:pt x="72" y="162"/>
                  </a:lnTo>
                  <a:lnTo>
                    <a:pt x="90" y="156"/>
                  </a:lnTo>
                  <a:lnTo>
                    <a:pt x="90" y="150"/>
                  </a:lnTo>
                  <a:lnTo>
                    <a:pt x="84" y="144"/>
                  </a:lnTo>
                  <a:lnTo>
                    <a:pt x="84" y="132"/>
                  </a:lnTo>
                  <a:lnTo>
                    <a:pt x="90" y="120"/>
                  </a:lnTo>
                  <a:lnTo>
                    <a:pt x="108" y="114"/>
                  </a:lnTo>
                  <a:lnTo>
                    <a:pt x="114" y="102"/>
                  </a:lnTo>
                  <a:lnTo>
                    <a:pt x="120" y="90"/>
                  </a:lnTo>
                  <a:lnTo>
                    <a:pt x="138" y="90"/>
                  </a:lnTo>
                  <a:lnTo>
                    <a:pt x="138" y="102"/>
                  </a:lnTo>
                  <a:lnTo>
                    <a:pt x="168" y="108"/>
                  </a:lnTo>
                  <a:lnTo>
                    <a:pt x="168" y="114"/>
                  </a:lnTo>
                  <a:lnTo>
                    <a:pt x="174" y="126"/>
                  </a:lnTo>
                  <a:lnTo>
                    <a:pt x="186" y="150"/>
                  </a:lnTo>
                  <a:lnTo>
                    <a:pt x="186" y="162"/>
                  </a:lnTo>
                  <a:lnTo>
                    <a:pt x="204" y="162"/>
                  </a:lnTo>
                  <a:lnTo>
                    <a:pt x="204" y="156"/>
                  </a:lnTo>
                  <a:lnTo>
                    <a:pt x="210" y="144"/>
                  </a:lnTo>
                  <a:lnTo>
                    <a:pt x="210" y="138"/>
                  </a:lnTo>
                  <a:lnTo>
                    <a:pt x="216" y="138"/>
                  </a:lnTo>
                  <a:lnTo>
                    <a:pt x="222" y="138"/>
                  </a:lnTo>
                  <a:lnTo>
                    <a:pt x="228" y="138"/>
                  </a:lnTo>
                  <a:lnTo>
                    <a:pt x="234" y="144"/>
                  </a:lnTo>
                  <a:lnTo>
                    <a:pt x="240" y="138"/>
                  </a:lnTo>
                  <a:lnTo>
                    <a:pt x="240" y="126"/>
                  </a:lnTo>
                  <a:lnTo>
                    <a:pt x="234" y="126"/>
                  </a:lnTo>
                  <a:lnTo>
                    <a:pt x="228" y="114"/>
                  </a:lnTo>
                  <a:lnTo>
                    <a:pt x="228" y="108"/>
                  </a:lnTo>
                  <a:lnTo>
                    <a:pt x="234" y="102"/>
                  </a:lnTo>
                  <a:lnTo>
                    <a:pt x="246" y="102"/>
                  </a:lnTo>
                  <a:lnTo>
                    <a:pt x="246" y="108"/>
                  </a:lnTo>
                  <a:lnTo>
                    <a:pt x="252" y="108"/>
                  </a:lnTo>
                  <a:lnTo>
                    <a:pt x="264" y="108"/>
                  </a:lnTo>
                  <a:lnTo>
                    <a:pt x="270" y="108"/>
                  </a:lnTo>
                  <a:lnTo>
                    <a:pt x="276" y="108"/>
                  </a:lnTo>
                  <a:lnTo>
                    <a:pt x="282" y="102"/>
                  </a:lnTo>
                  <a:lnTo>
                    <a:pt x="288" y="102"/>
                  </a:lnTo>
                  <a:lnTo>
                    <a:pt x="294" y="102"/>
                  </a:lnTo>
                  <a:lnTo>
                    <a:pt x="300" y="96"/>
                  </a:lnTo>
                  <a:lnTo>
                    <a:pt x="306" y="96"/>
                  </a:lnTo>
                  <a:lnTo>
                    <a:pt x="306" y="90"/>
                  </a:lnTo>
                  <a:lnTo>
                    <a:pt x="312" y="90"/>
                  </a:lnTo>
                  <a:lnTo>
                    <a:pt x="318" y="84"/>
                  </a:lnTo>
                  <a:lnTo>
                    <a:pt x="324" y="18"/>
                  </a:lnTo>
                  <a:lnTo>
                    <a:pt x="360" y="18"/>
                  </a:lnTo>
                  <a:lnTo>
                    <a:pt x="378" y="18"/>
                  </a:lnTo>
                  <a:lnTo>
                    <a:pt x="378" y="30"/>
                  </a:lnTo>
                  <a:lnTo>
                    <a:pt x="390" y="30"/>
                  </a:lnTo>
                  <a:lnTo>
                    <a:pt x="432" y="30"/>
                  </a:lnTo>
                  <a:lnTo>
                    <a:pt x="456" y="24"/>
                  </a:lnTo>
                  <a:lnTo>
                    <a:pt x="480" y="24"/>
                  </a:lnTo>
                  <a:lnTo>
                    <a:pt x="498" y="30"/>
                  </a:lnTo>
                  <a:lnTo>
                    <a:pt x="522" y="18"/>
                  </a:lnTo>
                  <a:lnTo>
                    <a:pt x="528" y="0"/>
                  </a:lnTo>
                  <a:lnTo>
                    <a:pt x="558" y="6"/>
                  </a:lnTo>
                  <a:lnTo>
                    <a:pt x="558" y="12"/>
                  </a:lnTo>
                  <a:lnTo>
                    <a:pt x="570" y="18"/>
                  </a:lnTo>
                  <a:lnTo>
                    <a:pt x="576" y="24"/>
                  </a:lnTo>
                  <a:lnTo>
                    <a:pt x="588" y="36"/>
                  </a:lnTo>
                  <a:lnTo>
                    <a:pt x="594" y="48"/>
                  </a:lnTo>
                  <a:lnTo>
                    <a:pt x="606" y="48"/>
                  </a:lnTo>
                  <a:lnTo>
                    <a:pt x="606" y="42"/>
                  </a:lnTo>
                  <a:lnTo>
                    <a:pt x="618" y="36"/>
                  </a:lnTo>
                  <a:lnTo>
                    <a:pt x="624" y="36"/>
                  </a:lnTo>
                  <a:lnTo>
                    <a:pt x="630" y="42"/>
                  </a:lnTo>
                  <a:lnTo>
                    <a:pt x="636" y="42"/>
                  </a:lnTo>
                  <a:lnTo>
                    <a:pt x="636" y="48"/>
                  </a:lnTo>
                  <a:lnTo>
                    <a:pt x="642" y="54"/>
                  </a:lnTo>
                  <a:lnTo>
                    <a:pt x="636" y="60"/>
                  </a:lnTo>
                  <a:lnTo>
                    <a:pt x="636" y="66"/>
                  </a:lnTo>
                  <a:lnTo>
                    <a:pt x="636" y="78"/>
                  </a:lnTo>
                  <a:lnTo>
                    <a:pt x="624" y="84"/>
                  </a:lnTo>
                  <a:lnTo>
                    <a:pt x="618" y="90"/>
                  </a:lnTo>
                  <a:lnTo>
                    <a:pt x="612" y="90"/>
                  </a:lnTo>
                  <a:lnTo>
                    <a:pt x="600" y="102"/>
                  </a:lnTo>
                  <a:lnTo>
                    <a:pt x="594" y="108"/>
                  </a:lnTo>
                  <a:lnTo>
                    <a:pt x="582" y="114"/>
                  </a:lnTo>
                  <a:lnTo>
                    <a:pt x="570" y="132"/>
                  </a:lnTo>
                  <a:lnTo>
                    <a:pt x="564" y="132"/>
                  </a:lnTo>
                  <a:lnTo>
                    <a:pt x="564" y="138"/>
                  </a:lnTo>
                  <a:lnTo>
                    <a:pt x="558" y="144"/>
                  </a:lnTo>
                  <a:lnTo>
                    <a:pt x="558" y="150"/>
                  </a:lnTo>
                  <a:lnTo>
                    <a:pt x="552" y="150"/>
                  </a:lnTo>
                  <a:lnTo>
                    <a:pt x="546" y="156"/>
                  </a:lnTo>
                  <a:lnTo>
                    <a:pt x="546" y="162"/>
                  </a:lnTo>
                  <a:lnTo>
                    <a:pt x="540" y="162"/>
                  </a:lnTo>
                  <a:lnTo>
                    <a:pt x="534" y="168"/>
                  </a:lnTo>
                  <a:lnTo>
                    <a:pt x="534" y="174"/>
                  </a:lnTo>
                  <a:lnTo>
                    <a:pt x="534" y="180"/>
                  </a:lnTo>
                  <a:lnTo>
                    <a:pt x="540" y="186"/>
                  </a:lnTo>
                  <a:lnTo>
                    <a:pt x="540" y="198"/>
                  </a:lnTo>
                  <a:lnTo>
                    <a:pt x="540" y="210"/>
                  </a:lnTo>
                  <a:lnTo>
                    <a:pt x="528" y="234"/>
                  </a:lnTo>
                  <a:lnTo>
                    <a:pt x="528" y="246"/>
                  </a:lnTo>
                  <a:lnTo>
                    <a:pt x="528" y="252"/>
                  </a:lnTo>
                  <a:lnTo>
                    <a:pt x="516" y="294"/>
                  </a:lnTo>
                  <a:lnTo>
                    <a:pt x="516" y="312"/>
                  </a:lnTo>
                  <a:lnTo>
                    <a:pt x="528" y="318"/>
                  </a:lnTo>
                  <a:lnTo>
                    <a:pt x="540" y="360"/>
                  </a:lnTo>
                  <a:lnTo>
                    <a:pt x="558" y="408"/>
                  </a:lnTo>
                  <a:lnTo>
                    <a:pt x="570" y="426"/>
                  </a:lnTo>
                  <a:lnTo>
                    <a:pt x="576" y="432"/>
                  </a:lnTo>
                  <a:lnTo>
                    <a:pt x="576" y="438"/>
                  </a:lnTo>
                  <a:lnTo>
                    <a:pt x="576" y="444"/>
                  </a:lnTo>
                  <a:lnTo>
                    <a:pt x="576" y="468"/>
                  </a:lnTo>
                  <a:close/>
                </a:path>
              </a:pathLst>
            </a:custGeom>
            <a:solidFill>
              <a:srgbClr val="FFC000"/>
            </a:solidFill>
            <a:ln w="9525">
              <a:solidFill>
                <a:schemeClr val="bg1"/>
              </a:solidFill>
              <a:round/>
              <a:headEnd/>
              <a:tailEnd/>
            </a:ln>
          </p:spPr>
          <p:txBody>
            <a:bodyPr/>
            <a:lstStyle/>
            <a:p>
              <a:endParaRPr lang="en-GB"/>
            </a:p>
          </p:txBody>
        </p:sp>
        <p:sp>
          <p:nvSpPr>
            <p:cNvPr id="19504" name="Freeform 29"/>
            <p:cNvSpPr>
              <a:spLocks/>
            </p:cNvSpPr>
            <p:nvPr/>
          </p:nvSpPr>
          <p:spPr bwMode="gray">
            <a:xfrm>
              <a:off x="2520389" y="4214001"/>
              <a:ext cx="477002" cy="409339"/>
            </a:xfrm>
            <a:custGeom>
              <a:avLst/>
              <a:gdLst>
                <a:gd name="T0" fmla="*/ 3936 w 606"/>
                <a:gd name="T1" fmla="*/ 28895 h 510"/>
                <a:gd name="T2" fmla="*/ 3149 w 606"/>
                <a:gd name="T3" fmla="*/ 27289 h 510"/>
                <a:gd name="T4" fmla="*/ 0 w 606"/>
                <a:gd name="T5" fmla="*/ 20066 h 510"/>
                <a:gd name="T6" fmla="*/ 787 w 606"/>
                <a:gd name="T7" fmla="*/ 16053 h 510"/>
                <a:gd name="T8" fmla="*/ 1574 w 606"/>
                <a:gd name="T9" fmla="*/ 12039 h 510"/>
                <a:gd name="T10" fmla="*/ 1574 w 606"/>
                <a:gd name="T11" fmla="*/ 10434 h 510"/>
                <a:gd name="T12" fmla="*/ 2361 w 606"/>
                <a:gd name="T13" fmla="*/ 9632 h 510"/>
                <a:gd name="T14" fmla="*/ 3149 w 606"/>
                <a:gd name="T15" fmla="*/ 8829 h 510"/>
                <a:gd name="T16" fmla="*/ 3149 w 606"/>
                <a:gd name="T17" fmla="*/ 8026 h 510"/>
                <a:gd name="T18" fmla="*/ 5510 w 606"/>
                <a:gd name="T19" fmla="*/ 6421 h 510"/>
                <a:gd name="T20" fmla="*/ 7084 w 606"/>
                <a:gd name="T21" fmla="*/ 4816 h 510"/>
                <a:gd name="T22" fmla="*/ 8658 w 606"/>
                <a:gd name="T23" fmla="*/ 3211 h 510"/>
                <a:gd name="T24" fmla="*/ 9446 w 606"/>
                <a:gd name="T25" fmla="*/ 2408 h 510"/>
                <a:gd name="T26" fmla="*/ 10233 w 606"/>
                <a:gd name="T27" fmla="*/ 3211 h 510"/>
                <a:gd name="T28" fmla="*/ 11807 w 606"/>
                <a:gd name="T29" fmla="*/ 1605 h 510"/>
                <a:gd name="T30" fmla="*/ 13381 w 606"/>
                <a:gd name="T31" fmla="*/ 1605 h 510"/>
                <a:gd name="T32" fmla="*/ 14956 w 606"/>
                <a:gd name="T33" fmla="*/ 4013 h 510"/>
                <a:gd name="T34" fmla="*/ 17317 w 606"/>
                <a:gd name="T35" fmla="*/ 4013 h 510"/>
                <a:gd name="T36" fmla="*/ 19678 w 606"/>
                <a:gd name="T37" fmla="*/ 4816 h 510"/>
                <a:gd name="T38" fmla="*/ 22827 w 606"/>
                <a:gd name="T39" fmla="*/ 803 h 510"/>
                <a:gd name="T40" fmla="*/ 29911 w 606"/>
                <a:gd name="T41" fmla="*/ 0 h 510"/>
                <a:gd name="T42" fmla="*/ 29911 w 606"/>
                <a:gd name="T43" fmla="*/ 4013 h 510"/>
                <a:gd name="T44" fmla="*/ 32272 w 606"/>
                <a:gd name="T45" fmla="*/ 3211 h 510"/>
                <a:gd name="T46" fmla="*/ 35421 w 606"/>
                <a:gd name="T47" fmla="*/ 1605 h 510"/>
                <a:gd name="T48" fmla="*/ 36208 w 606"/>
                <a:gd name="T49" fmla="*/ 1605 h 510"/>
                <a:gd name="T50" fmla="*/ 36995 w 606"/>
                <a:gd name="T51" fmla="*/ 4013 h 510"/>
                <a:gd name="T52" fmla="*/ 35421 w 606"/>
                <a:gd name="T53" fmla="*/ 4816 h 510"/>
                <a:gd name="T54" fmla="*/ 35421 w 606"/>
                <a:gd name="T55" fmla="*/ 5618 h 510"/>
                <a:gd name="T56" fmla="*/ 33847 w 606"/>
                <a:gd name="T57" fmla="*/ 6421 h 510"/>
                <a:gd name="T58" fmla="*/ 35421 w 606"/>
                <a:gd name="T59" fmla="*/ 12039 h 510"/>
                <a:gd name="T60" fmla="*/ 38569 w 606"/>
                <a:gd name="T61" fmla="*/ 12039 h 510"/>
                <a:gd name="T62" fmla="*/ 40144 w 606"/>
                <a:gd name="T63" fmla="*/ 12039 h 510"/>
                <a:gd name="T64" fmla="*/ 41718 w 606"/>
                <a:gd name="T65" fmla="*/ 12842 h 510"/>
                <a:gd name="T66" fmla="*/ 40931 w 606"/>
                <a:gd name="T67" fmla="*/ 16053 h 510"/>
                <a:gd name="T68" fmla="*/ 37782 w 606"/>
                <a:gd name="T69" fmla="*/ 18460 h 510"/>
                <a:gd name="T70" fmla="*/ 35421 w 606"/>
                <a:gd name="T71" fmla="*/ 20066 h 510"/>
                <a:gd name="T72" fmla="*/ 34634 w 606"/>
                <a:gd name="T73" fmla="*/ 22474 h 510"/>
                <a:gd name="T74" fmla="*/ 33847 w 606"/>
                <a:gd name="T75" fmla="*/ 26487 h 510"/>
                <a:gd name="T76" fmla="*/ 30698 w 606"/>
                <a:gd name="T77" fmla="*/ 30500 h 510"/>
                <a:gd name="T78" fmla="*/ 29124 w 606"/>
                <a:gd name="T79" fmla="*/ 32908 h 510"/>
                <a:gd name="T80" fmla="*/ 24401 w 606"/>
                <a:gd name="T81" fmla="*/ 35316 h 510"/>
                <a:gd name="T82" fmla="*/ 22040 w 606"/>
                <a:gd name="T83" fmla="*/ 34513 h 510"/>
                <a:gd name="T84" fmla="*/ 22040 w 606"/>
                <a:gd name="T85" fmla="*/ 32908 h 510"/>
                <a:gd name="T86" fmla="*/ 22040 w 606"/>
                <a:gd name="T87" fmla="*/ 32105 h 510"/>
                <a:gd name="T88" fmla="*/ 21253 w 606"/>
                <a:gd name="T89" fmla="*/ 30500 h 510"/>
                <a:gd name="T90" fmla="*/ 21253 w 606"/>
                <a:gd name="T91" fmla="*/ 28895 h 510"/>
                <a:gd name="T92" fmla="*/ 18891 w 606"/>
                <a:gd name="T93" fmla="*/ 28092 h 510"/>
                <a:gd name="T94" fmla="*/ 12594 w 606"/>
                <a:gd name="T95" fmla="*/ 27289 h 510"/>
                <a:gd name="T96" fmla="*/ 10233 w 606"/>
                <a:gd name="T97" fmla="*/ 27289 h 510"/>
                <a:gd name="T98" fmla="*/ 7084 w 606"/>
                <a:gd name="T99" fmla="*/ 28895 h 510"/>
                <a:gd name="T100" fmla="*/ 6297 w 606"/>
                <a:gd name="T101" fmla="*/ 30500 h 510"/>
                <a:gd name="T102" fmla="*/ 5510 w 606"/>
                <a:gd name="T103" fmla="*/ 31302 h 51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6"/>
                <a:gd name="T157" fmla="*/ 0 h 510"/>
                <a:gd name="T158" fmla="*/ 606 w 606"/>
                <a:gd name="T159" fmla="*/ 510 h 51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6" h="510">
                  <a:moveTo>
                    <a:pt x="60" y="450"/>
                  </a:moveTo>
                  <a:lnTo>
                    <a:pt x="60" y="426"/>
                  </a:lnTo>
                  <a:lnTo>
                    <a:pt x="60" y="420"/>
                  </a:lnTo>
                  <a:lnTo>
                    <a:pt x="60" y="414"/>
                  </a:lnTo>
                  <a:lnTo>
                    <a:pt x="54" y="408"/>
                  </a:lnTo>
                  <a:lnTo>
                    <a:pt x="42" y="390"/>
                  </a:lnTo>
                  <a:lnTo>
                    <a:pt x="24" y="342"/>
                  </a:lnTo>
                  <a:lnTo>
                    <a:pt x="12" y="300"/>
                  </a:lnTo>
                  <a:lnTo>
                    <a:pt x="0" y="294"/>
                  </a:lnTo>
                  <a:lnTo>
                    <a:pt x="0" y="276"/>
                  </a:lnTo>
                  <a:lnTo>
                    <a:pt x="12" y="234"/>
                  </a:lnTo>
                  <a:lnTo>
                    <a:pt x="12" y="228"/>
                  </a:lnTo>
                  <a:lnTo>
                    <a:pt x="12" y="216"/>
                  </a:lnTo>
                  <a:lnTo>
                    <a:pt x="24" y="192"/>
                  </a:lnTo>
                  <a:lnTo>
                    <a:pt x="24" y="180"/>
                  </a:lnTo>
                  <a:lnTo>
                    <a:pt x="24" y="168"/>
                  </a:lnTo>
                  <a:lnTo>
                    <a:pt x="18" y="162"/>
                  </a:lnTo>
                  <a:lnTo>
                    <a:pt x="18" y="156"/>
                  </a:lnTo>
                  <a:lnTo>
                    <a:pt x="18" y="150"/>
                  </a:lnTo>
                  <a:lnTo>
                    <a:pt x="24" y="144"/>
                  </a:lnTo>
                  <a:lnTo>
                    <a:pt x="30" y="144"/>
                  </a:lnTo>
                  <a:lnTo>
                    <a:pt x="30" y="138"/>
                  </a:lnTo>
                  <a:lnTo>
                    <a:pt x="36" y="132"/>
                  </a:lnTo>
                  <a:lnTo>
                    <a:pt x="42" y="132"/>
                  </a:lnTo>
                  <a:lnTo>
                    <a:pt x="42" y="126"/>
                  </a:lnTo>
                  <a:lnTo>
                    <a:pt x="48" y="120"/>
                  </a:lnTo>
                  <a:lnTo>
                    <a:pt x="48" y="114"/>
                  </a:lnTo>
                  <a:lnTo>
                    <a:pt x="54" y="114"/>
                  </a:lnTo>
                  <a:lnTo>
                    <a:pt x="66" y="96"/>
                  </a:lnTo>
                  <a:lnTo>
                    <a:pt x="78" y="90"/>
                  </a:lnTo>
                  <a:lnTo>
                    <a:pt x="84" y="84"/>
                  </a:lnTo>
                  <a:lnTo>
                    <a:pt x="96" y="72"/>
                  </a:lnTo>
                  <a:lnTo>
                    <a:pt x="102" y="72"/>
                  </a:lnTo>
                  <a:lnTo>
                    <a:pt x="108" y="66"/>
                  </a:lnTo>
                  <a:lnTo>
                    <a:pt x="120" y="60"/>
                  </a:lnTo>
                  <a:lnTo>
                    <a:pt x="120" y="48"/>
                  </a:lnTo>
                  <a:lnTo>
                    <a:pt x="120" y="42"/>
                  </a:lnTo>
                  <a:lnTo>
                    <a:pt x="126" y="36"/>
                  </a:lnTo>
                  <a:lnTo>
                    <a:pt x="138" y="36"/>
                  </a:lnTo>
                  <a:lnTo>
                    <a:pt x="138" y="42"/>
                  </a:lnTo>
                  <a:lnTo>
                    <a:pt x="144" y="48"/>
                  </a:lnTo>
                  <a:lnTo>
                    <a:pt x="150" y="48"/>
                  </a:lnTo>
                  <a:lnTo>
                    <a:pt x="162" y="36"/>
                  </a:lnTo>
                  <a:lnTo>
                    <a:pt x="162" y="30"/>
                  </a:lnTo>
                  <a:lnTo>
                    <a:pt x="168" y="24"/>
                  </a:lnTo>
                  <a:lnTo>
                    <a:pt x="180" y="24"/>
                  </a:lnTo>
                  <a:lnTo>
                    <a:pt x="192" y="24"/>
                  </a:lnTo>
                  <a:lnTo>
                    <a:pt x="198" y="24"/>
                  </a:lnTo>
                  <a:lnTo>
                    <a:pt x="210" y="30"/>
                  </a:lnTo>
                  <a:lnTo>
                    <a:pt x="216" y="30"/>
                  </a:lnTo>
                  <a:lnTo>
                    <a:pt x="210" y="54"/>
                  </a:lnTo>
                  <a:lnTo>
                    <a:pt x="216" y="60"/>
                  </a:lnTo>
                  <a:lnTo>
                    <a:pt x="222" y="60"/>
                  </a:lnTo>
                  <a:lnTo>
                    <a:pt x="246" y="60"/>
                  </a:lnTo>
                  <a:lnTo>
                    <a:pt x="252" y="66"/>
                  </a:lnTo>
                  <a:lnTo>
                    <a:pt x="258" y="66"/>
                  </a:lnTo>
                  <a:lnTo>
                    <a:pt x="276" y="66"/>
                  </a:lnTo>
                  <a:lnTo>
                    <a:pt x="312" y="66"/>
                  </a:lnTo>
                  <a:lnTo>
                    <a:pt x="318" y="60"/>
                  </a:lnTo>
                  <a:lnTo>
                    <a:pt x="330" y="12"/>
                  </a:lnTo>
                  <a:lnTo>
                    <a:pt x="414" y="6"/>
                  </a:lnTo>
                  <a:lnTo>
                    <a:pt x="420" y="0"/>
                  </a:lnTo>
                  <a:lnTo>
                    <a:pt x="426" y="6"/>
                  </a:lnTo>
                  <a:lnTo>
                    <a:pt x="426" y="12"/>
                  </a:lnTo>
                  <a:lnTo>
                    <a:pt x="426" y="54"/>
                  </a:lnTo>
                  <a:lnTo>
                    <a:pt x="432" y="54"/>
                  </a:lnTo>
                  <a:lnTo>
                    <a:pt x="444" y="54"/>
                  </a:lnTo>
                  <a:lnTo>
                    <a:pt x="450" y="42"/>
                  </a:lnTo>
                  <a:lnTo>
                    <a:pt x="462" y="42"/>
                  </a:lnTo>
                  <a:lnTo>
                    <a:pt x="468" y="36"/>
                  </a:lnTo>
                  <a:lnTo>
                    <a:pt x="486" y="24"/>
                  </a:lnTo>
                  <a:lnTo>
                    <a:pt x="504" y="18"/>
                  </a:lnTo>
                  <a:lnTo>
                    <a:pt x="510" y="12"/>
                  </a:lnTo>
                  <a:lnTo>
                    <a:pt x="516" y="18"/>
                  </a:lnTo>
                  <a:lnTo>
                    <a:pt x="522" y="24"/>
                  </a:lnTo>
                  <a:lnTo>
                    <a:pt x="510" y="30"/>
                  </a:lnTo>
                  <a:lnTo>
                    <a:pt x="516" y="48"/>
                  </a:lnTo>
                  <a:lnTo>
                    <a:pt x="528" y="54"/>
                  </a:lnTo>
                  <a:lnTo>
                    <a:pt x="522" y="60"/>
                  </a:lnTo>
                  <a:lnTo>
                    <a:pt x="516" y="66"/>
                  </a:lnTo>
                  <a:lnTo>
                    <a:pt x="516" y="72"/>
                  </a:lnTo>
                  <a:lnTo>
                    <a:pt x="510" y="72"/>
                  </a:lnTo>
                  <a:lnTo>
                    <a:pt x="510" y="78"/>
                  </a:lnTo>
                  <a:lnTo>
                    <a:pt x="510" y="84"/>
                  </a:lnTo>
                  <a:lnTo>
                    <a:pt x="510" y="90"/>
                  </a:lnTo>
                  <a:lnTo>
                    <a:pt x="504" y="90"/>
                  </a:lnTo>
                  <a:lnTo>
                    <a:pt x="486" y="90"/>
                  </a:lnTo>
                  <a:lnTo>
                    <a:pt x="492" y="138"/>
                  </a:lnTo>
                  <a:lnTo>
                    <a:pt x="498" y="168"/>
                  </a:lnTo>
                  <a:lnTo>
                    <a:pt x="516" y="168"/>
                  </a:lnTo>
                  <a:lnTo>
                    <a:pt x="528" y="174"/>
                  </a:lnTo>
                  <a:lnTo>
                    <a:pt x="534" y="168"/>
                  </a:lnTo>
                  <a:lnTo>
                    <a:pt x="558" y="174"/>
                  </a:lnTo>
                  <a:lnTo>
                    <a:pt x="564" y="168"/>
                  </a:lnTo>
                  <a:lnTo>
                    <a:pt x="570" y="168"/>
                  </a:lnTo>
                  <a:lnTo>
                    <a:pt x="576" y="174"/>
                  </a:lnTo>
                  <a:lnTo>
                    <a:pt x="588" y="168"/>
                  </a:lnTo>
                  <a:lnTo>
                    <a:pt x="594" y="168"/>
                  </a:lnTo>
                  <a:lnTo>
                    <a:pt x="594" y="186"/>
                  </a:lnTo>
                  <a:lnTo>
                    <a:pt x="606" y="198"/>
                  </a:lnTo>
                  <a:lnTo>
                    <a:pt x="600" y="210"/>
                  </a:lnTo>
                  <a:lnTo>
                    <a:pt x="588" y="234"/>
                  </a:lnTo>
                  <a:lnTo>
                    <a:pt x="564" y="246"/>
                  </a:lnTo>
                  <a:lnTo>
                    <a:pt x="546" y="258"/>
                  </a:lnTo>
                  <a:lnTo>
                    <a:pt x="540" y="270"/>
                  </a:lnTo>
                  <a:lnTo>
                    <a:pt x="534" y="294"/>
                  </a:lnTo>
                  <a:lnTo>
                    <a:pt x="528" y="300"/>
                  </a:lnTo>
                  <a:lnTo>
                    <a:pt x="516" y="294"/>
                  </a:lnTo>
                  <a:lnTo>
                    <a:pt x="510" y="300"/>
                  </a:lnTo>
                  <a:lnTo>
                    <a:pt x="498" y="318"/>
                  </a:lnTo>
                  <a:lnTo>
                    <a:pt x="492" y="324"/>
                  </a:lnTo>
                  <a:lnTo>
                    <a:pt x="486" y="336"/>
                  </a:lnTo>
                  <a:lnTo>
                    <a:pt x="486" y="354"/>
                  </a:lnTo>
                  <a:lnTo>
                    <a:pt x="486" y="384"/>
                  </a:lnTo>
                  <a:lnTo>
                    <a:pt x="474" y="408"/>
                  </a:lnTo>
                  <a:lnTo>
                    <a:pt x="450" y="426"/>
                  </a:lnTo>
                  <a:lnTo>
                    <a:pt x="444" y="444"/>
                  </a:lnTo>
                  <a:lnTo>
                    <a:pt x="426" y="474"/>
                  </a:lnTo>
                  <a:lnTo>
                    <a:pt x="420" y="486"/>
                  </a:lnTo>
                  <a:lnTo>
                    <a:pt x="414" y="486"/>
                  </a:lnTo>
                  <a:lnTo>
                    <a:pt x="414" y="498"/>
                  </a:lnTo>
                  <a:lnTo>
                    <a:pt x="378" y="504"/>
                  </a:lnTo>
                  <a:lnTo>
                    <a:pt x="348" y="510"/>
                  </a:lnTo>
                  <a:lnTo>
                    <a:pt x="330" y="510"/>
                  </a:lnTo>
                  <a:lnTo>
                    <a:pt x="324" y="504"/>
                  </a:lnTo>
                  <a:lnTo>
                    <a:pt x="318" y="504"/>
                  </a:lnTo>
                  <a:lnTo>
                    <a:pt x="312" y="504"/>
                  </a:lnTo>
                  <a:lnTo>
                    <a:pt x="312" y="498"/>
                  </a:lnTo>
                  <a:lnTo>
                    <a:pt x="312" y="486"/>
                  </a:lnTo>
                  <a:lnTo>
                    <a:pt x="312" y="480"/>
                  </a:lnTo>
                  <a:lnTo>
                    <a:pt x="318" y="468"/>
                  </a:lnTo>
                  <a:lnTo>
                    <a:pt x="318" y="462"/>
                  </a:lnTo>
                  <a:lnTo>
                    <a:pt x="312" y="456"/>
                  </a:lnTo>
                  <a:lnTo>
                    <a:pt x="312" y="450"/>
                  </a:lnTo>
                  <a:lnTo>
                    <a:pt x="306" y="444"/>
                  </a:lnTo>
                  <a:lnTo>
                    <a:pt x="306" y="438"/>
                  </a:lnTo>
                  <a:lnTo>
                    <a:pt x="300" y="426"/>
                  </a:lnTo>
                  <a:lnTo>
                    <a:pt x="300" y="420"/>
                  </a:lnTo>
                  <a:lnTo>
                    <a:pt x="294" y="414"/>
                  </a:lnTo>
                  <a:lnTo>
                    <a:pt x="294" y="408"/>
                  </a:lnTo>
                  <a:lnTo>
                    <a:pt x="270" y="408"/>
                  </a:lnTo>
                  <a:lnTo>
                    <a:pt x="246" y="408"/>
                  </a:lnTo>
                  <a:lnTo>
                    <a:pt x="222" y="408"/>
                  </a:lnTo>
                  <a:lnTo>
                    <a:pt x="180" y="402"/>
                  </a:lnTo>
                  <a:lnTo>
                    <a:pt x="180" y="396"/>
                  </a:lnTo>
                  <a:lnTo>
                    <a:pt x="156" y="402"/>
                  </a:lnTo>
                  <a:lnTo>
                    <a:pt x="144" y="396"/>
                  </a:lnTo>
                  <a:lnTo>
                    <a:pt x="126" y="396"/>
                  </a:lnTo>
                  <a:lnTo>
                    <a:pt x="108" y="408"/>
                  </a:lnTo>
                  <a:lnTo>
                    <a:pt x="102" y="414"/>
                  </a:lnTo>
                  <a:lnTo>
                    <a:pt x="102" y="420"/>
                  </a:lnTo>
                  <a:lnTo>
                    <a:pt x="96" y="426"/>
                  </a:lnTo>
                  <a:lnTo>
                    <a:pt x="96" y="438"/>
                  </a:lnTo>
                  <a:lnTo>
                    <a:pt x="90" y="444"/>
                  </a:lnTo>
                  <a:lnTo>
                    <a:pt x="90" y="450"/>
                  </a:lnTo>
                  <a:lnTo>
                    <a:pt x="78" y="450"/>
                  </a:lnTo>
                  <a:lnTo>
                    <a:pt x="60" y="450"/>
                  </a:lnTo>
                  <a:close/>
                </a:path>
              </a:pathLst>
            </a:custGeom>
            <a:solidFill>
              <a:srgbClr val="FFC000"/>
            </a:solidFill>
            <a:ln w="9525">
              <a:solidFill>
                <a:schemeClr val="bg1"/>
              </a:solidFill>
              <a:round/>
              <a:headEnd/>
              <a:tailEnd/>
            </a:ln>
          </p:spPr>
          <p:txBody>
            <a:bodyPr/>
            <a:lstStyle/>
            <a:p>
              <a:endParaRPr lang="en-GB"/>
            </a:p>
          </p:txBody>
        </p:sp>
        <p:sp>
          <p:nvSpPr>
            <p:cNvPr id="19505" name="Freeform 30"/>
            <p:cNvSpPr>
              <a:spLocks/>
            </p:cNvSpPr>
            <p:nvPr/>
          </p:nvSpPr>
          <p:spPr bwMode="gray">
            <a:xfrm>
              <a:off x="2274822" y="4374098"/>
              <a:ext cx="825037" cy="971497"/>
            </a:xfrm>
            <a:custGeom>
              <a:avLst/>
              <a:gdLst>
                <a:gd name="T0" fmla="*/ 30470 w 1056"/>
                <a:gd name="T1" fmla="*/ 75722 h 1206"/>
                <a:gd name="T2" fmla="*/ 27345 w 1056"/>
                <a:gd name="T3" fmla="*/ 82972 h 1206"/>
                <a:gd name="T4" fmla="*/ 22657 w 1056"/>
                <a:gd name="T5" fmla="*/ 79750 h 1206"/>
                <a:gd name="T6" fmla="*/ 17970 w 1056"/>
                <a:gd name="T7" fmla="*/ 75722 h 1206"/>
                <a:gd name="T8" fmla="*/ 16407 w 1056"/>
                <a:gd name="T9" fmla="*/ 73305 h 1206"/>
                <a:gd name="T10" fmla="*/ 14063 w 1056"/>
                <a:gd name="T11" fmla="*/ 71694 h 1206"/>
                <a:gd name="T12" fmla="*/ 11719 w 1056"/>
                <a:gd name="T13" fmla="*/ 69278 h 1206"/>
                <a:gd name="T14" fmla="*/ 8594 w 1056"/>
                <a:gd name="T15" fmla="*/ 66861 h 1206"/>
                <a:gd name="T16" fmla="*/ 6250 w 1056"/>
                <a:gd name="T17" fmla="*/ 65250 h 1206"/>
                <a:gd name="T18" fmla="*/ 4688 w 1056"/>
                <a:gd name="T19" fmla="*/ 63639 h 1206"/>
                <a:gd name="T20" fmla="*/ 10157 w 1056"/>
                <a:gd name="T21" fmla="*/ 62833 h 1206"/>
                <a:gd name="T22" fmla="*/ 6250 w 1056"/>
                <a:gd name="T23" fmla="*/ 60416 h 1206"/>
                <a:gd name="T24" fmla="*/ 10157 w 1056"/>
                <a:gd name="T25" fmla="*/ 57194 h 1206"/>
                <a:gd name="T26" fmla="*/ 7813 w 1056"/>
                <a:gd name="T27" fmla="*/ 50750 h 1206"/>
                <a:gd name="T28" fmla="*/ 4688 w 1056"/>
                <a:gd name="T29" fmla="*/ 53167 h 1206"/>
                <a:gd name="T30" fmla="*/ 781 w 1056"/>
                <a:gd name="T31" fmla="*/ 50750 h 1206"/>
                <a:gd name="T32" fmla="*/ 781 w 1056"/>
                <a:gd name="T33" fmla="*/ 47528 h 1206"/>
                <a:gd name="T34" fmla="*/ 2344 w 1056"/>
                <a:gd name="T35" fmla="*/ 45917 h 1206"/>
                <a:gd name="T36" fmla="*/ 4688 w 1056"/>
                <a:gd name="T37" fmla="*/ 44305 h 1206"/>
                <a:gd name="T38" fmla="*/ 7813 w 1056"/>
                <a:gd name="T39" fmla="*/ 41083 h 1206"/>
                <a:gd name="T40" fmla="*/ 8594 w 1056"/>
                <a:gd name="T41" fmla="*/ 37055 h 1206"/>
                <a:gd name="T42" fmla="*/ 10938 w 1056"/>
                <a:gd name="T43" fmla="*/ 33833 h 1206"/>
                <a:gd name="T44" fmla="*/ 11719 w 1056"/>
                <a:gd name="T45" fmla="*/ 29000 h 1206"/>
                <a:gd name="T46" fmla="*/ 13282 w 1056"/>
                <a:gd name="T47" fmla="*/ 27389 h 1206"/>
                <a:gd name="T48" fmla="*/ 15626 w 1056"/>
                <a:gd name="T49" fmla="*/ 24972 h 1206"/>
                <a:gd name="T50" fmla="*/ 16407 w 1056"/>
                <a:gd name="T51" fmla="*/ 23361 h 1206"/>
                <a:gd name="T52" fmla="*/ 17970 w 1056"/>
                <a:gd name="T53" fmla="*/ 17722 h 1206"/>
                <a:gd name="T54" fmla="*/ 27345 w 1056"/>
                <a:gd name="T55" fmla="*/ 17722 h 1206"/>
                <a:gd name="T56" fmla="*/ 32033 w 1056"/>
                <a:gd name="T57" fmla="*/ 14500 h 1206"/>
                <a:gd name="T58" fmla="*/ 42189 w 1056"/>
                <a:gd name="T59" fmla="*/ 16111 h 1206"/>
                <a:gd name="T60" fmla="*/ 42189 w 1056"/>
                <a:gd name="T61" fmla="*/ 20944 h 1206"/>
                <a:gd name="T62" fmla="*/ 50002 w 1056"/>
                <a:gd name="T63" fmla="*/ 20139 h 1206"/>
                <a:gd name="T64" fmla="*/ 55471 w 1056"/>
                <a:gd name="T65" fmla="*/ 8056 h 1206"/>
                <a:gd name="T66" fmla="*/ 62503 w 1056"/>
                <a:gd name="T67" fmla="*/ 806 h 1206"/>
                <a:gd name="T68" fmla="*/ 67191 w 1056"/>
                <a:gd name="T69" fmla="*/ 1611 h 1206"/>
                <a:gd name="T70" fmla="*/ 71097 w 1056"/>
                <a:gd name="T71" fmla="*/ 10472 h 1206"/>
                <a:gd name="T72" fmla="*/ 68753 w 1056"/>
                <a:gd name="T73" fmla="*/ 13694 h 1206"/>
                <a:gd name="T74" fmla="*/ 69534 w 1056"/>
                <a:gd name="T75" fmla="*/ 16917 h 1206"/>
                <a:gd name="T76" fmla="*/ 67191 w 1056"/>
                <a:gd name="T77" fmla="*/ 20139 h 1206"/>
                <a:gd name="T78" fmla="*/ 66409 w 1056"/>
                <a:gd name="T79" fmla="*/ 24972 h 1206"/>
                <a:gd name="T80" fmla="*/ 64847 w 1056"/>
                <a:gd name="T81" fmla="*/ 29000 h 1206"/>
                <a:gd name="T82" fmla="*/ 62503 w 1056"/>
                <a:gd name="T83" fmla="*/ 33833 h 1206"/>
                <a:gd name="T84" fmla="*/ 62503 w 1056"/>
                <a:gd name="T85" fmla="*/ 37861 h 1206"/>
                <a:gd name="T86" fmla="*/ 60159 w 1056"/>
                <a:gd name="T87" fmla="*/ 44305 h 1206"/>
                <a:gd name="T88" fmla="*/ 58596 w 1056"/>
                <a:gd name="T89" fmla="*/ 45917 h 1206"/>
                <a:gd name="T90" fmla="*/ 51565 w 1056"/>
                <a:gd name="T91" fmla="*/ 45917 h 1206"/>
                <a:gd name="T92" fmla="*/ 51565 w 1056"/>
                <a:gd name="T93" fmla="*/ 41083 h 1206"/>
                <a:gd name="T94" fmla="*/ 37502 w 1056"/>
                <a:gd name="T95" fmla="*/ 40278 h 1206"/>
                <a:gd name="T96" fmla="*/ 35939 w 1056"/>
                <a:gd name="T97" fmla="*/ 44305 h 1206"/>
                <a:gd name="T98" fmla="*/ 32814 w 1056"/>
                <a:gd name="T99" fmla="*/ 47528 h 1206"/>
                <a:gd name="T100" fmla="*/ 32033 w 1056"/>
                <a:gd name="T101" fmla="*/ 49944 h 1206"/>
                <a:gd name="T102" fmla="*/ 33595 w 1056"/>
                <a:gd name="T103" fmla="*/ 53972 h 1206"/>
                <a:gd name="T104" fmla="*/ 32814 w 1056"/>
                <a:gd name="T105" fmla="*/ 58000 h 1206"/>
                <a:gd name="T106" fmla="*/ 30470 w 1056"/>
                <a:gd name="T107" fmla="*/ 62028 h 1206"/>
                <a:gd name="T108" fmla="*/ 28126 w 1056"/>
                <a:gd name="T109" fmla="*/ 64444 h 1206"/>
                <a:gd name="T110" fmla="*/ 28908 w 1056"/>
                <a:gd name="T111" fmla="*/ 66861 h 1206"/>
                <a:gd name="T112" fmla="*/ 31251 w 1056"/>
                <a:gd name="T113" fmla="*/ 70083 h 1206"/>
                <a:gd name="T114" fmla="*/ 32814 w 1056"/>
                <a:gd name="T115" fmla="*/ 71694 h 12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56"/>
                <a:gd name="T175" fmla="*/ 0 h 1206"/>
                <a:gd name="T176" fmla="*/ 1056 w 1056"/>
                <a:gd name="T177" fmla="*/ 1206 h 12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56" h="1206">
                  <a:moveTo>
                    <a:pt x="492" y="1032"/>
                  </a:moveTo>
                  <a:lnTo>
                    <a:pt x="486" y="1038"/>
                  </a:lnTo>
                  <a:lnTo>
                    <a:pt x="486" y="1044"/>
                  </a:lnTo>
                  <a:lnTo>
                    <a:pt x="480" y="1044"/>
                  </a:lnTo>
                  <a:lnTo>
                    <a:pt x="474" y="1056"/>
                  </a:lnTo>
                  <a:lnTo>
                    <a:pt x="462" y="1068"/>
                  </a:lnTo>
                  <a:lnTo>
                    <a:pt x="456" y="1080"/>
                  </a:lnTo>
                  <a:lnTo>
                    <a:pt x="450" y="1080"/>
                  </a:lnTo>
                  <a:lnTo>
                    <a:pt x="450" y="1086"/>
                  </a:lnTo>
                  <a:lnTo>
                    <a:pt x="450" y="1092"/>
                  </a:lnTo>
                  <a:lnTo>
                    <a:pt x="444" y="1104"/>
                  </a:lnTo>
                  <a:lnTo>
                    <a:pt x="444" y="1116"/>
                  </a:lnTo>
                  <a:lnTo>
                    <a:pt x="438" y="1128"/>
                  </a:lnTo>
                  <a:lnTo>
                    <a:pt x="432" y="1134"/>
                  </a:lnTo>
                  <a:lnTo>
                    <a:pt x="432" y="1140"/>
                  </a:lnTo>
                  <a:lnTo>
                    <a:pt x="420" y="1152"/>
                  </a:lnTo>
                  <a:lnTo>
                    <a:pt x="420" y="1158"/>
                  </a:lnTo>
                  <a:lnTo>
                    <a:pt x="408" y="1182"/>
                  </a:lnTo>
                  <a:lnTo>
                    <a:pt x="396" y="1194"/>
                  </a:lnTo>
                  <a:lnTo>
                    <a:pt x="390" y="1206"/>
                  </a:lnTo>
                  <a:lnTo>
                    <a:pt x="390" y="1200"/>
                  </a:lnTo>
                  <a:lnTo>
                    <a:pt x="384" y="1194"/>
                  </a:lnTo>
                  <a:lnTo>
                    <a:pt x="378" y="1188"/>
                  </a:lnTo>
                  <a:lnTo>
                    <a:pt x="366" y="1176"/>
                  </a:lnTo>
                  <a:lnTo>
                    <a:pt x="366" y="1170"/>
                  </a:lnTo>
                  <a:lnTo>
                    <a:pt x="348" y="1152"/>
                  </a:lnTo>
                  <a:lnTo>
                    <a:pt x="336" y="1140"/>
                  </a:lnTo>
                  <a:lnTo>
                    <a:pt x="330" y="1134"/>
                  </a:lnTo>
                  <a:lnTo>
                    <a:pt x="324" y="1128"/>
                  </a:lnTo>
                  <a:lnTo>
                    <a:pt x="318" y="1122"/>
                  </a:lnTo>
                  <a:lnTo>
                    <a:pt x="312" y="1116"/>
                  </a:lnTo>
                  <a:lnTo>
                    <a:pt x="306" y="1110"/>
                  </a:lnTo>
                  <a:lnTo>
                    <a:pt x="300" y="1104"/>
                  </a:lnTo>
                  <a:lnTo>
                    <a:pt x="294" y="1098"/>
                  </a:lnTo>
                  <a:lnTo>
                    <a:pt x="276" y="1080"/>
                  </a:lnTo>
                  <a:lnTo>
                    <a:pt x="270" y="1080"/>
                  </a:lnTo>
                  <a:lnTo>
                    <a:pt x="270" y="1074"/>
                  </a:lnTo>
                  <a:lnTo>
                    <a:pt x="264" y="1068"/>
                  </a:lnTo>
                  <a:lnTo>
                    <a:pt x="258" y="1062"/>
                  </a:lnTo>
                  <a:lnTo>
                    <a:pt x="252" y="1062"/>
                  </a:lnTo>
                  <a:lnTo>
                    <a:pt x="252" y="1056"/>
                  </a:lnTo>
                  <a:lnTo>
                    <a:pt x="252" y="1062"/>
                  </a:lnTo>
                  <a:lnTo>
                    <a:pt x="252" y="1056"/>
                  </a:lnTo>
                  <a:lnTo>
                    <a:pt x="246" y="1056"/>
                  </a:lnTo>
                  <a:lnTo>
                    <a:pt x="246" y="1050"/>
                  </a:lnTo>
                  <a:lnTo>
                    <a:pt x="240" y="1050"/>
                  </a:lnTo>
                  <a:lnTo>
                    <a:pt x="234" y="1044"/>
                  </a:lnTo>
                  <a:lnTo>
                    <a:pt x="228" y="1044"/>
                  </a:lnTo>
                  <a:lnTo>
                    <a:pt x="222" y="1038"/>
                  </a:lnTo>
                  <a:lnTo>
                    <a:pt x="222" y="1032"/>
                  </a:lnTo>
                  <a:lnTo>
                    <a:pt x="216" y="1032"/>
                  </a:lnTo>
                  <a:lnTo>
                    <a:pt x="216" y="1026"/>
                  </a:lnTo>
                  <a:lnTo>
                    <a:pt x="210" y="1026"/>
                  </a:lnTo>
                  <a:lnTo>
                    <a:pt x="204" y="1020"/>
                  </a:lnTo>
                  <a:lnTo>
                    <a:pt x="204" y="1014"/>
                  </a:lnTo>
                  <a:lnTo>
                    <a:pt x="198" y="1014"/>
                  </a:lnTo>
                  <a:lnTo>
                    <a:pt x="192" y="1014"/>
                  </a:lnTo>
                  <a:lnTo>
                    <a:pt x="192" y="1008"/>
                  </a:lnTo>
                  <a:lnTo>
                    <a:pt x="186" y="1008"/>
                  </a:lnTo>
                  <a:lnTo>
                    <a:pt x="186" y="1002"/>
                  </a:lnTo>
                  <a:lnTo>
                    <a:pt x="180" y="1002"/>
                  </a:lnTo>
                  <a:lnTo>
                    <a:pt x="174" y="996"/>
                  </a:lnTo>
                  <a:lnTo>
                    <a:pt x="168" y="996"/>
                  </a:lnTo>
                  <a:lnTo>
                    <a:pt x="168" y="990"/>
                  </a:lnTo>
                  <a:lnTo>
                    <a:pt x="162" y="990"/>
                  </a:lnTo>
                  <a:lnTo>
                    <a:pt x="162" y="984"/>
                  </a:lnTo>
                  <a:lnTo>
                    <a:pt x="150" y="978"/>
                  </a:lnTo>
                  <a:lnTo>
                    <a:pt x="144" y="972"/>
                  </a:lnTo>
                  <a:lnTo>
                    <a:pt x="138" y="972"/>
                  </a:lnTo>
                  <a:lnTo>
                    <a:pt x="138" y="966"/>
                  </a:lnTo>
                  <a:lnTo>
                    <a:pt x="132" y="966"/>
                  </a:lnTo>
                  <a:lnTo>
                    <a:pt x="126" y="960"/>
                  </a:lnTo>
                  <a:lnTo>
                    <a:pt x="126" y="954"/>
                  </a:lnTo>
                  <a:lnTo>
                    <a:pt x="120" y="954"/>
                  </a:lnTo>
                  <a:lnTo>
                    <a:pt x="114" y="948"/>
                  </a:lnTo>
                  <a:lnTo>
                    <a:pt x="108" y="948"/>
                  </a:lnTo>
                  <a:lnTo>
                    <a:pt x="108" y="942"/>
                  </a:lnTo>
                  <a:lnTo>
                    <a:pt x="102" y="942"/>
                  </a:lnTo>
                  <a:lnTo>
                    <a:pt x="96" y="942"/>
                  </a:lnTo>
                  <a:lnTo>
                    <a:pt x="96" y="936"/>
                  </a:lnTo>
                  <a:lnTo>
                    <a:pt x="90" y="936"/>
                  </a:lnTo>
                  <a:lnTo>
                    <a:pt x="90" y="930"/>
                  </a:lnTo>
                  <a:lnTo>
                    <a:pt x="84" y="930"/>
                  </a:lnTo>
                  <a:lnTo>
                    <a:pt x="78" y="930"/>
                  </a:lnTo>
                  <a:lnTo>
                    <a:pt x="78" y="924"/>
                  </a:lnTo>
                  <a:lnTo>
                    <a:pt x="60" y="918"/>
                  </a:lnTo>
                  <a:lnTo>
                    <a:pt x="66" y="918"/>
                  </a:lnTo>
                  <a:lnTo>
                    <a:pt x="66" y="912"/>
                  </a:lnTo>
                  <a:lnTo>
                    <a:pt x="66" y="906"/>
                  </a:lnTo>
                  <a:lnTo>
                    <a:pt x="72" y="906"/>
                  </a:lnTo>
                  <a:lnTo>
                    <a:pt x="84" y="906"/>
                  </a:lnTo>
                  <a:lnTo>
                    <a:pt x="90" y="906"/>
                  </a:lnTo>
                  <a:lnTo>
                    <a:pt x="120" y="930"/>
                  </a:lnTo>
                  <a:lnTo>
                    <a:pt x="126" y="936"/>
                  </a:lnTo>
                  <a:lnTo>
                    <a:pt x="138" y="936"/>
                  </a:lnTo>
                  <a:lnTo>
                    <a:pt x="138" y="930"/>
                  </a:lnTo>
                  <a:lnTo>
                    <a:pt x="144" y="930"/>
                  </a:lnTo>
                  <a:lnTo>
                    <a:pt x="144" y="924"/>
                  </a:lnTo>
                  <a:lnTo>
                    <a:pt x="150" y="900"/>
                  </a:lnTo>
                  <a:lnTo>
                    <a:pt x="138" y="894"/>
                  </a:lnTo>
                  <a:lnTo>
                    <a:pt x="126" y="894"/>
                  </a:lnTo>
                  <a:lnTo>
                    <a:pt x="108" y="888"/>
                  </a:lnTo>
                  <a:lnTo>
                    <a:pt x="84" y="882"/>
                  </a:lnTo>
                  <a:lnTo>
                    <a:pt x="72" y="882"/>
                  </a:lnTo>
                  <a:lnTo>
                    <a:pt x="72" y="876"/>
                  </a:lnTo>
                  <a:lnTo>
                    <a:pt x="78" y="870"/>
                  </a:lnTo>
                  <a:lnTo>
                    <a:pt x="90" y="870"/>
                  </a:lnTo>
                  <a:lnTo>
                    <a:pt x="96" y="870"/>
                  </a:lnTo>
                  <a:lnTo>
                    <a:pt x="102" y="870"/>
                  </a:lnTo>
                  <a:lnTo>
                    <a:pt x="114" y="870"/>
                  </a:lnTo>
                  <a:lnTo>
                    <a:pt x="120" y="858"/>
                  </a:lnTo>
                  <a:lnTo>
                    <a:pt x="126" y="852"/>
                  </a:lnTo>
                  <a:lnTo>
                    <a:pt x="126" y="846"/>
                  </a:lnTo>
                  <a:lnTo>
                    <a:pt x="126" y="834"/>
                  </a:lnTo>
                  <a:lnTo>
                    <a:pt x="132" y="828"/>
                  </a:lnTo>
                  <a:lnTo>
                    <a:pt x="132" y="816"/>
                  </a:lnTo>
                  <a:lnTo>
                    <a:pt x="150" y="816"/>
                  </a:lnTo>
                  <a:lnTo>
                    <a:pt x="150" y="804"/>
                  </a:lnTo>
                  <a:lnTo>
                    <a:pt x="144" y="798"/>
                  </a:lnTo>
                  <a:lnTo>
                    <a:pt x="156" y="762"/>
                  </a:lnTo>
                  <a:lnTo>
                    <a:pt x="156" y="750"/>
                  </a:lnTo>
                  <a:lnTo>
                    <a:pt x="156" y="744"/>
                  </a:lnTo>
                  <a:lnTo>
                    <a:pt x="150" y="732"/>
                  </a:lnTo>
                  <a:lnTo>
                    <a:pt x="144" y="726"/>
                  </a:lnTo>
                  <a:lnTo>
                    <a:pt x="132" y="726"/>
                  </a:lnTo>
                  <a:lnTo>
                    <a:pt x="120" y="732"/>
                  </a:lnTo>
                  <a:lnTo>
                    <a:pt x="114" y="744"/>
                  </a:lnTo>
                  <a:lnTo>
                    <a:pt x="108" y="750"/>
                  </a:lnTo>
                  <a:lnTo>
                    <a:pt x="96" y="768"/>
                  </a:lnTo>
                  <a:lnTo>
                    <a:pt x="96" y="774"/>
                  </a:lnTo>
                  <a:lnTo>
                    <a:pt x="90" y="780"/>
                  </a:lnTo>
                  <a:lnTo>
                    <a:pt x="84" y="804"/>
                  </a:lnTo>
                  <a:lnTo>
                    <a:pt x="72" y="774"/>
                  </a:lnTo>
                  <a:lnTo>
                    <a:pt x="72" y="768"/>
                  </a:lnTo>
                  <a:lnTo>
                    <a:pt x="66" y="762"/>
                  </a:lnTo>
                  <a:lnTo>
                    <a:pt x="60" y="750"/>
                  </a:lnTo>
                  <a:lnTo>
                    <a:pt x="54" y="750"/>
                  </a:lnTo>
                  <a:lnTo>
                    <a:pt x="48" y="750"/>
                  </a:lnTo>
                  <a:lnTo>
                    <a:pt x="42" y="750"/>
                  </a:lnTo>
                  <a:lnTo>
                    <a:pt x="30" y="744"/>
                  </a:lnTo>
                  <a:lnTo>
                    <a:pt x="24" y="744"/>
                  </a:lnTo>
                  <a:lnTo>
                    <a:pt x="24" y="738"/>
                  </a:lnTo>
                  <a:lnTo>
                    <a:pt x="18" y="732"/>
                  </a:lnTo>
                  <a:lnTo>
                    <a:pt x="12" y="732"/>
                  </a:lnTo>
                  <a:lnTo>
                    <a:pt x="6" y="720"/>
                  </a:lnTo>
                  <a:lnTo>
                    <a:pt x="6" y="714"/>
                  </a:lnTo>
                  <a:lnTo>
                    <a:pt x="0" y="714"/>
                  </a:lnTo>
                  <a:lnTo>
                    <a:pt x="6" y="708"/>
                  </a:lnTo>
                  <a:lnTo>
                    <a:pt x="12" y="708"/>
                  </a:lnTo>
                  <a:lnTo>
                    <a:pt x="12" y="702"/>
                  </a:lnTo>
                  <a:lnTo>
                    <a:pt x="18" y="696"/>
                  </a:lnTo>
                  <a:lnTo>
                    <a:pt x="12" y="690"/>
                  </a:lnTo>
                  <a:lnTo>
                    <a:pt x="12" y="684"/>
                  </a:lnTo>
                  <a:lnTo>
                    <a:pt x="12" y="678"/>
                  </a:lnTo>
                  <a:lnTo>
                    <a:pt x="12" y="672"/>
                  </a:lnTo>
                  <a:lnTo>
                    <a:pt x="18" y="672"/>
                  </a:lnTo>
                  <a:lnTo>
                    <a:pt x="18" y="666"/>
                  </a:lnTo>
                  <a:lnTo>
                    <a:pt x="24" y="666"/>
                  </a:lnTo>
                  <a:lnTo>
                    <a:pt x="24" y="660"/>
                  </a:lnTo>
                  <a:lnTo>
                    <a:pt x="30" y="660"/>
                  </a:lnTo>
                  <a:lnTo>
                    <a:pt x="30" y="654"/>
                  </a:lnTo>
                  <a:lnTo>
                    <a:pt x="36" y="654"/>
                  </a:lnTo>
                  <a:lnTo>
                    <a:pt x="36" y="648"/>
                  </a:lnTo>
                  <a:lnTo>
                    <a:pt x="42" y="648"/>
                  </a:lnTo>
                  <a:lnTo>
                    <a:pt x="48" y="642"/>
                  </a:lnTo>
                  <a:lnTo>
                    <a:pt x="54" y="642"/>
                  </a:lnTo>
                  <a:lnTo>
                    <a:pt x="60" y="636"/>
                  </a:lnTo>
                  <a:lnTo>
                    <a:pt x="54" y="636"/>
                  </a:lnTo>
                  <a:lnTo>
                    <a:pt x="60" y="630"/>
                  </a:lnTo>
                  <a:lnTo>
                    <a:pt x="66" y="630"/>
                  </a:lnTo>
                  <a:lnTo>
                    <a:pt x="72" y="630"/>
                  </a:lnTo>
                  <a:lnTo>
                    <a:pt x="72" y="624"/>
                  </a:lnTo>
                  <a:lnTo>
                    <a:pt x="78" y="624"/>
                  </a:lnTo>
                  <a:lnTo>
                    <a:pt x="84" y="618"/>
                  </a:lnTo>
                  <a:lnTo>
                    <a:pt x="84" y="612"/>
                  </a:lnTo>
                  <a:lnTo>
                    <a:pt x="90" y="612"/>
                  </a:lnTo>
                  <a:lnTo>
                    <a:pt x="102" y="606"/>
                  </a:lnTo>
                  <a:lnTo>
                    <a:pt x="114" y="606"/>
                  </a:lnTo>
                  <a:lnTo>
                    <a:pt x="120" y="600"/>
                  </a:lnTo>
                  <a:lnTo>
                    <a:pt x="120" y="594"/>
                  </a:lnTo>
                  <a:lnTo>
                    <a:pt x="120" y="588"/>
                  </a:lnTo>
                  <a:lnTo>
                    <a:pt x="120" y="582"/>
                  </a:lnTo>
                  <a:lnTo>
                    <a:pt x="120" y="576"/>
                  </a:lnTo>
                  <a:lnTo>
                    <a:pt x="120" y="570"/>
                  </a:lnTo>
                  <a:lnTo>
                    <a:pt x="126" y="564"/>
                  </a:lnTo>
                  <a:lnTo>
                    <a:pt x="126" y="558"/>
                  </a:lnTo>
                  <a:lnTo>
                    <a:pt x="126" y="552"/>
                  </a:lnTo>
                  <a:lnTo>
                    <a:pt x="126" y="546"/>
                  </a:lnTo>
                  <a:lnTo>
                    <a:pt x="126" y="534"/>
                  </a:lnTo>
                  <a:lnTo>
                    <a:pt x="126" y="516"/>
                  </a:lnTo>
                  <a:lnTo>
                    <a:pt x="126" y="510"/>
                  </a:lnTo>
                  <a:lnTo>
                    <a:pt x="126" y="504"/>
                  </a:lnTo>
                  <a:lnTo>
                    <a:pt x="126" y="498"/>
                  </a:lnTo>
                  <a:lnTo>
                    <a:pt x="132" y="498"/>
                  </a:lnTo>
                  <a:lnTo>
                    <a:pt x="132" y="492"/>
                  </a:lnTo>
                  <a:lnTo>
                    <a:pt x="138" y="492"/>
                  </a:lnTo>
                  <a:lnTo>
                    <a:pt x="144" y="486"/>
                  </a:lnTo>
                  <a:lnTo>
                    <a:pt x="156" y="480"/>
                  </a:lnTo>
                  <a:lnTo>
                    <a:pt x="156" y="474"/>
                  </a:lnTo>
                  <a:lnTo>
                    <a:pt x="156" y="468"/>
                  </a:lnTo>
                  <a:lnTo>
                    <a:pt x="156" y="462"/>
                  </a:lnTo>
                  <a:lnTo>
                    <a:pt x="156" y="456"/>
                  </a:lnTo>
                  <a:lnTo>
                    <a:pt x="156" y="450"/>
                  </a:lnTo>
                  <a:lnTo>
                    <a:pt x="162" y="438"/>
                  </a:lnTo>
                  <a:lnTo>
                    <a:pt x="168" y="426"/>
                  </a:lnTo>
                  <a:lnTo>
                    <a:pt x="174" y="426"/>
                  </a:lnTo>
                  <a:lnTo>
                    <a:pt x="174" y="420"/>
                  </a:lnTo>
                  <a:lnTo>
                    <a:pt x="180" y="414"/>
                  </a:lnTo>
                  <a:lnTo>
                    <a:pt x="186" y="420"/>
                  </a:lnTo>
                  <a:lnTo>
                    <a:pt x="186" y="414"/>
                  </a:lnTo>
                  <a:lnTo>
                    <a:pt x="180" y="408"/>
                  </a:lnTo>
                  <a:lnTo>
                    <a:pt x="180" y="402"/>
                  </a:lnTo>
                  <a:lnTo>
                    <a:pt x="186" y="402"/>
                  </a:lnTo>
                  <a:lnTo>
                    <a:pt x="192" y="402"/>
                  </a:lnTo>
                  <a:lnTo>
                    <a:pt x="192" y="396"/>
                  </a:lnTo>
                  <a:lnTo>
                    <a:pt x="198" y="396"/>
                  </a:lnTo>
                  <a:lnTo>
                    <a:pt x="204" y="396"/>
                  </a:lnTo>
                  <a:lnTo>
                    <a:pt x="210" y="396"/>
                  </a:lnTo>
                  <a:lnTo>
                    <a:pt x="210" y="390"/>
                  </a:lnTo>
                  <a:lnTo>
                    <a:pt x="216" y="390"/>
                  </a:lnTo>
                  <a:lnTo>
                    <a:pt x="216" y="384"/>
                  </a:lnTo>
                  <a:lnTo>
                    <a:pt x="222" y="384"/>
                  </a:lnTo>
                  <a:lnTo>
                    <a:pt x="222" y="378"/>
                  </a:lnTo>
                  <a:lnTo>
                    <a:pt x="228" y="372"/>
                  </a:lnTo>
                  <a:lnTo>
                    <a:pt x="234" y="360"/>
                  </a:lnTo>
                  <a:lnTo>
                    <a:pt x="234" y="354"/>
                  </a:lnTo>
                  <a:lnTo>
                    <a:pt x="240" y="354"/>
                  </a:lnTo>
                  <a:lnTo>
                    <a:pt x="240" y="348"/>
                  </a:lnTo>
                  <a:lnTo>
                    <a:pt x="246" y="348"/>
                  </a:lnTo>
                  <a:lnTo>
                    <a:pt x="240" y="348"/>
                  </a:lnTo>
                  <a:lnTo>
                    <a:pt x="234" y="342"/>
                  </a:lnTo>
                  <a:lnTo>
                    <a:pt x="234" y="336"/>
                  </a:lnTo>
                  <a:lnTo>
                    <a:pt x="240" y="330"/>
                  </a:lnTo>
                  <a:lnTo>
                    <a:pt x="246" y="330"/>
                  </a:lnTo>
                  <a:lnTo>
                    <a:pt x="246" y="324"/>
                  </a:lnTo>
                  <a:lnTo>
                    <a:pt x="234" y="318"/>
                  </a:lnTo>
                  <a:lnTo>
                    <a:pt x="234" y="312"/>
                  </a:lnTo>
                  <a:lnTo>
                    <a:pt x="234" y="300"/>
                  </a:lnTo>
                  <a:lnTo>
                    <a:pt x="240" y="288"/>
                  </a:lnTo>
                  <a:lnTo>
                    <a:pt x="240" y="276"/>
                  </a:lnTo>
                  <a:lnTo>
                    <a:pt x="246" y="258"/>
                  </a:lnTo>
                  <a:lnTo>
                    <a:pt x="258" y="252"/>
                  </a:lnTo>
                  <a:lnTo>
                    <a:pt x="270" y="258"/>
                  </a:lnTo>
                  <a:lnTo>
                    <a:pt x="282" y="252"/>
                  </a:lnTo>
                  <a:lnTo>
                    <a:pt x="288" y="252"/>
                  </a:lnTo>
                  <a:lnTo>
                    <a:pt x="294" y="252"/>
                  </a:lnTo>
                  <a:lnTo>
                    <a:pt x="300" y="258"/>
                  </a:lnTo>
                  <a:lnTo>
                    <a:pt x="318" y="252"/>
                  </a:lnTo>
                  <a:lnTo>
                    <a:pt x="366" y="252"/>
                  </a:lnTo>
                  <a:lnTo>
                    <a:pt x="378" y="252"/>
                  </a:lnTo>
                  <a:lnTo>
                    <a:pt x="396" y="252"/>
                  </a:lnTo>
                  <a:lnTo>
                    <a:pt x="408" y="252"/>
                  </a:lnTo>
                  <a:lnTo>
                    <a:pt x="408" y="246"/>
                  </a:lnTo>
                  <a:lnTo>
                    <a:pt x="414" y="240"/>
                  </a:lnTo>
                  <a:lnTo>
                    <a:pt x="414" y="228"/>
                  </a:lnTo>
                  <a:lnTo>
                    <a:pt x="420" y="222"/>
                  </a:lnTo>
                  <a:lnTo>
                    <a:pt x="420" y="216"/>
                  </a:lnTo>
                  <a:lnTo>
                    <a:pt x="426" y="210"/>
                  </a:lnTo>
                  <a:lnTo>
                    <a:pt x="444" y="198"/>
                  </a:lnTo>
                  <a:lnTo>
                    <a:pt x="462" y="198"/>
                  </a:lnTo>
                  <a:lnTo>
                    <a:pt x="474" y="204"/>
                  </a:lnTo>
                  <a:lnTo>
                    <a:pt x="498" y="198"/>
                  </a:lnTo>
                  <a:lnTo>
                    <a:pt x="498" y="204"/>
                  </a:lnTo>
                  <a:lnTo>
                    <a:pt x="540" y="210"/>
                  </a:lnTo>
                  <a:lnTo>
                    <a:pt x="564" y="210"/>
                  </a:lnTo>
                  <a:lnTo>
                    <a:pt x="588" y="210"/>
                  </a:lnTo>
                  <a:lnTo>
                    <a:pt x="612" y="210"/>
                  </a:lnTo>
                  <a:lnTo>
                    <a:pt x="612" y="216"/>
                  </a:lnTo>
                  <a:lnTo>
                    <a:pt x="618" y="222"/>
                  </a:lnTo>
                  <a:lnTo>
                    <a:pt x="618" y="228"/>
                  </a:lnTo>
                  <a:lnTo>
                    <a:pt x="624" y="240"/>
                  </a:lnTo>
                  <a:lnTo>
                    <a:pt x="624" y="246"/>
                  </a:lnTo>
                  <a:lnTo>
                    <a:pt x="630" y="252"/>
                  </a:lnTo>
                  <a:lnTo>
                    <a:pt x="630" y="258"/>
                  </a:lnTo>
                  <a:lnTo>
                    <a:pt x="636" y="264"/>
                  </a:lnTo>
                  <a:lnTo>
                    <a:pt x="636" y="270"/>
                  </a:lnTo>
                  <a:lnTo>
                    <a:pt x="630" y="282"/>
                  </a:lnTo>
                  <a:lnTo>
                    <a:pt x="630" y="288"/>
                  </a:lnTo>
                  <a:lnTo>
                    <a:pt x="630" y="300"/>
                  </a:lnTo>
                  <a:lnTo>
                    <a:pt x="630" y="306"/>
                  </a:lnTo>
                  <a:lnTo>
                    <a:pt x="636" y="306"/>
                  </a:lnTo>
                  <a:lnTo>
                    <a:pt x="642" y="306"/>
                  </a:lnTo>
                  <a:lnTo>
                    <a:pt x="648" y="312"/>
                  </a:lnTo>
                  <a:lnTo>
                    <a:pt x="666" y="312"/>
                  </a:lnTo>
                  <a:lnTo>
                    <a:pt x="696" y="306"/>
                  </a:lnTo>
                  <a:lnTo>
                    <a:pt x="732" y="300"/>
                  </a:lnTo>
                  <a:lnTo>
                    <a:pt x="732" y="288"/>
                  </a:lnTo>
                  <a:lnTo>
                    <a:pt x="738" y="288"/>
                  </a:lnTo>
                  <a:lnTo>
                    <a:pt x="744" y="276"/>
                  </a:lnTo>
                  <a:lnTo>
                    <a:pt x="762" y="246"/>
                  </a:lnTo>
                  <a:lnTo>
                    <a:pt x="768" y="228"/>
                  </a:lnTo>
                  <a:lnTo>
                    <a:pt x="792" y="210"/>
                  </a:lnTo>
                  <a:lnTo>
                    <a:pt x="804" y="186"/>
                  </a:lnTo>
                  <a:lnTo>
                    <a:pt x="804" y="156"/>
                  </a:lnTo>
                  <a:lnTo>
                    <a:pt x="804" y="138"/>
                  </a:lnTo>
                  <a:lnTo>
                    <a:pt x="810" y="126"/>
                  </a:lnTo>
                  <a:lnTo>
                    <a:pt x="816" y="120"/>
                  </a:lnTo>
                  <a:lnTo>
                    <a:pt x="828" y="102"/>
                  </a:lnTo>
                  <a:lnTo>
                    <a:pt x="834" y="96"/>
                  </a:lnTo>
                  <a:lnTo>
                    <a:pt x="846" y="102"/>
                  </a:lnTo>
                  <a:lnTo>
                    <a:pt x="852" y="96"/>
                  </a:lnTo>
                  <a:lnTo>
                    <a:pt x="858" y="72"/>
                  </a:lnTo>
                  <a:lnTo>
                    <a:pt x="864" y="60"/>
                  </a:lnTo>
                  <a:lnTo>
                    <a:pt x="882" y="48"/>
                  </a:lnTo>
                  <a:lnTo>
                    <a:pt x="906" y="36"/>
                  </a:lnTo>
                  <a:lnTo>
                    <a:pt x="918" y="12"/>
                  </a:lnTo>
                  <a:lnTo>
                    <a:pt x="924" y="0"/>
                  </a:lnTo>
                  <a:lnTo>
                    <a:pt x="930" y="6"/>
                  </a:lnTo>
                  <a:lnTo>
                    <a:pt x="942" y="12"/>
                  </a:lnTo>
                  <a:lnTo>
                    <a:pt x="948" y="12"/>
                  </a:lnTo>
                  <a:lnTo>
                    <a:pt x="954" y="18"/>
                  </a:lnTo>
                  <a:lnTo>
                    <a:pt x="966" y="18"/>
                  </a:lnTo>
                  <a:lnTo>
                    <a:pt x="972" y="18"/>
                  </a:lnTo>
                  <a:lnTo>
                    <a:pt x="984" y="18"/>
                  </a:lnTo>
                  <a:lnTo>
                    <a:pt x="990" y="18"/>
                  </a:lnTo>
                  <a:lnTo>
                    <a:pt x="1002" y="48"/>
                  </a:lnTo>
                  <a:lnTo>
                    <a:pt x="1008" y="78"/>
                  </a:lnTo>
                  <a:lnTo>
                    <a:pt x="1020" y="78"/>
                  </a:lnTo>
                  <a:lnTo>
                    <a:pt x="1020" y="90"/>
                  </a:lnTo>
                  <a:lnTo>
                    <a:pt x="1026" y="102"/>
                  </a:lnTo>
                  <a:lnTo>
                    <a:pt x="1044" y="120"/>
                  </a:lnTo>
                  <a:lnTo>
                    <a:pt x="1044" y="132"/>
                  </a:lnTo>
                  <a:lnTo>
                    <a:pt x="1056" y="150"/>
                  </a:lnTo>
                  <a:lnTo>
                    <a:pt x="1050" y="150"/>
                  </a:lnTo>
                  <a:lnTo>
                    <a:pt x="1044" y="156"/>
                  </a:lnTo>
                  <a:lnTo>
                    <a:pt x="1044" y="162"/>
                  </a:lnTo>
                  <a:lnTo>
                    <a:pt x="1038" y="162"/>
                  </a:lnTo>
                  <a:lnTo>
                    <a:pt x="1032" y="162"/>
                  </a:lnTo>
                  <a:lnTo>
                    <a:pt x="1026" y="168"/>
                  </a:lnTo>
                  <a:lnTo>
                    <a:pt x="1014" y="174"/>
                  </a:lnTo>
                  <a:lnTo>
                    <a:pt x="1014" y="186"/>
                  </a:lnTo>
                  <a:lnTo>
                    <a:pt x="1014" y="192"/>
                  </a:lnTo>
                  <a:lnTo>
                    <a:pt x="1014" y="198"/>
                  </a:lnTo>
                  <a:lnTo>
                    <a:pt x="1020" y="204"/>
                  </a:lnTo>
                  <a:lnTo>
                    <a:pt x="1026" y="204"/>
                  </a:lnTo>
                  <a:lnTo>
                    <a:pt x="1032" y="204"/>
                  </a:lnTo>
                  <a:lnTo>
                    <a:pt x="1032" y="210"/>
                  </a:lnTo>
                  <a:lnTo>
                    <a:pt x="1038" y="210"/>
                  </a:lnTo>
                  <a:lnTo>
                    <a:pt x="1032" y="216"/>
                  </a:lnTo>
                  <a:lnTo>
                    <a:pt x="1026" y="228"/>
                  </a:lnTo>
                  <a:lnTo>
                    <a:pt x="1026" y="234"/>
                  </a:lnTo>
                  <a:lnTo>
                    <a:pt x="1032" y="240"/>
                  </a:lnTo>
                  <a:lnTo>
                    <a:pt x="1032" y="246"/>
                  </a:lnTo>
                  <a:lnTo>
                    <a:pt x="1032" y="252"/>
                  </a:lnTo>
                  <a:lnTo>
                    <a:pt x="1032" y="258"/>
                  </a:lnTo>
                  <a:lnTo>
                    <a:pt x="1038" y="264"/>
                  </a:lnTo>
                  <a:lnTo>
                    <a:pt x="1032" y="276"/>
                  </a:lnTo>
                  <a:lnTo>
                    <a:pt x="1026" y="276"/>
                  </a:lnTo>
                  <a:lnTo>
                    <a:pt x="1020" y="276"/>
                  </a:lnTo>
                  <a:lnTo>
                    <a:pt x="996" y="282"/>
                  </a:lnTo>
                  <a:lnTo>
                    <a:pt x="996" y="288"/>
                  </a:lnTo>
                  <a:lnTo>
                    <a:pt x="996" y="294"/>
                  </a:lnTo>
                  <a:lnTo>
                    <a:pt x="996" y="300"/>
                  </a:lnTo>
                  <a:lnTo>
                    <a:pt x="996" y="306"/>
                  </a:lnTo>
                  <a:lnTo>
                    <a:pt x="984" y="324"/>
                  </a:lnTo>
                  <a:lnTo>
                    <a:pt x="984" y="330"/>
                  </a:lnTo>
                  <a:lnTo>
                    <a:pt x="984" y="336"/>
                  </a:lnTo>
                  <a:lnTo>
                    <a:pt x="978" y="336"/>
                  </a:lnTo>
                  <a:lnTo>
                    <a:pt x="978" y="342"/>
                  </a:lnTo>
                  <a:lnTo>
                    <a:pt x="984" y="360"/>
                  </a:lnTo>
                  <a:lnTo>
                    <a:pt x="978" y="366"/>
                  </a:lnTo>
                  <a:lnTo>
                    <a:pt x="978" y="372"/>
                  </a:lnTo>
                  <a:lnTo>
                    <a:pt x="972" y="372"/>
                  </a:lnTo>
                  <a:lnTo>
                    <a:pt x="972" y="378"/>
                  </a:lnTo>
                  <a:lnTo>
                    <a:pt x="972" y="384"/>
                  </a:lnTo>
                  <a:lnTo>
                    <a:pt x="972" y="390"/>
                  </a:lnTo>
                  <a:lnTo>
                    <a:pt x="966" y="402"/>
                  </a:lnTo>
                  <a:lnTo>
                    <a:pt x="960" y="414"/>
                  </a:lnTo>
                  <a:lnTo>
                    <a:pt x="954" y="420"/>
                  </a:lnTo>
                  <a:lnTo>
                    <a:pt x="948" y="426"/>
                  </a:lnTo>
                  <a:lnTo>
                    <a:pt x="948" y="438"/>
                  </a:lnTo>
                  <a:lnTo>
                    <a:pt x="942" y="444"/>
                  </a:lnTo>
                  <a:lnTo>
                    <a:pt x="936" y="450"/>
                  </a:lnTo>
                  <a:lnTo>
                    <a:pt x="930" y="456"/>
                  </a:lnTo>
                  <a:lnTo>
                    <a:pt x="924" y="462"/>
                  </a:lnTo>
                  <a:lnTo>
                    <a:pt x="924" y="474"/>
                  </a:lnTo>
                  <a:lnTo>
                    <a:pt x="918" y="474"/>
                  </a:lnTo>
                  <a:lnTo>
                    <a:pt x="918" y="480"/>
                  </a:lnTo>
                  <a:lnTo>
                    <a:pt x="918" y="486"/>
                  </a:lnTo>
                  <a:lnTo>
                    <a:pt x="918" y="504"/>
                  </a:lnTo>
                  <a:lnTo>
                    <a:pt x="918" y="510"/>
                  </a:lnTo>
                  <a:lnTo>
                    <a:pt x="918" y="522"/>
                  </a:lnTo>
                  <a:lnTo>
                    <a:pt x="918" y="528"/>
                  </a:lnTo>
                  <a:lnTo>
                    <a:pt x="924" y="534"/>
                  </a:lnTo>
                  <a:lnTo>
                    <a:pt x="924" y="540"/>
                  </a:lnTo>
                  <a:lnTo>
                    <a:pt x="924" y="546"/>
                  </a:lnTo>
                  <a:lnTo>
                    <a:pt x="918" y="546"/>
                  </a:lnTo>
                  <a:lnTo>
                    <a:pt x="918" y="552"/>
                  </a:lnTo>
                  <a:lnTo>
                    <a:pt x="912" y="546"/>
                  </a:lnTo>
                  <a:lnTo>
                    <a:pt x="912" y="552"/>
                  </a:lnTo>
                  <a:lnTo>
                    <a:pt x="912" y="570"/>
                  </a:lnTo>
                  <a:lnTo>
                    <a:pt x="906" y="588"/>
                  </a:lnTo>
                  <a:lnTo>
                    <a:pt x="900" y="606"/>
                  </a:lnTo>
                  <a:lnTo>
                    <a:pt x="906" y="624"/>
                  </a:lnTo>
                  <a:lnTo>
                    <a:pt x="900" y="624"/>
                  </a:lnTo>
                  <a:lnTo>
                    <a:pt x="894" y="630"/>
                  </a:lnTo>
                  <a:lnTo>
                    <a:pt x="888" y="630"/>
                  </a:lnTo>
                  <a:lnTo>
                    <a:pt x="882" y="630"/>
                  </a:lnTo>
                  <a:lnTo>
                    <a:pt x="882" y="636"/>
                  </a:lnTo>
                  <a:lnTo>
                    <a:pt x="876" y="642"/>
                  </a:lnTo>
                  <a:lnTo>
                    <a:pt x="870" y="642"/>
                  </a:lnTo>
                  <a:lnTo>
                    <a:pt x="870" y="648"/>
                  </a:lnTo>
                  <a:lnTo>
                    <a:pt x="870" y="654"/>
                  </a:lnTo>
                  <a:lnTo>
                    <a:pt x="864" y="654"/>
                  </a:lnTo>
                  <a:lnTo>
                    <a:pt x="864" y="660"/>
                  </a:lnTo>
                  <a:lnTo>
                    <a:pt x="846" y="666"/>
                  </a:lnTo>
                  <a:lnTo>
                    <a:pt x="828" y="672"/>
                  </a:lnTo>
                  <a:lnTo>
                    <a:pt x="816" y="660"/>
                  </a:lnTo>
                  <a:lnTo>
                    <a:pt x="810" y="660"/>
                  </a:lnTo>
                  <a:lnTo>
                    <a:pt x="798" y="666"/>
                  </a:lnTo>
                  <a:lnTo>
                    <a:pt x="786" y="666"/>
                  </a:lnTo>
                  <a:lnTo>
                    <a:pt x="780" y="672"/>
                  </a:lnTo>
                  <a:lnTo>
                    <a:pt x="768" y="678"/>
                  </a:lnTo>
                  <a:lnTo>
                    <a:pt x="762" y="660"/>
                  </a:lnTo>
                  <a:lnTo>
                    <a:pt x="762" y="654"/>
                  </a:lnTo>
                  <a:lnTo>
                    <a:pt x="756" y="636"/>
                  </a:lnTo>
                  <a:lnTo>
                    <a:pt x="762" y="624"/>
                  </a:lnTo>
                  <a:lnTo>
                    <a:pt x="756" y="606"/>
                  </a:lnTo>
                  <a:lnTo>
                    <a:pt x="756" y="600"/>
                  </a:lnTo>
                  <a:lnTo>
                    <a:pt x="762" y="594"/>
                  </a:lnTo>
                  <a:lnTo>
                    <a:pt x="768" y="600"/>
                  </a:lnTo>
                  <a:lnTo>
                    <a:pt x="768" y="594"/>
                  </a:lnTo>
                  <a:lnTo>
                    <a:pt x="768" y="588"/>
                  </a:lnTo>
                  <a:lnTo>
                    <a:pt x="774" y="582"/>
                  </a:lnTo>
                  <a:lnTo>
                    <a:pt x="768" y="576"/>
                  </a:lnTo>
                  <a:lnTo>
                    <a:pt x="762" y="576"/>
                  </a:lnTo>
                  <a:lnTo>
                    <a:pt x="756" y="576"/>
                  </a:lnTo>
                  <a:lnTo>
                    <a:pt x="690" y="576"/>
                  </a:lnTo>
                  <a:lnTo>
                    <a:pt x="624" y="570"/>
                  </a:lnTo>
                  <a:lnTo>
                    <a:pt x="600" y="564"/>
                  </a:lnTo>
                  <a:lnTo>
                    <a:pt x="576" y="564"/>
                  </a:lnTo>
                  <a:lnTo>
                    <a:pt x="558" y="570"/>
                  </a:lnTo>
                  <a:lnTo>
                    <a:pt x="552" y="576"/>
                  </a:lnTo>
                  <a:lnTo>
                    <a:pt x="552" y="582"/>
                  </a:lnTo>
                  <a:lnTo>
                    <a:pt x="552" y="588"/>
                  </a:lnTo>
                  <a:lnTo>
                    <a:pt x="546" y="594"/>
                  </a:lnTo>
                  <a:lnTo>
                    <a:pt x="546" y="600"/>
                  </a:lnTo>
                  <a:lnTo>
                    <a:pt x="540" y="606"/>
                  </a:lnTo>
                  <a:lnTo>
                    <a:pt x="534" y="618"/>
                  </a:lnTo>
                  <a:lnTo>
                    <a:pt x="534" y="624"/>
                  </a:lnTo>
                  <a:lnTo>
                    <a:pt x="534" y="630"/>
                  </a:lnTo>
                  <a:lnTo>
                    <a:pt x="534" y="636"/>
                  </a:lnTo>
                  <a:lnTo>
                    <a:pt x="528" y="636"/>
                  </a:lnTo>
                  <a:lnTo>
                    <a:pt x="516" y="642"/>
                  </a:lnTo>
                  <a:lnTo>
                    <a:pt x="516" y="648"/>
                  </a:lnTo>
                  <a:lnTo>
                    <a:pt x="510" y="648"/>
                  </a:lnTo>
                  <a:lnTo>
                    <a:pt x="504" y="654"/>
                  </a:lnTo>
                  <a:lnTo>
                    <a:pt x="492" y="666"/>
                  </a:lnTo>
                  <a:lnTo>
                    <a:pt x="492" y="672"/>
                  </a:lnTo>
                  <a:lnTo>
                    <a:pt x="492" y="684"/>
                  </a:lnTo>
                  <a:lnTo>
                    <a:pt x="486" y="690"/>
                  </a:lnTo>
                  <a:lnTo>
                    <a:pt x="480" y="696"/>
                  </a:lnTo>
                  <a:lnTo>
                    <a:pt x="486" y="702"/>
                  </a:lnTo>
                  <a:lnTo>
                    <a:pt x="492" y="702"/>
                  </a:lnTo>
                  <a:lnTo>
                    <a:pt x="486" y="708"/>
                  </a:lnTo>
                  <a:lnTo>
                    <a:pt x="480" y="708"/>
                  </a:lnTo>
                  <a:lnTo>
                    <a:pt x="480" y="714"/>
                  </a:lnTo>
                  <a:lnTo>
                    <a:pt x="474" y="714"/>
                  </a:lnTo>
                  <a:lnTo>
                    <a:pt x="474" y="720"/>
                  </a:lnTo>
                  <a:lnTo>
                    <a:pt x="480" y="726"/>
                  </a:lnTo>
                  <a:lnTo>
                    <a:pt x="474" y="726"/>
                  </a:lnTo>
                  <a:lnTo>
                    <a:pt x="474" y="738"/>
                  </a:lnTo>
                  <a:lnTo>
                    <a:pt x="474" y="744"/>
                  </a:lnTo>
                  <a:lnTo>
                    <a:pt x="474" y="750"/>
                  </a:lnTo>
                  <a:lnTo>
                    <a:pt x="480" y="750"/>
                  </a:lnTo>
                  <a:lnTo>
                    <a:pt x="480" y="756"/>
                  </a:lnTo>
                  <a:lnTo>
                    <a:pt x="492" y="762"/>
                  </a:lnTo>
                  <a:lnTo>
                    <a:pt x="498" y="774"/>
                  </a:lnTo>
                  <a:lnTo>
                    <a:pt x="498" y="780"/>
                  </a:lnTo>
                  <a:lnTo>
                    <a:pt x="504" y="786"/>
                  </a:lnTo>
                  <a:lnTo>
                    <a:pt x="510" y="792"/>
                  </a:lnTo>
                  <a:lnTo>
                    <a:pt x="504" y="798"/>
                  </a:lnTo>
                  <a:lnTo>
                    <a:pt x="504" y="804"/>
                  </a:lnTo>
                  <a:lnTo>
                    <a:pt x="504" y="810"/>
                  </a:lnTo>
                  <a:lnTo>
                    <a:pt x="498" y="822"/>
                  </a:lnTo>
                  <a:lnTo>
                    <a:pt x="492" y="828"/>
                  </a:lnTo>
                  <a:lnTo>
                    <a:pt x="492" y="834"/>
                  </a:lnTo>
                  <a:lnTo>
                    <a:pt x="486" y="840"/>
                  </a:lnTo>
                  <a:lnTo>
                    <a:pt x="480" y="846"/>
                  </a:lnTo>
                  <a:lnTo>
                    <a:pt x="474" y="852"/>
                  </a:lnTo>
                  <a:lnTo>
                    <a:pt x="468" y="858"/>
                  </a:lnTo>
                  <a:lnTo>
                    <a:pt x="474" y="858"/>
                  </a:lnTo>
                  <a:lnTo>
                    <a:pt x="468" y="864"/>
                  </a:lnTo>
                  <a:lnTo>
                    <a:pt x="474" y="870"/>
                  </a:lnTo>
                  <a:lnTo>
                    <a:pt x="474" y="876"/>
                  </a:lnTo>
                  <a:lnTo>
                    <a:pt x="456" y="894"/>
                  </a:lnTo>
                  <a:lnTo>
                    <a:pt x="450" y="894"/>
                  </a:lnTo>
                  <a:lnTo>
                    <a:pt x="444" y="900"/>
                  </a:lnTo>
                  <a:lnTo>
                    <a:pt x="444" y="894"/>
                  </a:lnTo>
                  <a:lnTo>
                    <a:pt x="438" y="894"/>
                  </a:lnTo>
                  <a:lnTo>
                    <a:pt x="432" y="900"/>
                  </a:lnTo>
                  <a:lnTo>
                    <a:pt x="432" y="906"/>
                  </a:lnTo>
                  <a:lnTo>
                    <a:pt x="420" y="906"/>
                  </a:lnTo>
                  <a:lnTo>
                    <a:pt x="420" y="912"/>
                  </a:lnTo>
                  <a:lnTo>
                    <a:pt x="420" y="918"/>
                  </a:lnTo>
                  <a:lnTo>
                    <a:pt x="426" y="918"/>
                  </a:lnTo>
                  <a:lnTo>
                    <a:pt x="426" y="924"/>
                  </a:lnTo>
                  <a:lnTo>
                    <a:pt x="426" y="930"/>
                  </a:lnTo>
                  <a:lnTo>
                    <a:pt x="420" y="930"/>
                  </a:lnTo>
                  <a:lnTo>
                    <a:pt x="414" y="936"/>
                  </a:lnTo>
                  <a:lnTo>
                    <a:pt x="414" y="942"/>
                  </a:lnTo>
                  <a:lnTo>
                    <a:pt x="414" y="948"/>
                  </a:lnTo>
                  <a:lnTo>
                    <a:pt x="414" y="954"/>
                  </a:lnTo>
                  <a:lnTo>
                    <a:pt x="426" y="960"/>
                  </a:lnTo>
                  <a:lnTo>
                    <a:pt x="432" y="966"/>
                  </a:lnTo>
                  <a:lnTo>
                    <a:pt x="438" y="972"/>
                  </a:lnTo>
                  <a:lnTo>
                    <a:pt x="444" y="972"/>
                  </a:lnTo>
                  <a:lnTo>
                    <a:pt x="444" y="978"/>
                  </a:lnTo>
                  <a:lnTo>
                    <a:pt x="450" y="978"/>
                  </a:lnTo>
                  <a:lnTo>
                    <a:pt x="450" y="984"/>
                  </a:lnTo>
                  <a:lnTo>
                    <a:pt x="456" y="990"/>
                  </a:lnTo>
                  <a:lnTo>
                    <a:pt x="456" y="996"/>
                  </a:lnTo>
                  <a:lnTo>
                    <a:pt x="462" y="1008"/>
                  </a:lnTo>
                  <a:lnTo>
                    <a:pt x="468" y="1008"/>
                  </a:lnTo>
                  <a:lnTo>
                    <a:pt x="468" y="1002"/>
                  </a:lnTo>
                  <a:lnTo>
                    <a:pt x="474" y="1008"/>
                  </a:lnTo>
                  <a:lnTo>
                    <a:pt x="480" y="1002"/>
                  </a:lnTo>
                  <a:lnTo>
                    <a:pt x="486" y="1008"/>
                  </a:lnTo>
                  <a:lnTo>
                    <a:pt x="486" y="1014"/>
                  </a:lnTo>
                  <a:lnTo>
                    <a:pt x="492" y="1014"/>
                  </a:lnTo>
                  <a:lnTo>
                    <a:pt x="492" y="1020"/>
                  </a:lnTo>
                  <a:lnTo>
                    <a:pt x="486" y="1020"/>
                  </a:lnTo>
                  <a:lnTo>
                    <a:pt x="492" y="1020"/>
                  </a:lnTo>
                  <a:lnTo>
                    <a:pt x="486" y="1020"/>
                  </a:lnTo>
                  <a:lnTo>
                    <a:pt x="486" y="1026"/>
                  </a:lnTo>
                  <a:lnTo>
                    <a:pt x="492" y="1026"/>
                  </a:lnTo>
                  <a:lnTo>
                    <a:pt x="486" y="1026"/>
                  </a:lnTo>
                  <a:lnTo>
                    <a:pt x="492" y="1032"/>
                  </a:lnTo>
                  <a:close/>
                </a:path>
              </a:pathLst>
            </a:custGeom>
            <a:solidFill>
              <a:srgbClr val="FFC000"/>
            </a:solidFill>
            <a:ln w="9525">
              <a:solidFill>
                <a:schemeClr val="bg1"/>
              </a:solidFill>
              <a:round/>
              <a:headEnd/>
              <a:tailEnd/>
            </a:ln>
          </p:spPr>
          <p:txBody>
            <a:bodyPr/>
            <a:lstStyle/>
            <a:p>
              <a:endParaRPr lang="en-GB"/>
            </a:p>
          </p:txBody>
        </p:sp>
        <p:sp>
          <p:nvSpPr>
            <p:cNvPr id="19506" name="Freeform 31"/>
            <p:cNvSpPr>
              <a:spLocks noEditPoints="1"/>
            </p:cNvSpPr>
            <p:nvPr/>
          </p:nvSpPr>
          <p:spPr bwMode="gray">
            <a:xfrm>
              <a:off x="1442718" y="4928980"/>
              <a:ext cx="825037" cy="169194"/>
            </a:xfrm>
            <a:custGeom>
              <a:avLst/>
              <a:gdLst>
                <a:gd name="T0" fmla="*/ 53909 w 1056"/>
                <a:gd name="T1" fmla="*/ 5640 h 210"/>
                <a:gd name="T2" fmla="*/ 49221 w 1056"/>
                <a:gd name="T3" fmla="*/ 4028 h 210"/>
                <a:gd name="T4" fmla="*/ 44533 w 1056"/>
                <a:gd name="T5" fmla="*/ 4028 h 210"/>
                <a:gd name="T6" fmla="*/ 42189 w 1056"/>
                <a:gd name="T7" fmla="*/ 4834 h 210"/>
                <a:gd name="T8" fmla="*/ 39846 w 1056"/>
                <a:gd name="T9" fmla="*/ 5640 h 210"/>
                <a:gd name="T10" fmla="*/ 35939 w 1056"/>
                <a:gd name="T11" fmla="*/ 7251 h 210"/>
                <a:gd name="T12" fmla="*/ 32814 w 1056"/>
                <a:gd name="T13" fmla="*/ 6445 h 210"/>
                <a:gd name="T14" fmla="*/ 32814 w 1056"/>
                <a:gd name="T15" fmla="*/ 4028 h 210"/>
                <a:gd name="T16" fmla="*/ 32033 w 1056"/>
                <a:gd name="T17" fmla="*/ 5640 h 210"/>
                <a:gd name="T18" fmla="*/ 29689 w 1056"/>
                <a:gd name="T19" fmla="*/ 8057 h 210"/>
                <a:gd name="T20" fmla="*/ 28908 w 1056"/>
                <a:gd name="T21" fmla="*/ 9668 h 210"/>
                <a:gd name="T22" fmla="*/ 28908 w 1056"/>
                <a:gd name="T23" fmla="*/ 12085 h 210"/>
                <a:gd name="T24" fmla="*/ 28908 w 1056"/>
                <a:gd name="T25" fmla="*/ 12891 h 210"/>
                <a:gd name="T26" fmla="*/ 29689 w 1056"/>
                <a:gd name="T27" fmla="*/ 12891 h 210"/>
                <a:gd name="T28" fmla="*/ 26564 w 1056"/>
                <a:gd name="T29" fmla="*/ 12891 h 210"/>
                <a:gd name="T30" fmla="*/ 20313 w 1056"/>
                <a:gd name="T31" fmla="*/ 12891 h 210"/>
                <a:gd name="T32" fmla="*/ 15626 w 1056"/>
                <a:gd name="T33" fmla="*/ 13697 h 210"/>
                <a:gd name="T34" fmla="*/ 10157 w 1056"/>
                <a:gd name="T35" fmla="*/ 13697 h 210"/>
                <a:gd name="T36" fmla="*/ 4688 w 1056"/>
                <a:gd name="T37" fmla="*/ 13697 h 210"/>
                <a:gd name="T38" fmla="*/ 781 w 1056"/>
                <a:gd name="T39" fmla="*/ 14502 h 210"/>
                <a:gd name="T40" fmla="*/ 2344 w 1056"/>
                <a:gd name="T41" fmla="*/ 11280 h 210"/>
                <a:gd name="T42" fmla="*/ 6250 w 1056"/>
                <a:gd name="T43" fmla="*/ 12085 h 210"/>
                <a:gd name="T44" fmla="*/ 8594 w 1056"/>
                <a:gd name="T45" fmla="*/ 9668 h 210"/>
                <a:gd name="T46" fmla="*/ 20313 w 1056"/>
                <a:gd name="T47" fmla="*/ 8057 h 210"/>
                <a:gd name="T48" fmla="*/ 22657 w 1056"/>
                <a:gd name="T49" fmla="*/ 4028 h 210"/>
                <a:gd name="T50" fmla="*/ 26564 w 1056"/>
                <a:gd name="T51" fmla="*/ 806 h 210"/>
                <a:gd name="T52" fmla="*/ 32033 w 1056"/>
                <a:gd name="T53" fmla="*/ 2417 h 210"/>
                <a:gd name="T54" fmla="*/ 57034 w 1056"/>
                <a:gd name="T55" fmla="*/ 806 h 210"/>
                <a:gd name="T56" fmla="*/ 58596 w 1056"/>
                <a:gd name="T57" fmla="*/ 3223 h 210"/>
                <a:gd name="T58" fmla="*/ 66409 w 1056"/>
                <a:gd name="T59" fmla="*/ 12085 h 210"/>
                <a:gd name="T60" fmla="*/ 71097 w 1056"/>
                <a:gd name="T61" fmla="*/ 14502 h 210"/>
                <a:gd name="T62" fmla="*/ 66409 w 1056"/>
                <a:gd name="T63" fmla="*/ 14502 h 210"/>
                <a:gd name="T64" fmla="*/ 61722 w 1056"/>
                <a:gd name="T65" fmla="*/ 12891 h 210"/>
                <a:gd name="T66" fmla="*/ 57815 w 1056"/>
                <a:gd name="T67" fmla="*/ 12891 h 210"/>
                <a:gd name="T68" fmla="*/ 53909 w 1056"/>
                <a:gd name="T69" fmla="*/ 12085 h 210"/>
                <a:gd name="T70" fmla="*/ 50784 w 1056"/>
                <a:gd name="T71" fmla="*/ 11280 h 210"/>
                <a:gd name="T72" fmla="*/ 46096 w 1056"/>
                <a:gd name="T73" fmla="*/ 12085 h 210"/>
                <a:gd name="T74" fmla="*/ 42189 w 1056"/>
                <a:gd name="T75" fmla="*/ 12085 h 210"/>
                <a:gd name="T76" fmla="*/ 38283 w 1056"/>
                <a:gd name="T77" fmla="*/ 12085 h 210"/>
                <a:gd name="T78" fmla="*/ 32814 w 1056"/>
                <a:gd name="T79" fmla="*/ 12085 h 210"/>
                <a:gd name="T80" fmla="*/ 29689 w 1056"/>
                <a:gd name="T81" fmla="*/ 12891 h 210"/>
                <a:gd name="T82" fmla="*/ 32033 w 1056"/>
                <a:gd name="T83" fmla="*/ 11280 h 210"/>
                <a:gd name="T84" fmla="*/ 32814 w 1056"/>
                <a:gd name="T85" fmla="*/ 10474 h 210"/>
                <a:gd name="T86" fmla="*/ 35158 w 1056"/>
                <a:gd name="T87" fmla="*/ 10474 h 210"/>
                <a:gd name="T88" fmla="*/ 37502 w 1056"/>
                <a:gd name="T89" fmla="*/ 9668 h 210"/>
                <a:gd name="T90" fmla="*/ 39846 w 1056"/>
                <a:gd name="T91" fmla="*/ 8863 h 210"/>
                <a:gd name="T92" fmla="*/ 42189 w 1056"/>
                <a:gd name="T93" fmla="*/ 7251 h 210"/>
                <a:gd name="T94" fmla="*/ 44533 w 1056"/>
                <a:gd name="T95" fmla="*/ 6445 h 210"/>
                <a:gd name="T96" fmla="*/ 46877 w 1056"/>
                <a:gd name="T97" fmla="*/ 4028 h 210"/>
                <a:gd name="T98" fmla="*/ 50784 w 1056"/>
                <a:gd name="T99" fmla="*/ 4028 h 210"/>
                <a:gd name="T100" fmla="*/ 56253 w 1056"/>
                <a:gd name="T101" fmla="*/ 5640 h 210"/>
                <a:gd name="T102" fmla="*/ 60159 w 1056"/>
                <a:gd name="T103" fmla="*/ 8863 h 210"/>
                <a:gd name="T104" fmla="*/ 53909 w 1056"/>
                <a:gd name="T105" fmla="*/ 8057 h 210"/>
                <a:gd name="T106" fmla="*/ 56253 w 1056"/>
                <a:gd name="T107" fmla="*/ 9668 h 210"/>
                <a:gd name="T108" fmla="*/ 60940 w 1056"/>
                <a:gd name="T109" fmla="*/ 12085 h 210"/>
                <a:gd name="T110" fmla="*/ 65628 w 1056"/>
                <a:gd name="T111" fmla="*/ 11280 h 210"/>
                <a:gd name="T112" fmla="*/ 65628 w 1056"/>
                <a:gd name="T113" fmla="*/ 11280 h 210"/>
                <a:gd name="T114" fmla="*/ 60940 w 1056"/>
                <a:gd name="T115" fmla="*/ 10474 h 210"/>
                <a:gd name="T116" fmla="*/ 59378 w 1056"/>
                <a:gd name="T117" fmla="*/ 11280 h 210"/>
                <a:gd name="T118" fmla="*/ 29689 w 1056"/>
                <a:gd name="T119" fmla="*/ 9668 h 210"/>
                <a:gd name="T120" fmla="*/ 32033 w 1056"/>
                <a:gd name="T121" fmla="*/ 9668 h 210"/>
                <a:gd name="T122" fmla="*/ 31251 w 1056"/>
                <a:gd name="T123" fmla="*/ 11280 h 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6"/>
                <a:gd name="T187" fmla="*/ 0 h 210"/>
                <a:gd name="T188" fmla="*/ 1056 w 1056"/>
                <a:gd name="T189" fmla="*/ 210 h 2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6" h="210">
                  <a:moveTo>
                    <a:pt x="870" y="90"/>
                  </a:moveTo>
                  <a:lnTo>
                    <a:pt x="864" y="90"/>
                  </a:lnTo>
                  <a:lnTo>
                    <a:pt x="852" y="84"/>
                  </a:lnTo>
                  <a:lnTo>
                    <a:pt x="846" y="84"/>
                  </a:lnTo>
                  <a:lnTo>
                    <a:pt x="846" y="78"/>
                  </a:lnTo>
                  <a:lnTo>
                    <a:pt x="840" y="78"/>
                  </a:lnTo>
                  <a:lnTo>
                    <a:pt x="834" y="78"/>
                  </a:lnTo>
                  <a:lnTo>
                    <a:pt x="834" y="72"/>
                  </a:lnTo>
                  <a:lnTo>
                    <a:pt x="804" y="78"/>
                  </a:lnTo>
                  <a:lnTo>
                    <a:pt x="798" y="78"/>
                  </a:lnTo>
                  <a:lnTo>
                    <a:pt x="792" y="72"/>
                  </a:lnTo>
                  <a:lnTo>
                    <a:pt x="780" y="60"/>
                  </a:lnTo>
                  <a:lnTo>
                    <a:pt x="768" y="54"/>
                  </a:lnTo>
                  <a:lnTo>
                    <a:pt x="756" y="54"/>
                  </a:lnTo>
                  <a:lnTo>
                    <a:pt x="750" y="54"/>
                  </a:lnTo>
                  <a:lnTo>
                    <a:pt x="750" y="48"/>
                  </a:lnTo>
                  <a:lnTo>
                    <a:pt x="744" y="48"/>
                  </a:lnTo>
                  <a:lnTo>
                    <a:pt x="738" y="48"/>
                  </a:lnTo>
                  <a:lnTo>
                    <a:pt x="732" y="48"/>
                  </a:lnTo>
                  <a:lnTo>
                    <a:pt x="732" y="54"/>
                  </a:lnTo>
                  <a:lnTo>
                    <a:pt x="726" y="48"/>
                  </a:lnTo>
                  <a:lnTo>
                    <a:pt x="720" y="48"/>
                  </a:lnTo>
                  <a:lnTo>
                    <a:pt x="714" y="48"/>
                  </a:lnTo>
                  <a:lnTo>
                    <a:pt x="708" y="48"/>
                  </a:lnTo>
                  <a:lnTo>
                    <a:pt x="702" y="48"/>
                  </a:lnTo>
                  <a:lnTo>
                    <a:pt x="696" y="48"/>
                  </a:lnTo>
                  <a:lnTo>
                    <a:pt x="684" y="48"/>
                  </a:lnTo>
                  <a:lnTo>
                    <a:pt x="678" y="48"/>
                  </a:lnTo>
                  <a:lnTo>
                    <a:pt x="672" y="48"/>
                  </a:lnTo>
                  <a:lnTo>
                    <a:pt x="666" y="54"/>
                  </a:lnTo>
                  <a:lnTo>
                    <a:pt x="660" y="54"/>
                  </a:lnTo>
                  <a:lnTo>
                    <a:pt x="660" y="48"/>
                  </a:lnTo>
                  <a:lnTo>
                    <a:pt x="654" y="48"/>
                  </a:lnTo>
                  <a:lnTo>
                    <a:pt x="648" y="48"/>
                  </a:lnTo>
                  <a:lnTo>
                    <a:pt x="642" y="48"/>
                  </a:lnTo>
                  <a:lnTo>
                    <a:pt x="642" y="54"/>
                  </a:lnTo>
                  <a:lnTo>
                    <a:pt x="636" y="54"/>
                  </a:lnTo>
                  <a:lnTo>
                    <a:pt x="636" y="60"/>
                  </a:lnTo>
                  <a:lnTo>
                    <a:pt x="630" y="60"/>
                  </a:lnTo>
                  <a:lnTo>
                    <a:pt x="630" y="66"/>
                  </a:lnTo>
                  <a:lnTo>
                    <a:pt x="624" y="66"/>
                  </a:lnTo>
                  <a:lnTo>
                    <a:pt x="618" y="66"/>
                  </a:lnTo>
                  <a:lnTo>
                    <a:pt x="618" y="72"/>
                  </a:lnTo>
                  <a:lnTo>
                    <a:pt x="612" y="78"/>
                  </a:lnTo>
                  <a:lnTo>
                    <a:pt x="606" y="78"/>
                  </a:lnTo>
                  <a:lnTo>
                    <a:pt x="606" y="84"/>
                  </a:lnTo>
                  <a:lnTo>
                    <a:pt x="600" y="84"/>
                  </a:lnTo>
                  <a:lnTo>
                    <a:pt x="594" y="90"/>
                  </a:lnTo>
                  <a:lnTo>
                    <a:pt x="588" y="90"/>
                  </a:lnTo>
                  <a:lnTo>
                    <a:pt x="588" y="84"/>
                  </a:lnTo>
                  <a:lnTo>
                    <a:pt x="582" y="84"/>
                  </a:lnTo>
                  <a:lnTo>
                    <a:pt x="576" y="84"/>
                  </a:lnTo>
                  <a:lnTo>
                    <a:pt x="570" y="84"/>
                  </a:lnTo>
                  <a:lnTo>
                    <a:pt x="564" y="84"/>
                  </a:lnTo>
                  <a:lnTo>
                    <a:pt x="558" y="90"/>
                  </a:lnTo>
                  <a:lnTo>
                    <a:pt x="558" y="96"/>
                  </a:lnTo>
                  <a:lnTo>
                    <a:pt x="552" y="96"/>
                  </a:lnTo>
                  <a:lnTo>
                    <a:pt x="546" y="102"/>
                  </a:lnTo>
                  <a:lnTo>
                    <a:pt x="540" y="102"/>
                  </a:lnTo>
                  <a:lnTo>
                    <a:pt x="534" y="102"/>
                  </a:lnTo>
                  <a:lnTo>
                    <a:pt x="528" y="102"/>
                  </a:lnTo>
                  <a:lnTo>
                    <a:pt x="528" y="108"/>
                  </a:lnTo>
                  <a:lnTo>
                    <a:pt x="522" y="108"/>
                  </a:lnTo>
                  <a:lnTo>
                    <a:pt x="522" y="102"/>
                  </a:lnTo>
                  <a:lnTo>
                    <a:pt x="516" y="102"/>
                  </a:lnTo>
                  <a:lnTo>
                    <a:pt x="510" y="102"/>
                  </a:lnTo>
                  <a:lnTo>
                    <a:pt x="504" y="102"/>
                  </a:lnTo>
                  <a:lnTo>
                    <a:pt x="498" y="102"/>
                  </a:lnTo>
                  <a:lnTo>
                    <a:pt x="498" y="96"/>
                  </a:lnTo>
                  <a:lnTo>
                    <a:pt x="492" y="96"/>
                  </a:lnTo>
                  <a:lnTo>
                    <a:pt x="492" y="90"/>
                  </a:lnTo>
                  <a:lnTo>
                    <a:pt x="492" y="84"/>
                  </a:lnTo>
                  <a:lnTo>
                    <a:pt x="492" y="78"/>
                  </a:lnTo>
                  <a:lnTo>
                    <a:pt x="498" y="78"/>
                  </a:lnTo>
                  <a:lnTo>
                    <a:pt x="498" y="72"/>
                  </a:lnTo>
                  <a:lnTo>
                    <a:pt x="498" y="66"/>
                  </a:lnTo>
                  <a:lnTo>
                    <a:pt x="504" y="60"/>
                  </a:lnTo>
                  <a:lnTo>
                    <a:pt x="498" y="60"/>
                  </a:lnTo>
                  <a:lnTo>
                    <a:pt x="498" y="54"/>
                  </a:lnTo>
                  <a:lnTo>
                    <a:pt x="492" y="54"/>
                  </a:lnTo>
                  <a:lnTo>
                    <a:pt x="492" y="60"/>
                  </a:lnTo>
                  <a:lnTo>
                    <a:pt x="486" y="60"/>
                  </a:lnTo>
                  <a:lnTo>
                    <a:pt x="486" y="66"/>
                  </a:lnTo>
                  <a:lnTo>
                    <a:pt x="480" y="66"/>
                  </a:lnTo>
                  <a:lnTo>
                    <a:pt x="474" y="72"/>
                  </a:lnTo>
                  <a:lnTo>
                    <a:pt x="474" y="66"/>
                  </a:lnTo>
                  <a:lnTo>
                    <a:pt x="474" y="72"/>
                  </a:lnTo>
                  <a:lnTo>
                    <a:pt x="468" y="72"/>
                  </a:lnTo>
                  <a:lnTo>
                    <a:pt x="468" y="78"/>
                  </a:lnTo>
                  <a:lnTo>
                    <a:pt x="468" y="84"/>
                  </a:lnTo>
                  <a:lnTo>
                    <a:pt x="462" y="90"/>
                  </a:lnTo>
                  <a:lnTo>
                    <a:pt x="462" y="84"/>
                  </a:lnTo>
                  <a:lnTo>
                    <a:pt x="456" y="84"/>
                  </a:lnTo>
                  <a:lnTo>
                    <a:pt x="450" y="84"/>
                  </a:lnTo>
                  <a:lnTo>
                    <a:pt x="450" y="90"/>
                  </a:lnTo>
                  <a:lnTo>
                    <a:pt x="450" y="96"/>
                  </a:lnTo>
                  <a:lnTo>
                    <a:pt x="450" y="102"/>
                  </a:lnTo>
                  <a:lnTo>
                    <a:pt x="444" y="102"/>
                  </a:lnTo>
                  <a:lnTo>
                    <a:pt x="444" y="108"/>
                  </a:lnTo>
                  <a:lnTo>
                    <a:pt x="444" y="114"/>
                  </a:lnTo>
                  <a:lnTo>
                    <a:pt x="450" y="114"/>
                  </a:lnTo>
                  <a:lnTo>
                    <a:pt x="444" y="120"/>
                  </a:lnTo>
                  <a:lnTo>
                    <a:pt x="444" y="126"/>
                  </a:lnTo>
                  <a:lnTo>
                    <a:pt x="438" y="126"/>
                  </a:lnTo>
                  <a:lnTo>
                    <a:pt x="438" y="132"/>
                  </a:lnTo>
                  <a:lnTo>
                    <a:pt x="438" y="138"/>
                  </a:lnTo>
                  <a:lnTo>
                    <a:pt x="438" y="144"/>
                  </a:lnTo>
                  <a:lnTo>
                    <a:pt x="432" y="144"/>
                  </a:lnTo>
                  <a:lnTo>
                    <a:pt x="432" y="150"/>
                  </a:lnTo>
                  <a:lnTo>
                    <a:pt x="432" y="144"/>
                  </a:lnTo>
                  <a:lnTo>
                    <a:pt x="426" y="144"/>
                  </a:lnTo>
                  <a:lnTo>
                    <a:pt x="426" y="150"/>
                  </a:lnTo>
                  <a:lnTo>
                    <a:pt x="426" y="156"/>
                  </a:lnTo>
                  <a:lnTo>
                    <a:pt x="432" y="156"/>
                  </a:lnTo>
                  <a:lnTo>
                    <a:pt x="438" y="156"/>
                  </a:lnTo>
                  <a:lnTo>
                    <a:pt x="438" y="162"/>
                  </a:lnTo>
                  <a:lnTo>
                    <a:pt x="438" y="168"/>
                  </a:lnTo>
                  <a:lnTo>
                    <a:pt x="432" y="162"/>
                  </a:lnTo>
                  <a:lnTo>
                    <a:pt x="432" y="168"/>
                  </a:lnTo>
                  <a:lnTo>
                    <a:pt x="426" y="168"/>
                  </a:lnTo>
                  <a:lnTo>
                    <a:pt x="420" y="168"/>
                  </a:lnTo>
                  <a:lnTo>
                    <a:pt x="420" y="174"/>
                  </a:lnTo>
                  <a:lnTo>
                    <a:pt x="426" y="168"/>
                  </a:lnTo>
                  <a:lnTo>
                    <a:pt x="432" y="168"/>
                  </a:lnTo>
                  <a:lnTo>
                    <a:pt x="438" y="168"/>
                  </a:lnTo>
                  <a:lnTo>
                    <a:pt x="432" y="168"/>
                  </a:lnTo>
                  <a:lnTo>
                    <a:pt x="438" y="168"/>
                  </a:lnTo>
                  <a:lnTo>
                    <a:pt x="438" y="174"/>
                  </a:lnTo>
                  <a:lnTo>
                    <a:pt x="438" y="180"/>
                  </a:lnTo>
                  <a:lnTo>
                    <a:pt x="432" y="180"/>
                  </a:lnTo>
                  <a:lnTo>
                    <a:pt x="432" y="186"/>
                  </a:lnTo>
                  <a:lnTo>
                    <a:pt x="432" y="180"/>
                  </a:lnTo>
                  <a:lnTo>
                    <a:pt x="438" y="180"/>
                  </a:lnTo>
                  <a:lnTo>
                    <a:pt x="438" y="174"/>
                  </a:lnTo>
                  <a:lnTo>
                    <a:pt x="444" y="174"/>
                  </a:lnTo>
                  <a:lnTo>
                    <a:pt x="438" y="174"/>
                  </a:lnTo>
                  <a:lnTo>
                    <a:pt x="444" y="174"/>
                  </a:lnTo>
                  <a:lnTo>
                    <a:pt x="444" y="168"/>
                  </a:lnTo>
                  <a:lnTo>
                    <a:pt x="444" y="174"/>
                  </a:lnTo>
                  <a:lnTo>
                    <a:pt x="444" y="180"/>
                  </a:lnTo>
                  <a:lnTo>
                    <a:pt x="444" y="186"/>
                  </a:lnTo>
                  <a:lnTo>
                    <a:pt x="444" y="192"/>
                  </a:lnTo>
                  <a:lnTo>
                    <a:pt x="438" y="192"/>
                  </a:lnTo>
                  <a:lnTo>
                    <a:pt x="432" y="192"/>
                  </a:lnTo>
                  <a:lnTo>
                    <a:pt x="426" y="192"/>
                  </a:lnTo>
                  <a:lnTo>
                    <a:pt x="420" y="186"/>
                  </a:lnTo>
                  <a:lnTo>
                    <a:pt x="414" y="186"/>
                  </a:lnTo>
                  <a:lnTo>
                    <a:pt x="408" y="186"/>
                  </a:lnTo>
                  <a:lnTo>
                    <a:pt x="402" y="186"/>
                  </a:lnTo>
                  <a:lnTo>
                    <a:pt x="396" y="186"/>
                  </a:lnTo>
                  <a:lnTo>
                    <a:pt x="390" y="186"/>
                  </a:lnTo>
                  <a:lnTo>
                    <a:pt x="384" y="186"/>
                  </a:lnTo>
                  <a:lnTo>
                    <a:pt x="378" y="186"/>
                  </a:lnTo>
                  <a:lnTo>
                    <a:pt x="372" y="186"/>
                  </a:lnTo>
                  <a:lnTo>
                    <a:pt x="354" y="186"/>
                  </a:lnTo>
                  <a:lnTo>
                    <a:pt x="342" y="186"/>
                  </a:lnTo>
                  <a:lnTo>
                    <a:pt x="324" y="186"/>
                  </a:lnTo>
                  <a:lnTo>
                    <a:pt x="312" y="186"/>
                  </a:lnTo>
                  <a:lnTo>
                    <a:pt x="306" y="186"/>
                  </a:lnTo>
                  <a:lnTo>
                    <a:pt x="300" y="186"/>
                  </a:lnTo>
                  <a:lnTo>
                    <a:pt x="294" y="186"/>
                  </a:lnTo>
                  <a:lnTo>
                    <a:pt x="282" y="186"/>
                  </a:lnTo>
                  <a:lnTo>
                    <a:pt x="270" y="186"/>
                  </a:lnTo>
                  <a:lnTo>
                    <a:pt x="264" y="186"/>
                  </a:lnTo>
                  <a:lnTo>
                    <a:pt x="258" y="192"/>
                  </a:lnTo>
                  <a:lnTo>
                    <a:pt x="258" y="186"/>
                  </a:lnTo>
                  <a:lnTo>
                    <a:pt x="246" y="186"/>
                  </a:lnTo>
                  <a:lnTo>
                    <a:pt x="240" y="186"/>
                  </a:lnTo>
                  <a:lnTo>
                    <a:pt x="234" y="186"/>
                  </a:lnTo>
                  <a:lnTo>
                    <a:pt x="228" y="192"/>
                  </a:lnTo>
                  <a:lnTo>
                    <a:pt x="222" y="192"/>
                  </a:lnTo>
                  <a:lnTo>
                    <a:pt x="216" y="192"/>
                  </a:lnTo>
                  <a:lnTo>
                    <a:pt x="210" y="192"/>
                  </a:lnTo>
                  <a:lnTo>
                    <a:pt x="204" y="192"/>
                  </a:lnTo>
                  <a:lnTo>
                    <a:pt x="198" y="192"/>
                  </a:lnTo>
                  <a:lnTo>
                    <a:pt x="192" y="192"/>
                  </a:lnTo>
                  <a:lnTo>
                    <a:pt x="180" y="192"/>
                  </a:lnTo>
                  <a:lnTo>
                    <a:pt x="168" y="192"/>
                  </a:lnTo>
                  <a:lnTo>
                    <a:pt x="162" y="192"/>
                  </a:lnTo>
                  <a:lnTo>
                    <a:pt x="150" y="192"/>
                  </a:lnTo>
                  <a:lnTo>
                    <a:pt x="138" y="192"/>
                  </a:lnTo>
                  <a:lnTo>
                    <a:pt x="132" y="192"/>
                  </a:lnTo>
                  <a:lnTo>
                    <a:pt x="120" y="192"/>
                  </a:lnTo>
                  <a:lnTo>
                    <a:pt x="114" y="192"/>
                  </a:lnTo>
                  <a:lnTo>
                    <a:pt x="108" y="192"/>
                  </a:lnTo>
                  <a:lnTo>
                    <a:pt x="102" y="192"/>
                  </a:lnTo>
                  <a:lnTo>
                    <a:pt x="90" y="192"/>
                  </a:lnTo>
                  <a:lnTo>
                    <a:pt x="84" y="192"/>
                  </a:lnTo>
                  <a:lnTo>
                    <a:pt x="78" y="192"/>
                  </a:lnTo>
                  <a:lnTo>
                    <a:pt x="72" y="198"/>
                  </a:lnTo>
                  <a:lnTo>
                    <a:pt x="66" y="198"/>
                  </a:lnTo>
                  <a:lnTo>
                    <a:pt x="60" y="198"/>
                  </a:lnTo>
                  <a:lnTo>
                    <a:pt x="54" y="198"/>
                  </a:lnTo>
                  <a:lnTo>
                    <a:pt x="48" y="198"/>
                  </a:lnTo>
                  <a:lnTo>
                    <a:pt x="42" y="198"/>
                  </a:lnTo>
                  <a:lnTo>
                    <a:pt x="36" y="198"/>
                  </a:lnTo>
                  <a:lnTo>
                    <a:pt x="30" y="204"/>
                  </a:lnTo>
                  <a:lnTo>
                    <a:pt x="24" y="204"/>
                  </a:lnTo>
                  <a:lnTo>
                    <a:pt x="18" y="204"/>
                  </a:lnTo>
                  <a:lnTo>
                    <a:pt x="12" y="204"/>
                  </a:lnTo>
                  <a:lnTo>
                    <a:pt x="6" y="210"/>
                  </a:lnTo>
                  <a:lnTo>
                    <a:pt x="0" y="186"/>
                  </a:lnTo>
                  <a:lnTo>
                    <a:pt x="0" y="180"/>
                  </a:lnTo>
                  <a:lnTo>
                    <a:pt x="0" y="174"/>
                  </a:lnTo>
                  <a:lnTo>
                    <a:pt x="6" y="156"/>
                  </a:lnTo>
                  <a:lnTo>
                    <a:pt x="12" y="156"/>
                  </a:lnTo>
                  <a:lnTo>
                    <a:pt x="18" y="156"/>
                  </a:lnTo>
                  <a:lnTo>
                    <a:pt x="24" y="162"/>
                  </a:lnTo>
                  <a:lnTo>
                    <a:pt x="30" y="162"/>
                  </a:lnTo>
                  <a:lnTo>
                    <a:pt x="36" y="162"/>
                  </a:lnTo>
                  <a:lnTo>
                    <a:pt x="42" y="162"/>
                  </a:lnTo>
                  <a:lnTo>
                    <a:pt x="48" y="162"/>
                  </a:lnTo>
                  <a:lnTo>
                    <a:pt x="54" y="156"/>
                  </a:lnTo>
                  <a:lnTo>
                    <a:pt x="60" y="156"/>
                  </a:lnTo>
                  <a:lnTo>
                    <a:pt x="66" y="156"/>
                  </a:lnTo>
                  <a:lnTo>
                    <a:pt x="72" y="156"/>
                  </a:lnTo>
                  <a:lnTo>
                    <a:pt x="78" y="162"/>
                  </a:lnTo>
                  <a:lnTo>
                    <a:pt x="84" y="162"/>
                  </a:lnTo>
                  <a:lnTo>
                    <a:pt x="90" y="162"/>
                  </a:lnTo>
                  <a:lnTo>
                    <a:pt x="90" y="168"/>
                  </a:lnTo>
                  <a:lnTo>
                    <a:pt x="96" y="168"/>
                  </a:lnTo>
                  <a:lnTo>
                    <a:pt x="96" y="162"/>
                  </a:lnTo>
                  <a:lnTo>
                    <a:pt x="102" y="162"/>
                  </a:lnTo>
                  <a:lnTo>
                    <a:pt x="102" y="156"/>
                  </a:lnTo>
                  <a:lnTo>
                    <a:pt x="108" y="156"/>
                  </a:lnTo>
                  <a:lnTo>
                    <a:pt x="108" y="150"/>
                  </a:lnTo>
                  <a:lnTo>
                    <a:pt x="114" y="150"/>
                  </a:lnTo>
                  <a:lnTo>
                    <a:pt x="114" y="144"/>
                  </a:lnTo>
                  <a:lnTo>
                    <a:pt x="120" y="144"/>
                  </a:lnTo>
                  <a:lnTo>
                    <a:pt x="126" y="144"/>
                  </a:lnTo>
                  <a:lnTo>
                    <a:pt x="126" y="138"/>
                  </a:lnTo>
                  <a:lnTo>
                    <a:pt x="126" y="132"/>
                  </a:lnTo>
                  <a:lnTo>
                    <a:pt x="126" y="126"/>
                  </a:lnTo>
                  <a:lnTo>
                    <a:pt x="192" y="126"/>
                  </a:lnTo>
                  <a:lnTo>
                    <a:pt x="258" y="126"/>
                  </a:lnTo>
                  <a:lnTo>
                    <a:pt x="264" y="126"/>
                  </a:lnTo>
                  <a:lnTo>
                    <a:pt x="270" y="126"/>
                  </a:lnTo>
                  <a:lnTo>
                    <a:pt x="276" y="120"/>
                  </a:lnTo>
                  <a:lnTo>
                    <a:pt x="282" y="120"/>
                  </a:lnTo>
                  <a:lnTo>
                    <a:pt x="300" y="120"/>
                  </a:lnTo>
                  <a:lnTo>
                    <a:pt x="306" y="114"/>
                  </a:lnTo>
                  <a:lnTo>
                    <a:pt x="312" y="108"/>
                  </a:lnTo>
                  <a:lnTo>
                    <a:pt x="318" y="102"/>
                  </a:lnTo>
                  <a:lnTo>
                    <a:pt x="324" y="102"/>
                  </a:lnTo>
                  <a:lnTo>
                    <a:pt x="324" y="96"/>
                  </a:lnTo>
                  <a:lnTo>
                    <a:pt x="318" y="90"/>
                  </a:lnTo>
                  <a:lnTo>
                    <a:pt x="318" y="84"/>
                  </a:lnTo>
                  <a:lnTo>
                    <a:pt x="324" y="72"/>
                  </a:lnTo>
                  <a:lnTo>
                    <a:pt x="336" y="66"/>
                  </a:lnTo>
                  <a:lnTo>
                    <a:pt x="336" y="60"/>
                  </a:lnTo>
                  <a:lnTo>
                    <a:pt x="342" y="54"/>
                  </a:lnTo>
                  <a:lnTo>
                    <a:pt x="342" y="48"/>
                  </a:lnTo>
                  <a:lnTo>
                    <a:pt x="342" y="30"/>
                  </a:lnTo>
                  <a:lnTo>
                    <a:pt x="342" y="24"/>
                  </a:lnTo>
                  <a:lnTo>
                    <a:pt x="354" y="0"/>
                  </a:lnTo>
                  <a:lnTo>
                    <a:pt x="360" y="0"/>
                  </a:lnTo>
                  <a:lnTo>
                    <a:pt x="366" y="0"/>
                  </a:lnTo>
                  <a:lnTo>
                    <a:pt x="366" y="6"/>
                  </a:lnTo>
                  <a:lnTo>
                    <a:pt x="378" y="12"/>
                  </a:lnTo>
                  <a:lnTo>
                    <a:pt x="390" y="12"/>
                  </a:lnTo>
                  <a:lnTo>
                    <a:pt x="390" y="18"/>
                  </a:lnTo>
                  <a:lnTo>
                    <a:pt x="402" y="18"/>
                  </a:lnTo>
                  <a:lnTo>
                    <a:pt x="408" y="18"/>
                  </a:lnTo>
                  <a:lnTo>
                    <a:pt x="414" y="24"/>
                  </a:lnTo>
                  <a:lnTo>
                    <a:pt x="414" y="30"/>
                  </a:lnTo>
                  <a:lnTo>
                    <a:pt x="420" y="30"/>
                  </a:lnTo>
                  <a:lnTo>
                    <a:pt x="426" y="36"/>
                  </a:lnTo>
                  <a:lnTo>
                    <a:pt x="462" y="36"/>
                  </a:lnTo>
                  <a:lnTo>
                    <a:pt x="468" y="36"/>
                  </a:lnTo>
                  <a:lnTo>
                    <a:pt x="474" y="30"/>
                  </a:lnTo>
                  <a:lnTo>
                    <a:pt x="474" y="18"/>
                  </a:lnTo>
                  <a:lnTo>
                    <a:pt x="474" y="12"/>
                  </a:lnTo>
                  <a:lnTo>
                    <a:pt x="480" y="12"/>
                  </a:lnTo>
                  <a:lnTo>
                    <a:pt x="486" y="12"/>
                  </a:lnTo>
                  <a:lnTo>
                    <a:pt x="606" y="12"/>
                  </a:lnTo>
                  <a:lnTo>
                    <a:pt x="630" y="12"/>
                  </a:lnTo>
                  <a:lnTo>
                    <a:pt x="678" y="12"/>
                  </a:lnTo>
                  <a:lnTo>
                    <a:pt x="744" y="12"/>
                  </a:lnTo>
                  <a:lnTo>
                    <a:pt x="774" y="12"/>
                  </a:lnTo>
                  <a:lnTo>
                    <a:pt x="846" y="12"/>
                  </a:lnTo>
                  <a:lnTo>
                    <a:pt x="852" y="12"/>
                  </a:lnTo>
                  <a:lnTo>
                    <a:pt x="852" y="6"/>
                  </a:lnTo>
                  <a:lnTo>
                    <a:pt x="888" y="12"/>
                  </a:lnTo>
                  <a:lnTo>
                    <a:pt x="888" y="24"/>
                  </a:lnTo>
                  <a:lnTo>
                    <a:pt x="888" y="30"/>
                  </a:lnTo>
                  <a:lnTo>
                    <a:pt x="882" y="36"/>
                  </a:lnTo>
                  <a:lnTo>
                    <a:pt x="876" y="42"/>
                  </a:lnTo>
                  <a:lnTo>
                    <a:pt x="870" y="42"/>
                  </a:lnTo>
                  <a:lnTo>
                    <a:pt x="864" y="42"/>
                  </a:lnTo>
                  <a:lnTo>
                    <a:pt x="864" y="48"/>
                  </a:lnTo>
                  <a:lnTo>
                    <a:pt x="858" y="54"/>
                  </a:lnTo>
                  <a:lnTo>
                    <a:pt x="864" y="54"/>
                  </a:lnTo>
                  <a:lnTo>
                    <a:pt x="870" y="72"/>
                  </a:lnTo>
                  <a:lnTo>
                    <a:pt x="870" y="78"/>
                  </a:lnTo>
                  <a:lnTo>
                    <a:pt x="870" y="84"/>
                  </a:lnTo>
                  <a:lnTo>
                    <a:pt x="870" y="90"/>
                  </a:lnTo>
                  <a:close/>
                  <a:moveTo>
                    <a:pt x="972" y="156"/>
                  </a:moveTo>
                  <a:lnTo>
                    <a:pt x="972" y="162"/>
                  </a:lnTo>
                  <a:lnTo>
                    <a:pt x="978" y="162"/>
                  </a:lnTo>
                  <a:lnTo>
                    <a:pt x="984" y="168"/>
                  </a:lnTo>
                  <a:lnTo>
                    <a:pt x="990" y="168"/>
                  </a:lnTo>
                  <a:lnTo>
                    <a:pt x="990" y="162"/>
                  </a:lnTo>
                  <a:lnTo>
                    <a:pt x="1008" y="162"/>
                  </a:lnTo>
                  <a:lnTo>
                    <a:pt x="1020" y="162"/>
                  </a:lnTo>
                  <a:lnTo>
                    <a:pt x="1038" y="162"/>
                  </a:lnTo>
                  <a:lnTo>
                    <a:pt x="1056" y="168"/>
                  </a:lnTo>
                  <a:lnTo>
                    <a:pt x="1056" y="180"/>
                  </a:lnTo>
                  <a:lnTo>
                    <a:pt x="1056" y="186"/>
                  </a:lnTo>
                  <a:lnTo>
                    <a:pt x="1056" y="204"/>
                  </a:lnTo>
                  <a:lnTo>
                    <a:pt x="1050" y="204"/>
                  </a:lnTo>
                  <a:lnTo>
                    <a:pt x="1044" y="204"/>
                  </a:lnTo>
                  <a:lnTo>
                    <a:pt x="1038" y="204"/>
                  </a:lnTo>
                  <a:lnTo>
                    <a:pt x="1032" y="204"/>
                  </a:lnTo>
                  <a:lnTo>
                    <a:pt x="1026" y="204"/>
                  </a:lnTo>
                  <a:lnTo>
                    <a:pt x="1020" y="204"/>
                  </a:lnTo>
                  <a:lnTo>
                    <a:pt x="1014" y="204"/>
                  </a:lnTo>
                  <a:lnTo>
                    <a:pt x="1008" y="204"/>
                  </a:lnTo>
                  <a:lnTo>
                    <a:pt x="1002" y="204"/>
                  </a:lnTo>
                  <a:lnTo>
                    <a:pt x="996" y="204"/>
                  </a:lnTo>
                  <a:lnTo>
                    <a:pt x="984" y="204"/>
                  </a:lnTo>
                  <a:lnTo>
                    <a:pt x="984" y="198"/>
                  </a:lnTo>
                  <a:lnTo>
                    <a:pt x="978" y="198"/>
                  </a:lnTo>
                  <a:lnTo>
                    <a:pt x="966" y="198"/>
                  </a:lnTo>
                  <a:lnTo>
                    <a:pt x="948" y="192"/>
                  </a:lnTo>
                  <a:lnTo>
                    <a:pt x="942" y="192"/>
                  </a:lnTo>
                  <a:lnTo>
                    <a:pt x="936" y="192"/>
                  </a:lnTo>
                  <a:lnTo>
                    <a:pt x="924" y="192"/>
                  </a:lnTo>
                  <a:lnTo>
                    <a:pt x="918" y="192"/>
                  </a:lnTo>
                  <a:lnTo>
                    <a:pt x="918" y="186"/>
                  </a:lnTo>
                  <a:lnTo>
                    <a:pt x="912" y="186"/>
                  </a:lnTo>
                  <a:lnTo>
                    <a:pt x="906" y="186"/>
                  </a:lnTo>
                  <a:lnTo>
                    <a:pt x="900" y="186"/>
                  </a:lnTo>
                  <a:lnTo>
                    <a:pt x="894" y="186"/>
                  </a:lnTo>
                  <a:lnTo>
                    <a:pt x="888" y="186"/>
                  </a:lnTo>
                  <a:lnTo>
                    <a:pt x="888" y="180"/>
                  </a:lnTo>
                  <a:lnTo>
                    <a:pt x="882" y="180"/>
                  </a:lnTo>
                  <a:lnTo>
                    <a:pt x="876" y="180"/>
                  </a:lnTo>
                  <a:lnTo>
                    <a:pt x="870" y="180"/>
                  </a:lnTo>
                  <a:lnTo>
                    <a:pt x="864" y="180"/>
                  </a:lnTo>
                  <a:lnTo>
                    <a:pt x="858" y="180"/>
                  </a:lnTo>
                  <a:lnTo>
                    <a:pt x="852" y="180"/>
                  </a:lnTo>
                  <a:lnTo>
                    <a:pt x="852" y="174"/>
                  </a:lnTo>
                  <a:lnTo>
                    <a:pt x="846" y="174"/>
                  </a:lnTo>
                  <a:lnTo>
                    <a:pt x="840" y="174"/>
                  </a:lnTo>
                  <a:lnTo>
                    <a:pt x="834" y="174"/>
                  </a:lnTo>
                  <a:lnTo>
                    <a:pt x="828" y="174"/>
                  </a:lnTo>
                  <a:lnTo>
                    <a:pt x="822" y="174"/>
                  </a:lnTo>
                  <a:lnTo>
                    <a:pt x="816" y="174"/>
                  </a:lnTo>
                  <a:lnTo>
                    <a:pt x="810" y="168"/>
                  </a:lnTo>
                  <a:lnTo>
                    <a:pt x="804" y="168"/>
                  </a:lnTo>
                  <a:lnTo>
                    <a:pt x="798" y="168"/>
                  </a:lnTo>
                  <a:lnTo>
                    <a:pt x="792" y="168"/>
                  </a:lnTo>
                  <a:lnTo>
                    <a:pt x="786" y="168"/>
                  </a:lnTo>
                  <a:lnTo>
                    <a:pt x="780" y="168"/>
                  </a:lnTo>
                  <a:lnTo>
                    <a:pt x="774" y="168"/>
                  </a:lnTo>
                  <a:lnTo>
                    <a:pt x="768" y="168"/>
                  </a:lnTo>
                  <a:lnTo>
                    <a:pt x="762" y="168"/>
                  </a:lnTo>
                  <a:lnTo>
                    <a:pt x="756" y="168"/>
                  </a:lnTo>
                  <a:lnTo>
                    <a:pt x="750" y="168"/>
                  </a:lnTo>
                  <a:lnTo>
                    <a:pt x="750" y="162"/>
                  </a:lnTo>
                  <a:lnTo>
                    <a:pt x="744" y="168"/>
                  </a:lnTo>
                  <a:lnTo>
                    <a:pt x="738" y="162"/>
                  </a:lnTo>
                  <a:lnTo>
                    <a:pt x="732" y="162"/>
                  </a:lnTo>
                  <a:lnTo>
                    <a:pt x="726" y="162"/>
                  </a:lnTo>
                  <a:lnTo>
                    <a:pt x="714" y="162"/>
                  </a:lnTo>
                  <a:lnTo>
                    <a:pt x="702" y="162"/>
                  </a:lnTo>
                  <a:lnTo>
                    <a:pt x="696" y="168"/>
                  </a:lnTo>
                  <a:lnTo>
                    <a:pt x="690" y="168"/>
                  </a:lnTo>
                  <a:lnTo>
                    <a:pt x="684" y="168"/>
                  </a:lnTo>
                  <a:lnTo>
                    <a:pt x="678" y="168"/>
                  </a:lnTo>
                  <a:lnTo>
                    <a:pt x="672" y="168"/>
                  </a:lnTo>
                  <a:lnTo>
                    <a:pt x="666" y="168"/>
                  </a:lnTo>
                  <a:lnTo>
                    <a:pt x="660" y="168"/>
                  </a:lnTo>
                  <a:lnTo>
                    <a:pt x="654" y="168"/>
                  </a:lnTo>
                  <a:lnTo>
                    <a:pt x="648" y="174"/>
                  </a:lnTo>
                  <a:lnTo>
                    <a:pt x="648" y="168"/>
                  </a:lnTo>
                  <a:lnTo>
                    <a:pt x="642" y="174"/>
                  </a:lnTo>
                  <a:lnTo>
                    <a:pt x="636" y="174"/>
                  </a:lnTo>
                  <a:lnTo>
                    <a:pt x="630" y="174"/>
                  </a:lnTo>
                  <a:lnTo>
                    <a:pt x="624" y="174"/>
                  </a:lnTo>
                  <a:lnTo>
                    <a:pt x="618" y="174"/>
                  </a:lnTo>
                  <a:lnTo>
                    <a:pt x="612" y="174"/>
                  </a:lnTo>
                  <a:lnTo>
                    <a:pt x="606" y="174"/>
                  </a:lnTo>
                  <a:lnTo>
                    <a:pt x="600" y="174"/>
                  </a:lnTo>
                  <a:lnTo>
                    <a:pt x="594" y="174"/>
                  </a:lnTo>
                  <a:lnTo>
                    <a:pt x="588" y="174"/>
                  </a:lnTo>
                  <a:lnTo>
                    <a:pt x="582" y="174"/>
                  </a:lnTo>
                  <a:lnTo>
                    <a:pt x="576" y="174"/>
                  </a:lnTo>
                  <a:lnTo>
                    <a:pt x="570" y="174"/>
                  </a:lnTo>
                  <a:lnTo>
                    <a:pt x="564" y="174"/>
                  </a:lnTo>
                  <a:lnTo>
                    <a:pt x="558" y="174"/>
                  </a:lnTo>
                  <a:lnTo>
                    <a:pt x="552" y="174"/>
                  </a:lnTo>
                  <a:lnTo>
                    <a:pt x="540" y="174"/>
                  </a:lnTo>
                  <a:lnTo>
                    <a:pt x="534" y="174"/>
                  </a:lnTo>
                  <a:lnTo>
                    <a:pt x="522" y="174"/>
                  </a:lnTo>
                  <a:lnTo>
                    <a:pt x="510" y="174"/>
                  </a:lnTo>
                  <a:lnTo>
                    <a:pt x="504" y="174"/>
                  </a:lnTo>
                  <a:lnTo>
                    <a:pt x="498" y="174"/>
                  </a:lnTo>
                  <a:lnTo>
                    <a:pt x="492" y="174"/>
                  </a:lnTo>
                  <a:lnTo>
                    <a:pt x="486" y="174"/>
                  </a:lnTo>
                  <a:lnTo>
                    <a:pt x="480" y="174"/>
                  </a:lnTo>
                  <a:lnTo>
                    <a:pt x="474" y="174"/>
                  </a:lnTo>
                  <a:lnTo>
                    <a:pt x="468" y="174"/>
                  </a:lnTo>
                  <a:lnTo>
                    <a:pt x="462" y="174"/>
                  </a:lnTo>
                  <a:lnTo>
                    <a:pt x="456" y="174"/>
                  </a:lnTo>
                  <a:lnTo>
                    <a:pt x="450" y="180"/>
                  </a:lnTo>
                  <a:lnTo>
                    <a:pt x="450" y="186"/>
                  </a:lnTo>
                  <a:lnTo>
                    <a:pt x="450" y="192"/>
                  </a:lnTo>
                  <a:lnTo>
                    <a:pt x="444" y="192"/>
                  </a:lnTo>
                  <a:lnTo>
                    <a:pt x="444" y="186"/>
                  </a:lnTo>
                  <a:lnTo>
                    <a:pt x="444" y="180"/>
                  </a:lnTo>
                  <a:lnTo>
                    <a:pt x="450" y="180"/>
                  </a:lnTo>
                  <a:lnTo>
                    <a:pt x="450" y="174"/>
                  </a:lnTo>
                  <a:lnTo>
                    <a:pt x="450" y="168"/>
                  </a:lnTo>
                  <a:lnTo>
                    <a:pt x="450" y="162"/>
                  </a:lnTo>
                  <a:lnTo>
                    <a:pt x="456" y="162"/>
                  </a:lnTo>
                  <a:lnTo>
                    <a:pt x="456" y="168"/>
                  </a:lnTo>
                  <a:lnTo>
                    <a:pt x="456" y="162"/>
                  </a:lnTo>
                  <a:lnTo>
                    <a:pt x="462" y="162"/>
                  </a:lnTo>
                  <a:lnTo>
                    <a:pt x="468" y="162"/>
                  </a:lnTo>
                  <a:lnTo>
                    <a:pt x="468" y="168"/>
                  </a:lnTo>
                  <a:lnTo>
                    <a:pt x="474" y="168"/>
                  </a:lnTo>
                  <a:lnTo>
                    <a:pt x="480" y="168"/>
                  </a:lnTo>
                  <a:lnTo>
                    <a:pt x="480" y="162"/>
                  </a:lnTo>
                  <a:lnTo>
                    <a:pt x="480" y="156"/>
                  </a:lnTo>
                  <a:lnTo>
                    <a:pt x="486" y="156"/>
                  </a:lnTo>
                  <a:lnTo>
                    <a:pt x="486" y="162"/>
                  </a:lnTo>
                  <a:lnTo>
                    <a:pt x="486" y="156"/>
                  </a:lnTo>
                  <a:lnTo>
                    <a:pt x="492" y="156"/>
                  </a:lnTo>
                  <a:lnTo>
                    <a:pt x="486" y="150"/>
                  </a:lnTo>
                  <a:lnTo>
                    <a:pt x="492" y="150"/>
                  </a:lnTo>
                  <a:lnTo>
                    <a:pt x="498" y="150"/>
                  </a:lnTo>
                  <a:lnTo>
                    <a:pt x="498" y="156"/>
                  </a:lnTo>
                  <a:lnTo>
                    <a:pt x="504" y="156"/>
                  </a:lnTo>
                  <a:lnTo>
                    <a:pt x="504" y="162"/>
                  </a:lnTo>
                  <a:lnTo>
                    <a:pt x="504" y="156"/>
                  </a:lnTo>
                  <a:lnTo>
                    <a:pt x="510" y="156"/>
                  </a:lnTo>
                  <a:lnTo>
                    <a:pt x="510" y="150"/>
                  </a:lnTo>
                  <a:lnTo>
                    <a:pt x="516" y="150"/>
                  </a:lnTo>
                  <a:lnTo>
                    <a:pt x="522" y="150"/>
                  </a:lnTo>
                  <a:lnTo>
                    <a:pt x="522" y="144"/>
                  </a:lnTo>
                  <a:lnTo>
                    <a:pt x="522" y="150"/>
                  </a:lnTo>
                  <a:lnTo>
                    <a:pt x="528" y="150"/>
                  </a:lnTo>
                  <a:lnTo>
                    <a:pt x="534" y="150"/>
                  </a:lnTo>
                  <a:lnTo>
                    <a:pt x="528" y="150"/>
                  </a:lnTo>
                  <a:lnTo>
                    <a:pt x="528" y="144"/>
                  </a:lnTo>
                  <a:lnTo>
                    <a:pt x="540" y="144"/>
                  </a:lnTo>
                  <a:lnTo>
                    <a:pt x="546" y="144"/>
                  </a:lnTo>
                  <a:lnTo>
                    <a:pt x="552" y="138"/>
                  </a:lnTo>
                  <a:lnTo>
                    <a:pt x="552" y="132"/>
                  </a:lnTo>
                  <a:lnTo>
                    <a:pt x="558" y="132"/>
                  </a:lnTo>
                  <a:lnTo>
                    <a:pt x="558" y="126"/>
                  </a:lnTo>
                  <a:lnTo>
                    <a:pt x="558" y="120"/>
                  </a:lnTo>
                  <a:lnTo>
                    <a:pt x="558" y="114"/>
                  </a:lnTo>
                  <a:lnTo>
                    <a:pt x="564" y="114"/>
                  </a:lnTo>
                  <a:lnTo>
                    <a:pt x="570" y="114"/>
                  </a:lnTo>
                  <a:lnTo>
                    <a:pt x="576" y="114"/>
                  </a:lnTo>
                  <a:lnTo>
                    <a:pt x="582" y="120"/>
                  </a:lnTo>
                  <a:lnTo>
                    <a:pt x="588" y="120"/>
                  </a:lnTo>
                  <a:lnTo>
                    <a:pt x="588" y="126"/>
                  </a:lnTo>
                  <a:lnTo>
                    <a:pt x="588" y="120"/>
                  </a:lnTo>
                  <a:lnTo>
                    <a:pt x="594" y="120"/>
                  </a:lnTo>
                  <a:lnTo>
                    <a:pt x="594" y="114"/>
                  </a:lnTo>
                  <a:lnTo>
                    <a:pt x="594" y="120"/>
                  </a:lnTo>
                  <a:lnTo>
                    <a:pt x="594" y="114"/>
                  </a:lnTo>
                  <a:lnTo>
                    <a:pt x="600" y="114"/>
                  </a:lnTo>
                  <a:lnTo>
                    <a:pt x="606" y="114"/>
                  </a:lnTo>
                  <a:lnTo>
                    <a:pt x="618" y="114"/>
                  </a:lnTo>
                  <a:lnTo>
                    <a:pt x="618" y="108"/>
                  </a:lnTo>
                  <a:lnTo>
                    <a:pt x="624" y="108"/>
                  </a:lnTo>
                  <a:lnTo>
                    <a:pt x="624" y="102"/>
                  </a:lnTo>
                  <a:lnTo>
                    <a:pt x="630" y="102"/>
                  </a:lnTo>
                  <a:lnTo>
                    <a:pt x="636" y="102"/>
                  </a:lnTo>
                  <a:lnTo>
                    <a:pt x="636" y="108"/>
                  </a:lnTo>
                  <a:lnTo>
                    <a:pt x="642" y="108"/>
                  </a:lnTo>
                  <a:lnTo>
                    <a:pt x="648" y="108"/>
                  </a:lnTo>
                  <a:lnTo>
                    <a:pt x="648" y="102"/>
                  </a:lnTo>
                  <a:lnTo>
                    <a:pt x="654" y="102"/>
                  </a:lnTo>
                  <a:lnTo>
                    <a:pt x="660" y="102"/>
                  </a:lnTo>
                  <a:lnTo>
                    <a:pt x="660" y="96"/>
                  </a:lnTo>
                  <a:lnTo>
                    <a:pt x="660" y="90"/>
                  </a:lnTo>
                  <a:lnTo>
                    <a:pt x="666" y="90"/>
                  </a:lnTo>
                  <a:lnTo>
                    <a:pt x="666" y="84"/>
                  </a:lnTo>
                  <a:lnTo>
                    <a:pt x="672" y="78"/>
                  </a:lnTo>
                  <a:lnTo>
                    <a:pt x="672" y="72"/>
                  </a:lnTo>
                  <a:lnTo>
                    <a:pt x="678" y="66"/>
                  </a:lnTo>
                  <a:lnTo>
                    <a:pt x="684" y="66"/>
                  </a:lnTo>
                  <a:lnTo>
                    <a:pt x="684" y="60"/>
                  </a:lnTo>
                  <a:lnTo>
                    <a:pt x="690" y="60"/>
                  </a:lnTo>
                  <a:lnTo>
                    <a:pt x="696" y="60"/>
                  </a:lnTo>
                  <a:lnTo>
                    <a:pt x="702" y="60"/>
                  </a:lnTo>
                  <a:lnTo>
                    <a:pt x="702" y="66"/>
                  </a:lnTo>
                  <a:lnTo>
                    <a:pt x="708" y="66"/>
                  </a:lnTo>
                  <a:lnTo>
                    <a:pt x="714" y="66"/>
                  </a:lnTo>
                  <a:lnTo>
                    <a:pt x="720" y="66"/>
                  </a:lnTo>
                  <a:lnTo>
                    <a:pt x="720" y="60"/>
                  </a:lnTo>
                  <a:lnTo>
                    <a:pt x="726" y="60"/>
                  </a:lnTo>
                  <a:lnTo>
                    <a:pt x="732" y="60"/>
                  </a:lnTo>
                  <a:lnTo>
                    <a:pt x="744" y="60"/>
                  </a:lnTo>
                  <a:lnTo>
                    <a:pt x="750" y="54"/>
                  </a:lnTo>
                  <a:lnTo>
                    <a:pt x="762" y="60"/>
                  </a:lnTo>
                  <a:lnTo>
                    <a:pt x="774" y="60"/>
                  </a:lnTo>
                  <a:lnTo>
                    <a:pt x="774" y="66"/>
                  </a:lnTo>
                  <a:lnTo>
                    <a:pt x="780" y="72"/>
                  </a:lnTo>
                  <a:lnTo>
                    <a:pt x="786" y="78"/>
                  </a:lnTo>
                  <a:lnTo>
                    <a:pt x="792" y="78"/>
                  </a:lnTo>
                  <a:lnTo>
                    <a:pt x="810" y="84"/>
                  </a:lnTo>
                  <a:lnTo>
                    <a:pt x="822" y="84"/>
                  </a:lnTo>
                  <a:lnTo>
                    <a:pt x="828" y="84"/>
                  </a:lnTo>
                  <a:lnTo>
                    <a:pt x="834" y="84"/>
                  </a:lnTo>
                  <a:lnTo>
                    <a:pt x="840" y="96"/>
                  </a:lnTo>
                  <a:lnTo>
                    <a:pt x="846" y="102"/>
                  </a:lnTo>
                  <a:lnTo>
                    <a:pt x="858" y="102"/>
                  </a:lnTo>
                  <a:lnTo>
                    <a:pt x="864" y="102"/>
                  </a:lnTo>
                  <a:lnTo>
                    <a:pt x="876" y="96"/>
                  </a:lnTo>
                  <a:lnTo>
                    <a:pt x="882" y="102"/>
                  </a:lnTo>
                  <a:lnTo>
                    <a:pt x="888" y="108"/>
                  </a:lnTo>
                  <a:lnTo>
                    <a:pt x="888" y="114"/>
                  </a:lnTo>
                  <a:lnTo>
                    <a:pt x="888" y="120"/>
                  </a:lnTo>
                  <a:lnTo>
                    <a:pt x="888" y="126"/>
                  </a:lnTo>
                  <a:lnTo>
                    <a:pt x="888" y="132"/>
                  </a:lnTo>
                  <a:lnTo>
                    <a:pt x="882" y="132"/>
                  </a:lnTo>
                  <a:lnTo>
                    <a:pt x="864" y="126"/>
                  </a:lnTo>
                  <a:lnTo>
                    <a:pt x="852" y="120"/>
                  </a:lnTo>
                  <a:lnTo>
                    <a:pt x="840" y="126"/>
                  </a:lnTo>
                  <a:lnTo>
                    <a:pt x="834" y="120"/>
                  </a:lnTo>
                  <a:lnTo>
                    <a:pt x="828" y="120"/>
                  </a:lnTo>
                  <a:lnTo>
                    <a:pt x="822" y="120"/>
                  </a:lnTo>
                  <a:lnTo>
                    <a:pt x="810" y="114"/>
                  </a:lnTo>
                  <a:lnTo>
                    <a:pt x="804" y="114"/>
                  </a:lnTo>
                  <a:lnTo>
                    <a:pt x="798" y="114"/>
                  </a:lnTo>
                  <a:lnTo>
                    <a:pt x="792" y="114"/>
                  </a:lnTo>
                  <a:lnTo>
                    <a:pt x="786" y="114"/>
                  </a:lnTo>
                  <a:lnTo>
                    <a:pt x="780" y="114"/>
                  </a:lnTo>
                  <a:lnTo>
                    <a:pt x="780" y="126"/>
                  </a:lnTo>
                  <a:lnTo>
                    <a:pt x="786" y="126"/>
                  </a:lnTo>
                  <a:lnTo>
                    <a:pt x="798" y="126"/>
                  </a:lnTo>
                  <a:lnTo>
                    <a:pt x="804" y="126"/>
                  </a:lnTo>
                  <a:lnTo>
                    <a:pt x="822" y="132"/>
                  </a:lnTo>
                  <a:lnTo>
                    <a:pt x="828" y="132"/>
                  </a:lnTo>
                  <a:lnTo>
                    <a:pt x="834" y="132"/>
                  </a:lnTo>
                  <a:lnTo>
                    <a:pt x="840" y="144"/>
                  </a:lnTo>
                  <a:lnTo>
                    <a:pt x="846" y="150"/>
                  </a:lnTo>
                  <a:lnTo>
                    <a:pt x="858" y="150"/>
                  </a:lnTo>
                  <a:lnTo>
                    <a:pt x="864" y="162"/>
                  </a:lnTo>
                  <a:lnTo>
                    <a:pt x="870" y="162"/>
                  </a:lnTo>
                  <a:lnTo>
                    <a:pt x="876" y="168"/>
                  </a:lnTo>
                  <a:lnTo>
                    <a:pt x="888" y="168"/>
                  </a:lnTo>
                  <a:lnTo>
                    <a:pt x="894" y="174"/>
                  </a:lnTo>
                  <a:lnTo>
                    <a:pt x="900" y="174"/>
                  </a:lnTo>
                  <a:lnTo>
                    <a:pt x="918" y="174"/>
                  </a:lnTo>
                  <a:lnTo>
                    <a:pt x="924" y="174"/>
                  </a:lnTo>
                  <a:lnTo>
                    <a:pt x="930" y="174"/>
                  </a:lnTo>
                  <a:lnTo>
                    <a:pt x="942" y="174"/>
                  </a:lnTo>
                  <a:lnTo>
                    <a:pt x="954" y="174"/>
                  </a:lnTo>
                  <a:lnTo>
                    <a:pt x="960" y="174"/>
                  </a:lnTo>
                  <a:lnTo>
                    <a:pt x="966" y="174"/>
                  </a:lnTo>
                  <a:lnTo>
                    <a:pt x="966" y="168"/>
                  </a:lnTo>
                  <a:lnTo>
                    <a:pt x="972" y="162"/>
                  </a:lnTo>
                  <a:lnTo>
                    <a:pt x="972" y="156"/>
                  </a:lnTo>
                  <a:close/>
                  <a:moveTo>
                    <a:pt x="942" y="174"/>
                  </a:moveTo>
                  <a:lnTo>
                    <a:pt x="936" y="174"/>
                  </a:lnTo>
                  <a:lnTo>
                    <a:pt x="936" y="168"/>
                  </a:lnTo>
                  <a:lnTo>
                    <a:pt x="936" y="162"/>
                  </a:lnTo>
                  <a:lnTo>
                    <a:pt x="948" y="162"/>
                  </a:lnTo>
                  <a:lnTo>
                    <a:pt x="948" y="156"/>
                  </a:lnTo>
                  <a:lnTo>
                    <a:pt x="954" y="156"/>
                  </a:lnTo>
                  <a:lnTo>
                    <a:pt x="960" y="156"/>
                  </a:lnTo>
                  <a:lnTo>
                    <a:pt x="966" y="156"/>
                  </a:lnTo>
                  <a:lnTo>
                    <a:pt x="966" y="162"/>
                  </a:lnTo>
                  <a:lnTo>
                    <a:pt x="960" y="168"/>
                  </a:lnTo>
                  <a:lnTo>
                    <a:pt x="942" y="174"/>
                  </a:lnTo>
                  <a:close/>
                  <a:moveTo>
                    <a:pt x="900" y="168"/>
                  </a:moveTo>
                  <a:lnTo>
                    <a:pt x="894" y="168"/>
                  </a:lnTo>
                  <a:lnTo>
                    <a:pt x="882" y="156"/>
                  </a:lnTo>
                  <a:lnTo>
                    <a:pt x="882" y="150"/>
                  </a:lnTo>
                  <a:lnTo>
                    <a:pt x="888" y="156"/>
                  </a:lnTo>
                  <a:lnTo>
                    <a:pt x="894" y="150"/>
                  </a:lnTo>
                  <a:lnTo>
                    <a:pt x="900" y="150"/>
                  </a:lnTo>
                  <a:lnTo>
                    <a:pt x="906" y="150"/>
                  </a:lnTo>
                  <a:lnTo>
                    <a:pt x="912" y="150"/>
                  </a:lnTo>
                  <a:lnTo>
                    <a:pt x="924" y="150"/>
                  </a:lnTo>
                  <a:lnTo>
                    <a:pt x="924" y="156"/>
                  </a:lnTo>
                  <a:lnTo>
                    <a:pt x="924" y="162"/>
                  </a:lnTo>
                  <a:lnTo>
                    <a:pt x="924" y="168"/>
                  </a:lnTo>
                  <a:lnTo>
                    <a:pt x="918" y="168"/>
                  </a:lnTo>
                  <a:lnTo>
                    <a:pt x="906" y="168"/>
                  </a:lnTo>
                  <a:lnTo>
                    <a:pt x="900" y="168"/>
                  </a:lnTo>
                  <a:close/>
                  <a:moveTo>
                    <a:pt x="870" y="162"/>
                  </a:moveTo>
                  <a:lnTo>
                    <a:pt x="876" y="162"/>
                  </a:lnTo>
                  <a:lnTo>
                    <a:pt x="876" y="168"/>
                  </a:lnTo>
                  <a:lnTo>
                    <a:pt x="870" y="168"/>
                  </a:lnTo>
                  <a:lnTo>
                    <a:pt x="870" y="162"/>
                  </a:lnTo>
                  <a:close/>
                  <a:moveTo>
                    <a:pt x="450" y="162"/>
                  </a:moveTo>
                  <a:lnTo>
                    <a:pt x="444" y="162"/>
                  </a:lnTo>
                  <a:lnTo>
                    <a:pt x="444" y="156"/>
                  </a:lnTo>
                  <a:lnTo>
                    <a:pt x="438" y="156"/>
                  </a:lnTo>
                  <a:lnTo>
                    <a:pt x="432" y="150"/>
                  </a:lnTo>
                  <a:lnTo>
                    <a:pt x="438" y="150"/>
                  </a:lnTo>
                  <a:lnTo>
                    <a:pt x="438" y="144"/>
                  </a:lnTo>
                  <a:lnTo>
                    <a:pt x="438" y="150"/>
                  </a:lnTo>
                  <a:lnTo>
                    <a:pt x="444" y="150"/>
                  </a:lnTo>
                  <a:lnTo>
                    <a:pt x="450" y="150"/>
                  </a:lnTo>
                  <a:lnTo>
                    <a:pt x="450" y="156"/>
                  </a:lnTo>
                  <a:lnTo>
                    <a:pt x="456" y="156"/>
                  </a:lnTo>
                  <a:lnTo>
                    <a:pt x="456" y="150"/>
                  </a:lnTo>
                  <a:lnTo>
                    <a:pt x="456" y="156"/>
                  </a:lnTo>
                  <a:lnTo>
                    <a:pt x="462" y="150"/>
                  </a:lnTo>
                  <a:lnTo>
                    <a:pt x="462" y="144"/>
                  </a:lnTo>
                  <a:lnTo>
                    <a:pt x="468" y="144"/>
                  </a:lnTo>
                  <a:lnTo>
                    <a:pt x="468" y="150"/>
                  </a:lnTo>
                  <a:lnTo>
                    <a:pt x="474" y="150"/>
                  </a:lnTo>
                  <a:lnTo>
                    <a:pt x="480" y="150"/>
                  </a:lnTo>
                  <a:lnTo>
                    <a:pt x="480" y="156"/>
                  </a:lnTo>
                  <a:lnTo>
                    <a:pt x="480" y="162"/>
                  </a:lnTo>
                  <a:lnTo>
                    <a:pt x="474" y="162"/>
                  </a:lnTo>
                  <a:lnTo>
                    <a:pt x="474" y="168"/>
                  </a:lnTo>
                  <a:lnTo>
                    <a:pt x="474" y="162"/>
                  </a:lnTo>
                  <a:lnTo>
                    <a:pt x="468" y="162"/>
                  </a:lnTo>
                  <a:lnTo>
                    <a:pt x="462" y="162"/>
                  </a:lnTo>
                  <a:lnTo>
                    <a:pt x="456" y="162"/>
                  </a:lnTo>
                  <a:lnTo>
                    <a:pt x="450" y="162"/>
                  </a:lnTo>
                  <a:close/>
                </a:path>
              </a:pathLst>
            </a:custGeom>
            <a:solidFill>
              <a:srgbClr val="33CC33"/>
            </a:solidFill>
            <a:ln w="9525">
              <a:solidFill>
                <a:schemeClr val="bg1"/>
              </a:solidFill>
              <a:round/>
              <a:headEnd/>
              <a:tailEnd/>
            </a:ln>
          </p:spPr>
          <p:txBody>
            <a:bodyPr/>
            <a:lstStyle/>
            <a:p>
              <a:endParaRPr lang="en-GB"/>
            </a:p>
          </p:txBody>
        </p:sp>
        <p:sp>
          <p:nvSpPr>
            <p:cNvPr id="19507" name="Freeform 32"/>
            <p:cNvSpPr>
              <a:spLocks/>
            </p:cNvSpPr>
            <p:nvPr/>
          </p:nvSpPr>
          <p:spPr bwMode="gray">
            <a:xfrm>
              <a:off x="1455085" y="3144262"/>
              <a:ext cx="1743707" cy="1122498"/>
            </a:xfrm>
            <a:custGeom>
              <a:avLst/>
              <a:gdLst>
                <a:gd name="T0" fmla="*/ 108100 w 2226"/>
                <a:gd name="T1" fmla="*/ 97573 h 1392"/>
                <a:gd name="T2" fmla="*/ 104184 w 2226"/>
                <a:gd name="T3" fmla="*/ 95961 h 1392"/>
                <a:gd name="T4" fmla="*/ 100267 w 2226"/>
                <a:gd name="T5" fmla="*/ 94348 h 1392"/>
                <a:gd name="T6" fmla="*/ 93217 w 2226"/>
                <a:gd name="T7" fmla="*/ 93541 h 1392"/>
                <a:gd name="T8" fmla="*/ 79117 w 2226"/>
                <a:gd name="T9" fmla="*/ 93541 h 1392"/>
                <a:gd name="T10" fmla="*/ 73634 w 2226"/>
                <a:gd name="T11" fmla="*/ 83865 h 1392"/>
                <a:gd name="T12" fmla="*/ 64234 w 2226"/>
                <a:gd name="T13" fmla="*/ 66931 h 1392"/>
                <a:gd name="T14" fmla="*/ 68150 w 2226"/>
                <a:gd name="T15" fmla="*/ 55641 h 1392"/>
                <a:gd name="T16" fmla="*/ 64234 w 2226"/>
                <a:gd name="T17" fmla="*/ 52416 h 1392"/>
                <a:gd name="T18" fmla="*/ 46217 w 2226"/>
                <a:gd name="T19" fmla="*/ 45964 h 1392"/>
                <a:gd name="T20" fmla="*/ 22717 w 2226"/>
                <a:gd name="T21" fmla="*/ 62092 h 1392"/>
                <a:gd name="T22" fmla="*/ 15667 w 2226"/>
                <a:gd name="T23" fmla="*/ 62899 h 1392"/>
                <a:gd name="T24" fmla="*/ 11750 w 2226"/>
                <a:gd name="T25" fmla="*/ 66124 h 1392"/>
                <a:gd name="T26" fmla="*/ 6267 w 2226"/>
                <a:gd name="T27" fmla="*/ 69350 h 1392"/>
                <a:gd name="T28" fmla="*/ 783 w 2226"/>
                <a:gd name="T29" fmla="*/ 70963 h 1392"/>
                <a:gd name="T30" fmla="*/ 0 w 2226"/>
                <a:gd name="T31" fmla="*/ 66124 h 1392"/>
                <a:gd name="T32" fmla="*/ 0 w 2226"/>
                <a:gd name="T33" fmla="*/ 61286 h 1392"/>
                <a:gd name="T34" fmla="*/ 1567 w 2226"/>
                <a:gd name="T35" fmla="*/ 56447 h 1392"/>
                <a:gd name="T36" fmla="*/ 2350 w 2226"/>
                <a:gd name="T37" fmla="*/ 52416 h 1392"/>
                <a:gd name="T38" fmla="*/ 1567 w 2226"/>
                <a:gd name="T39" fmla="*/ 50803 h 1392"/>
                <a:gd name="T40" fmla="*/ 7050 w 2226"/>
                <a:gd name="T41" fmla="*/ 48384 h 1392"/>
                <a:gd name="T42" fmla="*/ 13317 w 2226"/>
                <a:gd name="T43" fmla="*/ 47577 h 1392"/>
                <a:gd name="T44" fmla="*/ 17233 w 2226"/>
                <a:gd name="T45" fmla="*/ 41126 h 1392"/>
                <a:gd name="T46" fmla="*/ 18017 w 2226"/>
                <a:gd name="T47" fmla="*/ 34675 h 1392"/>
                <a:gd name="T48" fmla="*/ 21150 w 2226"/>
                <a:gd name="T49" fmla="*/ 27417 h 1392"/>
                <a:gd name="T50" fmla="*/ 23500 w 2226"/>
                <a:gd name="T51" fmla="*/ 21773 h 1392"/>
                <a:gd name="T52" fmla="*/ 25850 w 2226"/>
                <a:gd name="T53" fmla="*/ 17741 h 1392"/>
                <a:gd name="T54" fmla="*/ 32900 w 2226"/>
                <a:gd name="T55" fmla="*/ 13709 h 1392"/>
                <a:gd name="T56" fmla="*/ 36817 w 2226"/>
                <a:gd name="T57" fmla="*/ 11289 h 1392"/>
                <a:gd name="T58" fmla="*/ 38383 w 2226"/>
                <a:gd name="T59" fmla="*/ 4032 h 1392"/>
                <a:gd name="T60" fmla="*/ 41517 w 2226"/>
                <a:gd name="T61" fmla="*/ 0 h 1392"/>
                <a:gd name="T62" fmla="*/ 43083 w 2226"/>
                <a:gd name="T63" fmla="*/ 3226 h 1392"/>
                <a:gd name="T64" fmla="*/ 46217 w 2226"/>
                <a:gd name="T65" fmla="*/ 5645 h 1392"/>
                <a:gd name="T66" fmla="*/ 49350 w 2226"/>
                <a:gd name="T67" fmla="*/ 5645 h 1392"/>
                <a:gd name="T68" fmla="*/ 51700 w 2226"/>
                <a:gd name="T69" fmla="*/ 7258 h 1392"/>
                <a:gd name="T70" fmla="*/ 52484 w 2226"/>
                <a:gd name="T71" fmla="*/ 9677 h 1392"/>
                <a:gd name="T72" fmla="*/ 52484 w 2226"/>
                <a:gd name="T73" fmla="*/ 10483 h 1392"/>
                <a:gd name="T74" fmla="*/ 54834 w 2226"/>
                <a:gd name="T75" fmla="*/ 12096 h 1392"/>
                <a:gd name="T76" fmla="*/ 57967 w 2226"/>
                <a:gd name="T77" fmla="*/ 13709 h 1392"/>
                <a:gd name="T78" fmla="*/ 61100 w 2226"/>
                <a:gd name="T79" fmla="*/ 14515 h 1392"/>
                <a:gd name="T80" fmla="*/ 75984 w 2226"/>
                <a:gd name="T81" fmla="*/ 32256 h 1392"/>
                <a:gd name="T82" fmla="*/ 79900 w 2226"/>
                <a:gd name="T83" fmla="*/ 35481 h 1392"/>
                <a:gd name="T84" fmla="*/ 86167 w 2226"/>
                <a:gd name="T85" fmla="*/ 39513 h 1392"/>
                <a:gd name="T86" fmla="*/ 88517 w 2226"/>
                <a:gd name="T87" fmla="*/ 42739 h 1392"/>
                <a:gd name="T88" fmla="*/ 92434 w 2226"/>
                <a:gd name="T89" fmla="*/ 45964 h 1392"/>
                <a:gd name="T90" fmla="*/ 97134 w 2226"/>
                <a:gd name="T91" fmla="*/ 43545 h 1392"/>
                <a:gd name="T92" fmla="*/ 104184 w 2226"/>
                <a:gd name="T93" fmla="*/ 46771 h 1392"/>
                <a:gd name="T94" fmla="*/ 107317 w 2226"/>
                <a:gd name="T95" fmla="*/ 51609 h 1392"/>
                <a:gd name="T96" fmla="*/ 113584 w 2226"/>
                <a:gd name="T97" fmla="*/ 52416 h 1392"/>
                <a:gd name="T98" fmla="*/ 119067 w 2226"/>
                <a:gd name="T99" fmla="*/ 54028 h 1392"/>
                <a:gd name="T100" fmla="*/ 126117 w 2226"/>
                <a:gd name="T101" fmla="*/ 58060 h 1392"/>
                <a:gd name="T102" fmla="*/ 131601 w 2226"/>
                <a:gd name="T103" fmla="*/ 61286 h 1392"/>
                <a:gd name="T104" fmla="*/ 138651 w 2226"/>
                <a:gd name="T105" fmla="*/ 62899 h 1392"/>
                <a:gd name="T106" fmla="*/ 144134 w 2226"/>
                <a:gd name="T107" fmla="*/ 62899 h 1392"/>
                <a:gd name="T108" fmla="*/ 148834 w 2226"/>
                <a:gd name="T109" fmla="*/ 65318 h 1392"/>
                <a:gd name="T110" fmla="*/ 150401 w 2226"/>
                <a:gd name="T111" fmla="*/ 69350 h 1392"/>
                <a:gd name="T112" fmla="*/ 146484 w 2226"/>
                <a:gd name="T113" fmla="*/ 79833 h 1392"/>
                <a:gd name="T114" fmla="*/ 129251 w 2226"/>
                <a:gd name="T115" fmla="*/ 78220 h 1392"/>
                <a:gd name="T116" fmla="*/ 121417 w 2226"/>
                <a:gd name="T117" fmla="*/ 74188 h 1392"/>
                <a:gd name="T118" fmla="*/ 114367 w 2226"/>
                <a:gd name="T119" fmla="*/ 82252 h 1392"/>
                <a:gd name="T120" fmla="*/ 116717 w 2226"/>
                <a:gd name="T121" fmla="*/ 85478 h 1392"/>
                <a:gd name="T122" fmla="*/ 118284 w 2226"/>
                <a:gd name="T123" fmla="*/ 87090 h 1392"/>
                <a:gd name="T124" fmla="*/ 122984 w 2226"/>
                <a:gd name="T125" fmla="*/ 91122 h 13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1392"/>
                <a:gd name="T191" fmla="*/ 2226 w 2226"/>
                <a:gd name="T192" fmla="*/ 1392 h 13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1392">
                  <a:moveTo>
                    <a:pt x="1782" y="1326"/>
                  </a:moveTo>
                  <a:lnTo>
                    <a:pt x="1776" y="1332"/>
                  </a:lnTo>
                  <a:lnTo>
                    <a:pt x="1692" y="1338"/>
                  </a:lnTo>
                  <a:lnTo>
                    <a:pt x="1680" y="1386"/>
                  </a:lnTo>
                  <a:lnTo>
                    <a:pt x="1674" y="1392"/>
                  </a:lnTo>
                  <a:lnTo>
                    <a:pt x="1638" y="1392"/>
                  </a:lnTo>
                  <a:lnTo>
                    <a:pt x="1620" y="1392"/>
                  </a:lnTo>
                  <a:lnTo>
                    <a:pt x="1614" y="1392"/>
                  </a:lnTo>
                  <a:lnTo>
                    <a:pt x="1608" y="1386"/>
                  </a:lnTo>
                  <a:lnTo>
                    <a:pt x="1584" y="1386"/>
                  </a:lnTo>
                  <a:lnTo>
                    <a:pt x="1578" y="1386"/>
                  </a:lnTo>
                  <a:lnTo>
                    <a:pt x="1572" y="1380"/>
                  </a:lnTo>
                  <a:lnTo>
                    <a:pt x="1578" y="1356"/>
                  </a:lnTo>
                  <a:lnTo>
                    <a:pt x="1572" y="1356"/>
                  </a:lnTo>
                  <a:lnTo>
                    <a:pt x="1560" y="1350"/>
                  </a:lnTo>
                  <a:lnTo>
                    <a:pt x="1554" y="1350"/>
                  </a:lnTo>
                  <a:lnTo>
                    <a:pt x="1542" y="1350"/>
                  </a:lnTo>
                  <a:lnTo>
                    <a:pt x="1530" y="1350"/>
                  </a:lnTo>
                  <a:lnTo>
                    <a:pt x="1524" y="1356"/>
                  </a:lnTo>
                  <a:lnTo>
                    <a:pt x="1524" y="1362"/>
                  </a:lnTo>
                  <a:lnTo>
                    <a:pt x="1512" y="1374"/>
                  </a:lnTo>
                  <a:lnTo>
                    <a:pt x="1506" y="1374"/>
                  </a:lnTo>
                  <a:lnTo>
                    <a:pt x="1500" y="1368"/>
                  </a:lnTo>
                  <a:lnTo>
                    <a:pt x="1500" y="1362"/>
                  </a:lnTo>
                  <a:lnTo>
                    <a:pt x="1488" y="1362"/>
                  </a:lnTo>
                  <a:lnTo>
                    <a:pt x="1482" y="1356"/>
                  </a:lnTo>
                  <a:lnTo>
                    <a:pt x="1482" y="1350"/>
                  </a:lnTo>
                  <a:lnTo>
                    <a:pt x="1476" y="1350"/>
                  </a:lnTo>
                  <a:lnTo>
                    <a:pt x="1470" y="1344"/>
                  </a:lnTo>
                  <a:lnTo>
                    <a:pt x="1464" y="1344"/>
                  </a:lnTo>
                  <a:lnTo>
                    <a:pt x="1452" y="1350"/>
                  </a:lnTo>
                  <a:lnTo>
                    <a:pt x="1452" y="1356"/>
                  </a:lnTo>
                  <a:lnTo>
                    <a:pt x="1440" y="1356"/>
                  </a:lnTo>
                  <a:lnTo>
                    <a:pt x="1434" y="1344"/>
                  </a:lnTo>
                  <a:lnTo>
                    <a:pt x="1422" y="1332"/>
                  </a:lnTo>
                  <a:lnTo>
                    <a:pt x="1416" y="1326"/>
                  </a:lnTo>
                  <a:lnTo>
                    <a:pt x="1404" y="1320"/>
                  </a:lnTo>
                  <a:lnTo>
                    <a:pt x="1404" y="1314"/>
                  </a:lnTo>
                  <a:lnTo>
                    <a:pt x="1374" y="1308"/>
                  </a:lnTo>
                  <a:lnTo>
                    <a:pt x="1368" y="1326"/>
                  </a:lnTo>
                  <a:lnTo>
                    <a:pt x="1344" y="1338"/>
                  </a:lnTo>
                  <a:lnTo>
                    <a:pt x="1326" y="1332"/>
                  </a:lnTo>
                  <a:lnTo>
                    <a:pt x="1302" y="1332"/>
                  </a:lnTo>
                  <a:lnTo>
                    <a:pt x="1278" y="1338"/>
                  </a:lnTo>
                  <a:lnTo>
                    <a:pt x="1236" y="1338"/>
                  </a:lnTo>
                  <a:lnTo>
                    <a:pt x="1224" y="1338"/>
                  </a:lnTo>
                  <a:lnTo>
                    <a:pt x="1224" y="1326"/>
                  </a:lnTo>
                  <a:lnTo>
                    <a:pt x="1206" y="1326"/>
                  </a:lnTo>
                  <a:lnTo>
                    <a:pt x="1170" y="1326"/>
                  </a:lnTo>
                  <a:lnTo>
                    <a:pt x="1152" y="1326"/>
                  </a:lnTo>
                  <a:lnTo>
                    <a:pt x="1140" y="1314"/>
                  </a:lnTo>
                  <a:lnTo>
                    <a:pt x="1134" y="1296"/>
                  </a:lnTo>
                  <a:lnTo>
                    <a:pt x="1134" y="1284"/>
                  </a:lnTo>
                  <a:lnTo>
                    <a:pt x="1128" y="1254"/>
                  </a:lnTo>
                  <a:lnTo>
                    <a:pt x="1128" y="1242"/>
                  </a:lnTo>
                  <a:lnTo>
                    <a:pt x="1122" y="1230"/>
                  </a:lnTo>
                  <a:lnTo>
                    <a:pt x="1104" y="1218"/>
                  </a:lnTo>
                  <a:lnTo>
                    <a:pt x="1104" y="1212"/>
                  </a:lnTo>
                  <a:lnTo>
                    <a:pt x="1092" y="1206"/>
                  </a:lnTo>
                  <a:lnTo>
                    <a:pt x="1080" y="1194"/>
                  </a:lnTo>
                  <a:lnTo>
                    <a:pt x="1068" y="1176"/>
                  </a:lnTo>
                  <a:lnTo>
                    <a:pt x="1050" y="1152"/>
                  </a:lnTo>
                  <a:lnTo>
                    <a:pt x="1020" y="1098"/>
                  </a:lnTo>
                  <a:lnTo>
                    <a:pt x="978" y="1026"/>
                  </a:lnTo>
                  <a:lnTo>
                    <a:pt x="978" y="1014"/>
                  </a:lnTo>
                  <a:lnTo>
                    <a:pt x="972" y="1014"/>
                  </a:lnTo>
                  <a:lnTo>
                    <a:pt x="972" y="1008"/>
                  </a:lnTo>
                  <a:lnTo>
                    <a:pt x="978" y="1002"/>
                  </a:lnTo>
                  <a:lnTo>
                    <a:pt x="960" y="966"/>
                  </a:lnTo>
                  <a:lnTo>
                    <a:pt x="948" y="954"/>
                  </a:lnTo>
                  <a:lnTo>
                    <a:pt x="948" y="936"/>
                  </a:lnTo>
                  <a:lnTo>
                    <a:pt x="936" y="900"/>
                  </a:lnTo>
                  <a:lnTo>
                    <a:pt x="942" y="876"/>
                  </a:lnTo>
                  <a:lnTo>
                    <a:pt x="942" y="834"/>
                  </a:lnTo>
                  <a:lnTo>
                    <a:pt x="960" y="828"/>
                  </a:lnTo>
                  <a:lnTo>
                    <a:pt x="966" y="816"/>
                  </a:lnTo>
                  <a:lnTo>
                    <a:pt x="972" y="810"/>
                  </a:lnTo>
                  <a:lnTo>
                    <a:pt x="978" y="804"/>
                  </a:lnTo>
                  <a:lnTo>
                    <a:pt x="996" y="798"/>
                  </a:lnTo>
                  <a:lnTo>
                    <a:pt x="996" y="792"/>
                  </a:lnTo>
                  <a:lnTo>
                    <a:pt x="1014" y="780"/>
                  </a:lnTo>
                  <a:lnTo>
                    <a:pt x="1026" y="768"/>
                  </a:lnTo>
                  <a:lnTo>
                    <a:pt x="1032" y="762"/>
                  </a:lnTo>
                  <a:lnTo>
                    <a:pt x="1026" y="756"/>
                  </a:lnTo>
                  <a:lnTo>
                    <a:pt x="1014" y="744"/>
                  </a:lnTo>
                  <a:lnTo>
                    <a:pt x="996" y="756"/>
                  </a:lnTo>
                  <a:lnTo>
                    <a:pt x="954" y="768"/>
                  </a:lnTo>
                  <a:lnTo>
                    <a:pt x="942" y="762"/>
                  </a:lnTo>
                  <a:lnTo>
                    <a:pt x="942" y="756"/>
                  </a:lnTo>
                  <a:lnTo>
                    <a:pt x="936" y="750"/>
                  </a:lnTo>
                  <a:lnTo>
                    <a:pt x="846" y="732"/>
                  </a:lnTo>
                  <a:lnTo>
                    <a:pt x="822" y="726"/>
                  </a:lnTo>
                  <a:lnTo>
                    <a:pt x="810" y="714"/>
                  </a:lnTo>
                  <a:lnTo>
                    <a:pt x="792" y="690"/>
                  </a:lnTo>
                  <a:lnTo>
                    <a:pt x="792" y="678"/>
                  </a:lnTo>
                  <a:lnTo>
                    <a:pt x="762" y="642"/>
                  </a:lnTo>
                  <a:lnTo>
                    <a:pt x="750" y="636"/>
                  </a:lnTo>
                  <a:lnTo>
                    <a:pt x="726" y="630"/>
                  </a:lnTo>
                  <a:lnTo>
                    <a:pt x="696" y="642"/>
                  </a:lnTo>
                  <a:lnTo>
                    <a:pt x="678" y="654"/>
                  </a:lnTo>
                  <a:lnTo>
                    <a:pt x="666" y="684"/>
                  </a:lnTo>
                  <a:lnTo>
                    <a:pt x="660" y="726"/>
                  </a:lnTo>
                  <a:lnTo>
                    <a:pt x="606" y="756"/>
                  </a:lnTo>
                  <a:lnTo>
                    <a:pt x="558" y="780"/>
                  </a:lnTo>
                  <a:lnTo>
                    <a:pt x="438" y="834"/>
                  </a:lnTo>
                  <a:lnTo>
                    <a:pt x="402" y="846"/>
                  </a:lnTo>
                  <a:lnTo>
                    <a:pt x="372" y="870"/>
                  </a:lnTo>
                  <a:lnTo>
                    <a:pt x="360" y="876"/>
                  </a:lnTo>
                  <a:lnTo>
                    <a:pt x="354" y="876"/>
                  </a:lnTo>
                  <a:lnTo>
                    <a:pt x="330" y="882"/>
                  </a:lnTo>
                  <a:lnTo>
                    <a:pt x="306" y="882"/>
                  </a:lnTo>
                  <a:lnTo>
                    <a:pt x="300" y="876"/>
                  </a:lnTo>
                  <a:lnTo>
                    <a:pt x="294" y="876"/>
                  </a:lnTo>
                  <a:lnTo>
                    <a:pt x="294" y="864"/>
                  </a:lnTo>
                  <a:lnTo>
                    <a:pt x="288" y="864"/>
                  </a:lnTo>
                  <a:lnTo>
                    <a:pt x="276" y="864"/>
                  </a:lnTo>
                  <a:lnTo>
                    <a:pt x="270" y="870"/>
                  </a:lnTo>
                  <a:lnTo>
                    <a:pt x="264" y="870"/>
                  </a:lnTo>
                  <a:lnTo>
                    <a:pt x="240" y="894"/>
                  </a:lnTo>
                  <a:lnTo>
                    <a:pt x="234" y="894"/>
                  </a:lnTo>
                  <a:lnTo>
                    <a:pt x="228" y="900"/>
                  </a:lnTo>
                  <a:lnTo>
                    <a:pt x="222" y="906"/>
                  </a:lnTo>
                  <a:lnTo>
                    <a:pt x="210" y="912"/>
                  </a:lnTo>
                  <a:lnTo>
                    <a:pt x="204" y="912"/>
                  </a:lnTo>
                  <a:lnTo>
                    <a:pt x="198" y="912"/>
                  </a:lnTo>
                  <a:lnTo>
                    <a:pt x="192" y="918"/>
                  </a:lnTo>
                  <a:lnTo>
                    <a:pt x="180" y="918"/>
                  </a:lnTo>
                  <a:lnTo>
                    <a:pt x="174" y="930"/>
                  </a:lnTo>
                  <a:lnTo>
                    <a:pt x="174" y="936"/>
                  </a:lnTo>
                  <a:lnTo>
                    <a:pt x="168" y="942"/>
                  </a:lnTo>
                  <a:lnTo>
                    <a:pt x="162" y="942"/>
                  </a:lnTo>
                  <a:lnTo>
                    <a:pt x="150" y="960"/>
                  </a:lnTo>
                  <a:lnTo>
                    <a:pt x="144" y="966"/>
                  </a:lnTo>
                  <a:lnTo>
                    <a:pt x="138" y="972"/>
                  </a:lnTo>
                  <a:lnTo>
                    <a:pt x="132" y="972"/>
                  </a:lnTo>
                  <a:lnTo>
                    <a:pt x="126" y="984"/>
                  </a:lnTo>
                  <a:lnTo>
                    <a:pt x="120" y="984"/>
                  </a:lnTo>
                  <a:lnTo>
                    <a:pt x="114" y="990"/>
                  </a:lnTo>
                  <a:lnTo>
                    <a:pt x="96" y="990"/>
                  </a:lnTo>
                  <a:lnTo>
                    <a:pt x="90" y="990"/>
                  </a:lnTo>
                  <a:lnTo>
                    <a:pt x="78" y="990"/>
                  </a:lnTo>
                  <a:lnTo>
                    <a:pt x="72" y="990"/>
                  </a:lnTo>
                  <a:lnTo>
                    <a:pt x="60" y="990"/>
                  </a:lnTo>
                  <a:lnTo>
                    <a:pt x="42" y="990"/>
                  </a:lnTo>
                  <a:lnTo>
                    <a:pt x="36" y="996"/>
                  </a:lnTo>
                  <a:lnTo>
                    <a:pt x="30" y="1002"/>
                  </a:lnTo>
                  <a:lnTo>
                    <a:pt x="24" y="1014"/>
                  </a:lnTo>
                  <a:lnTo>
                    <a:pt x="24" y="1020"/>
                  </a:lnTo>
                  <a:lnTo>
                    <a:pt x="18" y="1020"/>
                  </a:lnTo>
                  <a:lnTo>
                    <a:pt x="12" y="1014"/>
                  </a:lnTo>
                  <a:lnTo>
                    <a:pt x="12" y="1008"/>
                  </a:lnTo>
                  <a:lnTo>
                    <a:pt x="12" y="990"/>
                  </a:lnTo>
                  <a:lnTo>
                    <a:pt x="12" y="984"/>
                  </a:lnTo>
                  <a:lnTo>
                    <a:pt x="12" y="972"/>
                  </a:lnTo>
                  <a:lnTo>
                    <a:pt x="12" y="966"/>
                  </a:lnTo>
                  <a:lnTo>
                    <a:pt x="6" y="966"/>
                  </a:lnTo>
                  <a:lnTo>
                    <a:pt x="6" y="960"/>
                  </a:lnTo>
                  <a:lnTo>
                    <a:pt x="6" y="954"/>
                  </a:lnTo>
                  <a:lnTo>
                    <a:pt x="6" y="948"/>
                  </a:lnTo>
                  <a:lnTo>
                    <a:pt x="6" y="942"/>
                  </a:lnTo>
                  <a:lnTo>
                    <a:pt x="12" y="930"/>
                  </a:lnTo>
                  <a:lnTo>
                    <a:pt x="6" y="924"/>
                  </a:lnTo>
                  <a:lnTo>
                    <a:pt x="6" y="918"/>
                  </a:lnTo>
                  <a:lnTo>
                    <a:pt x="6" y="912"/>
                  </a:lnTo>
                  <a:lnTo>
                    <a:pt x="6" y="906"/>
                  </a:lnTo>
                  <a:lnTo>
                    <a:pt x="6" y="900"/>
                  </a:lnTo>
                  <a:lnTo>
                    <a:pt x="0" y="894"/>
                  </a:lnTo>
                  <a:lnTo>
                    <a:pt x="0" y="888"/>
                  </a:lnTo>
                  <a:lnTo>
                    <a:pt x="0" y="882"/>
                  </a:lnTo>
                  <a:lnTo>
                    <a:pt x="6" y="876"/>
                  </a:lnTo>
                  <a:lnTo>
                    <a:pt x="6" y="870"/>
                  </a:lnTo>
                  <a:lnTo>
                    <a:pt x="18" y="864"/>
                  </a:lnTo>
                  <a:lnTo>
                    <a:pt x="18" y="858"/>
                  </a:lnTo>
                  <a:lnTo>
                    <a:pt x="18" y="846"/>
                  </a:lnTo>
                  <a:lnTo>
                    <a:pt x="18" y="834"/>
                  </a:lnTo>
                  <a:lnTo>
                    <a:pt x="18" y="828"/>
                  </a:lnTo>
                  <a:lnTo>
                    <a:pt x="24" y="828"/>
                  </a:lnTo>
                  <a:lnTo>
                    <a:pt x="24" y="810"/>
                  </a:lnTo>
                  <a:lnTo>
                    <a:pt x="24" y="804"/>
                  </a:lnTo>
                  <a:lnTo>
                    <a:pt x="18" y="804"/>
                  </a:lnTo>
                  <a:lnTo>
                    <a:pt x="18" y="798"/>
                  </a:lnTo>
                  <a:lnTo>
                    <a:pt x="18" y="792"/>
                  </a:lnTo>
                  <a:lnTo>
                    <a:pt x="24" y="792"/>
                  </a:lnTo>
                  <a:lnTo>
                    <a:pt x="30" y="774"/>
                  </a:lnTo>
                  <a:lnTo>
                    <a:pt x="24" y="768"/>
                  </a:lnTo>
                  <a:lnTo>
                    <a:pt x="30" y="768"/>
                  </a:lnTo>
                  <a:lnTo>
                    <a:pt x="36" y="762"/>
                  </a:lnTo>
                  <a:lnTo>
                    <a:pt x="36" y="756"/>
                  </a:lnTo>
                  <a:lnTo>
                    <a:pt x="30" y="756"/>
                  </a:lnTo>
                  <a:lnTo>
                    <a:pt x="30" y="750"/>
                  </a:lnTo>
                  <a:lnTo>
                    <a:pt x="36" y="750"/>
                  </a:lnTo>
                  <a:lnTo>
                    <a:pt x="36" y="744"/>
                  </a:lnTo>
                  <a:lnTo>
                    <a:pt x="30" y="744"/>
                  </a:lnTo>
                  <a:lnTo>
                    <a:pt x="30" y="738"/>
                  </a:lnTo>
                  <a:lnTo>
                    <a:pt x="24" y="738"/>
                  </a:lnTo>
                  <a:lnTo>
                    <a:pt x="24" y="732"/>
                  </a:lnTo>
                  <a:lnTo>
                    <a:pt x="30" y="732"/>
                  </a:lnTo>
                  <a:lnTo>
                    <a:pt x="36" y="726"/>
                  </a:lnTo>
                  <a:lnTo>
                    <a:pt x="30" y="726"/>
                  </a:lnTo>
                  <a:lnTo>
                    <a:pt x="24" y="726"/>
                  </a:lnTo>
                  <a:lnTo>
                    <a:pt x="30" y="720"/>
                  </a:lnTo>
                  <a:lnTo>
                    <a:pt x="30" y="714"/>
                  </a:lnTo>
                  <a:lnTo>
                    <a:pt x="36" y="714"/>
                  </a:lnTo>
                  <a:lnTo>
                    <a:pt x="30" y="708"/>
                  </a:lnTo>
                  <a:lnTo>
                    <a:pt x="30" y="696"/>
                  </a:lnTo>
                  <a:lnTo>
                    <a:pt x="66" y="702"/>
                  </a:lnTo>
                  <a:lnTo>
                    <a:pt x="78" y="702"/>
                  </a:lnTo>
                  <a:lnTo>
                    <a:pt x="84" y="702"/>
                  </a:lnTo>
                  <a:lnTo>
                    <a:pt x="96" y="696"/>
                  </a:lnTo>
                  <a:lnTo>
                    <a:pt x="102" y="690"/>
                  </a:lnTo>
                  <a:lnTo>
                    <a:pt x="102" y="684"/>
                  </a:lnTo>
                  <a:lnTo>
                    <a:pt x="114" y="684"/>
                  </a:lnTo>
                  <a:lnTo>
                    <a:pt x="144" y="684"/>
                  </a:lnTo>
                  <a:lnTo>
                    <a:pt x="150" y="690"/>
                  </a:lnTo>
                  <a:lnTo>
                    <a:pt x="162" y="696"/>
                  </a:lnTo>
                  <a:lnTo>
                    <a:pt x="168" y="696"/>
                  </a:lnTo>
                  <a:lnTo>
                    <a:pt x="174" y="696"/>
                  </a:lnTo>
                  <a:lnTo>
                    <a:pt x="186" y="690"/>
                  </a:lnTo>
                  <a:lnTo>
                    <a:pt x="192" y="690"/>
                  </a:lnTo>
                  <a:lnTo>
                    <a:pt x="198" y="684"/>
                  </a:lnTo>
                  <a:lnTo>
                    <a:pt x="204" y="684"/>
                  </a:lnTo>
                  <a:lnTo>
                    <a:pt x="210" y="684"/>
                  </a:lnTo>
                  <a:lnTo>
                    <a:pt x="222" y="678"/>
                  </a:lnTo>
                  <a:lnTo>
                    <a:pt x="228" y="678"/>
                  </a:lnTo>
                  <a:lnTo>
                    <a:pt x="228" y="660"/>
                  </a:lnTo>
                  <a:lnTo>
                    <a:pt x="234" y="642"/>
                  </a:lnTo>
                  <a:lnTo>
                    <a:pt x="246" y="618"/>
                  </a:lnTo>
                  <a:lnTo>
                    <a:pt x="252" y="618"/>
                  </a:lnTo>
                  <a:lnTo>
                    <a:pt x="252" y="600"/>
                  </a:lnTo>
                  <a:lnTo>
                    <a:pt x="252" y="588"/>
                  </a:lnTo>
                  <a:lnTo>
                    <a:pt x="252" y="582"/>
                  </a:lnTo>
                  <a:lnTo>
                    <a:pt x="258" y="576"/>
                  </a:lnTo>
                  <a:lnTo>
                    <a:pt x="270" y="564"/>
                  </a:lnTo>
                  <a:lnTo>
                    <a:pt x="270" y="558"/>
                  </a:lnTo>
                  <a:lnTo>
                    <a:pt x="270" y="552"/>
                  </a:lnTo>
                  <a:lnTo>
                    <a:pt x="270" y="540"/>
                  </a:lnTo>
                  <a:lnTo>
                    <a:pt x="270" y="534"/>
                  </a:lnTo>
                  <a:lnTo>
                    <a:pt x="270" y="522"/>
                  </a:lnTo>
                  <a:lnTo>
                    <a:pt x="270" y="510"/>
                  </a:lnTo>
                  <a:lnTo>
                    <a:pt x="270" y="498"/>
                  </a:lnTo>
                  <a:lnTo>
                    <a:pt x="258" y="468"/>
                  </a:lnTo>
                  <a:lnTo>
                    <a:pt x="252" y="456"/>
                  </a:lnTo>
                  <a:lnTo>
                    <a:pt x="258" y="444"/>
                  </a:lnTo>
                  <a:lnTo>
                    <a:pt x="264" y="432"/>
                  </a:lnTo>
                  <a:lnTo>
                    <a:pt x="270" y="426"/>
                  </a:lnTo>
                  <a:lnTo>
                    <a:pt x="276" y="420"/>
                  </a:lnTo>
                  <a:lnTo>
                    <a:pt x="288" y="420"/>
                  </a:lnTo>
                  <a:lnTo>
                    <a:pt x="288" y="414"/>
                  </a:lnTo>
                  <a:lnTo>
                    <a:pt x="294" y="414"/>
                  </a:lnTo>
                  <a:lnTo>
                    <a:pt x="306" y="390"/>
                  </a:lnTo>
                  <a:lnTo>
                    <a:pt x="312" y="384"/>
                  </a:lnTo>
                  <a:lnTo>
                    <a:pt x="318" y="378"/>
                  </a:lnTo>
                  <a:lnTo>
                    <a:pt x="318" y="372"/>
                  </a:lnTo>
                  <a:lnTo>
                    <a:pt x="324" y="366"/>
                  </a:lnTo>
                  <a:lnTo>
                    <a:pt x="330" y="354"/>
                  </a:lnTo>
                  <a:lnTo>
                    <a:pt x="336" y="348"/>
                  </a:lnTo>
                  <a:lnTo>
                    <a:pt x="336" y="330"/>
                  </a:lnTo>
                  <a:lnTo>
                    <a:pt x="342" y="324"/>
                  </a:lnTo>
                  <a:lnTo>
                    <a:pt x="342" y="318"/>
                  </a:lnTo>
                  <a:lnTo>
                    <a:pt x="348" y="318"/>
                  </a:lnTo>
                  <a:lnTo>
                    <a:pt x="360" y="318"/>
                  </a:lnTo>
                  <a:lnTo>
                    <a:pt x="372" y="318"/>
                  </a:lnTo>
                  <a:lnTo>
                    <a:pt x="384" y="306"/>
                  </a:lnTo>
                  <a:lnTo>
                    <a:pt x="396" y="300"/>
                  </a:lnTo>
                  <a:lnTo>
                    <a:pt x="396" y="294"/>
                  </a:lnTo>
                  <a:lnTo>
                    <a:pt x="396" y="288"/>
                  </a:lnTo>
                  <a:lnTo>
                    <a:pt x="390" y="282"/>
                  </a:lnTo>
                  <a:lnTo>
                    <a:pt x="390" y="276"/>
                  </a:lnTo>
                  <a:lnTo>
                    <a:pt x="384" y="264"/>
                  </a:lnTo>
                  <a:lnTo>
                    <a:pt x="378" y="252"/>
                  </a:lnTo>
                  <a:lnTo>
                    <a:pt x="378" y="246"/>
                  </a:lnTo>
                  <a:lnTo>
                    <a:pt x="384" y="228"/>
                  </a:lnTo>
                  <a:lnTo>
                    <a:pt x="390" y="216"/>
                  </a:lnTo>
                  <a:lnTo>
                    <a:pt x="402" y="210"/>
                  </a:lnTo>
                  <a:lnTo>
                    <a:pt x="408" y="210"/>
                  </a:lnTo>
                  <a:lnTo>
                    <a:pt x="420" y="204"/>
                  </a:lnTo>
                  <a:lnTo>
                    <a:pt x="444" y="198"/>
                  </a:lnTo>
                  <a:lnTo>
                    <a:pt x="462" y="192"/>
                  </a:lnTo>
                  <a:lnTo>
                    <a:pt x="474" y="186"/>
                  </a:lnTo>
                  <a:lnTo>
                    <a:pt x="480" y="192"/>
                  </a:lnTo>
                  <a:lnTo>
                    <a:pt x="492" y="192"/>
                  </a:lnTo>
                  <a:lnTo>
                    <a:pt x="498" y="192"/>
                  </a:lnTo>
                  <a:lnTo>
                    <a:pt x="504" y="192"/>
                  </a:lnTo>
                  <a:lnTo>
                    <a:pt x="510" y="192"/>
                  </a:lnTo>
                  <a:lnTo>
                    <a:pt x="516" y="186"/>
                  </a:lnTo>
                  <a:lnTo>
                    <a:pt x="522" y="180"/>
                  </a:lnTo>
                  <a:lnTo>
                    <a:pt x="522" y="174"/>
                  </a:lnTo>
                  <a:lnTo>
                    <a:pt x="528" y="168"/>
                  </a:lnTo>
                  <a:lnTo>
                    <a:pt x="534" y="168"/>
                  </a:lnTo>
                  <a:lnTo>
                    <a:pt x="534" y="156"/>
                  </a:lnTo>
                  <a:lnTo>
                    <a:pt x="534" y="150"/>
                  </a:lnTo>
                  <a:lnTo>
                    <a:pt x="552" y="138"/>
                  </a:lnTo>
                  <a:lnTo>
                    <a:pt x="558" y="126"/>
                  </a:lnTo>
                  <a:lnTo>
                    <a:pt x="558" y="114"/>
                  </a:lnTo>
                  <a:lnTo>
                    <a:pt x="564" y="102"/>
                  </a:lnTo>
                  <a:lnTo>
                    <a:pt x="564" y="96"/>
                  </a:lnTo>
                  <a:lnTo>
                    <a:pt x="564" y="90"/>
                  </a:lnTo>
                  <a:lnTo>
                    <a:pt x="564" y="72"/>
                  </a:lnTo>
                  <a:lnTo>
                    <a:pt x="564" y="60"/>
                  </a:lnTo>
                  <a:lnTo>
                    <a:pt x="564" y="54"/>
                  </a:lnTo>
                  <a:lnTo>
                    <a:pt x="570" y="42"/>
                  </a:lnTo>
                  <a:lnTo>
                    <a:pt x="576" y="42"/>
                  </a:lnTo>
                  <a:lnTo>
                    <a:pt x="582" y="36"/>
                  </a:lnTo>
                  <a:lnTo>
                    <a:pt x="594" y="36"/>
                  </a:lnTo>
                  <a:lnTo>
                    <a:pt x="594" y="30"/>
                  </a:lnTo>
                  <a:lnTo>
                    <a:pt x="600" y="24"/>
                  </a:lnTo>
                  <a:lnTo>
                    <a:pt x="600" y="12"/>
                  </a:lnTo>
                  <a:lnTo>
                    <a:pt x="606" y="6"/>
                  </a:lnTo>
                  <a:lnTo>
                    <a:pt x="606" y="0"/>
                  </a:lnTo>
                  <a:lnTo>
                    <a:pt x="612" y="0"/>
                  </a:lnTo>
                  <a:lnTo>
                    <a:pt x="618" y="0"/>
                  </a:lnTo>
                  <a:lnTo>
                    <a:pt x="624" y="6"/>
                  </a:lnTo>
                  <a:lnTo>
                    <a:pt x="624" y="12"/>
                  </a:lnTo>
                  <a:lnTo>
                    <a:pt x="624" y="18"/>
                  </a:lnTo>
                  <a:lnTo>
                    <a:pt x="624" y="24"/>
                  </a:lnTo>
                  <a:lnTo>
                    <a:pt x="624" y="30"/>
                  </a:lnTo>
                  <a:lnTo>
                    <a:pt x="630" y="30"/>
                  </a:lnTo>
                  <a:lnTo>
                    <a:pt x="630" y="36"/>
                  </a:lnTo>
                  <a:lnTo>
                    <a:pt x="630" y="42"/>
                  </a:lnTo>
                  <a:lnTo>
                    <a:pt x="630" y="48"/>
                  </a:lnTo>
                  <a:lnTo>
                    <a:pt x="636" y="54"/>
                  </a:lnTo>
                  <a:lnTo>
                    <a:pt x="642" y="48"/>
                  </a:lnTo>
                  <a:lnTo>
                    <a:pt x="648" y="48"/>
                  </a:lnTo>
                  <a:lnTo>
                    <a:pt x="648" y="60"/>
                  </a:lnTo>
                  <a:lnTo>
                    <a:pt x="654" y="66"/>
                  </a:lnTo>
                  <a:lnTo>
                    <a:pt x="660" y="72"/>
                  </a:lnTo>
                  <a:lnTo>
                    <a:pt x="666" y="72"/>
                  </a:lnTo>
                  <a:lnTo>
                    <a:pt x="666" y="84"/>
                  </a:lnTo>
                  <a:lnTo>
                    <a:pt x="672" y="84"/>
                  </a:lnTo>
                  <a:lnTo>
                    <a:pt x="672" y="78"/>
                  </a:lnTo>
                  <a:lnTo>
                    <a:pt x="672" y="66"/>
                  </a:lnTo>
                  <a:lnTo>
                    <a:pt x="678" y="66"/>
                  </a:lnTo>
                  <a:lnTo>
                    <a:pt x="678" y="60"/>
                  </a:lnTo>
                  <a:lnTo>
                    <a:pt x="684" y="60"/>
                  </a:lnTo>
                  <a:lnTo>
                    <a:pt x="696" y="66"/>
                  </a:lnTo>
                  <a:lnTo>
                    <a:pt x="696" y="72"/>
                  </a:lnTo>
                  <a:lnTo>
                    <a:pt x="702" y="72"/>
                  </a:lnTo>
                  <a:lnTo>
                    <a:pt x="708" y="72"/>
                  </a:lnTo>
                  <a:lnTo>
                    <a:pt x="720" y="66"/>
                  </a:lnTo>
                  <a:lnTo>
                    <a:pt x="726" y="78"/>
                  </a:lnTo>
                  <a:lnTo>
                    <a:pt x="744" y="84"/>
                  </a:lnTo>
                  <a:lnTo>
                    <a:pt x="744" y="90"/>
                  </a:lnTo>
                  <a:lnTo>
                    <a:pt x="744" y="96"/>
                  </a:lnTo>
                  <a:lnTo>
                    <a:pt x="738" y="96"/>
                  </a:lnTo>
                  <a:lnTo>
                    <a:pt x="738" y="102"/>
                  </a:lnTo>
                  <a:lnTo>
                    <a:pt x="732" y="102"/>
                  </a:lnTo>
                  <a:lnTo>
                    <a:pt x="732" y="108"/>
                  </a:lnTo>
                  <a:lnTo>
                    <a:pt x="738" y="108"/>
                  </a:lnTo>
                  <a:lnTo>
                    <a:pt x="744" y="114"/>
                  </a:lnTo>
                  <a:lnTo>
                    <a:pt x="750" y="108"/>
                  </a:lnTo>
                  <a:lnTo>
                    <a:pt x="756" y="108"/>
                  </a:lnTo>
                  <a:lnTo>
                    <a:pt x="762" y="108"/>
                  </a:lnTo>
                  <a:lnTo>
                    <a:pt x="768" y="108"/>
                  </a:lnTo>
                  <a:lnTo>
                    <a:pt x="774" y="114"/>
                  </a:lnTo>
                  <a:lnTo>
                    <a:pt x="780" y="120"/>
                  </a:lnTo>
                  <a:lnTo>
                    <a:pt x="774" y="120"/>
                  </a:lnTo>
                  <a:lnTo>
                    <a:pt x="768" y="120"/>
                  </a:lnTo>
                  <a:lnTo>
                    <a:pt x="768" y="126"/>
                  </a:lnTo>
                  <a:lnTo>
                    <a:pt x="768" y="132"/>
                  </a:lnTo>
                  <a:lnTo>
                    <a:pt x="774" y="138"/>
                  </a:lnTo>
                  <a:lnTo>
                    <a:pt x="774" y="132"/>
                  </a:lnTo>
                  <a:lnTo>
                    <a:pt x="780" y="132"/>
                  </a:lnTo>
                  <a:lnTo>
                    <a:pt x="786" y="132"/>
                  </a:lnTo>
                  <a:lnTo>
                    <a:pt x="792" y="138"/>
                  </a:lnTo>
                  <a:lnTo>
                    <a:pt x="792" y="144"/>
                  </a:lnTo>
                  <a:lnTo>
                    <a:pt x="786" y="144"/>
                  </a:lnTo>
                  <a:lnTo>
                    <a:pt x="786" y="150"/>
                  </a:lnTo>
                  <a:lnTo>
                    <a:pt x="780" y="150"/>
                  </a:lnTo>
                  <a:lnTo>
                    <a:pt x="774" y="150"/>
                  </a:lnTo>
                  <a:lnTo>
                    <a:pt x="768" y="150"/>
                  </a:lnTo>
                  <a:lnTo>
                    <a:pt x="768" y="156"/>
                  </a:lnTo>
                  <a:lnTo>
                    <a:pt x="768" y="162"/>
                  </a:lnTo>
                  <a:lnTo>
                    <a:pt x="774" y="162"/>
                  </a:lnTo>
                  <a:lnTo>
                    <a:pt x="780" y="162"/>
                  </a:lnTo>
                  <a:lnTo>
                    <a:pt x="786" y="168"/>
                  </a:lnTo>
                  <a:lnTo>
                    <a:pt x="792" y="162"/>
                  </a:lnTo>
                  <a:lnTo>
                    <a:pt x="798" y="168"/>
                  </a:lnTo>
                  <a:lnTo>
                    <a:pt x="798" y="174"/>
                  </a:lnTo>
                  <a:lnTo>
                    <a:pt x="804" y="168"/>
                  </a:lnTo>
                  <a:lnTo>
                    <a:pt x="810" y="168"/>
                  </a:lnTo>
                  <a:lnTo>
                    <a:pt x="810" y="174"/>
                  </a:lnTo>
                  <a:lnTo>
                    <a:pt x="816" y="168"/>
                  </a:lnTo>
                  <a:lnTo>
                    <a:pt x="822" y="162"/>
                  </a:lnTo>
                  <a:lnTo>
                    <a:pt x="822" y="168"/>
                  </a:lnTo>
                  <a:lnTo>
                    <a:pt x="828" y="168"/>
                  </a:lnTo>
                  <a:lnTo>
                    <a:pt x="828" y="174"/>
                  </a:lnTo>
                  <a:lnTo>
                    <a:pt x="834" y="192"/>
                  </a:lnTo>
                  <a:lnTo>
                    <a:pt x="834" y="198"/>
                  </a:lnTo>
                  <a:lnTo>
                    <a:pt x="840" y="192"/>
                  </a:lnTo>
                  <a:lnTo>
                    <a:pt x="846" y="192"/>
                  </a:lnTo>
                  <a:lnTo>
                    <a:pt x="852" y="186"/>
                  </a:lnTo>
                  <a:lnTo>
                    <a:pt x="858" y="192"/>
                  </a:lnTo>
                  <a:lnTo>
                    <a:pt x="864" y="192"/>
                  </a:lnTo>
                  <a:lnTo>
                    <a:pt x="870" y="198"/>
                  </a:lnTo>
                  <a:lnTo>
                    <a:pt x="876" y="180"/>
                  </a:lnTo>
                  <a:lnTo>
                    <a:pt x="882" y="180"/>
                  </a:lnTo>
                  <a:lnTo>
                    <a:pt x="888" y="180"/>
                  </a:lnTo>
                  <a:lnTo>
                    <a:pt x="894" y="186"/>
                  </a:lnTo>
                  <a:lnTo>
                    <a:pt x="888" y="198"/>
                  </a:lnTo>
                  <a:lnTo>
                    <a:pt x="894" y="204"/>
                  </a:lnTo>
                  <a:lnTo>
                    <a:pt x="906" y="210"/>
                  </a:lnTo>
                  <a:lnTo>
                    <a:pt x="918" y="246"/>
                  </a:lnTo>
                  <a:lnTo>
                    <a:pt x="930" y="258"/>
                  </a:lnTo>
                  <a:lnTo>
                    <a:pt x="942" y="282"/>
                  </a:lnTo>
                  <a:lnTo>
                    <a:pt x="966" y="288"/>
                  </a:lnTo>
                  <a:lnTo>
                    <a:pt x="972" y="300"/>
                  </a:lnTo>
                  <a:lnTo>
                    <a:pt x="972" y="318"/>
                  </a:lnTo>
                  <a:lnTo>
                    <a:pt x="996" y="336"/>
                  </a:lnTo>
                  <a:lnTo>
                    <a:pt x="1050" y="390"/>
                  </a:lnTo>
                  <a:lnTo>
                    <a:pt x="1116" y="462"/>
                  </a:lnTo>
                  <a:lnTo>
                    <a:pt x="1122" y="468"/>
                  </a:lnTo>
                  <a:lnTo>
                    <a:pt x="1128" y="474"/>
                  </a:lnTo>
                  <a:lnTo>
                    <a:pt x="1140" y="474"/>
                  </a:lnTo>
                  <a:lnTo>
                    <a:pt x="1152" y="486"/>
                  </a:lnTo>
                  <a:lnTo>
                    <a:pt x="1152" y="492"/>
                  </a:lnTo>
                  <a:lnTo>
                    <a:pt x="1158" y="492"/>
                  </a:lnTo>
                  <a:lnTo>
                    <a:pt x="1164" y="492"/>
                  </a:lnTo>
                  <a:lnTo>
                    <a:pt x="1170" y="504"/>
                  </a:lnTo>
                  <a:lnTo>
                    <a:pt x="1176" y="504"/>
                  </a:lnTo>
                  <a:lnTo>
                    <a:pt x="1176" y="510"/>
                  </a:lnTo>
                  <a:lnTo>
                    <a:pt x="1200" y="516"/>
                  </a:lnTo>
                  <a:lnTo>
                    <a:pt x="1200" y="522"/>
                  </a:lnTo>
                  <a:lnTo>
                    <a:pt x="1212" y="534"/>
                  </a:lnTo>
                  <a:lnTo>
                    <a:pt x="1218" y="540"/>
                  </a:lnTo>
                  <a:lnTo>
                    <a:pt x="1224" y="552"/>
                  </a:lnTo>
                  <a:lnTo>
                    <a:pt x="1230" y="552"/>
                  </a:lnTo>
                  <a:lnTo>
                    <a:pt x="1242" y="552"/>
                  </a:lnTo>
                  <a:lnTo>
                    <a:pt x="1248" y="558"/>
                  </a:lnTo>
                  <a:lnTo>
                    <a:pt x="1254" y="558"/>
                  </a:lnTo>
                  <a:lnTo>
                    <a:pt x="1260" y="564"/>
                  </a:lnTo>
                  <a:lnTo>
                    <a:pt x="1266" y="564"/>
                  </a:lnTo>
                  <a:lnTo>
                    <a:pt x="1272" y="564"/>
                  </a:lnTo>
                  <a:lnTo>
                    <a:pt x="1284" y="564"/>
                  </a:lnTo>
                  <a:lnTo>
                    <a:pt x="1290" y="570"/>
                  </a:lnTo>
                  <a:lnTo>
                    <a:pt x="1296" y="576"/>
                  </a:lnTo>
                  <a:lnTo>
                    <a:pt x="1302" y="588"/>
                  </a:lnTo>
                  <a:lnTo>
                    <a:pt x="1296" y="594"/>
                  </a:lnTo>
                  <a:lnTo>
                    <a:pt x="1296" y="600"/>
                  </a:lnTo>
                  <a:lnTo>
                    <a:pt x="1296" y="606"/>
                  </a:lnTo>
                  <a:lnTo>
                    <a:pt x="1290" y="612"/>
                  </a:lnTo>
                  <a:lnTo>
                    <a:pt x="1290" y="624"/>
                  </a:lnTo>
                  <a:lnTo>
                    <a:pt x="1290" y="636"/>
                  </a:lnTo>
                  <a:lnTo>
                    <a:pt x="1296" y="642"/>
                  </a:lnTo>
                  <a:lnTo>
                    <a:pt x="1302" y="648"/>
                  </a:lnTo>
                  <a:lnTo>
                    <a:pt x="1308" y="654"/>
                  </a:lnTo>
                  <a:lnTo>
                    <a:pt x="1320" y="654"/>
                  </a:lnTo>
                  <a:lnTo>
                    <a:pt x="1326" y="660"/>
                  </a:lnTo>
                  <a:lnTo>
                    <a:pt x="1338" y="654"/>
                  </a:lnTo>
                  <a:lnTo>
                    <a:pt x="1344" y="654"/>
                  </a:lnTo>
                  <a:lnTo>
                    <a:pt x="1356" y="654"/>
                  </a:lnTo>
                  <a:lnTo>
                    <a:pt x="1362" y="648"/>
                  </a:lnTo>
                  <a:lnTo>
                    <a:pt x="1368" y="642"/>
                  </a:lnTo>
                  <a:lnTo>
                    <a:pt x="1374" y="636"/>
                  </a:lnTo>
                  <a:lnTo>
                    <a:pt x="1380" y="636"/>
                  </a:lnTo>
                  <a:lnTo>
                    <a:pt x="1392" y="636"/>
                  </a:lnTo>
                  <a:lnTo>
                    <a:pt x="1398" y="636"/>
                  </a:lnTo>
                  <a:lnTo>
                    <a:pt x="1404" y="636"/>
                  </a:lnTo>
                  <a:lnTo>
                    <a:pt x="1410" y="630"/>
                  </a:lnTo>
                  <a:lnTo>
                    <a:pt x="1410" y="624"/>
                  </a:lnTo>
                  <a:lnTo>
                    <a:pt x="1422" y="618"/>
                  </a:lnTo>
                  <a:lnTo>
                    <a:pt x="1428" y="618"/>
                  </a:lnTo>
                  <a:lnTo>
                    <a:pt x="1440" y="612"/>
                  </a:lnTo>
                  <a:lnTo>
                    <a:pt x="1446" y="612"/>
                  </a:lnTo>
                  <a:lnTo>
                    <a:pt x="1458" y="612"/>
                  </a:lnTo>
                  <a:lnTo>
                    <a:pt x="1470" y="624"/>
                  </a:lnTo>
                  <a:lnTo>
                    <a:pt x="1488" y="642"/>
                  </a:lnTo>
                  <a:lnTo>
                    <a:pt x="1500" y="648"/>
                  </a:lnTo>
                  <a:lnTo>
                    <a:pt x="1512" y="654"/>
                  </a:lnTo>
                  <a:lnTo>
                    <a:pt x="1518" y="660"/>
                  </a:lnTo>
                  <a:lnTo>
                    <a:pt x="1524" y="660"/>
                  </a:lnTo>
                  <a:lnTo>
                    <a:pt x="1530" y="660"/>
                  </a:lnTo>
                  <a:lnTo>
                    <a:pt x="1536" y="666"/>
                  </a:lnTo>
                  <a:lnTo>
                    <a:pt x="1542" y="672"/>
                  </a:lnTo>
                  <a:lnTo>
                    <a:pt x="1548" y="672"/>
                  </a:lnTo>
                  <a:lnTo>
                    <a:pt x="1554" y="684"/>
                  </a:lnTo>
                  <a:lnTo>
                    <a:pt x="1554" y="690"/>
                  </a:lnTo>
                  <a:lnTo>
                    <a:pt x="1566" y="702"/>
                  </a:lnTo>
                  <a:lnTo>
                    <a:pt x="1572" y="720"/>
                  </a:lnTo>
                  <a:lnTo>
                    <a:pt x="1572" y="726"/>
                  </a:lnTo>
                  <a:lnTo>
                    <a:pt x="1578" y="732"/>
                  </a:lnTo>
                  <a:lnTo>
                    <a:pt x="1584" y="738"/>
                  </a:lnTo>
                  <a:lnTo>
                    <a:pt x="1590" y="738"/>
                  </a:lnTo>
                  <a:lnTo>
                    <a:pt x="1596" y="738"/>
                  </a:lnTo>
                  <a:lnTo>
                    <a:pt x="1602" y="744"/>
                  </a:lnTo>
                  <a:lnTo>
                    <a:pt x="1608" y="744"/>
                  </a:lnTo>
                  <a:lnTo>
                    <a:pt x="1614" y="744"/>
                  </a:lnTo>
                  <a:lnTo>
                    <a:pt x="1626" y="744"/>
                  </a:lnTo>
                  <a:lnTo>
                    <a:pt x="1638" y="744"/>
                  </a:lnTo>
                  <a:lnTo>
                    <a:pt x="1650" y="744"/>
                  </a:lnTo>
                  <a:lnTo>
                    <a:pt x="1662" y="744"/>
                  </a:lnTo>
                  <a:lnTo>
                    <a:pt x="1668" y="744"/>
                  </a:lnTo>
                  <a:lnTo>
                    <a:pt x="1674" y="744"/>
                  </a:lnTo>
                  <a:lnTo>
                    <a:pt x="1686" y="744"/>
                  </a:lnTo>
                  <a:lnTo>
                    <a:pt x="1698" y="750"/>
                  </a:lnTo>
                  <a:lnTo>
                    <a:pt x="1704" y="750"/>
                  </a:lnTo>
                  <a:lnTo>
                    <a:pt x="1716" y="756"/>
                  </a:lnTo>
                  <a:lnTo>
                    <a:pt x="1722" y="756"/>
                  </a:lnTo>
                  <a:lnTo>
                    <a:pt x="1728" y="756"/>
                  </a:lnTo>
                  <a:lnTo>
                    <a:pt x="1734" y="762"/>
                  </a:lnTo>
                  <a:lnTo>
                    <a:pt x="1740" y="768"/>
                  </a:lnTo>
                  <a:lnTo>
                    <a:pt x="1758" y="780"/>
                  </a:lnTo>
                  <a:lnTo>
                    <a:pt x="1770" y="780"/>
                  </a:lnTo>
                  <a:lnTo>
                    <a:pt x="1776" y="780"/>
                  </a:lnTo>
                  <a:lnTo>
                    <a:pt x="1782" y="780"/>
                  </a:lnTo>
                  <a:lnTo>
                    <a:pt x="1800" y="798"/>
                  </a:lnTo>
                  <a:lnTo>
                    <a:pt x="1818" y="810"/>
                  </a:lnTo>
                  <a:lnTo>
                    <a:pt x="1830" y="816"/>
                  </a:lnTo>
                  <a:lnTo>
                    <a:pt x="1836" y="822"/>
                  </a:lnTo>
                  <a:lnTo>
                    <a:pt x="1836" y="828"/>
                  </a:lnTo>
                  <a:lnTo>
                    <a:pt x="1842" y="828"/>
                  </a:lnTo>
                  <a:lnTo>
                    <a:pt x="1848" y="834"/>
                  </a:lnTo>
                  <a:lnTo>
                    <a:pt x="1854" y="840"/>
                  </a:lnTo>
                  <a:lnTo>
                    <a:pt x="1860" y="846"/>
                  </a:lnTo>
                  <a:lnTo>
                    <a:pt x="1872" y="852"/>
                  </a:lnTo>
                  <a:lnTo>
                    <a:pt x="1884" y="852"/>
                  </a:lnTo>
                  <a:lnTo>
                    <a:pt x="1896" y="852"/>
                  </a:lnTo>
                  <a:lnTo>
                    <a:pt x="1902" y="846"/>
                  </a:lnTo>
                  <a:lnTo>
                    <a:pt x="1908" y="852"/>
                  </a:lnTo>
                  <a:lnTo>
                    <a:pt x="1920" y="858"/>
                  </a:lnTo>
                  <a:lnTo>
                    <a:pt x="1926" y="870"/>
                  </a:lnTo>
                  <a:lnTo>
                    <a:pt x="1938" y="888"/>
                  </a:lnTo>
                  <a:lnTo>
                    <a:pt x="1944" y="900"/>
                  </a:lnTo>
                  <a:lnTo>
                    <a:pt x="1950" y="900"/>
                  </a:lnTo>
                  <a:lnTo>
                    <a:pt x="1962" y="906"/>
                  </a:lnTo>
                  <a:lnTo>
                    <a:pt x="1968" y="906"/>
                  </a:lnTo>
                  <a:lnTo>
                    <a:pt x="1980" y="906"/>
                  </a:lnTo>
                  <a:lnTo>
                    <a:pt x="1998" y="906"/>
                  </a:lnTo>
                  <a:lnTo>
                    <a:pt x="2010" y="900"/>
                  </a:lnTo>
                  <a:lnTo>
                    <a:pt x="2022" y="900"/>
                  </a:lnTo>
                  <a:lnTo>
                    <a:pt x="2028" y="900"/>
                  </a:lnTo>
                  <a:lnTo>
                    <a:pt x="2034" y="906"/>
                  </a:lnTo>
                  <a:lnTo>
                    <a:pt x="2046" y="906"/>
                  </a:lnTo>
                  <a:lnTo>
                    <a:pt x="2052" y="900"/>
                  </a:lnTo>
                  <a:lnTo>
                    <a:pt x="2058" y="900"/>
                  </a:lnTo>
                  <a:lnTo>
                    <a:pt x="2064" y="900"/>
                  </a:lnTo>
                  <a:lnTo>
                    <a:pt x="2070" y="900"/>
                  </a:lnTo>
                  <a:lnTo>
                    <a:pt x="2076" y="900"/>
                  </a:lnTo>
                  <a:lnTo>
                    <a:pt x="2076" y="906"/>
                  </a:lnTo>
                  <a:lnTo>
                    <a:pt x="2088" y="906"/>
                  </a:lnTo>
                  <a:lnTo>
                    <a:pt x="2106" y="900"/>
                  </a:lnTo>
                  <a:lnTo>
                    <a:pt x="2118" y="900"/>
                  </a:lnTo>
                  <a:lnTo>
                    <a:pt x="2130" y="900"/>
                  </a:lnTo>
                  <a:lnTo>
                    <a:pt x="2142" y="900"/>
                  </a:lnTo>
                  <a:lnTo>
                    <a:pt x="2148" y="906"/>
                  </a:lnTo>
                  <a:lnTo>
                    <a:pt x="2154" y="906"/>
                  </a:lnTo>
                  <a:lnTo>
                    <a:pt x="2160" y="906"/>
                  </a:lnTo>
                  <a:lnTo>
                    <a:pt x="2166" y="906"/>
                  </a:lnTo>
                  <a:lnTo>
                    <a:pt x="2178" y="918"/>
                  </a:lnTo>
                  <a:lnTo>
                    <a:pt x="2178" y="924"/>
                  </a:lnTo>
                  <a:lnTo>
                    <a:pt x="2184" y="924"/>
                  </a:lnTo>
                  <a:lnTo>
                    <a:pt x="2190" y="924"/>
                  </a:lnTo>
                  <a:lnTo>
                    <a:pt x="2196" y="924"/>
                  </a:lnTo>
                  <a:lnTo>
                    <a:pt x="2202" y="918"/>
                  </a:lnTo>
                  <a:lnTo>
                    <a:pt x="2208" y="918"/>
                  </a:lnTo>
                  <a:lnTo>
                    <a:pt x="2214" y="918"/>
                  </a:lnTo>
                  <a:lnTo>
                    <a:pt x="2226" y="918"/>
                  </a:lnTo>
                  <a:lnTo>
                    <a:pt x="2220" y="948"/>
                  </a:lnTo>
                  <a:lnTo>
                    <a:pt x="2214" y="972"/>
                  </a:lnTo>
                  <a:lnTo>
                    <a:pt x="2214" y="984"/>
                  </a:lnTo>
                  <a:lnTo>
                    <a:pt x="2208" y="990"/>
                  </a:lnTo>
                  <a:lnTo>
                    <a:pt x="2208" y="996"/>
                  </a:lnTo>
                  <a:lnTo>
                    <a:pt x="2202" y="996"/>
                  </a:lnTo>
                  <a:lnTo>
                    <a:pt x="2196" y="996"/>
                  </a:lnTo>
                  <a:lnTo>
                    <a:pt x="2190" y="1008"/>
                  </a:lnTo>
                  <a:lnTo>
                    <a:pt x="2172" y="1074"/>
                  </a:lnTo>
                  <a:lnTo>
                    <a:pt x="2166" y="1092"/>
                  </a:lnTo>
                  <a:lnTo>
                    <a:pt x="2172" y="1110"/>
                  </a:lnTo>
                  <a:lnTo>
                    <a:pt x="2172" y="1122"/>
                  </a:lnTo>
                  <a:lnTo>
                    <a:pt x="2166" y="1134"/>
                  </a:lnTo>
                  <a:lnTo>
                    <a:pt x="2148" y="1140"/>
                  </a:lnTo>
                  <a:lnTo>
                    <a:pt x="2148" y="1134"/>
                  </a:lnTo>
                  <a:lnTo>
                    <a:pt x="2118" y="1140"/>
                  </a:lnTo>
                  <a:lnTo>
                    <a:pt x="2088" y="1134"/>
                  </a:lnTo>
                  <a:lnTo>
                    <a:pt x="2064" y="1122"/>
                  </a:lnTo>
                  <a:lnTo>
                    <a:pt x="2034" y="1122"/>
                  </a:lnTo>
                  <a:lnTo>
                    <a:pt x="2022" y="1128"/>
                  </a:lnTo>
                  <a:lnTo>
                    <a:pt x="1986" y="1128"/>
                  </a:lnTo>
                  <a:lnTo>
                    <a:pt x="1938" y="1122"/>
                  </a:lnTo>
                  <a:lnTo>
                    <a:pt x="1932" y="1116"/>
                  </a:lnTo>
                  <a:lnTo>
                    <a:pt x="1896" y="1110"/>
                  </a:lnTo>
                  <a:lnTo>
                    <a:pt x="1878" y="1104"/>
                  </a:lnTo>
                  <a:lnTo>
                    <a:pt x="1866" y="1098"/>
                  </a:lnTo>
                  <a:lnTo>
                    <a:pt x="1860" y="1098"/>
                  </a:lnTo>
                  <a:lnTo>
                    <a:pt x="1854" y="1092"/>
                  </a:lnTo>
                  <a:lnTo>
                    <a:pt x="1860" y="1092"/>
                  </a:lnTo>
                  <a:lnTo>
                    <a:pt x="1860" y="1086"/>
                  </a:lnTo>
                  <a:lnTo>
                    <a:pt x="1854" y="1086"/>
                  </a:lnTo>
                  <a:lnTo>
                    <a:pt x="1842" y="1080"/>
                  </a:lnTo>
                  <a:lnTo>
                    <a:pt x="1818" y="1062"/>
                  </a:lnTo>
                  <a:lnTo>
                    <a:pt x="1782" y="1056"/>
                  </a:lnTo>
                  <a:lnTo>
                    <a:pt x="1770" y="1068"/>
                  </a:lnTo>
                  <a:lnTo>
                    <a:pt x="1746" y="1098"/>
                  </a:lnTo>
                  <a:lnTo>
                    <a:pt x="1722" y="1104"/>
                  </a:lnTo>
                  <a:lnTo>
                    <a:pt x="1710" y="1122"/>
                  </a:lnTo>
                  <a:lnTo>
                    <a:pt x="1710" y="1128"/>
                  </a:lnTo>
                  <a:lnTo>
                    <a:pt x="1710" y="1140"/>
                  </a:lnTo>
                  <a:lnTo>
                    <a:pt x="1698" y="1146"/>
                  </a:lnTo>
                  <a:lnTo>
                    <a:pt x="1686" y="1152"/>
                  </a:lnTo>
                  <a:lnTo>
                    <a:pt x="1680" y="1164"/>
                  </a:lnTo>
                  <a:lnTo>
                    <a:pt x="1680" y="1170"/>
                  </a:lnTo>
                  <a:lnTo>
                    <a:pt x="1686" y="1170"/>
                  </a:lnTo>
                  <a:lnTo>
                    <a:pt x="1686" y="1176"/>
                  </a:lnTo>
                  <a:lnTo>
                    <a:pt x="1698" y="1188"/>
                  </a:lnTo>
                  <a:lnTo>
                    <a:pt x="1704" y="1188"/>
                  </a:lnTo>
                  <a:lnTo>
                    <a:pt x="1698" y="1194"/>
                  </a:lnTo>
                  <a:lnTo>
                    <a:pt x="1704" y="1194"/>
                  </a:lnTo>
                  <a:lnTo>
                    <a:pt x="1704" y="1200"/>
                  </a:lnTo>
                  <a:lnTo>
                    <a:pt x="1704" y="1206"/>
                  </a:lnTo>
                  <a:lnTo>
                    <a:pt x="1704" y="1212"/>
                  </a:lnTo>
                  <a:lnTo>
                    <a:pt x="1704" y="1218"/>
                  </a:lnTo>
                  <a:lnTo>
                    <a:pt x="1710" y="1218"/>
                  </a:lnTo>
                  <a:lnTo>
                    <a:pt x="1710" y="1212"/>
                  </a:lnTo>
                  <a:lnTo>
                    <a:pt x="1716" y="1212"/>
                  </a:lnTo>
                  <a:lnTo>
                    <a:pt x="1716" y="1218"/>
                  </a:lnTo>
                  <a:lnTo>
                    <a:pt x="1716" y="1224"/>
                  </a:lnTo>
                  <a:lnTo>
                    <a:pt x="1716" y="1230"/>
                  </a:lnTo>
                  <a:lnTo>
                    <a:pt x="1722" y="1236"/>
                  </a:lnTo>
                  <a:lnTo>
                    <a:pt x="1740" y="1230"/>
                  </a:lnTo>
                  <a:lnTo>
                    <a:pt x="1734" y="1236"/>
                  </a:lnTo>
                  <a:lnTo>
                    <a:pt x="1734" y="1242"/>
                  </a:lnTo>
                  <a:lnTo>
                    <a:pt x="1734" y="1248"/>
                  </a:lnTo>
                  <a:lnTo>
                    <a:pt x="1734" y="1254"/>
                  </a:lnTo>
                  <a:lnTo>
                    <a:pt x="1740" y="1260"/>
                  </a:lnTo>
                  <a:lnTo>
                    <a:pt x="1746" y="1266"/>
                  </a:lnTo>
                  <a:lnTo>
                    <a:pt x="1752" y="1266"/>
                  </a:lnTo>
                  <a:lnTo>
                    <a:pt x="1764" y="1266"/>
                  </a:lnTo>
                  <a:lnTo>
                    <a:pt x="1788" y="1260"/>
                  </a:lnTo>
                  <a:lnTo>
                    <a:pt x="1800" y="1260"/>
                  </a:lnTo>
                  <a:lnTo>
                    <a:pt x="1806" y="1272"/>
                  </a:lnTo>
                  <a:lnTo>
                    <a:pt x="1806" y="1296"/>
                  </a:lnTo>
                  <a:lnTo>
                    <a:pt x="1800" y="1308"/>
                  </a:lnTo>
                  <a:lnTo>
                    <a:pt x="1788" y="1308"/>
                  </a:lnTo>
                  <a:lnTo>
                    <a:pt x="1782" y="1326"/>
                  </a:lnTo>
                  <a:close/>
                </a:path>
              </a:pathLst>
            </a:custGeom>
            <a:solidFill>
              <a:srgbClr val="FFC000"/>
            </a:solidFill>
            <a:ln w="9525">
              <a:solidFill>
                <a:schemeClr val="bg1"/>
              </a:solidFill>
              <a:round/>
              <a:headEnd/>
              <a:tailEnd/>
            </a:ln>
          </p:spPr>
          <p:txBody>
            <a:bodyPr/>
            <a:lstStyle/>
            <a:p>
              <a:endParaRPr lang="en-GB"/>
            </a:p>
          </p:txBody>
        </p:sp>
        <p:sp>
          <p:nvSpPr>
            <p:cNvPr id="19508" name="Freeform 33"/>
            <p:cNvSpPr>
              <a:spLocks/>
            </p:cNvSpPr>
            <p:nvPr/>
          </p:nvSpPr>
          <p:spPr bwMode="gray">
            <a:xfrm>
              <a:off x="1884386" y="2522068"/>
              <a:ext cx="1900941" cy="1642813"/>
            </a:xfrm>
            <a:custGeom>
              <a:avLst/>
              <a:gdLst>
                <a:gd name="T0" fmla="*/ 138464 w 2430"/>
                <a:gd name="T1" fmla="*/ 136096 h 2040"/>
                <a:gd name="T2" fmla="*/ 136117 w 2430"/>
                <a:gd name="T3" fmla="*/ 139317 h 2040"/>
                <a:gd name="T4" fmla="*/ 132205 w 2430"/>
                <a:gd name="T5" fmla="*/ 137706 h 2040"/>
                <a:gd name="T6" fmla="*/ 125165 w 2430"/>
                <a:gd name="T7" fmla="*/ 131264 h 2040"/>
                <a:gd name="T8" fmla="*/ 120471 w 2430"/>
                <a:gd name="T9" fmla="*/ 119990 h 2040"/>
                <a:gd name="T10" fmla="*/ 112648 w 2430"/>
                <a:gd name="T11" fmla="*/ 118379 h 2040"/>
                <a:gd name="T12" fmla="*/ 104043 w 2430"/>
                <a:gd name="T13" fmla="*/ 117574 h 2040"/>
                <a:gd name="T14" fmla="*/ 94656 w 2430"/>
                <a:gd name="T15" fmla="*/ 116769 h 2040"/>
                <a:gd name="T16" fmla="*/ 86051 w 2430"/>
                <a:gd name="T17" fmla="*/ 110326 h 2040"/>
                <a:gd name="T18" fmla="*/ 75881 w 2430"/>
                <a:gd name="T19" fmla="*/ 105494 h 2040"/>
                <a:gd name="T20" fmla="*/ 68058 w 2430"/>
                <a:gd name="T21" fmla="*/ 100663 h 2040"/>
                <a:gd name="T22" fmla="*/ 58671 w 2430"/>
                <a:gd name="T23" fmla="*/ 98247 h 2040"/>
                <a:gd name="T24" fmla="*/ 50848 w 2430"/>
                <a:gd name="T25" fmla="*/ 98247 h 2040"/>
                <a:gd name="T26" fmla="*/ 46155 w 2430"/>
                <a:gd name="T27" fmla="*/ 92610 h 2040"/>
                <a:gd name="T28" fmla="*/ 39114 w 2430"/>
                <a:gd name="T29" fmla="*/ 86167 h 2040"/>
                <a:gd name="T30" fmla="*/ 21904 w 2430"/>
                <a:gd name="T31" fmla="*/ 67645 h 2040"/>
                <a:gd name="T32" fmla="*/ 17210 w 2430"/>
                <a:gd name="T33" fmla="*/ 66035 h 2040"/>
                <a:gd name="T34" fmla="*/ 15646 w 2430"/>
                <a:gd name="T35" fmla="*/ 63619 h 2040"/>
                <a:gd name="T36" fmla="*/ 12516 w 2430"/>
                <a:gd name="T37" fmla="*/ 61203 h 2040"/>
                <a:gd name="T38" fmla="*/ 8605 w 2430"/>
                <a:gd name="T39" fmla="*/ 59592 h 2040"/>
                <a:gd name="T40" fmla="*/ 5476 w 2430"/>
                <a:gd name="T41" fmla="*/ 55566 h 2040"/>
                <a:gd name="T42" fmla="*/ 0 w 2430"/>
                <a:gd name="T43" fmla="*/ 48318 h 2040"/>
                <a:gd name="T44" fmla="*/ 7823 w 2430"/>
                <a:gd name="T45" fmla="*/ 42681 h 2040"/>
                <a:gd name="T46" fmla="*/ 11734 w 2430"/>
                <a:gd name="T47" fmla="*/ 32212 h 2040"/>
                <a:gd name="T48" fmla="*/ 7041 w 2430"/>
                <a:gd name="T49" fmla="*/ 23354 h 2040"/>
                <a:gd name="T50" fmla="*/ 5476 w 2430"/>
                <a:gd name="T51" fmla="*/ 12885 h 2040"/>
                <a:gd name="T52" fmla="*/ 14081 w 2430"/>
                <a:gd name="T53" fmla="*/ 16911 h 2040"/>
                <a:gd name="T54" fmla="*/ 37549 w 2430"/>
                <a:gd name="T55" fmla="*/ 21743 h 2040"/>
                <a:gd name="T56" fmla="*/ 48501 w 2430"/>
                <a:gd name="T57" fmla="*/ 20133 h 2040"/>
                <a:gd name="T58" fmla="*/ 46155 w 2430"/>
                <a:gd name="T59" fmla="*/ 33823 h 2040"/>
                <a:gd name="T60" fmla="*/ 42243 w 2430"/>
                <a:gd name="T61" fmla="*/ 52345 h 2040"/>
                <a:gd name="T62" fmla="*/ 50848 w 2430"/>
                <a:gd name="T63" fmla="*/ 48318 h 2040"/>
                <a:gd name="T64" fmla="*/ 53195 w 2430"/>
                <a:gd name="T65" fmla="*/ 32212 h 2040"/>
                <a:gd name="T66" fmla="*/ 58671 w 2430"/>
                <a:gd name="T67" fmla="*/ 28991 h 2040"/>
                <a:gd name="T68" fmla="*/ 64929 w 2430"/>
                <a:gd name="T69" fmla="*/ 23354 h 2040"/>
                <a:gd name="T70" fmla="*/ 63365 w 2430"/>
                <a:gd name="T71" fmla="*/ 13690 h 2040"/>
                <a:gd name="T72" fmla="*/ 51630 w 2430"/>
                <a:gd name="T73" fmla="*/ 5637 h 2040"/>
                <a:gd name="T74" fmla="*/ 62582 w 2430"/>
                <a:gd name="T75" fmla="*/ 4027 h 2040"/>
                <a:gd name="T76" fmla="*/ 69623 w 2430"/>
                <a:gd name="T77" fmla="*/ 805 h 2040"/>
                <a:gd name="T78" fmla="*/ 79010 w 2430"/>
                <a:gd name="T79" fmla="*/ 8053 h 2040"/>
                <a:gd name="T80" fmla="*/ 80575 w 2430"/>
                <a:gd name="T81" fmla="*/ 14495 h 2040"/>
                <a:gd name="T82" fmla="*/ 86051 w 2430"/>
                <a:gd name="T83" fmla="*/ 18522 h 2040"/>
                <a:gd name="T84" fmla="*/ 94656 w 2430"/>
                <a:gd name="T85" fmla="*/ 16106 h 2040"/>
                <a:gd name="T86" fmla="*/ 100914 w 2430"/>
                <a:gd name="T87" fmla="*/ 12080 h 2040"/>
                <a:gd name="T88" fmla="*/ 111084 w 2430"/>
                <a:gd name="T89" fmla="*/ 18522 h 2040"/>
                <a:gd name="T90" fmla="*/ 110302 w 2430"/>
                <a:gd name="T91" fmla="*/ 24159 h 2040"/>
                <a:gd name="T92" fmla="*/ 109519 w 2430"/>
                <a:gd name="T93" fmla="*/ 30601 h 2040"/>
                <a:gd name="T94" fmla="*/ 108737 w 2430"/>
                <a:gd name="T95" fmla="*/ 37044 h 2040"/>
                <a:gd name="T96" fmla="*/ 114995 w 2430"/>
                <a:gd name="T97" fmla="*/ 43486 h 2040"/>
                <a:gd name="T98" fmla="*/ 118907 w 2430"/>
                <a:gd name="T99" fmla="*/ 40265 h 2040"/>
                <a:gd name="T100" fmla="*/ 124383 w 2430"/>
                <a:gd name="T101" fmla="*/ 34628 h 2040"/>
                <a:gd name="T102" fmla="*/ 136117 w 2430"/>
                <a:gd name="T103" fmla="*/ 33017 h 2040"/>
                <a:gd name="T104" fmla="*/ 148633 w 2430"/>
                <a:gd name="T105" fmla="*/ 45902 h 2040"/>
                <a:gd name="T106" fmla="*/ 146286 w 2430"/>
                <a:gd name="T107" fmla="*/ 53150 h 2040"/>
                <a:gd name="T108" fmla="*/ 143157 w 2430"/>
                <a:gd name="T109" fmla="*/ 57982 h 2040"/>
                <a:gd name="T110" fmla="*/ 151762 w 2430"/>
                <a:gd name="T111" fmla="*/ 58787 h 2040"/>
                <a:gd name="T112" fmla="*/ 158021 w 2430"/>
                <a:gd name="T113" fmla="*/ 59592 h 2040"/>
                <a:gd name="T114" fmla="*/ 159585 w 2430"/>
                <a:gd name="T115" fmla="*/ 71672 h 2040"/>
                <a:gd name="T116" fmla="*/ 162714 w 2430"/>
                <a:gd name="T117" fmla="*/ 79725 h 2040"/>
                <a:gd name="T118" fmla="*/ 158803 w 2430"/>
                <a:gd name="T119" fmla="*/ 82946 h 2040"/>
                <a:gd name="T120" fmla="*/ 163497 w 2430"/>
                <a:gd name="T121" fmla="*/ 89388 h 2040"/>
                <a:gd name="T122" fmla="*/ 159585 w 2430"/>
                <a:gd name="T123" fmla="*/ 99857 h 2040"/>
                <a:gd name="T124" fmla="*/ 148633 w 2430"/>
                <a:gd name="T125" fmla="*/ 94220 h 20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430"/>
                <a:gd name="T190" fmla="*/ 0 h 2040"/>
                <a:gd name="T191" fmla="*/ 2430 w 2430"/>
                <a:gd name="T192" fmla="*/ 2040 h 20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430" h="2040">
                  <a:moveTo>
                    <a:pt x="2076" y="1896"/>
                  </a:moveTo>
                  <a:lnTo>
                    <a:pt x="2070" y="1896"/>
                  </a:lnTo>
                  <a:lnTo>
                    <a:pt x="2070" y="1902"/>
                  </a:lnTo>
                  <a:lnTo>
                    <a:pt x="2076" y="1902"/>
                  </a:lnTo>
                  <a:lnTo>
                    <a:pt x="2082" y="1902"/>
                  </a:lnTo>
                  <a:lnTo>
                    <a:pt x="2082" y="1908"/>
                  </a:lnTo>
                  <a:lnTo>
                    <a:pt x="2076" y="1908"/>
                  </a:lnTo>
                  <a:lnTo>
                    <a:pt x="2076" y="1914"/>
                  </a:lnTo>
                  <a:lnTo>
                    <a:pt x="2070" y="1920"/>
                  </a:lnTo>
                  <a:lnTo>
                    <a:pt x="2064" y="1932"/>
                  </a:lnTo>
                  <a:lnTo>
                    <a:pt x="2064" y="1938"/>
                  </a:lnTo>
                  <a:lnTo>
                    <a:pt x="2058" y="1938"/>
                  </a:lnTo>
                  <a:lnTo>
                    <a:pt x="2052" y="1944"/>
                  </a:lnTo>
                  <a:lnTo>
                    <a:pt x="2052" y="1950"/>
                  </a:lnTo>
                  <a:lnTo>
                    <a:pt x="2040" y="1944"/>
                  </a:lnTo>
                  <a:lnTo>
                    <a:pt x="2040" y="1950"/>
                  </a:lnTo>
                  <a:lnTo>
                    <a:pt x="2034" y="1956"/>
                  </a:lnTo>
                  <a:lnTo>
                    <a:pt x="2034" y="1962"/>
                  </a:lnTo>
                  <a:lnTo>
                    <a:pt x="2028" y="1962"/>
                  </a:lnTo>
                  <a:lnTo>
                    <a:pt x="2022" y="1962"/>
                  </a:lnTo>
                  <a:lnTo>
                    <a:pt x="2022" y="1968"/>
                  </a:lnTo>
                  <a:lnTo>
                    <a:pt x="2028" y="1974"/>
                  </a:lnTo>
                  <a:lnTo>
                    <a:pt x="2034" y="1980"/>
                  </a:lnTo>
                  <a:lnTo>
                    <a:pt x="2028" y="1986"/>
                  </a:lnTo>
                  <a:lnTo>
                    <a:pt x="2022" y="1992"/>
                  </a:lnTo>
                  <a:lnTo>
                    <a:pt x="2022" y="1986"/>
                  </a:lnTo>
                  <a:lnTo>
                    <a:pt x="2016" y="1986"/>
                  </a:lnTo>
                  <a:lnTo>
                    <a:pt x="2010" y="1980"/>
                  </a:lnTo>
                  <a:lnTo>
                    <a:pt x="2004" y="1980"/>
                  </a:lnTo>
                  <a:lnTo>
                    <a:pt x="2004" y="1986"/>
                  </a:lnTo>
                  <a:lnTo>
                    <a:pt x="2010" y="1992"/>
                  </a:lnTo>
                  <a:lnTo>
                    <a:pt x="2010" y="1998"/>
                  </a:lnTo>
                  <a:lnTo>
                    <a:pt x="2004" y="2004"/>
                  </a:lnTo>
                  <a:lnTo>
                    <a:pt x="1998" y="2004"/>
                  </a:lnTo>
                  <a:lnTo>
                    <a:pt x="1998" y="2022"/>
                  </a:lnTo>
                  <a:lnTo>
                    <a:pt x="1998" y="2028"/>
                  </a:lnTo>
                  <a:lnTo>
                    <a:pt x="1992" y="2034"/>
                  </a:lnTo>
                  <a:lnTo>
                    <a:pt x="1992" y="2040"/>
                  </a:lnTo>
                  <a:lnTo>
                    <a:pt x="1986" y="2040"/>
                  </a:lnTo>
                  <a:lnTo>
                    <a:pt x="1986" y="2034"/>
                  </a:lnTo>
                  <a:lnTo>
                    <a:pt x="1980" y="2028"/>
                  </a:lnTo>
                  <a:lnTo>
                    <a:pt x="1980" y="2022"/>
                  </a:lnTo>
                  <a:lnTo>
                    <a:pt x="1968" y="2016"/>
                  </a:lnTo>
                  <a:lnTo>
                    <a:pt x="1962" y="2010"/>
                  </a:lnTo>
                  <a:lnTo>
                    <a:pt x="1956" y="2004"/>
                  </a:lnTo>
                  <a:lnTo>
                    <a:pt x="1950" y="1992"/>
                  </a:lnTo>
                  <a:lnTo>
                    <a:pt x="1950" y="1986"/>
                  </a:lnTo>
                  <a:lnTo>
                    <a:pt x="1950" y="1974"/>
                  </a:lnTo>
                  <a:lnTo>
                    <a:pt x="1944" y="1974"/>
                  </a:lnTo>
                  <a:lnTo>
                    <a:pt x="1932" y="1962"/>
                  </a:lnTo>
                  <a:lnTo>
                    <a:pt x="1932" y="1956"/>
                  </a:lnTo>
                  <a:lnTo>
                    <a:pt x="1932" y="1950"/>
                  </a:lnTo>
                  <a:lnTo>
                    <a:pt x="1920" y="1944"/>
                  </a:lnTo>
                  <a:lnTo>
                    <a:pt x="1914" y="1944"/>
                  </a:lnTo>
                  <a:lnTo>
                    <a:pt x="1908" y="1938"/>
                  </a:lnTo>
                  <a:lnTo>
                    <a:pt x="1902" y="1926"/>
                  </a:lnTo>
                  <a:lnTo>
                    <a:pt x="1890" y="1914"/>
                  </a:lnTo>
                  <a:lnTo>
                    <a:pt x="1884" y="1914"/>
                  </a:lnTo>
                  <a:lnTo>
                    <a:pt x="1878" y="1908"/>
                  </a:lnTo>
                  <a:lnTo>
                    <a:pt x="1872" y="1902"/>
                  </a:lnTo>
                  <a:lnTo>
                    <a:pt x="1872" y="1896"/>
                  </a:lnTo>
                  <a:lnTo>
                    <a:pt x="1866" y="1890"/>
                  </a:lnTo>
                  <a:lnTo>
                    <a:pt x="1854" y="1884"/>
                  </a:lnTo>
                  <a:lnTo>
                    <a:pt x="1848" y="1884"/>
                  </a:lnTo>
                  <a:lnTo>
                    <a:pt x="1842" y="1872"/>
                  </a:lnTo>
                  <a:lnTo>
                    <a:pt x="1836" y="1872"/>
                  </a:lnTo>
                  <a:lnTo>
                    <a:pt x="1830" y="1866"/>
                  </a:lnTo>
                  <a:lnTo>
                    <a:pt x="1830" y="1854"/>
                  </a:lnTo>
                  <a:lnTo>
                    <a:pt x="1824" y="1848"/>
                  </a:lnTo>
                  <a:lnTo>
                    <a:pt x="1818" y="1830"/>
                  </a:lnTo>
                  <a:lnTo>
                    <a:pt x="1818" y="1818"/>
                  </a:lnTo>
                  <a:lnTo>
                    <a:pt x="1812" y="1800"/>
                  </a:lnTo>
                  <a:lnTo>
                    <a:pt x="1812" y="1788"/>
                  </a:lnTo>
                  <a:lnTo>
                    <a:pt x="1806" y="1776"/>
                  </a:lnTo>
                  <a:lnTo>
                    <a:pt x="1800" y="1764"/>
                  </a:lnTo>
                  <a:lnTo>
                    <a:pt x="1794" y="1758"/>
                  </a:lnTo>
                  <a:lnTo>
                    <a:pt x="1782" y="1740"/>
                  </a:lnTo>
                  <a:lnTo>
                    <a:pt x="1776" y="1728"/>
                  </a:lnTo>
                  <a:lnTo>
                    <a:pt x="1776" y="1722"/>
                  </a:lnTo>
                  <a:lnTo>
                    <a:pt x="1770" y="1722"/>
                  </a:lnTo>
                  <a:lnTo>
                    <a:pt x="1770" y="1716"/>
                  </a:lnTo>
                  <a:lnTo>
                    <a:pt x="1764" y="1716"/>
                  </a:lnTo>
                  <a:lnTo>
                    <a:pt x="1758" y="1710"/>
                  </a:lnTo>
                  <a:lnTo>
                    <a:pt x="1752" y="1704"/>
                  </a:lnTo>
                  <a:lnTo>
                    <a:pt x="1746" y="1704"/>
                  </a:lnTo>
                  <a:lnTo>
                    <a:pt x="1740" y="1704"/>
                  </a:lnTo>
                  <a:lnTo>
                    <a:pt x="1734" y="1704"/>
                  </a:lnTo>
                  <a:lnTo>
                    <a:pt x="1734" y="1698"/>
                  </a:lnTo>
                  <a:lnTo>
                    <a:pt x="1728" y="1692"/>
                  </a:lnTo>
                  <a:lnTo>
                    <a:pt x="1722" y="1686"/>
                  </a:lnTo>
                  <a:lnTo>
                    <a:pt x="1716" y="1686"/>
                  </a:lnTo>
                  <a:lnTo>
                    <a:pt x="1698" y="1686"/>
                  </a:lnTo>
                  <a:lnTo>
                    <a:pt x="1692" y="1692"/>
                  </a:lnTo>
                  <a:lnTo>
                    <a:pt x="1680" y="1692"/>
                  </a:lnTo>
                  <a:lnTo>
                    <a:pt x="1668" y="1692"/>
                  </a:lnTo>
                  <a:lnTo>
                    <a:pt x="1662" y="1692"/>
                  </a:lnTo>
                  <a:lnTo>
                    <a:pt x="1656" y="1692"/>
                  </a:lnTo>
                  <a:lnTo>
                    <a:pt x="1650" y="1698"/>
                  </a:lnTo>
                  <a:lnTo>
                    <a:pt x="1644" y="1698"/>
                  </a:lnTo>
                  <a:lnTo>
                    <a:pt x="1638" y="1698"/>
                  </a:lnTo>
                  <a:lnTo>
                    <a:pt x="1632" y="1698"/>
                  </a:lnTo>
                  <a:lnTo>
                    <a:pt x="1632" y="1692"/>
                  </a:lnTo>
                  <a:lnTo>
                    <a:pt x="1620" y="1680"/>
                  </a:lnTo>
                  <a:lnTo>
                    <a:pt x="1614" y="1680"/>
                  </a:lnTo>
                  <a:lnTo>
                    <a:pt x="1608" y="1680"/>
                  </a:lnTo>
                  <a:lnTo>
                    <a:pt x="1602" y="1680"/>
                  </a:lnTo>
                  <a:lnTo>
                    <a:pt x="1596" y="1674"/>
                  </a:lnTo>
                  <a:lnTo>
                    <a:pt x="1584" y="1674"/>
                  </a:lnTo>
                  <a:lnTo>
                    <a:pt x="1572" y="1674"/>
                  </a:lnTo>
                  <a:lnTo>
                    <a:pt x="1560" y="1674"/>
                  </a:lnTo>
                  <a:lnTo>
                    <a:pt x="1542" y="1680"/>
                  </a:lnTo>
                  <a:lnTo>
                    <a:pt x="1530" y="1680"/>
                  </a:lnTo>
                  <a:lnTo>
                    <a:pt x="1530" y="1674"/>
                  </a:lnTo>
                  <a:lnTo>
                    <a:pt x="1524" y="1674"/>
                  </a:lnTo>
                  <a:lnTo>
                    <a:pt x="1518" y="1674"/>
                  </a:lnTo>
                  <a:lnTo>
                    <a:pt x="1512" y="1674"/>
                  </a:lnTo>
                  <a:lnTo>
                    <a:pt x="1506" y="1674"/>
                  </a:lnTo>
                  <a:lnTo>
                    <a:pt x="1500" y="1680"/>
                  </a:lnTo>
                  <a:lnTo>
                    <a:pt x="1488" y="1680"/>
                  </a:lnTo>
                  <a:lnTo>
                    <a:pt x="1482" y="1674"/>
                  </a:lnTo>
                  <a:lnTo>
                    <a:pt x="1476" y="1674"/>
                  </a:lnTo>
                  <a:lnTo>
                    <a:pt x="1464" y="1674"/>
                  </a:lnTo>
                  <a:lnTo>
                    <a:pt x="1452" y="1680"/>
                  </a:lnTo>
                  <a:lnTo>
                    <a:pt x="1434" y="1680"/>
                  </a:lnTo>
                  <a:lnTo>
                    <a:pt x="1422" y="1680"/>
                  </a:lnTo>
                  <a:lnTo>
                    <a:pt x="1416" y="1680"/>
                  </a:lnTo>
                  <a:lnTo>
                    <a:pt x="1404" y="1674"/>
                  </a:lnTo>
                  <a:lnTo>
                    <a:pt x="1398" y="1674"/>
                  </a:lnTo>
                  <a:lnTo>
                    <a:pt x="1392" y="1662"/>
                  </a:lnTo>
                  <a:lnTo>
                    <a:pt x="1380" y="1644"/>
                  </a:lnTo>
                  <a:lnTo>
                    <a:pt x="1374" y="1632"/>
                  </a:lnTo>
                  <a:lnTo>
                    <a:pt x="1362" y="1626"/>
                  </a:lnTo>
                  <a:lnTo>
                    <a:pt x="1356" y="1620"/>
                  </a:lnTo>
                  <a:lnTo>
                    <a:pt x="1350" y="1626"/>
                  </a:lnTo>
                  <a:lnTo>
                    <a:pt x="1338" y="1626"/>
                  </a:lnTo>
                  <a:lnTo>
                    <a:pt x="1326" y="1626"/>
                  </a:lnTo>
                  <a:lnTo>
                    <a:pt x="1314" y="1620"/>
                  </a:lnTo>
                  <a:lnTo>
                    <a:pt x="1308" y="1614"/>
                  </a:lnTo>
                  <a:lnTo>
                    <a:pt x="1302" y="1608"/>
                  </a:lnTo>
                  <a:lnTo>
                    <a:pt x="1296" y="1602"/>
                  </a:lnTo>
                  <a:lnTo>
                    <a:pt x="1290" y="1602"/>
                  </a:lnTo>
                  <a:lnTo>
                    <a:pt x="1290" y="1596"/>
                  </a:lnTo>
                  <a:lnTo>
                    <a:pt x="1284" y="1590"/>
                  </a:lnTo>
                  <a:lnTo>
                    <a:pt x="1272" y="1584"/>
                  </a:lnTo>
                  <a:lnTo>
                    <a:pt x="1254" y="1572"/>
                  </a:lnTo>
                  <a:lnTo>
                    <a:pt x="1236" y="1554"/>
                  </a:lnTo>
                  <a:lnTo>
                    <a:pt x="1230" y="1554"/>
                  </a:lnTo>
                  <a:lnTo>
                    <a:pt x="1224" y="1554"/>
                  </a:lnTo>
                  <a:lnTo>
                    <a:pt x="1212" y="1554"/>
                  </a:lnTo>
                  <a:lnTo>
                    <a:pt x="1194" y="1542"/>
                  </a:lnTo>
                  <a:lnTo>
                    <a:pt x="1188" y="1536"/>
                  </a:lnTo>
                  <a:lnTo>
                    <a:pt x="1182" y="1530"/>
                  </a:lnTo>
                  <a:lnTo>
                    <a:pt x="1176" y="1530"/>
                  </a:lnTo>
                  <a:lnTo>
                    <a:pt x="1170" y="1530"/>
                  </a:lnTo>
                  <a:lnTo>
                    <a:pt x="1158" y="1524"/>
                  </a:lnTo>
                  <a:lnTo>
                    <a:pt x="1152" y="1524"/>
                  </a:lnTo>
                  <a:lnTo>
                    <a:pt x="1140" y="1518"/>
                  </a:lnTo>
                  <a:lnTo>
                    <a:pt x="1128" y="1518"/>
                  </a:lnTo>
                  <a:lnTo>
                    <a:pt x="1122" y="1518"/>
                  </a:lnTo>
                  <a:lnTo>
                    <a:pt x="1116" y="1518"/>
                  </a:lnTo>
                  <a:lnTo>
                    <a:pt x="1104" y="1518"/>
                  </a:lnTo>
                  <a:lnTo>
                    <a:pt x="1092" y="1518"/>
                  </a:lnTo>
                  <a:lnTo>
                    <a:pt x="1080" y="1518"/>
                  </a:lnTo>
                  <a:lnTo>
                    <a:pt x="1068" y="1518"/>
                  </a:lnTo>
                  <a:lnTo>
                    <a:pt x="1062" y="1518"/>
                  </a:lnTo>
                  <a:lnTo>
                    <a:pt x="1056" y="1518"/>
                  </a:lnTo>
                  <a:lnTo>
                    <a:pt x="1050" y="1512"/>
                  </a:lnTo>
                  <a:lnTo>
                    <a:pt x="1044" y="1512"/>
                  </a:lnTo>
                  <a:lnTo>
                    <a:pt x="1038" y="1512"/>
                  </a:lnTo>
                  <a:lnTo>
                    <a:pt x="1032" y="1506"/>
                  </a:lnTo>
                  <a:lnTo>
                    <a:pt x="1026" y="1500"/>
                  </a:lnTo>
                  <a:lnTo>
                    <a:pt x="1026" y="1494"/>
                  </a:lnTo>
                  <a:lnTo>
                    <a:pt x="1020" y="1476"/>
                  </a:lnTo>
                  <a:lnTo>
                    <a:pt x="1008" y="1464"/>
                  </a:lnTo>
                  <a:lnTo>
                    <a:pt x="1008" y="1458"/>
                  </a:lnTo>
                  <a:lnTo>
                    <a:pt x="1002" y="1446"/>
                  </a:lnTo>
                  <a:lnTo>
                    <a:pt x="996" y="1446"/>
                  </a:lnTo>
                  <a:lnTo>
                    <a:pt x="990" y="1440"/>
                  </a:lnTo>
                  <a:lnTo>
                    <a:pt x="984" y="1434"/>
                  </a:lnTo>
                  <a:lnTo>
                    <a:pt x="978" y="1434"/>
                  </a:lnTo>
                  <a:lnTo>
                    <a:pt x="972" y="1434"/>
                  </a:lnTo>
                  <a:lnTo>
                    <a:pt x="966" y="1428"/>
                  </a:lnTo>
                  <a:lnTo>
                    <a:pt x="954" y="1422"/>
                  </a:lnTo>
                  <a:lnTo>
                    <a:pt x="942" y="1416"/>
                  </a:lnTo>
                  <a:lnTo>
                    <a:pt x="924" y="1398"/>
                  </a:lnTo>
                  <a:lnTo>
                    <a:pt x="912" y="1386"/>
                  </a:lnTo>
                  <a:lnTo>
                    <a:pt x="900" y="1386"/>
                  </a:lnTo>
                  <a:lnTo>
                    <a:pt x="894" y="1386"/>
                  </a:lnTo>
                  <a:lnTo>
                    <a:pt x="882" y="1392"/>
                  </a:lnTo>
                  <a:lnTo>
                    <a:pt x="876" y="1392"/>
                  </a:lnTo>
                  <a:lnTo>
                    <a:pt x="864" y="1398"/>
                  </a:lnTo>
                  <a:lnTo>
                    <a:pt x="864" y="1404"/>
                  </a:lnTo>
                  <a:lnTo>
                    <a:pt x="858" y="1410"/>
                  </a:lnTo>
                  <a:lnTo>
                    <a:pt x="852" y="1410"/>
                  </a:lnTo>
                  <a:lnTo>
                    <a:pt x="846" y="1410"/>
                  </a:lnTo>
                  <a:lnTo>
                    <a:pt x="834" y="1410"/>
                  </a:lnTo>
                  <a:lnTo>
                    <a:pt x="828" y="1410"/>
                  </a:lnTo>
                  <a:lnTo>
                    <a:pt x="822" y="1416"/>
                  </a:lnTo>
                  <a:lnTo>
                    <a:pt x="816" y="1422"/>
                  </a:lnTo>
                  <a:lnTo>
                    <a:pt x="810" y="1428"/>
                  </a:lnTo>
                  <a:lnTo>
                    <a:pt x="798" y="1428"/>
                  </a:lnTo>
                  <a:lnTo>
                    <a:pt x="792" y="1428"/>
                  </a:lnTo>
                  <a:lnTo>
                    <a:pt x="780" y="1434"/>
                  </a:lnTo>
                  <a:lnTo>
                    <a:pt x="774" y="1428"/>
                  </a:lnTo>
                  <a:lnTo>
                    <a:pt x="762" y="1428"/>
                  </a:lnTo>
                  <a:lnTo>
                    <a:pt x="756" y="1422"/>
                  </a:lnTo>
                  <a:lnTo>
                    <a:pt x="750" y="1416"/>
                  </a:lnTo>
                  <a:lnTo>
                    <a:pt x="744" y="1410"/>
                  </a:lnTo>
                  <a:lnTo>
                    <a:pt x="744" y="1398"/>
                  </a:lnTo>
                  <a:lnTo>
                    <a:pt x="744" y="1386"/>
                  </a:lnTo>
                  <a:lnTo>
                    <a:pt x="750" y="1380"/>
                  </a:lnTo>
                  <a:lnTo>
                    <a:pt x="750" y="1374"/>
                  </a:lnTo>
                  <a:lnTo>
                    <a:pt x="750" y="1368"/>
                  </a:lnTo>
                  <a:lnTo>
                    <a:pt x="756" y="1362"/>
                  </a:lnTo>
                  <a:lnTo>
                    <a:pt x="750" y="1350"/>
                  </a:lnTo>
                  <a:lnTo>
                    <a:pt x="744" y="1344"/>
                  </a:lnTo>
                  <a:lnTo>
                    <a:pt x="738" y="1338"/>
                  </a:lnTo>
                  <a:lnTo>
                    <a:pt x="726" y="1338"/>
                  </a:lnTo>
                  <a:lnTo>
                    <a:pt x="720" y="1338"/>
                  </a:lnTo>
                  <a:lnTo>
                    <a:pt x="714" y="1338"/>
                  </a:lnTo>
                  <a:lnTo>
                    <a:pt x="708" y="1332"/>
                  </a:lnTo>
                  <a:lnTo>
                    <a:pt x="702" y="1332"/>
                  </a:lnTo>
                  <a:lnTo>
                    <a:pt x="696" y="1326"/>
                  </a:lnTo>
                  <a:lnTo>
                    <a:pt x="684" y="1326"/>
                  </a:lnTo>
                  <a:lnTo>
                    <a:pt x="678" y="1326"/>
                  </a:lnTo>
                  <a:lnTo>
                    <a:pt x="672" y="1314"/>
                  </a:lnTo>
                  <a:lnTo>
                    <a:pt x="666" y="1308"/>
                  </a:lnTo>
                  <a:lnTo>
                    <a:pt x="654" y="1296"/>
                  </a:lnTo>
                  <a:lnTo>
                    <a:pt x="654" y="1290"/>
                  </a:lnTo>
                  <a:lnTo>
                    <a:pt x="630" y="1284"/>
                  </a:lnTo>
                  <a:lnTo>
                    <a:pt x="630" y="1278"/>
                  </a:lnTo>
                  <a:lnTo>
                    <a:pt x="624" y="1278"/>
                  </a:lnTo>
                  <a:lnTo>
                    <a:pt x="618" y="1266"/>
                  </a:lnTo>
                  <a:lnTo>
                    <a:pt x="612" y="1266"/>
                  </a:lnTo>
                  <a:lnTo>
                    <a:pt x="606" y="1266"/>
                  </a:lnTo>
                  <a:lnTo>
                    <a:pt x="606" y="1260"/>
                  </a:lnTo>
                  <a:lnTo>
                    <a:pt x="594" y="1248"/>
                  </a:lnTo>
                  <a:lnTo>
                    <a:pt x="582" y="1248"/>
                  </a:lnTo>
                  <a:lnTo>
                    <a:pt x="576" y="1242"/>
                  </a:lnTo>
                  <a:lnTo>
                    <a:pt x="570" y="1236"/>
                  </a:lnTo>
                  <a:lnTo>
                    <a:pt x="504" y="1164"/>
                  </a:lnTo>
                  <a:lnTo>
                    <a:pt x="450" y="1110"/>
                  </a:lnTo>
                  <a:lnTo>
                    <a:pt x="426" y="1092"/>
                  </a:lnTo>
                  <a:lnTo>
                    <a:pt x="426" y="1074"/>
                  </a:lnTo>
                  <a:lnTo>
                    <a:pt x="420" y="1062"/>
                  </a:lnTo>
                  <a:lnTo>
                    <a:pt x="396" y="1056"/>
                  </a:lnTo>
                  <a:lnTo>
                    <a:pt x="384" y="1032"/>
                  </a:lnTo>
                  <a:lnTo>
                    <a:pt x="372" y="1020"/>
                  </a:lnTo>
                  <a:lnTo>
                    <a:pt x="360" y="984"/>
                  </a:lnTo>
                  <a:lnTo>
                    <a:pt x="348" y="978"/>
                  </a:lnTo>
                  <a:lnTo>
                    <a:pt x="342" y="972"/>
                  </a:lnTo>
                  <a:lnTo>
                    <a:pt x="348" y="960"/>
                  </a:lnTo>
                  <a:lnTo>
                    <a:pt x="342" y="954"/>
                  </a:lnTo>
                  <a:lnTo>
                    <a:pt x="336" y="954"/>
                  </a:lnTo>
                  <a:lnTo>
                    <a:pt x="330" y="954"/>
                  </a:lnTo>
                  <a:lnTo>
                    <a:pt x="324" y="972"/>
                  </a:lnTo>
                  <a:lnTo>
                    <a:pt x="318" y="966"/>
                  </a:lnTo>
                  <a:lnTo>
                    <a:pt x="312" y="966"/>
                  </a:lnTo>
                  <a:lnTo>
                    <a:pt x="306" y="960"/>
                  </a:lnTo>
                  <a:lnTo>
                    <a:pt x="300" y="966"/>
                  </a:lnTo>
                  <a:lnTo>
                    <a:pt x="294" y="966"/>
                  </a:lnTo>
                  <a:lnTo>
                    <a:pt x="288" y="972"/>
                  </a:lnTo>
                  <a:lnTo>
                    <a:pt x="288" y="966"/>
                  </a:lnTo>
                  <a:lnTo>
                    <a:pt x="282" y="948"/>
                  </a:lnTo>
                  <a:lnTo>
                    <a:pt x="282" y="942"/>
                  </a:lnTo>
                  <a:lnTo>
                    <a:pt x="276" y="942"/>
                  </a:lnTo>
                  <a:lnTo>
                    <a:pt x="276" y="936"/>
                  </a:lnTo>
                  <a:lnTo>
                    <a:pt x="270" y="942"/>
                  </a:lnTo>
                  <a:lnTo>
                    <a:pt x="264" y="948"/>
                  </a:lnTo>
                  <a:lnTo>
                    <a:pt x="264" y="942"/>
                  </a:lnTo>
                  <a:lnTo>
                    <a:pt x="258" y="942"/>
                  </a:lnTo>
                  <a:lnTo>
                    <a:pt x="252" y="948"/>
                  </a:lnTo>
                  <a:lnTo>
                    <a:pt x="252" y="942"/>
                  </a:lnTo>
                  <a:lnTo>
                    <a:pt x="246" y="936"/>
                  </a:lnTo>
                  <a:lnTo>
                    <a:pt x="240" y="942"/>
                  </a:lnTo>
                  <a:lnTo>
                    <a:pt x="234" y="936"/>
                  </a:lnTo>
                  <a:lnTo>
                    <a:pt x="228" y="936"/>
                  </a:lnTo>
                  <a:lnTo>
                    <a:pt x="222" y="936"/>
                  </a:lnTo>
                  <a:lnTo>
                    <a:pt x="222" y="930"/>
                  </a:lnTo>
                  <a:lnTo>
                    <a:pt x="222" y="924"/>
                  </a:lnTo>
                  <a:lnTo>
                    <a:pt x="228" y="924"/>
                  </a:lnTo>
                  <a:lnTo>
                    <a:pt x="234" y="924"/>
                  </a:lnTo>
                  <a:lnTo>
                    <a:pt x="240" y="924"/>
                  </a:lnTo>
                  <a:lnTo>
                    <a:pt x="240" y="918"/>
                  </a:lnTo>
                  <a:lnTo>
                    <a:pt x="246" y="918"/>
                  </a:lnTo>
                  <a:lnTo>
                    <a:pt x="246" y="912"/>
                  </a:lnTo>
                  <a:lnTo>
                    <a:pt x="240" y="906"/>
                  </a:lnTo>
                  <a:lnTo>
                    <a:pt x="234" y="906"/>
                  </a:lnTo>
                  <a:lnTo>
                    <a:pt x="228" y="906"/>
                  </a:lnTo>
                  <a:lnTo>
                    <a:pt x="228" y="912"/>
                  </a:lnTo>
                  <a:lnTo>
                    <a:pt x="222" y="906"/>
                  </a:lnTo>
                  <a:lnTo>
                    <a:pt x="222" y="900"/>
                  </a:lnTo>
                  <a:lnTo>
                    <a:pt x="222" y="894"/>
                  </a:lnTo>
                  <a:lnTo>
                    <a:pt x="228" y="894"/>
                  </a:lnTo>
                  <a:lnTo>
                    <a:pt x="234" y="894"/>
                  </a:lnTo>
                  <a:lnTo>
                    <a:pt x="228" y="888"/>
                  </a:lnTo>
                  <a:lnTo>
                    <a:pt x="222" y="882"/>
                  </a:lnTo>
                  <a:lnTo>
                    <a:pt x="216" y="882"/>
                  </a:lnTo>
                  <a:lnTo>
                    <a:pt x="210" y="882"/>
                  </a:lnTo>
                  <a:lnTo>
                    <a:pt x="204" y="882"/>
                  </a:lnTo>
                  <a:lnTo>
                    <a:pt x="198" y="888"/>
                  </a:lnTo>
                  <a:lnTo>
                    <a:pt x="192" y="882"/>
                  </a:lnTo>
                  <a:lnTo>
                    <a:pt x="186" y="882"/>
                  </a:lnTo>
                  <a:lnTo>
                    <a:pt x="186" y="876"/>
                  </a:lnTo>
                  <a:lnTo>
                    <a:pt x="192" y="876"/>
                  </a:lnTo>
                  <a:lnTo>
                    <a:pt x="192" y="870"/>
                  </a:lnTo>
                  <a:lnTo>
                    <a:pt x="198" y="870"/>
                  </a:lnTo>
                  <a:lnTo>
                    <a:pt x="198" y="864"/>
                  </a:lnTo>
                  <a:lnTo>
                    <a:pt x="198" y="858"/>
                  </a:lnTo>
                  <a:lnTo>
                    <a:pt x="180" y="852"/>
                  </a:lnTo>
                  <a:lnTo>
                    <a:pt x="174" y="840"/>
                  </a:lnTo>
                  <a:lnTo>
                    <a:pt x="162" y="846"/>
                  </a:lnTo>
                  <a:lnTo>
                    <a:pt x="156" y="846"/>
                  </a:lnTo>
                  <a:lnTo>
                    <a:pt x="150" y="846"/>
                  </a:lnTo>
                  <a:lnTo>
                    <a:pt x="150" y="840"/>
                  </a:lnTo>
                  <a:lnTo>
                    <a:pt x="138" y="834"/>
                  </a:lnTo>
                  <a:lnTo>
                    <a:pt x="132" y="834"/>
                  </a:lnTo>
                  <a:lnTo>
                    <a:pt x="132" y="840"/>
                  </a:lnTo>
                  <a:lnTo>
                    <a:pt x="126" y="840"/>
                  </a:lnTo>
                  <a:lnTo>
                    <a:pt x="126" y="852"/>
                  </a:lnTo>
                  <a:lnTo>
                    <a:pt x="126" y="858"/>
                  </a:lnTo>
                  <a:lnTo>
                    <a:pt x="120" y="858"/>
                  </a:lnTo>
                  <a:lnTo>
                    <a:pt x="120" y="846"/>
                  </a:lnTo>
                  <a:lnTo>
                    <a:pt x="114" y="846"/>
                  </a:lnTo>
                  <a:lnTo>
                    <a:pt x="108" y="840"/>
                  </a:lnTo>
                  <a:lnTo>
                    <a:pt x="102" y="834"/>
                  </a:lnTo>
                  <a:lnTo>
                    <a:pt x="102" y="822"/>
                  </a:lnTo>
                  <a:lnTo>
                    <a:pt x="96" y="822"/>
                  </a:lnTo>
                  <a:lnTo>
                    <a:pt x="90" y="828"/>
                  </a:lnTo>
                  <a:lnTo>
                    <a:pt x="84" y="822"/>
                  </a:lnTo>
                  <a:lnTo>
                    <a:pt x="84" y="816"/>
                  </a:lnTo>
                  <a:lnTo>
                    <a:pt x="84" y="810"/>
                  </a:lnTo>
                  <a:lnTo>
                    <a:pt x="84" y="804"/>
                  </a:lnTo>
                  <a:lnTo>
                    <a:pt x="78" y="804"/>
                  </a:lnTo>
                  <a:lnTo>
                    <a:pt x="78" y="798"/>
                  </a:lnTo>
                  <a:lnTo>
                    <a:pt x="78" y="792"/>
                  </a:lnTo>
                  <a:lnTo>
                    <a:pt x="78" y="786"/>
                  </a:lnTo>
                  <a:lnTo>
                    <a:pt x="78" y="780"/>
                  </a:lnTo>
                  <a:lnTo>
                    <a:pt x="72" y="774"/>
                  </a:lnTo>
                  <a:lnTo>
                    <a:pt x="66" y="774"/>
                  </a:lnTo>
                  <a:lnTo>
                    <a:pt x="60" y="774"/>
                  </a:lnTo>
                  <a:lnTo>
                    <a:pt x="60" y="768"/>
                  </a:lnTo>
                  <a:lnTo>
                    <a:pt x="60" y="762"/>
                  </a:lnTo>
                  <a:lnTo>
                    <a:pt x="54" y="756"/>
                  </a:lnTo>
                  <a:lnTo>
                    <a:pt x="42" y="756"/>
                  </a:lnTo>
                  <a:lnTo>
                    <a:pt x="36" y="756"/>
                  </a:lnTo>
                  <a:lnTo>
                    <a:pt x="24" y="738"/>
                  </a:lnTo>
                  <a:lnTo>
                    <a:pt x="18" y="732"/>
                  </a:lnTo>
                  <a:lnTo>
                    <a:pt x="6" y="720"/>
                  </a:lnTo>
                  <a:lnTo>
                    <a:pt x="6" y="714"/>
                  </a:lnTo>
                  <a:lnTo>
                    <a:pt x="0" y="702"/>
                  </a:lnTo>
                  <a:lnTo>
                    <a:pt x="0" y="696"/>
                  </a:lnTo>
                  <a:lnTo>
                    <a:pt x="12" y="666"/>
                  </a:lnTo>
                  <a:lnTo>
                    <a:pt x="18" y="648"/>
                  </a:lnTo>
                  <a:lnTo>
                    <a:pt x="24" y="636"/>
                  </a:lnTo>
                  <a:lnTo>
                    <a:pt x="30" y="630"/>
                  </a:lnTo>
                  <a:lnTo>
                    <a:pt x="30" y="624"/>
                  </a:lnTo>
                  <a:lnTo>
                    <a:pt x="30" y="612"/>
                  </a:lnTo>
                  <a:lnTo>
                    <a:pt x="30" y="606"/>
                  </a:lnTo>
                  <a:lnTo>
                    <a:pt x="30" y="600"/>
                  </a:lnTo>
                  <a:lnTo>
                    <a:pt x="36" y="594"/>
                  </a:lnTo>
                  <a:lnTo>
                    <a:pt x="48" y="594"/>
                  </a:lnTo>
                  <a:lnTo>
                    <a:pt x="66" y="582"/>
                  </a:lnTo>
                  <a:lnTo>
                    <a:pt x="72" y="588"/>
                  </a:lnTo>
                  <a:lnTo>
                    <a:pt x="84" y="594"/>
                  </a:lnTo>
                  <a:lnTo>
                    <a:pt x="90" y="600"/>
                  </a:lnTo>
                  <a:lnTo>
                    <a:pt x="102" y="606"/>
                  </a:lnTo>
                  <a:lnTo>
                    <a:pt x="114" y="606"/>
                  </a:lnTo>
                  <a:lnTo>
                    <a:pt x="114" y="612"/>
                  </a:lnTo>
                  <a:lnTo>
                    <a:pt x="120" y="612"/>
                  </a:lnTo>
                  <a:lnTo>
                    <a:pt x="126" y="618"/>
                  </a:lnTo>
                  <a:lnTo>
                    <a:pt x="138" y="594"/>
                  </a:lnTo>
                  <a:lnTo>
                    <a:pt x="138" y="582"/>
                  </a:lnTo>
                  <a:lnTo>
                    <a:pt x="138" y="570"/>
                  </a:lnTo>
                  <a:lnTo>
                    <a:pt x="138" y="564"/>
                  </a:lnTo>
                  <a:lnTo>
                    <a:pt x="138" y="552"/>
                  </a:lnTo>
                  <a:lnTo>
                    <a:pt x="144" y="540"/>
                  </a:lnTo>
                  <a:lnTo>
                    <a:pt x="150" y="528"/>
                  </a:lnTo>
                  <a:lnTo>
                    <a:pt x="156" y="510"/>
                  </a:lnTo>
                  <a:lnTo>
                    <a:pt x="168" y="498"/>
                  </a:lnTo>
                  <a:lnTo>
                    <a:pt x="168" y="492"/>
                  </a:lnTo>
                  <a:lnTo>
                    <a:pt x="168" y="486"/>
                  </a:lnTo>
                  <a:lnTo>
                    <a:pt x="168" y="480"/>
                  </a:lnTo>
                  <a:lnTo>
                    <a:pt x="168" y="462"/>
                  </a:lnTo>
                  <a:lnTo>
                    <a:pt x="168" y="450"/>
                  </a:lnTo>
                  <a:lnTo>
                    <a:pt x="168" y="444"/>
                  </a:lnTo>
                  <a:lnTo>
                    <a:pt x="162" y="432"/>
                  </a:lnTo>
                  <a:lnTo>
                    <a:pt x="162" y="426"/>
                  </a:lnTo>
                  <a:lnTo>
                    <a:pt x="156" y="420"/>
                  </a:lnTo>
                  <a:lnTo>
                    <a:pt x="144" y="414"/>
                  </a:lnTo>
                  <a:lnTo>
                    <a:pt x="132" y="402"/>
                  </a:lnTo>
                  <a:lnTo>
                    <a:pt x="126" y="390"/>
                  </a:lnTo>
                  <a:lnTo>
                    <a:pt x="120" y="384"/>
                  </a:lnTo>
                  <a:lnTo>
                    <a:pt x="120" y="372"/>
                  </a:lnTo>
                  <a:lnTo>
                    <a:pt x="114" y="360"/>
                  </a:lnTo>
                  <a:lnTo>
                    <a:pt x="108" y="360"/>
                  </a:lnTo>
                  <a:lnTo>
                    <a:pt x="108" y="354"/>
                  </a:lnTo>
                  <a:lnTo>
                    <a:pt x="102" y="348"/>
                  </a:lnTo>
                  <a:lnTo>
                    <a:pt x="102" y="342"/>
                  </a:lnTo>
                  <a:lnTo>
                    <a:pt x="108" y="330"/>
                  </a:lnTo>
                  <a:lnTo>
                    <a:pt x="114" y="312"/>
                  </a:lnTo>
                  <a:lnTo>
                    <a:pt x="114" y="300"/>
                  </a:lnTo>
                  <a:lnTo>
                    <a:pt x="120" y="288"/>
                  </a:lnTo>
                  <a:lnTo>
                    <a:pt x="120" y="282"/>
                  </a:lnTo>
                  <a:lnTo>
                    <a:pt x="114" y="270"/>
                  </a:lnTo>
                  <a:lnTo>
                    <a:pt x="114" y="258"/>
                  </a:lnTo>
                  <a:lnTo>
                    <a:pt x="108" y="234"/>
                  </a:lnTo>
                  <a:lnTo>
                    <a:pt x="108" y="228"/>
                  </a:lnTo>
                  <a:lnTo>
                    <a:pt x="96" y="222"/>
                  </a:lnTo>
                  <a:lnTo>
                    <a:pt x="90" y="222"/>
                  </a:lnTo>
                  <a:lnTo>
                    <a:pt x="84" y="222"/>
                  </a:lnTo>
                  <a:lnTo>
                    <a:pt x="84" y="216"/>
                  </a:lnTo>
                  <a:lnTo>
                    <a:pt x="84" y="210"/>
                  </a:lnTo>
                  <a:lnTo>
                    <a:pt x="90" y="198"/>
                  </a:lnTo>
                  <a:lnTo>
                    <a:pt x="90" y="192"/>
                  </a:lnTo>
                  <a:lnTo>
                    <a:pt x="84" y="186"/>
                  </a:lnTo>
                  <a:lnTo>
                    <a:pt x="84" y="180"/>
                  </a:lnTo>
                  <a:lnTo>
                    <a:pt x="108" y="174"/>
                  </a:lnTo>
                  <a:lnTo>
                    <a:pt x="132" y="186"/>
                  </a:lnTo>
                  <a:lnTo>
                    <a:pt x="138" y="192"/>
                  </a:lnTo>
                  <a:lnTo>
                    <a:pt x="144" y="198"/>
                  </a:lnTo>
                  <a:lnTo>
                    <a:pt x="144" y="204"/>
                  </a:lnTo>
                  <a:lnTo>
                    <a:pt x="150" y="204"/>
                  </a:lnTo>
                  <a:lnTo>
                    <a:pt x="156" y="204"/>
                  </a:lnTo>
                  <a:lnTo>
                    <a:pt x="162" y="198"/>
                  </a:lnTo>
                  <a:lnTo>
                    <a:pt x="168" y="198"/>
                  </a:lnTo>
                  <a:lnTo>
                    <a:pt x="174" y="204"/>
                  </a:lnTo>
                  <a:lnTo>
                    <a:pt x="180" y="216"/>
                  </a:lnTo>
                  <a:lnTo>
                    <a:pt x="186" y="228"/>
                  </a:lnTo>
                  <a:lnTo>
                    <a:pt x="192" y="234"/>
                  </a:lnTo>
                  <a:lnTo>
                    <a:pt x="198" y="234"/>
                  </a:lnTo>
                  <a:lnTo>
                    <a:pt x="204" y="240"/>
                  </a:lnTo>
                  <a:lnTo>
                    <a:pt x="210" y="240"/>
                  </a:lnTo>
                  <a:lnTo>
                    <a:pt x="216" y="240"/>
                  </a:lnTo>
                  <a:lnTo>
                    <a:pt x="222" y="240"/>
                  </a:lnTo>
                  <a:lnTo>
                    <a:pt x="228" y="246"/>
                  </a:lnTo>
                  <a:lnTo>
                    <a:pt x="234" y="246"/>
                  </a:lnTo>
                  <a:lnTo>
                    <a:pt x="240" y="246"/>
                  </a:lnTo>
                  <a:lnTo>
                    <a:pt x="252" y="252"/>
                  </a:lnTo>
                  <a:lnTo>
                    <a:pt x="330" y="246"/>
                  </a:lnTo>
                  <a:lnTo>
                    <a:pt x="360" y="228"/>
                  </a:lnTo>
                  <a:lnTo>
                    <a:pt x="396" y="228"/>
                  </a:lnTo>
                  <a:lnTo>
                    <a:pt x="402" y="240"/>
                  </a:lnTo>
                  <a:lnTo>
                    <a:pt x="432" y="240"/>
                  </a:lnTo>
                  <a:lnTo>
                    <a:pt x="450" y="258"/>
                  </a:lnTo>
                  <a:lnTo>
                    <a:pt x="468" y="258"/>
                  </a:lnTo>
                  <a:lnTo>
                    <a:pt x="474" y="294"/>
                  </a:lnTo>
                  <a:lnTo>
                    <a:pt x="558" y="318"/>
                  </a:lnTo>
                  <a:lnTo>
                    <a:pt x="588" y="318"/>
                  </a:lnTo>
                  <a:lnTo>
                    <a:pt x="588" y="312"/>
                  </a:lnTo>
                  <a:lnTo>
                    <a:pt x="594" y="306"/>
                  </a:lnTo>
                  <a:lnTo>
                    <a:pt x="600" y="306"/>
                  </a:lnTo>
                  <a:lnTo>
                    <a:pt x="612" y="300"/>
                  </a:lnTo>
                  <a:lnTo>
                    <a:pt x="618" y="300"/>
                  </a:lnTo>
                  <a:lnTo>
                    <a:pt x="630" y="300"/>
                  </a:lnTo>
                  <a:lnTo>
                    <a:pt x="642" y="306"/>
                  </a:lnTo>
                  <a:lnTo>
                    <a:pt x="660" y="306"/>
                  </a:lnTo>
                  <a:lnTo>
                    <a:pt x="666" y="306"/>
                  </a:lnTo>
                  <a:lnTo>
                    <a:pt x="672" y="306"/>
                  </a:lnTo>
                  <a:lnTo>
                    <a:pt x="684" y="300"/>
                  </a:lnTo>
                  <a:lnTo>
                    <a:pt x="696" y="294"/>
                  </a:lnTo>
                  <a:lnTo>
                    <a:pt x="702" y="288"/>
                  </a:lnTo>
                  <a:lnTo>
                    <a:pt x="714" y="282"/>
                  </a:lnTo>
                  <a:lnTo>
                    <a:pt x="714" y="288"/>
                  </a:lnTo>
                  <a:lnTo>
                    <a:pt x="726" y="300"/>
                  </a:lnTo>
                  <a:lnTo>
                    <a:pt x="732" y="306"/>
                  </a:lnTo>
                  <a:lnTo>
                    <a:pt x="732" y="318"/>
                  </a:lnTo>
                  <a:lnTo>
                    <a:pt x="732" y="330"/>
                  </a:lnTo>
                  <a:lnTo>
                    <a:pt x="726" y="342"/>
                  </a:lnTo>
                  <a:lnTo>
                    <a:pt x="720" y="354"/>
                  </a:lnTo>
                  <a:lnTo>
                    <a:pt x="720" y="360"/>
                  </a:lnTo>
                  <a:lnTo>
                    <a:pt x="714" y="372"/>
                  </a:lnTo>
                  <a:lnTo>
                    <a:pt x="714" y="378"/>
                  </a:lnTo>
                  <a:lnTo>
                    <a:pt x="714" y="408"/>
                  </a:lnTo>
                  <a:lnTo>
                    <a:pt x="708" y="420"/>
                  </a:lnTo>
                  <a:lnTo>
                    <a:pt x="714" y="432"/>
                  </a:lnTo>
                  <a:lnTo>
                    <a:pt x="708" y="450"/>
                  </a:lnTo>
                  <a:lnTo>
                    <a:pt x="708" y="468"/>
                  </a:lnTo>
                  <a:lnTo>
                    <a:pt x="696" y="480"/>
                  </a:lnTo>
                  <a:lnTo>
                    <a:pt x="684" y="486"/>
                  </a:lnTo>
                  <a:lnTo>
                    <a:pt x="672" y="492"/>
                  </a:lnTo>
                  <a:lnTo>
                    <a:pt x="660" y="498"/>
                  </a:lnTo>
                  <a:lnTo>
                    <a:pt x="654" y="510"/>
                  </a:lnTo>
                  <a:lnTo>
                    <a:pt x="648" y="516"/>
                  </a:lnTo>
                  <a:lnTo>
                    <a:pt x="642" y="522"/>
                  </a:lnTo>
                  <a:lnTo>
                    <a:pt x="630" y="522"/>
                  </a:lnTo>
                  <a:lnTo>
                    <a:pt x="624" y="528"/>
                  </a:lnTo>
                  <a:lnTo>
                    <a:pt x="618" y="540"/>
                  </a:lnTo>
                  <a:lnTo>
                    <a:pt x="618" y="558"/>
                  </a:lnTo>
                  <a:lnTo>
                    <a:pt x="612" y="576"/>
                  </a:lnTo>
                  <a:lnTo>
                    <a:pt x="612" y="684"/>
                  </a:lnTo>
                  <a:lnTo>
                    <a:pt x="618" y="696"/>
                  </a:lnTo>
                  <a:lnTo>
                    <a:pt x="636" y="696"/>
                  </a:lnTo>
                  <a:lnTo>
                    <a:pt x="636" y="720"/>
                  </a:lnTo>
                  <a:lnTo>
                    <a:pt x="636" y="732"/>
                  </a:lnTo>
                  <a:lnTo>
                    <a:pt x="618" y="750"/>
                  </a:lnTo>
                  <a:lnTo>
                    <a:pt x="606" y="762"/>
                  </a:lnTo>
                  <a:lnTo>
                    <a:pt x="600" y="774"/>
                  </a:lnTo>
                  <a:lnTo>
                    <a:pt x="594" y="798"/>
                  </a:lnTo>
                  <a:lnTo>
                    <a:pt x="606" y="798"/>
                  </a:lnTo>
                  <a:lnTo>
                    <a:pt x="660" y="792"/>
                  </a:lnTo>
                  <a:lnTo>
                    <a:pt x="696" y="798"/>
                  </a:lnTo>
                  <a:lnTo>
                    <a:pt x="720" y="798"/>
                  </a:lnTo>
                  <a:lnTo>
                    <a:pt x="720" y="786"/>
                  </a:lnTo>
                  <a:lnTo>
                    <a:pt x="720" y="774"/>
                  </a:lnTo>
                  <a:lnTo>
                    <a:pt x="702" y="762"/>
                  </a:lnTo>
                  <a:lnTo>
                    <a:pt x="702" y="750"/>
                  </a:lnTo>
                  <a:lnTo>
                    <a:pt x="702" y="726"/>
                  </a:lnTo>
                  <a:lnTo>
                    <a:pt x="714" y="714"/>
                  </a:lnTo>
                  <a:lnTo>
                    <a:pt x="720" y="702"/>
                  </a:lnTo>
                  <a:lnTo>
                    <a:pt x="720" y="696"/>
                  </a:lnTo>
                  <a:lnTo>
                    <a:pt x="744" y="690"/>
                  </a:lnTo>
                  <a:lnTo>
                    <a:pt x="744" y="696"/>
                  </a:lnTo>
                  <a:lnTo>
                    <a:pt x="756" y="696"/>
                  </a:lnTo>
                  <a:lnTo>
                    <a:pt x="762" y="690"/>
                  </a:lnTo>
                  <a:lnTo>
                    <a:pt x="768" y="690"/>
                  </a:lnTo>
                  <a:lnTo>
                    <a:pt x="774" y="696"/>
                  </a:lnTo>
                  <a:lnTo>
                    <a:pt x="780" y="696"/>
                  </a:lnTo>
                  <a:lnTo>
                    <a:pt x="786" y="696"/>
                  </a:lnTo>
                  <a:lnTo>
                    <a:pt x="804" y="684"/>
                  </a:lnTo>
                  <a:lnTo>
                    <a:pt x="810" y="684"/>
                  </a:lnTo>
                  <a:lnTo>
                    <a:pt x="810" y="654"/>
                  </a:lnTo>
                  <a:lnTo>
                    <a:pt x="816" y="588"/>
                  </a:lnTo>
                  <a:lnTo>
                    <a:pt x="804" y="582"/>
                  </a:lnTo>
                  <a:lnTo>
                    <a:pt x="798" y="552"/>
                  </a:lnTo>
                  <a:lnTo>
                    <a:pt x="798" y="480"/>
                  </a:lnTo>
                  <a:lnTo>
                    <a:pt x="780" y="468"/>
                  </a:lnTo>
                  <a:lnTo>
                    <a:pt x="780" y="462"/>
                  </a:lnTo>
                  <a:lnTo>
                    <a:pt x="774" y="450"/>
                  </a:lnTo>
                  <a:lnTo>
                    <a:pt x="762" y="444"/>
                  </a:lnTo>
                  <a:lnTo>
                    <a:pt x="762" y="438"/>
                  </a:lnTo>
                  <a:lnTo>
                    <a:pt x="768" y="432"/>
                  </a:lnTo>
                  <a:lnTo>
                    <a:pt x="774" y="426"/>
                  </a:lnTo>
                  <a:lnTo>
                    <a:pt x="780" y="426"/>
                  </a:lnTo>
                  <a:lnTo>
                    <a:pt x="780" y="414"/>
                  </a:lnTo>
                  <a:lnTo>
                    <a:pt x="834" y="414"/>
                  </a:lnTo>
                  <a:lnTo>
                    <a:pt x="834" y="426"/>
                  </a:lnTo>
                  <a:lnTo>
                    <a:pt x="840" y="432"/>
                  </a:lnTo>
                  <a:lnTo>
                    <a:pt x="846" y="432"/>
                  </a:lnTo>
                  <a:lnTo>
                    <a:pt x="852" y="432"/>
                  </a:lnTo>
                  <a:lnTo>
                    <a:pt x="858" y="432"/>
                  </a:lnTo>
                  <a:lnTo>
                    <a:pt x="870" y="432"/>
                  </a:lnTo>
                  <a:lnTo>
                    <a:pt x="870" y="426"/>
                  </a:lnTo>
                  <a:lnTo>
                    <a:pt x="870" y="420"/>
                  </a:lnTo>
                  <a:lnTo>
                    <a:pt x="876" y="420"/>
                  </a:lnTo>
                  <a:lnTo>
                    <a:pt x="882" y="420"/>
                  </a:lnTo>
                  <a:lnTo>
                    <a:pt x="894" y="414"/>
                  </a:lnTo>
                  <a:lnTo>
                    <a:pt x="900" y="414"/>
                  </a:lnTo>
                  <a:lnTo>
                    <a:pt x="906" y="408"/>
                  </a:lnTo>
                  <a:lnTo>
                    <a:pt x="918" y="408"/>
                  </a:lnTo>
                  <a:lnTo>
                    <a:pt x="924" y="402"/>
                  </a:lnTo>
                  <a:lnTo>
                    <a:pt x="930" y="384"/>
                  </a:lnTo>
                  <a:lnTo>
                    <a:pt x="948" y="396"/>
                  </a:lnTo>
                  <a:lnTo>
                    <a:pt x="954" y="384"/>
                  </a:lnTo>
                  <a:lnTo>
                    <a:pt x="960" y="384"/>
                  </a:lnTo>
                  <a:lnTo>
                    <a:pt x="972" y="384"/>
                  </a:lnTo>
                  <a:lnTo>
                    <a:pt x="978" y="378"/>
                  </a:lnTo>
                  <a:lnTo>
                    <a:pt x="972" y="366"/>
                  </a:lnTo>
                  <a:lnTo>
                    <a:pt x="966" y="342"/>
                  </a:lnTo>
                  <a:lnTo>
                    <a:pt x="960" y="330"/>
                  </a:lnTo>
                  <a:lnTo>
                    <a:pt x="942" y="324"/>
                  </a:lnTo>
                  <a:lnTo>
                    <a:pt x="936" y="318"/>
                  </a:lnTo>
                  <a:lnTo>
                    <a:pt x="936" y="294"/>
                  </a:lnTo>
                  <a:lnTo>
                    <a:pt x="942" y="294"/>
                  </a:lnTo>
                  <a:lnTo>
                    <a:pt x="942" y="288"/>
                  </a:lnTo>
                  <a:lnTo>
                    <a:pt x="954" y="288"/>
                  </a:lnTo>
                  <a:lnTo>
                    <a:pt x="954" y="282"/>
                  </a:lnTo>
                  <a:lnTo>
                    <a:pt x="954" y="276"/>
                  </a:lnTo>
                  <a:lnTo>
                    <a:pt x="960" y="276"/>
                  </a:lnTo>
                  <a:lnTo>
                    <a:pt x="966" y="276"/>
                  </a:lnTo>
                  <a:lnTo>
                    <a:pt x="960" y="258"/>
                  </a:lnTo>
                  <a:lnTo>
                    <a:pt x="954" y="240"/>
                  </a:lnTo>
                  <a:lnTo>
                    <a:pt x="948" y="204"/>
                  </a:lnTo>
                  <a:lnTo>
                    <a:pt x="954" y="204"/>
                  </a:lnTo>
                  <a:lnTo>
                    <a:pt x="960" y="198"/>
                  </a:lnTo>
                  <a:lnTo>
                    <a:pt x="930" y="192"/>
                  </a:lnTo>
                  <a:lnTo>
                    <a:pt x="930" y="186"/>
                  </a:lnTo>
                  <a:lnTo>
                    <a:pt x="900" y="186"/>
                  </a:lnTo>
                  <a:lnTo>
                    <a:pt x="876" y="180"/>
                  </a:lnTo>
                  <a:lnTo>
                    <a:pt x="858" y="180"/>
                  </a:lnTo>
                  <a:lnTo>
                    <a:pt x="852" y="168"/>
                  </a:lnTo>
                  <a:lnTo>
                    <a:pt x="834" y="156"/>
                  </a:lnTo>
                  <a:lnTo>
                    <a:pt x="822" y="156"/>
                  </a:lnTo>
                  <a:lnTo>
                    <a:pt x="804" y="156"/>
                  </a:lnTo>
                  <a:lnTo>
                    <a:pt x="804" y="150"/>
                  </a:lnTo>
                  <a:lnTo>
                    <a:pt x="792" y="144"/>
                  </a:lnTo>
                  <a:lnTo>
                    <a:pt x="762" y="138"/>
                  </a:lnTo>
                  <a:lnTo>
                    <a:pt x="768" y="120"/>
                  </a:lnTo>
                  <a:lnTo>
                    <a:pt x="756" y="120"/>
                  </a:lnTo>
                  <a:lnTo>
                    <a:pt x="744" y="108"/>
                  </a:lnTo>
                  <a:lnTo>
                    <a:pt x="744" y="96"/>
                  </a:lnTo>
                  <a:lnTo>
                    <a:pt x="762" y="84"/>
                  </a:lnTo>
                  <a:lnTo>
                    <a:pt x="768" y="84"/>
                  </a:lnTo>
                  <a:lnTo>
                    <a:pt x="768" y="72"/>
                  </a:lnTo>
                  <a:lnTo>
                    <a:pt x="780" y="66"/>
                  </a:lnTo>
                  <a:lnTo>
                    <a:pt x="798" y="54"/>
                  </a:lnTo>
                  <a:lnTo>
                    <a:pt x="792" y="54"/>
                  </a:lnTo>
                  <a:lnTo>
                    <a:pt x="798" y="36"/>
                  </a:lnTo>
                  <a:lnTo>
                    <a:pt x="804" y="36"/>
                  </a:lnTo>
                  <a:lnTo>
                    <a:pt x="816" y="30"/>
                  </a:lnTo>
                  <a:lnTo>
                    <a:pt x="828" y="30"/>
                  </a:lnTo>
                  <a:lnTo>
                    <a:pt x="846" y="12"/>
                  </a:lnTo>
                  <a:lnTo>
                    <a:pt x="876" y="0"/>
                  </a:lnTo>
                  <a:lnTo>
                    <a:pt x="882" y="6"/>
                  </a:lnTo>
                  <a:lnTo>
                    <a:pt x="900" y="6"/>
                  </a:lnTo>
                  <a:lnTo>
                    <a:pt x="912" y="36"/>
                  </a:lnTo>
                  <a:lnTo>
                    <a:pt x="918" y="42"/>
                  </a:lnTo>
                  <a:lnTo>
                    <a:pt x="924" y="54"/>
                  </a:lnTo>
                  <a:lnTo>
                    <a:pt x="930" y="54"/>
                  </a:lnTo>
                  <a:lnTo>
                    <a:pt x="930" y="78"/>
                  </a:lnTo>
                  <a:lnTo>
                    <a:pt x="954" y="72"/>
                  </a:lnTo>
                  <a:lnTo>
                    <a:pt x="954" y="60"/>
                  </a:lnTo>
                  <a:lnTo>
                    <a:pt x="966" y="66"/>
                  </a:lnTo>
                  <a:lnTo>
                    <a:pt x="966" y="78"/>
                  </a:lnTo>
                  <a:lnTo>
                    <a:pt x="960" y="84"/>
                  </a:lnTo>
                  <a:lnTo>
                    <a:pt x="954" y="102"/>
                  </a:lnTo>
                  <a:lnTo>
                    <a:pt x="972" y="102"/>
                  </a:lnTo>
                  <a:lnTo>
                    <a:pt x="978" y="84"/>
                  </a:lnTo>
                  <a:lnTo>
                    <a:pt x="984" y="72"/>
                  </a:lnTo>
                  <a:lnTo>
                    <a:pt x="990" y="72"/>
                  </a:lnTo>
                  <a:lnTo>
                    <a:pt x="996" y="18"/>
                  </a:lnTo>
                  <a:lnTo>
                    <a:pt x="990" y="12"/>
                  </a:lnTo>
                  <a:lnTo>
                    <a:pt x="1014" y="12"/>
                  </a:lnTo>
                  <a:lnTo>
                    <a:pt x="1026" y="12"/>
                  </a:lnTo>
                  <a:lnTo>
                    <a:pt x="1026" y="24"/>
                  </a:lnTo>
                  <a:lnTo>
                    <a:pt x="1050" y="24"/>
                  </a:lnTo>
                  <a:lnTo>
                    <a:pt x="1050" y="36"/>
                  </a:lnTo>
                  <a:lnTo>
                    <a:pt x="1062" y="66"/>
                  </a:lnTo>
                  <a:lnTo>
                    <a:pt x="1074" y="66"/>
                  </a:lnTo>
                  <a:lnTo>
                    <a:pt x="1080" y="60"/>
                  </a:lnTo>
                  <a:lnTo>
                    <a:pt x="1074" y="24"/>
                  </a:lnTo>
                  <a:lnTo>
                    <a:pt x="1086" y="18"/>
                  </a:lnTo>
                  <a:lnTo>
                    <a:pt x="1086" y="12"/>
                  </a:lnTo>
                  <a:lnTo>
                    <a:pt x="1104" y="6"/>
                  </a:lnTo>
                  <a:lnTo>
                    <a:pt x="1122" y="0"/>
                  </a:lnTo>
                  <a:lnTo>
                    <a:pt x="1134" y="6"/>
                  </a:lnTo>
                  <a:lnTo>
                    <a:pt x="1134" y="42"/>
                  </a:lnTo>
                  <a:lnTo>
                    <a:pt x="1140" y="72"/>
                  </a:lnTo>
                  <a:lnTo>
                    <a:pt x="1158" y="114"/>
                  </a:lnTo>
                  <a:lnTo>
                    <a:pt x="1170" y="114"/>
                  </a:lnTo>
                  <a:lnTo>
                    <a:pt x="1170" y="126"/>
                  </a:lnTo>
                  <a:lnTo>
                    <a:pt x="1182" y="126"/>
                  </a:lnTo>
                  <a:lnTo>
                    <a:pt x="1182" y="138"/>
                  </a:lnTo>
                  <a:lnTo>
                    <a:pt x="1194" y="144"/>
                  </a:lnTo>
                  <a:lnTo>
                    <a:pt x="1194" y="156"/>
                  </a:lnTo>
                  <a:lnTo>
                    <a:pt x="1188" y="156"/>
                  </a:lnTo>
                  <a:lnTo>
                    <a:pt x="1194" y="162"/>
                  </a:lnTo>
                  <a:lnTo>
                    <a:pt x="1194" y="168"/>
                  </a:lnTo>
                  <a:lnTo>
                    <a:pt x="1188" y="168"/>
                  </a:lnTo>
                  <a:lnTo>
                    <a:pt x="1188" y="174"/>
                  </a:lnTo>
                  <a:lnTo>
                    <a:pt x="1188" y="180"/>
                  </a:lnTo>
                  <a:lnTo>
                    <a:pt x="1182" y="180"/>
                  </a:lnTo>
                  <a:lnTo>
                    <a:pt x="1188" y="186"/>
                  </a:lnTo>
                  <a:lnTo>
                    <a:pt x="1188" y="192"/>
                  </a:lnTo>
                  <a:lnTo>
                    <a:pt x="1182" y="198"/>
                  </a:lnTo>
                  <a:lnTo>
                    <a:pt x="1182" y="204"/>
                  </a:lnTo>
                  <a:lnTo>
                    <a:pt x="1182" y="210"/>
                  </a:lnTo>
                  <a:lnTo>
                    <a:pt x="1188" y="210"/>
                  </a:lnTo>
                  <a:lnTo>
                    <a:pt x="1182" y="210"/>
                  </a:lnTo>
                  <a:lnTo>
                    <a:pt x="1182" y="216"/>
                  </a:lnTo>
                  <a:lnTo>
                    <a:pt x="1182" y="222"/>
                  </a:lnTo>
                  <a:lnTo>
                    <a:pt x="1194" y="264"/>
                  </a:lnTo>
                  <a:lnTo>
                    <a:pt x="1200" y="264"/>
                  </a:lnTo>
                  <a:lnTo>
                    <a:pt x="1212" y="264"/>
                  </a:lnTo>
                  <a:lnTo>
                    <a:pt x="1212" y="258"/>
                  </a:lnTo>
                  <a:lnTo>
                    <a:pt x="1224" y="258"/>
                  </a:lnTo>
                  <a:lnTo>
                    <a:pt x="1248" y="252"/>
                  </a:lnTo>
                  <a:lnTo>
                    <a:pt x="1248" y="264"/>
                  </a:lnTo>
                  <a:lnTo>
                    <a:pt x="1254" y="264"/>
                  </a:lnTo>
                  <a:lnTo>
                    <a:pt x="1254" y="270"/>
                  </a:lnTo>
                  <a:lnTo>
                    <a:pt x="1260" y="270"/>
                  </a:lnTo>
                  <a:lnTo>
                    <a:pt x="1266" y="270"/>
                  </a:lnTo>
                  <a:lnTo>
                    <a:pt x="1272" y="270"/>
                  </a:lnTo>
                  <a:lnTo>
                    <a:pt x="1272" y="264"/>
                  </a:lnTo>
                  <a:lnTo>
                    <a:pt x="1272" y="258"/>
                  </a:lnTo>
                  <a:lnTo>
                    <a:pt x="1278" y="258"/>
                  </a:lnTo>
                  <a:lnTo>
                    <a:pt x="1278" y="252"/>
                  </a:lnTo>
                  <a:lnTo>
                    <a:pt x="1290" y="252"/>
                  </a:lnTo>
                  <a:lnTo>
                    <a:pt x="1296" y="246"/>
                  </a:lnTo>
                  <a:lnTo>
                    <a:pt x="1308" y="246"/>
                  </a:lnTo>
                  <a:lnTo>
                    <a:pt x="1308" y="240"/>
                  </a:lnTo>
                  <a:lnTo>
                    <a:pt x="1320" y="240"/>
                  </a:lnTo>
                  <a:lnTo>
                    <a:pt x="1326" y="246"/>
                  </a:lnTo>
                  <a:lnTo>
                    <a:pt x="1338" y="246"/>
                  </a:lnTo>
                  <a:lnTo>
                    <a:pt x="1338" y="240"/>
                  </a:lnTo>
                  <a:lnTo>
                    <a:pt x="1350" y="240"/>
                  </a:lnTo>
                  <a:lnTo>
                    <a:pt x="1386" y="234"/>
                  </a:lnTo>
                  <a:lnTo>
                    <a:pt x="1398" y="228"/>
                  </a:lnTo>
                  <a:lnTo>
                    <a:pt x="1404" y="216"/>
                  </a:lnTo>
                  <a:lnTo>
                    <a:pt x="1416" y="204"/>
                  </a:lnTo>
                  <a:lnTo>
                    <a:pt x="1434" y="192"/>
                  </a:lnTo>
                  <a:lnTo>
                    <a:pt x="1446" y="198"/>
                  </a:lnTo>
                  <a:lnTo>
                    <a:pt x="1446" y="204"/>
                  </a:lnTo>
                  <a:lnTo>
                    <a:pt x="1452" y="210"/>
                  </a:lnTo>
                  <a:lnTo>
                    <a:pt x="1464" y="222"/>
                  </a:lnTo>
                  <a:lnTo>
                    <a:pt x="1464" y="228"/>
                  </a:lnTo>
                  <a:lnTo>
                    <a:pt x="1464" y="234"/>
                  </a:lnTo>
                  <a:lnTo>
                    <a:pt x="1470" y="240"/>
                  </a:lnTo>
                  <a:lnTo>
                    <a:pt x="1476" y="228"/>
                  </a:lnTo>
                  <a:lnTo>
                    <a:pt x="1476" y="222"/>
                  </a:lnTo>
                  <a:lnTo>
                    <a:pt x="1482" y="210"/>
                  </a:lnTo>
                  <a:lnTo>
                    <a:pt x="1488" y="192"/>
                  </a:lnTo>
                  <a:lnTo>
                    <a:pt x="1488" y="186"/>
                  </a:lnTo>
                  <a:lnTo>
                    <a:pt x="1488" y="180"/>
                  </a:lnTo>
                  <a:lnTo>
                    <a:pt x="1500" y="180"/>
                  </a:lnTo>
                  <a:lnTo>
                    <a:pt x="1500" y="174"/>
                  </a:lnTo>
                  <a:lnTo>
                    <a:pt x="1518" y="162"/>
                  </a:lnTo>
                  <a:lnTo>
                    <a:pt x="1536" y="150"/>
                  </a:lnTo>
                  <a:lnTo>
                    <a:pt x="1554" y="168"/>
                  </a:lnTo>
                  <a:lnTo>
                    <a:pt x="1572" y="180"/>
                  </a:lnTo>
                  <a:lnTo>
                    <a:pt x="1596" y="216"/>
                  </a:lnTo>
                  <a:lnTo>
                    <a:pt x="1602" y="216"/>
                  </a:lnTo>
                  <a:lnTo>
                    <a:pt x="1614" y="228"/>
                  </a:lnTo>
                  <a:lnTo>
                    <a:pt x="1614" y="234"/>
                  </a:lnTo>
                  <a:lnTo>
                    <a:pt x="1620" y="240"/>
                  </a:lnTo>
                  <a:lnTo>
                    <a:pt x="1620" y="246"/>
                  </a:lnTo>
                  <a:lnTo>
                    <a:pt x="1626" y="252"/>
                  </a:lnTo>
                  <a:lnTo>
                    <a:pt x="1632" y="258"/>
                  </a:lnTo>
                  <a:lnTo>
                    <a:pt x="1632" y="264"/>
                  </a:lnTo>
                  <a:lnTo>
                    <a:pt x="1638" y="264"/>
                  </a:lnTo>
                  <a:lnTo>
                    <a:pt x="1638" y="270"/>
                  </a:lnTo>
                  <a:lnTo>
                    <a:pt x="1638" y="276"/>
                  </a:lnTo>
                  <a:lnTo>
                    <a:pt x="1638" y="282"/>
                  </a:lnTo>
                  <a:lnTo>
                    <a:pt x="1644" y="288"/>
                  </a:lnTo>
                  <a:lnTo>
                    <a:pt x="1644" y="294"/>
                  </a:lnTo>
                  <a:lnTo>
                    <a:pt x="1644" y="300"/>
                  </a:lnTo>
                  <a:lnTo>
                    <a:pt x="1644" y="306"/>
                  </a:lnTo>
                  <a:lnTo>
                    <a:pt x="1650" y="306"/>
                  </a:lnTo>
                  <a:lnTo>
                    <a:pt x="1650" y="312"/>
                  </a:lnTo>
                  <a:lnTo>
                    <a:pt x="1650" y="318"/>
                  </a:lnTo>
                  <a:lnTo>
                    <a:pt x="1650" y="324"/>
                  </a:lnTo>
                  <a:lnTo>
                    <a:pt x="1644" y="330"/>
                  </a:lnTo>
                  <a:lnTo>
                    <a:pt x="1626" y="330"/>
                  </a:lnTo>
                  <a:lnTo>
                    <a:pt x="1626" y="336"/>
                  </a:lnTo>
                  <a:lnTo>
                    <a:pt x="1626" y="342"/>
                  </a:lnTo>
                  <a:lnTo>
                    <a:pt x="1626" y="348"/>
                  </a:lnTo>
                  <a:lnTo>
                    <a:pt x="1620" y="354"/>
                  </a:lnTo>
                  <a:lnTo>
                    <a:pt x="1614" y="354"/>
                  </a:lnTo>
                  <a:lnTo>
                    <a:pt x="1614" y="360"/>
                  </a:lnTo>
                  <a:lnTo>
                    <a:pt x="1614" y="372"/>
                  </a:lnTo>
                  <a:lnTo>
                    <a:pt x="1608" y="378"/>
                  </a:lnTo>
                  <a:lnTo>
                    <a:pt x="1608" y="384"/>
                  </a:lnTo>
                  <a:lnTo>
                    <a:pt x="1614" y="390"/>
                  </a:lnTo>
                  <a:lnTo>
                    <a:pt x="1614" y="396"/>
                  </a:lnTo>
                  <a:lnTo>
                    <a:pt x="1614" y="402"/>
                  </a:lnTo>
                  <a:lnTo>
                    <a:pt x="1614" y="408"/>
                  </a:lnTo>
                  <a:lnTo>
                    <a:pt x="1614" y="414"/>
                  </a:lnTo>
                  <a:lnTo>
                    <a:pt x="1602" y="420"/>
                  </a:lnTo>
                  <a:lnTo>
                    <a:pt x="1602" y="426"/>
                  </a:lnTo>
                  <a:lnTo>
                    <a:pt x="1608" y="432"/>
                  </a:lnTo>
                  <a:lnTo>
                    <a:pt x="1614" y="426"/>
                  </a:lnTo>
                  <a:lnTo>
                    <a:pt x="1620" y="438"/>
                  </a:lnTo>
                  <a:lnTo>
                    <a:pt x="1626" y="438"/>
                  </a:lnTo>
                  <a:lnTo>
                    <a:pt x="1632" y="444"/>
                  </a:lnTo>
                  <a:lnTo>
                    <a:pt x="1626" y="456"/>
                  </a:lnTo>
                  <a:lnTo>
                    <a:pt x="1626" y="468"/>
                  </a:lnTo>
                  <a:lnTo>
                    <a:pt x="1620" y="474"/>
                  </a:lnTo>
                  <a:lnTo>
                    <a:pt x="1614" y="474"/>
                  </a:lnTo>
                  <a:lnTo>
                    <a:pt x="1614" y="486"/>
                  </a:lnTo>
                  <a:lnTo>
                    <a:pt x="1614" y="492"/>
                  </a:lnTo>
                  <a:lnTo>
                    <a:pt x="1620" y="492"/>
                  </a:lnTo>
                  <a:lnTo>
                    <a:pt x="1626" y="498"/>
                  </a:lnTo>
                  <a:lnTo>
                    <a:pt x="1626" y="504"/>
                  </a:lnTo>
                  <a:lnTo>
                    <a:pt x="1626" y="510"/>
                  </a:lnTo>
                  <a:lnTo>
                    <a:pt x="1620" y="516"/>
                  </a:lnTo>
                  <a:lnTo>
                    <a:pt x="1620" y="522"/>
                  </a:lnTo>
                  <a:lnTo>
                    <a:pt x="1614" y="522"/>
                  </a:lnTo>
                  <a:lnTo>
                    <a:pt x="1608" y="528"/>
                  </a:lnTo>
                  <a:lnTo>
                    <a:pt x="1602" y="522"/>
                  </a:lnTo>
                  <a:lnTo>
                    <a:pt x="1602" y="528"/>
                  </a:lnTo>
                  <a:lnTo>
                    <a:pt x="1602" y="540"/>
                  </a:lnTo>
                  <a:lnTo>
                    <a:pt x="1602" y="558"/>
                  </a:lnTo>
                  <a:lnTo>
                    <a:pt x="1602" y="564"/>
                  </a:lnTo>
                  <a:lnTo>
                    <a:pt x="1602" y="570"/>
                  </a:lnTo>
                  <a:lnTo>
                    <a:pt x="1602" y="576"/>
                  </a:lnTo>
                  <a:lnTo>
                    <a:pt x="1596" y="576"/>
                  </a:lnTo>
                  <a:lnTo>
                    <a:pt x="1632" y="582"/>
                  </a:lnTo>
                  <a:lnTo>
                    <a:pt x="1644" y="618"/>
                  </a:lnTo>
                  <a:lnTo>
                    <a:pt x="1650" y="648"/>
                  </a:lnTo>
                  <a:lnTo>
                    <a:pt x="1662" y="636"/>
                  </a:lnTo>
                  <a:lnTo>
                    <a:pt x="1668" y="636"/>
                  </a:lnTo>
                  <a:lnTo>
                    <a:pt x="1674" y="636"/>
                  </a:lnTo>
                  <a:lnTo>
                    <a:pt x="1680" y="630"/>
                  </a:lnTo>
                  <a:lnTo>
                    <a:pt x="1686" y="630"/>
                  </a:lnTo>
                  <a:lnTo>
                    <a:pt x="1692" y="630"/>
                  </a:lnTo>
                  <a:lnTo>
                    <a:pt x="1698" y="630"/>
                  </a:lnTo>
                  <a:lnTo>
                    <a:pt x="1704" y="630"/>
                  </a:lnTo>
                  <a:lnTo>
                    <a:pt x="1704" y="624"/>
                  </a:lnTo>
                  <a:lnTo>
                    <a:pt x="1710" y="624"/>
                  </a:lnTo>
                  <a:lnTo>
                    <a:pt x="1716" y="624"/>
                  </a:lnTo>
                  <a:lnTo>
                    <a:pt x="1722" y="624"/>
                  </a:lnTo>
                  <a:lnTo>
                    <a:pt x="1728" y="624"/>
                  </a:lnTo>
                  <a:lnTo>
                    <a:pt x="1722" y="618"/>
                  </a:lnTo>
                  <a:lnTo>
                    <a:pt x="1728" y="606"/>
                  </a:lnTo>
                  <a:lnTo>
                    <a:pt x="1734" y="606"/>
                  </a:lnTo>
                  <a:lnTo>
                    <a:pt x="1740" y="600"/>
                  </a:lnTo>
                  <a:lnTo>
                    <a:pt x="1746" y="594"/>
                  </a:lnTo>
                  <a:lnTo>
                    <a:pt x="1752" y="588"/>
                  </a:lnTo>
                  <a:lnTo>
                    <a:pt x="1752" y="582"/>
                  </a:lnTo>
                  <a:lnTo>
                    <a:pt x="1758" y="576"/>
                  </a:lnTo>
                  <a:lnTo>
                    <a:pt x="1764" y="576"/>
                  </a:lnTo>
                  <a:lnTo>
                    <a:pt x="1770" y="570"/>
                  </a:lnTo>
                  <a:lnTo>
                    <a:pt x="1776" y="564"/>
                  </a:lnTo>
                  <a:lnTo>
                    <a:pt x="1788" y="558"/>
                  </a:lnTo>
                  <a:lnTo>
                    <a:pt x="1788" y="546"/>
                  </a:lnTo>
                  <a:lnTo>
                    <a:pt x="1788" y="540"/>
                  </a:lnTo>
                  <a:lnTo>
                    <a:pt x="1794" y="540"/>
                  </a:lnTo>
                  <a:lnTo>
                    <a:pt x="1788" y="534"/>
                  </a:lnTo>
                  <a:lnTo>
                    <a:pt x="1788" y="528"/>
                  </a:lnTo>
                  <a:lnTo>
                    <a:pt x="1794" y="516"/>
                  </a:lnTo>
                  <a:lnTo>
                    <a:pt x="1800" y="510"/>
                  </a:lnTo>
                  <a:lnTo>
                    <a:pt x="1812" y="510"/>
                  </a:lnTo>
                  <a:lnTo>
                    <a:pt x="1818" y="504"/>
                  </a:lnTo>
                  <a:lnTo>
                    <a:pt x="1824" y="504"/>
                  </a:lnTo>
                  <a:lnTo>
                    <a:pt x="1830" y="498"/>
                  </a:lnTo>
                  <a:lnTo>
                    <a:pt x="1836" y="498"/>
                  </a:lnTo>
                  <a:lnTo>
                    <a:pt x="1848" y="492"/>
                  </a:lnTo>
                  <a:lnTo>
                    <a:pt x="1848" y="480"/>
                  </a:lnTo>
                  <a:lnTo>
                    <a:pt x="1854" y="480"/>
                  </a:lnTo>
                  <a:lnTo>
                    <a:pt x="1890" y="504"/>
                  </a:lnTo>
                  <a:lnTo>
                    <a:pt x="1908" y="534"/>
                  </a:lnTo>
                  <a:lnTo>
                    <a:pt x="1902" y="534"/>
                  </a:lnTo>
                  <a:lnTo>
                    <a:pt x="1920" y="528"/>
                  </a:lnTo>
                  <a:lnTo>
                    <a:pt x="1920" y="516"/>
                  </a:lnTo>
                  <a:lnTo>
                    <a:pt x="1944" y="516"/>
                  </a:lnTo>
                  <a:lnTo>
                    <a:pt x="2004" y="516"/>
                  </a:lnTo>
                  <a:lnTo>
                    <a:pt x="2010" y="510"/>
                  </a:lnTo>
                  <a:lnTo>
                    <a:pt x="2004" y="510"/>
                  </a:lnTo>
                  <a:lnTo>
                    <a:pt x="2010" y="498"/>
                  </a:lnTo>
                  <a:lnTo>
                    <a:pt x="2004" y="486"/>
                  </a:lnTo>
                  <a:lnTo>
                    <a:pt x="2004" y="480"/>
                  </a:lnTo>
                  <a:lnTo>
                    <a:pt x="2004" y="474"/>
                  </a:lnTo>
                  <a:lnTo>
                    <a:pt x="2004" y="462"/>
                  </a:lnTo>
                  <a:lnTo>
                    <a:pt x="2004" y="456"/>
                  </a:lnTo>
                  <a:lnTo>
                    <a:pt x="2058" y="462"/>
                  </a:lnTo>
                  <a:lnTo>
                    <a:pt x="2076" y="474"/>
                  </a:lnTo>
                  <a:lnTo>
                    <a:pt x="2082" y="522"/>
                  </a:lnTo>
                  <a:lnTo>
                    <a:pt x="2088" y="516"/>
                  </a:lnTo>
                  <a:lnTo>
                    <a:pt x="2094" y="522"/>
                  </a:lnTo>
                  <a:lnTo>
                    <a:pt x="2100" y="528"/>
                  </a:lnTo>
                  <a:lnTo>
                    <a:pt x="2130" y="540"/>
                  </a:lnTo>
                  <a:lnTo>
                    <a:pt x="2160" y="564"/>
                  </a:lnTo>
                  <a:lnTo>
                    <a:pt x="2166" y="600"/>
                  </a:lnTo>
                  <a:lnTo>
                    <a:pt x="2160" y="618"/>
                  </a:lnTo>
                  <a:lnTo>
                    <a:pt x="2142" y="636"/>
                  </a:lnTo>
                  <a:lnTo>
                    <a:pt x="2148" y="648"/>
                  </a:lnTo>
                  <a:lnTo>
                    <a:pt x="2154" y="660"/>
                  </a:lnTo>
                  <a:lnTo>
                    <a:pt x="2196" y="654"/>
                  </a:lnTo>
                  <a:lnTo>
                    <a:pt x="2214" y="660"/>
                  </a:lnTo>
                  <a:lnTo>
                    <a:pt x="2214" y="666"/>
                  </a:lnTo>
                  <a:lnTo>
                    <a:pt x="2220" y="672"/>
                  </a:lnTo>
                  <a:lnTo>
                    <a:pt x="2214" y="678"/>
                  </a:lnTo>
                  <a:lnTo>
                    <a:pt x="2214" y="684"/>
                  </a:lnTo>
                  <a:lnTo>
                    <a:pt x="2214" y="690"/>
                  </a:lnTo>
                  <a:lnTo>
                    <a:pt x="2208" y="690"/>
                  </a:lnTo>
                  <a:lnTo>
                    <a:pt x="2202" y="696"/>
                  </a:lnTo>
                  <a:lnTo>
                    <a:pt x="2196" y="702"/>
                  </a:lnTo>
                  <a:lnTo>
                    <a:pt x="2190" y="708"/>
                  </a:lnTo>
                  <a:lnTo>
                    <a:pt x="2190" y="720"/>
                  </a:lnTo>
                  <a:lnTo>
                    <a:pt x="2184" y="720"/>
                  </a:lnTo>
                  <a:lnTo>
                    <a:pt x="2178" y="726"/>
                  </a:lnTo>
                  <a:lnTo>
                    <a:pt x="2166" y="732"/>
                  </a:lnTo>
                  <a:lnTo>
                    <a:pt x="2160" y="744"/>
                  </a:lnTo>
                  <a:lnTo>
                    <a:pt x="2154" y="756"/>
                  </a:lnTo>
                  <a:lnTo>
                    <a:pt x="2148" y="762"/>
                  </a:lnTo>
                  <a:lnTo>
                    <a:pt x="2124" y="762"/>
                  </a:lnTo>
                  <a:lnTo>
                    <a:pt x="2124" y="768"/>
                  </a:lnTo>
                  <a:lnTo>
                    <a:pt x="2118" y="768"/>
                  </a:lnTo>
                  <a:lnTo>
                    <a:pt x="2124" y="774"/>
                  </a:lnTo>
                  <a:lnTo>
                    <a:pt x="2118" y="774"/>
                  </a:lnTo>
                  <a:lnTo>
                    <a:pt x="2112" y="774"/>
                  </a:lnTo>
                  <a:lnTo>
                    <a:pt x="2106" y="780"/>
                  </a:lnTo>
                  <a:lnTo>
                    <a:pt x="2112" y="786"/>
                  </a:lnTo>
                  <a:lnTo>
                    <a:pt x="2106" y="792"/>
                  </a:lnTo>
                  <a:lnTo>
                    <a:pt x="2106" y="798"/>
                  </a:lnTo>
                  <a:lnTo>
                    <a:pt x="2106" y="810"/>
                  </a:lnTo>
                  <a:lnTo>
                    <a:pt x="2112" y="828"/>
                  </a:lnTo>
                  <a:lnTo>
                    <a:pt x="2112" y="834"/>
                  </a:lnTo>
                  <a:lnTo>
                    <a:pt x="2112" y="840"/>
                  </a:lnTo>
                  <a:lnTo>
                    <a:pt x="2112" y="834"/>
                  </a:lnTo>
                  <a:lnTo>
                    <a:pt x="2124" y="834"/>
                  </a:lnTo>
                  <a:lnTo>
                    <a:pt x="2130" y="834"/>
                  </a:lnTo>
                  <a:lnTo>
                    <a:pt x="2136" y="840"/>
                  </a:lnTo>
                  <a:lnTo>
                    <a:pt x="2142" y="840"/>
                  </a:lnTo>
                  <a:lnTo>
                    <a:pt x="2154" y="852"/>
                  </a:lnTo>
                  <a:lnTo>
                    <a:pt x="2160" y="852"/>
                  </a:lnTo>
                  <a:lnTo>
                    <a:pt x="2172" y="846"/>
                  </a:lnTo>
                  <a:lnTo>
                    <a:pt x="2178" y="846"/>
                  </a:lnTo>
                  <a:lnTo>
                    <a:pt x="2184" y="846"/>
                  </a:lnTo>
                  <a:lnTo>
                    <a:pt x="2190" y="846"/>
                  </a:lnTo>
                  <a:lnTo>
                    <a:pt x="2196" y="852"/>
                  </a:lnTo>
                  <a:lnTo>
                    <a:pt x="2196" y="858"/>
                  </a:lnTo>
                  <a:lnTo>
                    <a:pt x="2202" y="852"/>
                  </a:lnTo>
                  <a:lnTo>
                    <a:pt x="2208" y="846"/>
                  </a:lnTo>
                  <a:lnTo>
                    <a:pt x="2214" y="846"/>
                  </a:lnTo>
                  <a:lnTo>
                    <a:pt x="2226" y="846"/>
                  </a:lnTo>
                  <a:lnTo>
                    <a:pt x="2232" y="852"/>
                  </a:lnTo>
                  <a:lnTo>
                    <a:pt x="2238" y="852"/>
                  </a:lnTo>
                  <a:lnTo>
                    <a:pt x="2244" y="858"/>
                  </a:lnTo>
                  <a:lnTo>
                    <a:pt x="2250" y="858"/>
                  </a:lnTo>
                  <a:lnTo>
                    <a:pt x="2256" y="858"/>
                  </a:lnTo>
                  <a:lnTo>
                    <a:pt x="2262" y="858"/>
                  </a:lnTo>
                  <a:lnTo>
                    <a:pt x="2268" y="852"/>
                  </a:lnTo>
                  <a:lnTo>
                    <a:pt x="2274" y="852"/>
                  </a:lnTo>
                  <a:lnTo>
                    <a:pt x="2280" y="852"/>
                  </a:lnTo>
                  <a:lnTo>
                    <a:pt x="2286" y="852"/>
                  </a:lnTo>
                  <a:lnTo>
                    <a:pt x="2298" y="858"/>
                  </a:lnTo>
                  <a:lnTo>
                    <a:pt x="2304" y="858"/>
                  </a:lnTo>
                  <a:lnTo>
                    <a:pt x="2310" y="858"/>
                  </a:lnTo>
                  <a:lnTo>
                    <a:pt x="2316" y="852"/>
                  </a:lnTo>
                  <a:lnTo>
                    <a:pt x="2322" y="858"/>
                  </a:lnTo>
                  <a:lnTo>
                    <a:pt x="2328" y="858"/>
                  </a:lnTo>
                  <a:lnTo>
                    <a:pt x="2328" y="852"/>
                  </a:lnTo>
                  <a:lnTo>
                    <a:pt x="2364" y="858"/>
                  </a:lnTo>
                  <a:lnTo>
                    <a:pt x="2376" y="876"/>
                  </a:lnTo>
                  <a:lnTo>
                    <a:pt x="2382" y="936"/>
                  </a:lnTo>
                  <a:lnTo>
                    <a:pt x="2388" y="966"/>
                  </a:lnTo>
                  <a:lnTo>
                    <a:pt x="2382" y="972"/>
                  </a:lnTo>
                  <a:lnTo>
                    <a:pt x="2382" y="978"/>
                  </a:lnTo>
                  <a:lnTo>
                    <a:pt x="2382" y="984"/>
                  </a:lnTo>
                  <a:lnTo>
                    <a:pt x="2388" y="990"/>
                  </a:lnTo>
                  <a:lnTo>
                    <a:pt x="2382" y="990"/>
                  </a:lnTo>
                  <a:lnTo>
                    <a:pt x="2382" y="996"/>
                  </a:lnTo>
                  <a:lnTo>
                    <a:pt x="2376" y="996"/>
                  </a:lnTo>
                  <a:lnTo>
                    <a:pt x="2376" y="1020"/>
                  </a:lnTo>
                  <a:lnTo>
                    <a:pt x="2370" y="1032"/>
                  </a:lnTo>
                  <a:lnTo>
                    <a:pt x="2352" y="1032"/>
                  </a:lnTo>
                  <a:lnTo>
                    <a:pt x="2346" y="1020"/>
                  </a:lnTo>
                  <a:lnTo>
                    <a:pt x="2328" y="1032"/>
                  </a:lnTo>
                  <a:lnTo>
                    <a:pt x="2316" y="1038"/>
                  </a:lnTo>
                  <a:lnTo>
                    <a:pt x="2328" y="1044"/>
                  </a:lnTo>
                  <a:lnTo>
                    <a:pt x="2340" y="1056"/>
                  </a:lnTo>
                  <a:lnTo>
                    <a:pt x="2376" y="1062"/>
                  </a:lnTo>
                  <a:lnTo>
                    <a:pt x="2376" y="1068"/>
                  </a:lnTo>
                  <a:lnTo>
                    <a:pt x="2382" y="1086"/>
                  </a:lnTo>
                  <a:lnTo>
                    <a:pt x="2376" y="1086"/>
                  </a:lnTo>
                  <a:lnTo>
                    <a:pt x="2370" y="1086"/>
                  </a:lnTo>
                  <a:lnTo>
                    <a:pt x="2364" y="1086"/>
                  </a:lnTo>
                  <a:lnTo>
                    <a:pt x="2364" y="1098"/>
                  </a:lnTo>
                  <a:lnTo>
                    <a:pt x="2388" y="1104"/>
                  </a:lnTo>
                  <a:lnTo>
                    <a:pt x="2400" y="1122"/>
                  </a:lnTo>
                  <a:lnTo>
                    <a:pt x="2400" y="1134"/>
                  </a:lnTo>
                  <a:lnTo>
                    <a:pt x="2400" y="1146"/>
                  </a:lnTo>
                  <a:lnTo>
                    <a:pt x="2394" y="1146"/>
                  </a:lnTo>
                  <a:lnTo>
                    <a:pt x="2394" y="1152"/>
                  </a:lnTo>
                  <a:lnTo>
                    <a:pt x="2388" y="1152"/>
                  </a:lnTo>
                  <a:lnTo>
                    <a:pt x="2388" y="1146"/>
                  </a:lnTo>
                  <a:lnTo>
                    <a:pt x="2382" y="1152"/>
                  </a:lnTo>
                  <a:lnTo>
                    <a:pt x="2376" y="1152"/>
                  </a:lnTo>
                  <a:lnTo>
                    <a:pt x="2370" y="1158"/>
                  </a:lnTo>
                  <a:lnTo>
                    <a:pt x="2370" y="1164"/>
                  </a:lnTo>
                  <a:lnTo>
                    <a:pt x="2364" y="1170"/>
                  </a:lnTo>
                  <a:lnTo>
                    <a:pt x="2370" y="1170"/>
                  </a:lnTo>
                  <a:lnTo>
                    <a:pt x="2376" y="1170"/>
                  </a:lnTo>
                  <a:lnTo>
                    <a:pt x="2370" y="1176"/>
                  </a:lnTo>
                  <a:lnTo>
                    <a:pt x="2364" y="1176"/>
                  </a:lnTo>
                  <a:lnTo>
                    <a:pt x="2358" y="1182"/>
                  </a:lnTo>
                  <a:lnTo>
                    <a:pt x="2352" y="1182"/>
                  </a:lnTo>
                  <a:lnTo>
                    <a:pt x="2346" y="1188"/>
                  </a:lnTo>
                  <a:lnTo>
                    <a:pt x="2340" y="1182"/>
                  </a:lnTo>
                  <a:lnTo>
                    <a:pt x="2334" y="1182"/>
                  </a:lnTo>
                  <a:lnTo>
                    <a:pt x="2334" y="1188"/>
                  </a:lnTo>
                  <a:lnTo>
                    <a:pt x="2328" y="1194"/>
                  </a:lnTo>
                  <a:lnTo>
                    <a:pt x="2328" y="1200"/>
                  </a:lnTo>
                  <a:lnTo>
                    <a:pt x="2322" y="1224"/>
                  </a:lnTo>
                  <a:lnTo>
                    <a:pt x="2328" y="1230"/>
                  </a:lnTo>
                  <a:lnTo>
                    <a:pt x="2358" y="1230"/>
                  </a:lnTo>
                  <a:lnTo>
                    <a:pt x="2358" y="1242"/>
                  </a:lnTo>
                  <a:lnTo>
                    <a:pt x="2358" y="1254"/>
                  </a:lnTo>
                  <a:lnTo>
                    <a:pt x="2346" y="1254"/>
                  </a:lnTo>
                  <a:lnTo>
                    <a:pt x="2346" y="1278"/>
                  </a:lnTo>
                  <a:lnTo>
                    <a:pt x="2358" y="1278"/>
                  </a:lnTo>
                  <a:lnTo>
                    <a:pt x="2358" y="1284"/>
                  </a:lnTo>
                  <a:lnTo>
                    <a:pt x="2376" y="1284"/>
                  </a:lnTo>
                  <a:lnTo>
                    <a:pt x="2388" y="1278"/>
                  </a:lnTo>
                  <a:lnTo>
                    <a:pt x="2406" y="1278"/>
                  </a:lnTo>
                  <a:lnTo>
                    <a:pt x="2430" y="1284"/>
                  </a:lnTo>
                  <a:lnTo>
                    <a:pt x="2430" y="1302"/>
                  </a:lnTo>
                  <a:lnTo>
                    <a:pt x="2430" y="1314"/>
                  </a:lnTo>
                  <a:lnTo>
                    <a:pt x="2424" y="1326"/>
                  </a:lnTo>
                  <a:lnTo>
                    <a:pt x="2412" y="1326"/>
                  </a:lnTo>
                  <a:lnTo>
                    <a:pt x="2412" y="1344"/>
                  </a:lnTo>
                  <a:lnTo>
                    <a:pt x="2406" y="1344"/>
                  </a:lnTo>
                  <a:lnTo>
                    <a:pt x="2400" y="1362"/>
                  </a:lnTo>
                  <a:lnTo>
                    <a:pt x="2394" y="1368"/>
                  </a:lnTo>
                  <a:lnTo>
                    <a:pt x="2388" y="1374"/>
                  </a:lnTo>
                  <a:lnTo>
                    <a:pt x="2382" y="1380"/>
                  </a:lnTo>
                  <a:lnTo>
                    <a:pt x="2376" y="1386"/>
                  </a:lnTo>
                  <a:lnTo>
                    <a:pt x="2376" y="1392"/>
                  </a:lnTo>
                  <a:lnTo>
                    <a:pt x="2370" y="1404"/>
                  </a:lnTo>
                  <a:lnTo>
                    <a:pt x="2364" y="1416"/>
                  </a:lnTo>
                  <a:lnTo>
                    <a:pt x="2346" y="1434"/>
                  </a:lnTo>
                  <a:lnTo>
                    <a:pt x="2328" y="1440"/>
                  </a:lnTo>
                  <a:lnTo>
                    <a:pt x="2328" y="1446"/>
                  </a:lnTo>
                  <a:lnTo>
                    <a:pt x="2322" y="1452"/>
                  </a:lnTo>
                  <a:lnTo>
                    <a:pt x="2316" y="1452"/>
                  </a:lnTo>
                  <a:lnTo>
                    <a:pt x="2304" y="1446"/>
                  </a:lnTo>
                  <a:lnTo>
                    <a:pt x="2298" y="1446"/>
                  </a:lnTo>
                  <a:lnTo>
                    <a:pt x="2298" y="1434"/>
                  </a:lnTo>
                  <a:lnTo>
                    <a:pt x="2292" y="1434"/>
                  </a:lnTo>
                  <a:lnTo>
                    <a:pt x="2286" y="1428"/>
                  </a:lnTo>
                  <a:lnTo>
                    <a:pt x="2274" y="1416"/>
                  </a:lnTo>
                  <a:lnTo>
                    <a:pt x="2256" y="1404"/>
                  </a:lnTo>
                  <a:lnTo>
                    <a:pt x="2244" y="1386"/>
                  </a:lnTo>
                  <a:lnTo>
                    <a:pt x="2220" y="1368"/>
                  </a:lnTo>
                  <a:lnTo>
                    <a:pt x="2208" y="1362"/>
                  </a:lnTo>
                  <a:lnTo>
                    <a:pt x="2202" y="1350"/>
                  </a:lnTo>
                  <a:lnTo>
                    <a:pt x="2196" y="1350"/>
                  </a:lnTo>
                  <a:lnTo>
                    <a:pt x="2190" y="1356"/>
                  </a:lnTo>
                  <a:lnTo>
                    <a:pt x="2184" y="1356"/>
                  </a:lnTo>
                  <a:lnTo>
                    <a:pt x="2094" y="1350"/>
                  </a:lnTo>
                  <a:lnTo>
                    <a:pt x="2058" y="1350"/>
                  </a:lnTo>
                  <a:lnTo>
                    <a:pt x="2034" y="1890"/>
                  </a:lnTo>
                  <a:lnTo>
                    <a:pt x="2064" y="1890"/>
                  </a:lnTo>
                  <a:lnTo>
                    <a:pt x="2070" y="1896"/>
                  </a:lnTo>
                  <a:lnTo>
                    <a:pt x="2076" y="1896"/>
                  </a:lnTo>
                  <a:close/>
                </a:path>
              </a:pathLst>
            </a:custGeom>
            <a:solidFill>
              <a:srgbClr val="FFC000"/>
            </a:solidFill>
            <a:ln w="9525">
              <a:solidFill>
                <a:schemeClr val="bg1"/>
              </a:solidFill>
              <a:round/>
              <a:headEnd/>
              <a:tailEnd/>
            </a:ln>
          </p:spPr>
          <p:txBody>
            <a:bodyPr/>
            <a:lstStyle/>
            <a:p>
              <a:endParaRPr lang="en-GB"/>
            </a:p>
          </p:txBody>
        </p:sp>
        <p:sp>
          <p:nvSpPr>
            <p:cNvPr id="19509" name="Freeform 34"/>
            <p:cNvSpPr>
              <a:spLocks/>
            </p:cNvSpPr>
            <p:nvPr/>
          </p:nvSpPr>
          <p:spPr bwMode="gray">
            <a:xfrm>
              <a:off x="2154687" y="1221280"/>
              <a:ext cx="1330306" cy="1178895"/>
            </a:xfrm>
            <a:custGeom>
              <a:avLst/>
              <a:gdLst>
                <a:gd name="T0" fmla="*/ 112034 w 1698"/>
                <a:gd name="T1" fmla="*/ 34626 h 1464"/>
                <a:gd name="T2" fmla="*/ 102633 w 1698"/>
                <a:gd name="T3" fmla="*/ 35431 h 1464"/>
                <a:gd name="T4" fmla="*/ 98715 w 1698"/>
                <a:gd name="T5" fmla="*/ 33016 h 1464"/>
                <a:gd name="T6" fmla="*/ 93231 w 1698"/>
                <a:gd name="T7" fmla="*/ 36237 h 1464"/>
                <a:gd name="T8" fmla="*/ 86963 w 1698"/>
                <a:gd name="T9" fmla="*/ 37042 h 1464"/>
                <a:gd name="T10" fmla="*/ 83830 w 1698"/>
                <a:gd name="T11" fmla="*/ 40263 h 1464"/>
                <a:gd name="T12" fmla="*/ 83830 w 1698"/>
                <a:gd name="T13" fmla="*/ 48315 h 1464"/>
                <a:gd name="T14" fmla="*/ 81479 w 1698"/>
                <a:gd name="T15" fmla="*/ 49926 h 1464"/>
                <a:gd name="T16" fmla="*/ 75995 w 1698"/>
                <a:gd name="T17" fmla="*/ 47510 h 1464"/>
                <a:gd name="T18" fmla="*/ 72078 w 1698"/>
                <a:gd name="T19" fmla="*/ 47510 h 1464"/>
                <a:gd name="T20" fmla="*/ 70511 w 1698"/>
                <a:gd name="T21" fmla="*/ 49926 h 1464"/>
                <a:gd name="T22" fmla="*/ 72861 w 1698"/>
                <a:gd name="T23" fmla="*/ 62005 h 1464"/>
                <a:gd name="T24" fmla="*/ 66594 w 1698"/>
                <a:gd name="T25" fmla="*/ 70863 h 1464"/>
                <a:gd name="T26" fmla="*/ 54842 w 1698"/>
                <a:gd name="T27" fmla="*/ 71668 h 1464"/>
                <a:gd name="T28" fmla="*/ 50925 w 1698"/>
                <a:gd name="T29" fmla="*/ 70863 h 1464"/>
                <a:gd name="T30" fmla="*/ 39173 w 1698"/>
                <a:gd name="T31" fmla="*/ 70863 h 1464"/>
                <a:gd name="T32" fmla="*/ 37606 w 1698"/>
                <a:gd name="T33" fmla="*/ 86162 h 1464"/>
                <a:gd name="T34" fmla="*/ 36822 w 1698"/>
                <a:gd name="T35" fmla="*/ 96631 h 1464"/>
                <a:gd name="T36" fmla="*/ 33689 w 1698"/>
                <a:gd name="T37" fmla="*/ 97436 h 1464"/>
                <a:gd name="T38" fmla="*/ 31338 w 1698"/>
                <a:gd name="T39" fmla="*/ 96631 h 1464"/>
                <a:gd name="T40" fmla="*/ 27421 w 1698"/>
                <a:gd name="T41" fmla="*/ 98241 h 1464"/>
                <a:gd name="T42" fmla="*/ 22720 w 1698"/>
                <a:gd name="T43" fmla="*/ 99046 h 1464"/>
                <a:gd name="T44" fmla="*/ 18803 w 1698"/>
                <a:gd name="T45" fmla="*/ 100657 h 1464"/>
                <a:gd name="T46" fmla="*/ 15669 w 1698"/>
                <a:gd name="T47" fmla="*/ 100657 h 1464"/>
                <a:gd name="T48" fmla="*/ 14102 w 1698"/>
                <a:gd name="T49" fmla="*/ 98241 h 1464"/>
                <a:gd name="T50" fmla="*/ 20370 w 1698"/>
                <a:gd name="T51" fmla="*/ 86968 h 1464"/>
                <a:gd name="T52" fmla="*/ 18803 w 1698"/>
                <a:gd name="T53" fmla="*/ 71668 h 1464"/>
                <a:gd name="T54" fmla="*/ 21937 w 1698"/>
                <a:gd name="T55" fmla="*/ 68447 h 1464"/>
                <a:gd name="T56" fmla="*/ 25071 w 1698"/>
                <a:gd name="T57" fmla="*/ 64420 h 1464"/>
                <a:gd name="T58" fmla="*/ 28204 w 1698"/>
                <a:gd name="T59" fmla="*/ 69252 h 1464"/>
                <a:gd name="T60" fmla="*/ 30555 w 1698"/>
                <a:gd name="T61" fmla="*/ 64420 h 1464"/>
                <a:gd name="T62" fmla="*/ 32122 w 1698"/>
                <a:gd name="T63" fmla="*/ 58784 h 1464"/>
                <a:gd name="T64" fmla="*/ 29771 w 1698"/>
                <a:gd name="T65" fmla="*/ 51536 h 1464"/>
                <a:gd name="T66" fmla="*/ 30555 w 1698"/>
                <a:gd name="T67" fmla="*/ 47510 h 1464"/>
                <a:gd name="T68" fmla="*/ 25071 w 1698"/>
                <a:gd name="T69" fmla="*/ 43484 h 1464"/>
                <a:gd name="T70" fmla="*/ 25071 w 1698"/>
                <a:gd name="T71" fmla="*/ 36237 h 1464"/>
                <a:gd name="T72" fmla="*/ 24287 w 1698"/>
                <a:gd name="T73" fmla="*/ 33016 h 1464"/>
                <a:gd name="T74" fmla="*/ 18803 w 1698"/>
                <a:gd name="T75" fmla="*/ 34626 h 1464"/>
                <a:gd name="T76" fmla="*/ 13319 w 1698"/>
                <a:gd name="T77" fmla="*/ 32210 h 1464"/>
                <a:gd name="T78" fmla="*/ 8618 w 1698"/>
                <a:gd name="T79" fmla="*/ 30600 h 1464"/>
                <a:gd name="T80" fmla="*/ 1567 w 1698"/>
                <a:gd name="T81" fmla="*/ 28989 h 1464"/>
                <a:gd name="T82" fmla="*/ 0 w 1698"/>
                <a:gd name="T83" fmla="*/ 19326 h 1464"/>
                <a:gd name="T84" fmla="*/ 8618 w 1698"/>
                <a:gd name="T85" fmla="*/ 14495 h 1464"/>
                <a:gd name="T86" fmla="*/ 14886 w 1698"/>
                <a:gd name="T87" fmla="*/ 8053 h 1464"/>
                <a:gd name="T88" fmla="*/ 21937 w 1698"/>
                <a:gd name="T89" fmla="*/ 7247 h 1464"/>
                <a:gd name="T90" fmla="*/ 31338 w 1698"/>
                <a:gd name="T91" fmla="*/ 4832 h 1464"/>
                <a:gd name="T92" fmla="*/ 38389 w 1698"/>
                <a:gd name="T93" fmla="*/ 6442 h 1464"/>
                <a:gd name="T94" fmla="*/ 43873 w 1698"/>
                <a:gd name="T95" fmla="*/ 6442 h 1464"/>
                <a:gd name="T96" fmla="*/ 50141 w 1698"/>
                <a:gd name="T97" fmla="*/ 5637 h 1464"/>
                <a:gd name="T98" fmla="*/ 57976 w 1698"/>
                <a:gd name="T99" fmla="*/ 805 h 1464"/>
                <a:gd name="T100" fmla="*/ 65027 w 1698"/>
                <a:gd name="T101" fmla="*/ 2416 h 1464"/>
                <a:gd name="T102" fmla="*/ 77562 w 1698"/>
                <a:gd name="T103" fmla="*/ 7247 h 1464"/>
                <a:gd name="T104" fmla="*/ 87747 w 1698"/>
                <a:gd name="T105" fmla="*/ 11274 h 1464"/>
                <a:gd name="T106" fmla="*/ 93231 w 1698"/>
                <a:gd name="T107" fmla="*/ 9663 h 1464"/>
                <a:gd name="T108" fmla="*/ 100282 w 1698"/>
                <a:gd name="T109" fmla="*/ 13689 h 1464"/>
                <a:gd name="T110" fmla="*/ 110467 w 1698"/>
                <a:gd name="T111" fmla="*/ 23352 h 1464"/>
                <a:gd name="T112" fmla="*/ 113601 w 1698"/>
                <a:gd name="T113" fmla="*/ 28184 h 14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98"/>
                <a:gd name="T172" fmla="*/ 0 h 1464"/>
                <a:gd name="T173" fmla="*/ 1698 w 1698"/>
                <a:gd name="T174" fmla="*/ 1464 h 14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98" h="1464">
                  <a:moveTo>
                    <a:pt x="1698" y="462"/>
                  </a:moveTo>
                  <a:lnTo>
                    <a:pt x="1686" y="468"/>
                  </a:lnTo>
                  <a:lnTo>
                    <a:pt x="1680" y="474"/>
                  </a:lnTo>
                  <a:lnTo>
                    <a:pt x="1674" y="480"/>
                  </a:lnTo>
                  <a:lnTo>
                    <a:pt x="1668" y="480"/>
                  </a:lnTo>
                  <a:lnTo>
                    <a:pt x="1662" y="486"/>
                  </a:lnTo>
                  <a:lnTo>
                    <a:pt x="1656" y="492"/>
                  </a:lnTo>
                  <a:lnTo>
                    <a:pt x="1644" y="498"/>
                  </a:lnTo>
                  <a:lnTo>
                    <a:pt x="1626" y="504"/>
                  </a:lnTo>
                  <a:lnTo>
                    <a:pt x="1614" y="510"/>
                  </a:lnTo>
                  <a:lnTo>
                    <a:pt x="1602" y="516"/>
                  </a:lnTo>
                  <a:lnTo>
                    <a:pt x="1590" y="516"/>
                  </a:lnTo>
                  <a:lnTo>
                    <a:pt x="1590" y="522"/>
                  </a:lnTo>
                  <a:lnTo>
                    <a:pt x="1566" y="522"/>
                  </a:lnTo>
                  <a:lnTo>
                    <a:pt x="1506" y="510"/>
                  </a:lnTo>
                  <a:lnTo>
                    <a:pt x="1500" y="510"/>
                  </a:lnTo>
                  <a:lnTo>
                    <a:pt x="1488" y="504"/>
                  </a:lnTo>
                  <a:lnTo>
                    <a:pt x="1482" y="498"/>
                  </a:lnTo>
                  <a:lnTo>
                    <a:pt x="1476" y="498"/>
                  </a:lnTo>
                  <a:lnTo>
                    <a:pt x="1476" y="492"/>
                  </a:lnTo>
                  <a:lnTo>
                    <a:pt x="1470" y="492"/>
                  </a:lnTo>
                  <a:lnTo>
                    <a:pt x="1464" y="486"/>
                  </a:lnTo>
                  <a:lnTo>
                    <a:pt x="1452" y="486"/>
                  </a:lnTo>
                  <a:lnTo>
                    <a:pt x="1446" y="474"/>
                  </a:lnTo>
                  <a:lnTo>
                    <a:pt x="1434" y="468"/>
                  </a:lnTo>
                  <a:lnTo>
                    <a:pt x="1416" y="468"/>
                  </a:lnTo>
                  <a:lnTo>
                    <a:pt x="1392" y="468"/>
                  </a:lnTo>
                  <a:lnTo>
                    <a:pt x="1374" y="474"/>
                  </a:lnTo>
                  <a:lnTo>
                    <a:pt x="1368" y="474"/>
                  </a:lnTo>
                  <a:lnTo>
                    <a:pt x="1368" y="486"/>
                  </a:lnTo>
                  <a:lnTo>
                    <a:pt x="1368" y="498"/>
                  </a:lnTo>
                  <a:lnTo>
                    <a:pt x="1368" y="522"/>
                  </a:lnTo>
                  <a:lnTo>
                    <a:pt x="1368" y="534"/>
                  </a:lnTo>
                  <a:lnTo>
                    <a:pt x="1362" y="546"/>
                  </a:lnTo>
                  <a:lnTo>
                    <a:pt x="1356" y="546"/>
                  </a:lnTo>
                  <a:lnTo>
                    <a:pt x="1344" y="540"/>
                  </a:lnTo>
                  <a:lnTo>
                    <a:pt x="1338" y="534"/>
                  </a:lnTo>
                  <a:lnTo>
                    <a:pt x="1308" y="522"/>
                  </a:lnTo>
                  <a:lnTo>
                    <a:pt x="1296" y="522"/>
                  </a:lnTo>
                  <a:lnTo>
                    <a:pt x="1278" y="528"/>
                  </a:lnTo>
                  <a:lnTo>
                    <a:pt x="1260" y="534"/>
                  </a:lnTo>
                  <a:lnTo>
                    <a:pt x="1242" y="546"/>
                  </a:lnTo>
                  <a:lnTo>
                    <a:pt x="1236" y="552"/>
                  </a:lnTo>
                  <a:lnTo>
                    <a:pt x="1224" y="558"/>
                  </a:lnTo>
                  <a:lnTo>
                    <a:pt x="1218" y="558"/>
                  </a:lnTo>
                  <a:lnTo>
                    <a:pt x="1218" y="564"/>
                  </a:lnTo>
                  <a:lnTo>
                    <a:pt x="1224" y="570"/>
                  </a:lnTo>
                  <a:lnTo>
                    <a:pt x="1224" y="582"/>
                  </a:lnTo>
                  <a:lnTo>
                    <a:pt x="1224" y="594"/>
                  </a:lnTo>
                  <a:lnTo>
                    <a:pt x="1212" y="618"/>
                  </a:lnTo>
                  <a:lnTo>
                    <a:pt x="1212" y="624"/>
                  </a:lnTo>
                  <a:lnTo>
                    <a:pt x="1212" y="630"/>
                  </a:lnTo>
                  <a:lnTo>
                    <a:pt x="1212" y="636"/>
                  </a:lnTo>
                  <a:lnTo>
                    <a:pt x="1218" y="654"/>
                  </a:lnTo>
                  <a:lnTo>
                    <a:pt x="1224" y="672"/>
                  </a:lnTo>
                  <a:lnTo>
                    <a:pt x="1230" y="696"/>
                  </a:lnTo>
                  <a:lnTo>
                    <a:pt x="1236" y="708"/>
                  </a:lnTo>
                  <a:lnTo>
                    <a:pt x="1236" y="714"/>
                  </a:lnTo>
                  <a:lnTo>
                    <a:pt x="1236" y="720"/>
                  </a:lnTo>
                  <a:lnTo>
                    <a:pt x="1218" y="726"/>
                  </a:lnTo>
                  <a:lnTo>
                    <a:pt x="1212" y="726"/>
                  </a:lnTo>
                  <a:lnTo>
                    <a:pt x="1206" y="726"/>
                  </a:lnTo>
                  <a:lnTo>
                    <a:pt x="1194" y="720"/>
                  </a:lnTo>
                  <a:lnTo>
                    <a:pt x="1194" y="714"/>
                  </a:lnTo>
                  <a:lnTo>
                    <a:pt x="1176" y="714"/>
                  </a:lnTo>
                  <a:lnTo>
                    <a:pt x="1164" y="708"/>
                  </a:lnTo>
                  <a:lnTo>
                    <a:pt x="1158" y="708"/>
                  </a:lnTo>
                  <a:lnTo>
                    <a:pt x="1140" y="702"/>
                  </a:lnTo>
                  <a:lnTo>
                    <a:pt x="1134" y="696"/>
                  </a:lnTo>
                  <a:lnTo>
                    <a:pt x="1128" y="690"/>
                  </a:lnTo>
                  <a:lnTo>
                    <a:pt x="1116" y="678"/>
                  </a:lnTo>
                  <a:lnTo>
                    <a:pt x="1110" y="678"/>
                  </a:lnTo>
                  <a:lnTo>
                    <a:pt x="1104" y="672"/>
                  </a:lnTo>
                  <a:lnTo>
                    <a:pt x="1092" y="672"/>
                  </a:lnTo>
                  <a:lnTo>
                    <a:pt x="1086" y="672"/>
                  </a:lnTo>
                  <a:lnTo>
                    <a:pt x="1080" y="672"/>
                  </a:lnTo>
                  <a:lnTo>
                    <a:pt x="1074" y="672"/>
                  </a:lnTo>
                  <a:lnTo>
                    <a:pt x="1068" y="672"/>
                  </a:lnTo>
                  <a:lnTo>
                    <a:pt x="1062" y="678"/>
                  </a:lnTo>
                  <a:lnTo>
                    <a:pt x="1056" y="678"/>
                  </a:lnTo>
                  <a:lnTo>
                    <a:pt x="1056" y="684"/>
                  </a:lnTo>
                  <a:lnTo>
                    <a:pt x="1056" y="690"/>
                  </a:lnTo>
                  <a:lnTo>
                    <a:pt x="1050" y="690"/>
                  </a:lnTo>
                  <a:lnTo>
                    <a:pt x="1044" y="696"/>
                  </a:lnTo>
                  <a:lnTo>
                    <a:pt x="1032" y="708"/>
                  </a:lnTo>
                  <a:lnTo>
                    <a:pt x="1026" y="708"/>
                  </a:lnTo>
                  <a:lnTo>
                    <a:pt x="1032" y="714"/>
                  </a:lnTo>
                  <a:lnTo>
                    <a:pt x="1026" y="720"/>
                  </a:lnTo>
                  <a:lnTo>
                    <a:pt x="1020" y="720"/>
                  </a:lnTo>
                  <a:lnTo>
                    <a:pt x="1014" y="732"/>
                  </a:lnTo>
                  <a:lnTo>
                    <a:pt x="1014" y="744"/>
                  </a:lnTo>
                  <a:lnTo>
                    <a:pt x="1038" y="810"/>
                  </a:lnTo>
                  <a:lnTo>
                    <a:pt x="1050" y="834"/>
                  </a:lnTo>
                  <a:lnTo>
                    <a:pt x="1056" y="858"/>
                  </a:lnTo>
                  <a:lnTo>
                    <a:pt x="1062" y="876"/>
                  </a:lnTo>
                  <a:lnTo>
                    <a:pt x="1068" y="882"/>
                  </a:lnTo>
                  <a:lnTo>
                    <a:pt x="1062" y="972"/>
                  </a:lnTo>
                  <a:lnTo>
                    <a:pt x="1056" y="972"/>
                  </a:lnTo>
                  <a:lnTo>
                    <a:pt x="1050" y="996"/>
                  </a:lnTo>
                  <a:lnTo>
                    <a:pt x="1044" y="1014"/>
                  </a:lnTo>
                  <a:lnTo>
                    <a:pt x="1008" y="1014"/>
                  </a:lnTo>
                  <a:lnTo>
                    <a:pt x="1008" y="1008"/>
                  </a:lnTo>
                  <a:lnTo>
                    <a:pt x="990" y="1008"/>
                  </a:lnTo>
                  <a:lnTo>
                    <a:pt x="972" y="1014"/>
                  </a:lnTo>
                  <a:lnTo>
                    <a:pt x="948" y="1020"/>
                  </a:lnTo>
                  <a:lnTo>
                    <a:pt x="918" y="1026"/>
                  </a:lnTo>
                  <a:lnTo>
                    <a:pt x="840" y="1032"/>
                  </a:lnTo>
                  <a:lnTo>
                    <a:pt x="834" y="1032"/>
                  </a:lnTo>
                  <a:lnTo>
                    <a:pt x="834" y="1026"/>
                  </a:lnTo>
                  <a:lnTo>
                    <a:pt x="822" y="1026"/>
                  </a:lnTo>
                  <a:lnTo>
                    <a:pt x="816" y="1032"/>
                  </a:lnTo>
                  <a:lnTo>
                    <a:pt x="804" y="1032"/>
                  </a:lnTo>
                  <a:lnTo>
                    <a:pt x="798" y="1026"/>
                  </a:lnTo>
                  <a:lnTo>
                    <a:pt x="780" y="1026"/>
                  </a:lnTo>
                  <a:lnTo>
                    <a:pt x="762" y="1026"/>
                  </a:lnTo>
                  <a:lnTo>
                    <a:pt x="756" y="1026"/>
                  </a:lnTo>
                  <a:lnTo>
                    <a:pt x="750" y="1026"/>
                  </a:lnTo>
                  <a:lnTo>
                    <a:pt x="756" y="1020"/>
                  </a:lnTo>
                  <a:lnTo>
                    <a:pt x="750" y="1020"/>
                  </a:lnTo>
                  <a:lnTo>
                    <a:pt x="744" y="1014"/>
                  </a:lnTo>
                  <a:lnTo>
                    <a:pt x="684" y="1020"/>
                  </a:lnTo>
                  <a:lnTo>
                    <a:pt x="648" y="1020"/>
                  </a:lnTo>
                  <a:lnTo>
                    <a:pt x="630" y="1020"/>
                  </a:lnTo>
                  <a:lnTo>
                    <a:pt x="618" y="1020"/>
                  </a:lnTo>
                  <a:lnTo>
                    <a:pt x="606" y="1014"/>
                  </a:lnTo>
                  <a:lnTo>
                    <a:pt x="582" y="1014"/>
                  </a:lnTo>
                  <a:lnTo>
                    <a:pt x="576" y="1014"/>
                  </a:lnTo>
                  <a:lnTo>
                    <a:pt x="570" y="1014"/>
                  </a:lnTo>
                  <a:lnTo>
                    <a:pt x="564" y="1020"/>
                  </a:lnTo>
                  <a:lnTo>
                    <a:pt x="558" y="1026"/>
                  </a:lnTo>
                  <a:lnTo>
                    <a:pt x="552" y="1032"/>
                  </a:lnTo>
                  <a:lnTo>
                    <a:pt x="552" y="1038"/>
                  </a:lnTo>
                  <a:lnTo>
                    <a:pt x="558" y="1194"/>
                  </a:lnTo>
                  <a:lnTo>
                    <a:pt x="558" y="1206"/>
                  </a:lnTo>
                  <a:lnTo>
                    <a:pt x="552" y="1218"/>
                  </a:lnTo>
                  <a:lnTo>
                    <a:pt x="552" y="1236"/>
                  </a:lnTo>
                  <a:lnTo>
                    <a:pt x="546" y="1272"/>
                  </a:lnTo>
                  <a:lnTo>
                    <a:pt x="546" y="1308"/>
                  </a:lnTo>
                  <a:lnTo>
                    <a:pt x="540" y="1332"/>
                  </a:lnTo>
                  <a:lnTo>
                    <a:pt x="546" y="1356"/>
                  </a:lnTo>
                  <a:lnTo>
                    <a:pt x="546" y="1362"/>
                  </a:lnTo>
                  <a:lnTo>
                    <a:pt x="546" y="1374"/>
                  </a:lnTo>
                  <a:lnTo>
                    <a:pt x="546" y="1380"/>
                  </a:lnTo>
                  <a:lnTo>
                    <a:pt x="540" y="1380"/>
                  </a:lnTo>
                  <a:lnTo>
                    <a:pt x="522" y="1380"/>
                  </a:lnTo>
                  <a:lnTo>
                    <a:pt x="516" y="1380"/>
                  </a:lnTo>
                  <a:lnTo>
                    <a:pt x="516" y="1386"/>
                  </a:lnTo>
                  <a:lnTo>
                    <a:pt x="516" y="1392"/>
                  </a:lnTo>
                  <a:lnTo>
                    <a:pt x="510" y="1392"/>
                  </a:lnTo>
                  <a:lnTo>
                    <a:pt x="504" y="1386"/>
                  </a:lnTo>
                  <a:lnTo>
                    <a:pt x="498" y="1392"/>
                  </a:lnTo>
                  <a:lnTo>
                    <a:pt x="492" y="1398"/>
                  </a:lnTo>
                  <a:lnTo>
                    <a:pt x="486" y="1398"/>
                  </a:lnTo>
                  <a:lnTo>
                    <a:pt x="486" y="1392"/>
                  </a:lnTo>
                  <a:lnTo>
                    <a:pt x="486" y="1380"/>
                  </a:lnTo>
                  <a:lnTo>
                    <a:pt x="486" y="1374"/>
                  </a:lnTo>
                  <a:lnTo>
                    <a:pt x="480" y="1374"/>
                  </a:lnTo>
                  <a:lnTo>
                    <a:pt x="474" y="1374"/>
                  </a:lnTo>
                  <a:lnTo>
                    <a:pt x="468" y="1380"/>
                  </a:lnTo>
                  <a:lnTo>
                    <a:pt x="462" y="1380"/>
                  </a:lnTo>
                  <a:lnTo>
                    <a:pt x="456" y="1380"/>
                  </a:lnTo>
                  <a:lnTo>
                    <a:pt x="450" y="1386"/>
                  </a:lnTo>
                  <a:lnTo>
                    <a:pt x="444" y="1386"/>
                  </a:lnTo>
                  <a:lnTo>
                    <a:pt x="444" y="1392"/>
                  </a:lnTo>
                  <a:lnTo>
                    <a:pt x="432" y="1398"/>
                  </a:lnTo>
                  <a:lnTo>
                    <a:pt x="426" y="1404"/>
                  </a:lnTo>
                  <a:lnTo>
                    <a:pt x="420" y="1404"/>
                  </a:lnTo>
                  <a:lnTo>
                    <a:pt x="408" y="1404"/>
                  </a:lnTo>
                  <a:lnTo>
                    <a:pt x="378" y="1410"/>
                  </a:lnTo>
                  <a:lnTo>
                    <a:pt x="372" y="1410"/>
                  </a:lnTo>
                  <a:lnTo>
                    <a:pt x="360" y="1410"/>
                  </a:lnTo>
                  <a:lnTo>
                    <a:pt x="354" y="1416"/>
                  </a:lnTo>
                  <a:lnTo>
                    <a:pt x="348" y="1416"/>
                  </a:lnTo>
                  <a:lnTo>
                    <a:pt x="342" y="1410"/>
                  </a:lnTo>
                  <a:lnTo>
                    <a:pt x="336" y="1410"/>
                  </a:lnTo>
                  <a:lnTo>
                    <a:pt x="336" y="1416"/>
                  </a:lnTo>
                  <a:lnTo>
                    <a:pt x="330" y="1422"/>
                  </a:lnTo>
                  <a:lnTo>
                    <a:pt x="324" y="1422"/>
                  </a:lnTo>
                  <a:lnTo>
                    <a:pt x="318" y="1422"/>
                  </a:lnTo>
                  <a:lnTo>
                    <a:pt x="312" y="1428"/>
                  </a:lnTo>
                  <a:lnTo>
                    <a:pt x="312" y="1434"/>
                  </a:lnTo>
                  <a:lnTo>
                    <a:pt x="300" y="1428"/>
                  </a:lnTo>
                  <a:lnTo>
                    <a:pt x="288" y="1434"/>
                  </a:lnTo>
                  <a:lnTo>
                    <a:pt x="282" y="1440"/>
                  </a:lnTo>
                  <a:lnTo>
                    <a:pt x="282" y="1446"/>
                  </a:lnTo>
                  <a:lnTo>
                    <a:pt x="276" y="1446"/>
                  </a:lnTo>
                  <a:lnTo>
                    <a:pt x="276" y="1452"/>
                  </a:lnTo>
                  <a:lnTo>
                    <a:pt x="270" y="1452"/>
                  </a:lnTo>
                  <a:lnTo>
                    <a:pt x="258" y="1464"/>
                  </a:lnTo>
                  <a:lnTo>
                    <a:pt x="240" y="1458"/>
                  </a:lnTo>
                  <a:lnTo>
                    <a:pt x="234" y="1452"/>
                  </a:lnTo>
                  <a:lnTo>
                    <a:pt x="234" y="1446"/>
                  </a:lnTo>
                  <a:lnTo>
                    <a:pt x="228" y="1446"/>
                  </a:lnTo>
                  <a:lnTo>
                    <a:pt x="222" y="1440"/>
                  </a:lnTo>
                  <a:lnTo>
                    <a:pt x="216" y="1440"/>
                  </a:lnTo>
                  <a:lnTo>
                    <a:pt x="210" y="1428"/>
                  </a:lnTo>
                  <a:lnTo>
                    <a:pt x="210" y="1422"/>
                  </a:lnTo>
                  <a:lnTo>
                    <a:pt x="198" y="1416"/>
                  </a:lnTo>
                  <a:lnTo>
                    <a:pt x="204" y="1410"/>
                  </a:lnTo>
                  <a:lnTo>
                    <a:pt x="210" y="1404"/>
                  </a:lnTo>
                  <a:lnTo>
                    <a:pt x="210" y="1398"/>
                  </a:lnTo>
                  <a:lnTo>
                    <a:pt x="252" y="1368"/>
                  </a:lnTo>
                  <a:lnTo>
                    <a:pt x="276" y="1350"/>
                  </a:lnTo>
                  <a:lnTo>
                    <a:pt x="300" y="1338"/>
                  </a:lnTo>
                  <a:lnTo>
                    <a:pt x="294" y="1314"/>
                  </a:lnTo>
                  <a:lnTo>
                    <a:pt x="288" y="1308"/>
                  </a:lnTo>
                  <a:lnTo>
                    <a:pt x="300" y="1266"/>
                  </a:lnTo>
                  <a:lnTo>
                    <a:pt x="300" y="1242"/>
                  </a:lnTo>
                  <a:lnTo>
                    <a:pt x="300" y="1206"/>
                  </a:lnTo>
                  <a:lnTo>
                    <a:pt x="300" y="1164"/>
                  </a:lnTo>
                  <a:lnTo>
                    <a:pt x="294" y="1134"/>
                  </a:lnTo>
                  <a:lnTo>
                    <a:pt x="282" y="1086"/>
                  </a:lnTo>
                  <a:lnTo>
                    <a:pt x="276" y="1074"/>
                  </a:lnTo>
                  <a:lnTo>
                    <a:pt x="276" y="1056"/>
                  </a:lnTo>
                  <a:lnTo>
                    <a:pt x="270" y="1038"/>
                  </a:lnTo>
                  <a:lnTo>
                    <a:pt x="270" y="1020"/>
                  </a:lnTo>
                  <a:lnTo>
                    <a:pt x="282" y="1020"/>
                  </a:lnTo>
                  <a:lnTo>
                    <a:pt x="282" y="1014"/>
                  </a:lnTo>
                  <a:lnTo>
                    <a:pt x="288" y="1008"/>
                  </a:lnTo>
                  <a:lnTo>
                    <a:pt x="294" y="1002"/>
                  </a:lnTo>
                  <a:lnTo>
                    <a:pt x="306" y="996"/>
                  </a:lnTo>
                  <a:lnTo>
                    <a:pt x="312" y="990"/>
                  </a:lnTo>
                  <a:lnTo>
                    <a:pt x="318" y="990"/>
                  </a:lnTo>
                  <a:lnTo>
                    <a:pt x="324" y="984"/>
                  </a:lnTo>
                  <a:lnTo>
                    <a:pt x="324" y="978"/>
                  </a:lnTo>
                  <a:lnTo>
                    <a:pt x="324" y="972"/>
                  </a:lnTo>
                  <a:lnTo>
                    <a:pt x="324" y="954"/>
                  </a:lnTo>
                  <a:lnTo>
                    <a:pt x="336" y="948"/>
                  </a:lnTo>
                  <a:lnTo>
                    <a:pt x="342" y="936"/>
                  </a:lnTo>
                  <a:lnTo>
                    <a:pt x="348" y="924"/>
                  </a:lnTo>
                  <a:lnTo>
                    <a:pt x="354" y="924"/>
                  </a:lnTo>
                  <a:lnTo>
                    <a:pt x="372" y="924"/>
                  </a:lnTo>
                  <a:lnTo>
                    <a:pt x="372" y="930"/>
                  </a:lnTo>
                  <a:lnTo>
                    <a:pt x="378" y="930"/>
                  </a:lnTo>
                  <a:lnTo>
                    <a:pt x="378" y="936"/>
                  </a:lnTo>
                  <a:lnTo>
                    <a:pt x="384" y="936"/>
                  </a:lnTo>
                  <a:lnTo>
                    <a:pt x="384" y="942"/>
                  </a:lnTo>
                  <a:lnTo>
                    <a:pt x="402" y="942"/>
                  </a:lnTo>
                  <a:lnTo>
                    <a:pt x="402" y="996"/>
                  </a:lnTo>
                  <a:lnTo>
                    <a:pt x="414" y="996"/>
                  </a:lnTo>
                  <a:lnTo>
                    <a:pt x="420" y="996"/>
                  </a:lnTo>
                  <a:lnTo>
                    <a:pt x="426" y="996"/>
                  </a:lnTo>
                  <a:lnTo>
                    <a:pt x="432" y="996"/>
                  </a:lnTo>
                  <a:lnTo>
                    <a:pt x="438" y="996"/>
                  </a:lnTo>
                  <a:lnTo>
                    <a:pt x="438" y="942"/>
                  </a:lnTo>
                  <a:lnTo>
                    <a:pt x="444" y="930"/>
                  </a:lnTo>
                  <a:lnTo>
                    <a:pt x="444" y="924"/>
                  </a:lnTo>
                  <a:lnTo>
                    <a:pt x="444" y="918"/>
                  </a:lnTo>
                  <a:lnTo>
                    <a:pt x="462" y="918"/>
                  </a:lnTo>
                  <a:lnTo>
                    <a:pt x="474" y="906"/>
                  </a:lnTo>
                  <a:lnTo>
                    <a:pt x="480" y="900"/>
                  </a:lnTo>
                  <a:lnTo>
                    <a:pt x="486" y="888"/>
                  </a:lnTo>
                  <a:lnTo>
                    <a:pt x="492" y="876"/>
                  </a:lnTo>
                  <a:lnTo>
                    <a:pt x="492" y="858"/>
                  </a:lnTo>
                  <a:lnTo>
                    <a:pt x="480" y="858"/>
                  </a:lnTo>
                  <a:lnTo>
                    <a:pt x="474" y="840"/>
                  </a:lnTo>
                  <a:lnTo>
                    <a:pt x="450" y="834"/>
                  </a:lnTo>
                  <a:lnTo>
                    <a:pt x="438" y="816"/>
                  </a:lnTo>
                  <a:lnTo>
                    <a:pt x="432" y="792"/>
                  </a:lnTo>
                  <a:lnTo>
                    <a:pt x="432" y="786"/>
                  </a:lnTo>
                  <a:lnTo>
                    <a:pt x="432" y="774"/>
                  </a:lnTo>
                  <a:lnTo>
                    <a:pt x="432" y="762"/>
                  </a:lnTo>
                  <a:lnTo>
                    <a:pt x="438" y="750"/>
                  </a:lnTo>
                  <a:lnTo>
                    <a:pt x="438" y="738"/>
                  </a:lnTo>
                  <a:lnTo>
                    <a:pt x="444" y="732"/>
                  </a:lnTo>
                  <a:lnTo>
                    <a:pt x="450" y="732"/>
                  </a:lnTo>
                  <a:lnTo>
                    <a:pt x="456" y="732"/>
                  </a:lnTo>
                  <a:lnTo>
                    <a:pt x="456" y="726"/>
                  </a:lnTo>
                  <a:lnTo>
                    <a:pt x="456" y="714"/>
                  </a:lnTo>
                  <a:lnTo>
                    <a:pt x="450" y="702"/>
                  </a:lnTo>
                  <a:lnTo>
                    <a:pt x="450" y="696"/>
                  </a:lnTo>
                  <a:lnTo>
                    <a:pt x="444" y="684"/>
                  </a:lnTo>
                  <a:lnTo>
                    <a:pt x="438" y="666"/>
                  </a:lnTo>
                  <a:lnTo>
                    <a:pt x="426" y="666"/>
                  </a:lnTo>
                  <a:lnTo>
                    <a:pt x="432" y="666"/>
                  </a:lnTo>
                  <a:lnTo>
                    <a:pt x="420" y="666"/>
                  </a:lnTo>
                  <a:lnTo>
                    <a:pt x="414" y="660"/>
                  </a:lnTo>
                  <a:lnTo>
                    <a:pt x="396" y="654"/>
                  </a:lnTo>
                  <a:lnTo>
                    <a:pt x="384" y="642"/>
                  </a:lnTo>
                  <a:lnTo>
                    <a:pt x="366" y="624"/>
                  </a:lnTo>
                  <a:lnTo>
                    <a:pt x="354" y="606"/>
                  </a:lnTo>
                  <a:lnTo>
                    <a:pt x="342" y="588"/>
                  </a:lnTo>
                  <a:lnTo>
                    <a:pt x="342" y="582"/>
                  </a:lnTo>
                  <a:lnTo>
                    <a:pt x="360" y="564"/>
                  </a:lnTo>
                  <a:lnTo>
                    <a:pt x="372" y="540"/>
                  </a:lnTo>
                  <a:lnTo>
                    <a:pt x="366" y="528"/>
                  </a:lnTo>
                  <a:lnTo>
                    <a:pt x="366" y="522"/>
                  </a:lnTo>
                  <a:lnTo>
                    <a:pt x="372" y="516"/>
                  </a:lnTo>
                  <a:lnTo>
                    <a:pt x="384" y="504"/>
                  </a:lnTo>
                  <a:lnTo>
                    <a:pt x="378" y="492"/>
                  </a:lnTo>
                  <a:lnTo>
                    <a:pt x="378" y="486"/>
                  </a:lnTo>
                  <a:lnTo>
                    <a:pt x="378" y="480"/>
                  </a:lnTo>
                  <a:lnTo>
                    <a:pt x="378" y="474"/>
                  </a:lnTo>
                  <a:lnTo>
                    <a:pt x="378" y="468"/>
                  </a:lnTo>
                  <a:lnTo>
                    <a:pt x="366" y="468"/>
                  </a:lnTo>
                  <a:lnTo>
                    <a:pt x="360" y="474"/>
                  </a:lnTo>
                  <a:lnTo>
                    <a:pt x="354" y="480"/>
                  </a:lnTo>
                  <a:lnTo>
                    <a:pt x="348" y="486"/>
                  </a:lnTo>
                  <a:lnTo>
                    <a:pt x="348" y="492"/>
                  </a:lnTo>
                  <a:lnTo>
                    <a:pt x="336" y="510"/>
                  </a:lnTo>
                  <a:lnTo>
                    <a:pt x="300" y="516"/>
                  </a:lnTo>
                  <a:lnTo>
                    <a:pt x="300" y="510"/>
                  </a:lnTo>
                  <a:lnTo>
                    <a:pt x="282" y="504"/>
                  </a:lnTo>
                  <a:lnTo>
                    <a:pt x="282" y="498"/>
                  </a:lnTo>
                  <a:lnTo>
                    <a:pt x="264" y="486"/>
                  </a:lnTo>
                  <a:lnTo>
                    <a:pt x="258" y="492"/>
                  </a:lnTo>
                  <a:lnTo>
                    <a:pt x="234" y="492"/>
                  </a:lnTo>
                  <a:lnTo>
                    <a:pt x="222" y="486"/>
                  </a:lnTo>
                  <a:lnTo>
                    <a:pt x="204" y="480"/>
                  </a:lnTo>
                  <a:lnTo>
                    <a:pt x="198" y="474"/>
                  </a:lnTo>
                  <a:lnTo>
                    <a:pt x="192" y="474"/>
                  </a:lnTo>
                  <a:lnTo>
                    <a:pt x="192" y="462"/>
                  </a:lnTo>
                  <a:lnTo>
                    <a:pt x="186" y="462"/>
                  </a:lnTo>
                  <a:lnTo>
                    <a:pt x="180" y="468"/>
                  </a:lnTo>
                  <a:lnTo>
                    <a:pt x="150" y="450"/>
                  </a:lnTo>
                  <a:lnTo>
                    <a:pt x="144" y="438"/>
                  </a:lnTo>
                  <a:lnTo>
                    <a:pt x="138" y="438"/>
                  </a:lnTo>
                  <a:lnTo>
                    <a:pt x="132" y="432"/>
                  </a:lnTo>
                  <a:lnTo>
                    <a:pt x="126" y="432"/>
                  </a:lnTo>
                  <a:lnTo>
                    <a:pt x="120" y="432"/>
                  </a:lnTo>
                  <a:lnTo>
                    <a:pt x="102" y="426"/>
                  </a:lnTo>
                  <a:lnTo>
                    <a:pt x="96" y="420"/>
                  </a:lnTo>
                  <a:lnTo>
                    <a:pt x="90" y="414"/>
                  </a:lnTo>
                  <a:lnTo>
                    <a:pt x="84" y="414"/>
                  </a:lnTo>
                  <a:lnTo>
                    <a:pt x="72" y="414"/>
                  </a:lnTo>
                  <a:lnTo>
                    <a:pt x="60" y="414"/>
                  </a:lnTo>
                  <a:lnTo>
                    <a:pt x="30" y="414"/>
                  </a:lnTo>
                  <a:lnTo>
                    <a:pt x="24" y="414"/>
                  </a:lnTo>
                  <a:lnTo>
                    <a:pt x="12" y="414"/>
                  </a:lnTo>
                  <a:lnTo>
                    <a:pt x="0" y="420"/>
                  </a:lnTo>
                  <a:lnTo>
                    <a:pt x="0" y="360"/>
                  </a:lnTo>
                  <a:lnTo>
                    <a:pt x="0" y="354"/>
                  </a:lnTo>
                  <a:lnTo>
                    <a:pt x="0" y="336"/>
                  </a:lnTo>
                  <a:lnTo>
                    <a:pt x="0" y="288"/>
                  </a:lnTo>
                  <a:lnTo>
                    <a:pt x="0" y="282"/>
                  </a:lnTo>
                  <a:lnTo>
                    <a:pt x="0" y="276"/>
                  </a:lnTo>
                  <a:lnTo>
                    <a:pt x="0" y="270"/>
                  </a:lnTo>
                  <a:lnTo>
                    <a:pt x="30" y="270"/>
                  </a:lnTo>
                  <a:lnTo>
                    <a:pt x="42" y="270"/>
                  </a:lnTo>
                  <a:lnTo>
                    <a:pt x="54" y="264"/>
                  </a:lnTo>
                  <a:lnTo>
                    <a:pt x="78" y="240"/>
                  </a:lnTo>
                  <a:lnTo>
                    <a:pt x="102" y="216"/>
                  </a:lnTo>
                  <a:lnTo>
                    <a:pt x="114" y="210"/>
                  </a:lnTo>
                  <a:lnTo>
                    <a:pt x="120" y="204"/>
                  </a:lnTo>
                  <a:lnTo>
                    <a:pt x="126" y="198"/>
                  </a:lnTo>
                  <a:lnTo>
                    <a:pt x="138" y="186"/>
                  </a:lnTo>
                  <a:lnTo>
                    <a:pt x="174" y="156"/>
                  </a:lnTo>
                  <a:lnTo>
                    <a:pt x="180" y="150"/>
                  </a:lnTo>
                  <a:lnTo>
                    <a:pt x="192" y="138"/>
                  </a:lnTo>
                  <a:lnTo>
                    <a:pt x="210" y="126"/>
                  </a:lnTo>
                  <a:lnTo>
                    <a:pt x="216" y="120"/>
                  </a:lnTo>
                  <a:lnTo>
                    <a:pt x="222" y="120"/>
                  </a:lnTo>
                  <a:lnTo>
                    <a:pt x="258" y="114"/>
                  </a:lnTo>
                  <a:lnTo>
                    <a:pt x="270" y="108"/>
                  </a:lnTo>
                  <a:lnTo>
                    <a:pt x="282" y="108"/>
                  </a:lnTo>
                  <a:lnTo>
                    <a:pt x="288" y="108"/>
                  </a:lnTo>
                  <a:lnTo>
                    <a:pt x="294" y="108"/>
                  </a:lnTo>
                  <a:lnTo>
                    <a:pt x="300" y="102"/>
                  </a:lnTo>
                  <a:lnTo>
                    <a:pt x="312" y="102"/>
                  </a:lnTo>
                  <a:lnTo>
                    <a:pt x="318" y="102"/>
                  </a:lnTo>
                  <a:lnTo>
                    <a:pt x="348" y="96"/>
                  </a:lnTo>
                  <a:lnTo>
                    <a:pt x="366" y="90"/>
                  </a:lnTo>
                  <a:lnTo>
                    <a:pt x="384" y="90"/>
                  </a:lnTo>
                  <a:lnTo>
                    <a:pt x="390" y="90"/>
                  </a:lnTo>
                  <a:lnTo>
                    <a:pt x="396" y="84"/>
                  </a:lnTo>
                  <a:lnTo>
                    <a:pt x="408" y="84"/>
                  </a:lnTo>
                  <a:lnTo>
                    <a:pt x="420" y="84"/>
                  </a:lnTo>
                  <a:lnTo>
                    <a:pt x="462" y="72"/>
                  </a:lnTo>
                  <a:lnTo>
                    <a:pt x="474" y="72"/>
                  </a:lnTo>
                  <a:lnTo>
                    <a:pt x="474" y="78"/>
                  </a:lnTo>
                  <a:lnTo>
                    <a:pt x="492" y="90"/>
                  </a:lnTo>
                  <a:lnTo>
                    <a:pt x="498" y="90"/>
                  </a:lnTo>
                  <a:lnTo>
                    <a:pt x="522" y="96"/>
                  </a:lnTo>
                  <a:lnTo>
                    <a:pt x="540" y="96"/>
                  </a:lnTo>
                  <a:lnTo>
                    <a:pt x="546" y="96"/>
                  </a:lnTo>
                  <a:lnTo>
                    <a:pt x="558" y="96"/>
                  </a:lnTo>
                  <a:lnTo>
                    <a:pt x="564" y="96"/>
                  </a:lnTo>
                  <a:lnTo>
                    <a:pt x="576" y="96"/>
                  </a:lnTo>
                  <a:lnTo>
                    <a:pt x="588" y="96"/>
                  </a:lnTo>
                  <a:lnTo>
                    <a:pt x="612" y="90"/>
                  </a:lnTo>
                  <a:lnTo>
                    <a:pt x="624" y="90"/>
                  </a:lnTo>
                  <a:lnTo>
                    <a:pt x="636" y="90"/>
                  </a:lnTo>
                  <a:lnTo>
                    <a:pt x="642" y="90"/>
                  </a:lnTo>
                  <a:lnTo>
                    <a:pt x="648" y="96"/>
                  </a:lnTo>
                  <a:lnTo>
                    <a:pt x="660" y="96"/>
                  </a:lnTo>
                  <a:lnTo>
                    <a:pt x="666" y="96"/>
                  </a:lnTo>
                  <a:lnTo>
                    <a:pt x="672" y="96"/>
                  </a:lnTo>
                  <a:lnTo>
                    <a:pt x="684" y="96"/>
                  </a:lnTo>
                  <a:lnTo>
                    <a:pt x="708" y="96"/>
                  </a:lnTo>
                  <a:lnTo>
                    <a:pt x="714" y="96"/>
                  </a:lnTo>
                  <a:lnTo>
                    <a:pt x="726" y="96"/>
                  </a:lnTo>
                  <a:lnTo>
                    <a:pt x="738" y="84"/>
                  </a:lnTo>
                  <a:lnTo>
                    <a:pt x="744" y="78"/>
                  </a:lnTo>
                  <a:lnTo>
                    <a:pt x="756" y="66"/>
                  </a:lnTo>
                  <a:lnTo>
                    <a:pt x="774" y="42"/>
                  </a:lnTo>
                  <a:lnTo>
                    <a:pt x="780" y="30"/>
                  </a:lnTo>
                  <a:lnTo>
                    <a:pt x="816" y="24"/>
                  </a:lnTo>
                  <a:lnTo>
                    <a:pt x="840" y="18"/>
                  </a:lnTo>
                  <a:lnTo>
                    <a:pt x="840" y="12"/>
                  </a:lnTo>
                  <a:lnTo>
                    <a:pt x="846" y="12"/>
                  </a:lnTo>
                  <a:lnTo>
                    <a:pt x="852" y="12"/>
                  </a:lnTo>
                  <a:lnTo>
                    <a:pt x="864" y="6"/>
                  </a:lnTo>
                  <a:lnTo>
                    <a:pt x="870" y="6"/>
                  </a:lnTo>
                  <a:lnTo>
                    <a:pt x="894" y="0"/>
                  </a:lnTo>
                  <a:lnTo>
                    <a:pt x="900" y="6"/>
                  </a:lnTo>
                  <a:lnTo>
                    <a:pt x="930" y="18"/>
                  </a:lnTo>
                  <a:lnTo>
                    <a:pt x="942" y="24"/>
                  </a:lnTo>
                  <a:lnTo>
                    <a:pt x="954" y="30"/>
                  </a:lnTo>
                  <a:lnTo>
                    <a:pt x="1026" y="60"/>
                  </a:lnTo>
                  <a:lnTo>
                    <a:pt x="1032" y="60"/>
                  </a:lnTo>
                  <a:lnTo>
                    <a:pt x="1038" y="66"/>
                  </a:lnTo>
                  <a:lnTo>
                    <a:pt x="1068" y="72"/>
                  </a:lnTo>
                  <a:lnTo>
                    <a:pt x="1098" y="84"/>
                  </a:lnTo>
                  <a:lnTo>
                    <a:pt x="1122" y="90"/>
                  </a:lnTo>
                  <a:lnTo>
                    <a:pt x="1122" y="96"/>
                  </a:lnTo>
                  <a:lnTo>
                    <a:pt x="1140" y="102"/>
                  </a:lnTo>
                  <a:lnTo>
                    <a:pt x="1182" y="114"/>
                  </a:lnTo>
                  <a:lnTo>
                    <a:pt x="1188" y="114"/>
                  </a:lnTo>
                  <a:lnTo>
                    <a:pt x="1200" y="120"/>
                  </a:lnTo>
                  <a:lnTo>
                    <a:pt x="1212" y="126"/>
                  </a:lnTo>
                  <a:lnTo>
                    <a:pt x="1224" y="126"/>
                  </a:lnTo>
                  <a:lnTo>
                    <a:pt x="1248" y="138"/>
                  </a:lnTo>
                  <a:lnTo>
                    <a:pt x="1272" y="150"/>
                  </a:lnTo>
                  <a:lnTo>
                    <a:pt x="1284" y="156"/>
                  </a:lnTo>
                  <a:lnTo>
                    <a:pt x="1290" y="162"/>
                  </a:lnTo>
                  <a:lnTo>
                    <a:pt x="1296" y="162"/>
                  </a:lnTo>
                  <a:lnTo>
                    <a:pt x="1308" y="156"/>
                  </a:lnTo>
                  <a:lnTo>
                    <a:pt x="1320" y="150"/>
                  </a:lnTo>
                  <a:lnTo>
                    <a:pt x="1326" y="150"/>
                  </a:lnTo>
                  <a:lnTo>
                    <a:pt x="1338" y="144"/>
                  </a:lnTo>
                  <a:lnTo>
                    <a:pt x="1362" y="144"/>
                  </a:lnTo>
                  <a:lnTo>
                    <a:pt x="1368" y="144"/>
                  </a:lnTo>
                  <a:lnTo>
                    <a:pt x="1374" y="144"/>
                  </a:lnTo>
                  <a:lnTo>
                    <a:pt x="1386" y="150"/>
                  </a:lnTo>
                  <a:lnTo>
                    <a:pt x="1392" y="150"/>
                  </a:lnTo>
                  <a:lnTo>
                    <a:pt x="1398" y="150"/>
                  </a:lnTo>
                  <a:lnTo>
                    <a:pt x="1416" y="162"/>
                  </a:lnTo>
                  <a:lnTo>
                    <a:pt x="1458" y="186"/>
                  </a:lnTo>
                  <a:lnTo>
                    <a:pt x="1464" y="186"/>
                  </a:lnTo>
                  <a:lnTo>
                    <a:pt x="1470" y="192"/>
                  </a:lnTo>
                  <a:lnTo>
                    <a:pt x="1482" y="204"/>
                  </a:lnTo>
                  <a:lnTo>
                    <a:pt x="1512" y="234"/>
                  </a:lnTo>
                  <a:lnTo>
                    <a:pt x="1554" y="276"/>
                  </a:lnTo>
                  <a:lnTo>
                    <a:pt x="1560" y="276"/>
                  </a:lnTo>
                  <a:lnTo>
                    <a:pt x="1566" y="282"/>
                  </a:lnTo>
                  <a:lnTo>
                    <a:pt x="1578" y="294"/>
                  </a:lnTo>
                  <a:lnTo>
                    <a:pt x="1602" y="318"/>
                  </a:lnTo>
                  <a:lnTo>
                    <a:pt x="1614" y="330"/>
                  </a:lnTo>
                  <a:lnTo>
                    <a:pt x="1620" y="336"/>
                  </a:lnTo>
                  <a:lnTo>
                    <a:pt x="1626" y="342"/>
                  </a:lnTo>
                  <a:lnTo>
                    <a:pt x="1632" y="354"/>
                  </a:lnTo>
                  <a:lnTo>
                    <a:pt x="1644" y="366"/>
                  </a:lnTo>
                  <a:lnTo>
                    <a:pt x="1650" y="378"/>
                  </a:lnTo>
                  <a:lnTo>
                    <a:pt x="1650" y="384"/>
                  </a:lnTo>
                  <a:lnTo>
                    <a:pt x="1656" y="384"/>
                  </a:lnTo>
                  <a:lnTo>
                    <a:pt x="1662" y="402"/>
                  </a:lnTo>
                  <a:lnTo>
                    <a:pt x="1668" y="408"/>
                  </a:lnTo>
                  <a:lnTo>
                    <a:pt x="1674" y="426"/>
                  </a:lnTo>
                  <a:lnTo>
                    <a:pt x="1686" y="438"/>
                  </a:lnTo>
                  <a:lnTo>
                    <a:pt x="1698" y="462"/>
                  </a:lnTo>
                  <a:close/>
                </a:path>
              </a:pathLst>
            </a:custGeom>
            <a:solidFill>
              <a:srgbClr val="CD202C"/>
            </a:solidFill>
            <a:ln w="9525">
              <a:solidFill>
                <a:schemeClr val="bg1"/>
              </a:solidFill>
              <a:round/>
              <a:headEnd/>
              <a:tailEnd/>
            </a:ln>
          </p:spPr>
          <p:txBody>
            <a:bodyPr/>
            <a:lstStyle/>
            <a:p>
              <a:endParaRPr lang="en-GB"/>
            </a:p>
          </p:txBody>
        </p:sp>
        <p:sp>
          <p:nvSpPr>
            <p:cNvPr id="19510" name="Freeform 35"/>
            <p:cNvSpPr>
              <a:spLocks/>
            </p:cNvSpPr>
            <p:nvPr/>
          </p:nvSpPr>
          <p:spPr bwMode="gray">
            <a:xfrm>
              <a:off x="1836687" y="1556028"/>
              <a:ext cx="1282606" cy="1608247"/>
            </a:xfrm>
            <a:custGeom>
              <a:avLst/>
              <a:gdLst>
                <a:gd name="T0" fmla="*/ 3132 w 1638"/>
                <a:gd name="T1" fmla="*/ 89347 h 1998"/>
                <a:gd name="T2" fmla="*/ 4698 w 1638"/>
                <a:gd name="T3" fmla="*/ 70029 h 1998"/>
                <a:gd name="T4" fmla="*/ 7830 w 1638"/>
                <a:gd name="T5" fmla="*/ 64394 h 1998"/>
                <a:gd name="T6" fmla="*/ 7830 w 1638"/>
                <a:gd name="T7" fmla="*/ 57150 h 1998"/>
                <a:gd name="T8" fmla="*/ 7047 w 1638"/>
                <a:gd name="T9" fmla="*/ 45076 h 1998"/>
                <a:gd name="T10" fmla="*/ 6264 w 1638"/>
                <a:gd name="T11" fmla="*/ 32197 h 1998"/>
                <a:gd name="T12" fmla="*/ 15661 w 1638"/>
                <a:gd name="T13" fmla="*/ 24148 h 1998"/>
                <a:gd name="T14" fmla="*/ 23491 w 1638"/>
                <a:gd name="T15" fmla="*/ 15294 h 1998"/>
                <a:gd name="T16" fmla="*/ 27406 w 1638"/>
                <a:gd name="T17" fmla="*/ 1610 h 1998"/>
                <a:gd name="T18" fmla="*/ 36802 w 1638"/>
                <a:gd name="T19" fmla="*/ 1610 h 1998"/>
                <a:gd name="T20" fmla="*/ 43850 w 1638"/>
                <a:gd name="T21" fmla="*/ 5634 h 1998"/>
                <a:gd name="T22" fmla="*/ 52463 w 1638"/>
                <a:gd name="T23" fmla="*/ 4025 h 1998"/>
                <a:gd name="T24" fmla="*/ 50897 w 1638"/>
                <a:gd name="T25" fmla="*/ 12074 h 1998"/>
                <a:gd name="T26" fmla="*/ 57944 w 1638"/>
                <a:gd name="T27" fmla="*/ 19318 h 1998"/>
                <a:gd name="T28" fmla="*/ 57161 w 1638"/>
                <a:gd name="T29" fmla="*/ 26563 h 1998"/>
                <a:gd name="T30" fmla="*/ 57944 w 1638"/>
                <a:gd name="T31" fmla="*/ 35417 h 1998"/>
                <a:gd name="T32" fmla="*/ 53246 w 1638"/>
                <a:gd name="T33" fmla="*/ 36222 h 1998"/>
                <a:gd name="T34" fmla="*/ 49331 w 1638"/>
                <a:gd name="T35" fmla="*/ 40246 h 1998"/>
                <a:gd name="T36" fmla="*/ 47765 w 1638"/>
                <a:gd name="T37" fmla="*/ 49906 h 1998"/>
                <a:gd name="T38" fmla="*/ 41501 w 1638"/>
                <a:gd name="T39" fmla="*/ 69224 h 1998"/>
                <a:gd name="T40" fmla="*/ 46199 w 1638"/>
                <a:gd name="T41" fmla="*/ 72444 h 1998"/>
                <a:gd name="T42" fmla="*/ 50897 w 1638"/>
                <a:gd name="T43" fmla="*/ 69224 h 1998"/>
                <a:gd name="T44" fmla="*/ 57944 w 1638"/>
                <a:gd name="T45" fmla="*/ 67614 h 1998"/>
                <a:gd name="T46" fmla="*/ 61860 w 1638"/>
                <a:gd name="T47" fmla="*/ 68419 h 1998"/>
                <a:gd name="T48" fmla="*/ 65775 w 1638"/>
                <a:gd name="T49" fmla="*/ 67614 h 1998"/>
                <a:gd name="T50" fmla="*/ 71256 w 1638"/>
                <a:gd name="T51" fmla="*/ 67614 h 1998"/>
                <a:gd name="T52" fmla="*/ 73605 w 1638"/>
                <a:gd name="T53" fmla="*/ 65199 h 1998"/>
                <a:gd name="T54" fmla="*/ 78303 w 1638"/>
                <a:gd name="T55" fmla="*/ 65199 h 1998"/>
                <a:gd name="T56" fmla="*/ 79869 w 1638"/>
                <a:gd name="T57" fmla="*/ 67614 h 1998"/>
                <a:gd name="T58" fmla="*/ 84567 w 1638"/>
                <a:gd name="T59" fmla="*/ 68419 h 1998"/>
                <a:gd name="T60" fmla="*/ 88483 w 1638"/>
                <a:gd name="T61" fmla="*/ 70834 h 1998"/>
                <a:gd name="T62" fmla="*/ 90832 w 1638"/>
                <a:gd name="T63" fmla="*/ 70834 h 1998"/>
                <a:gd name="T64" fmla="*/ 96313 w 1638"/>
                <a:gd name="T65" fmla="*/ 70029 h 1998"/>
                <a:gd name="T66" fmla="*/ 100228 w 1638"/>
                <a:gd name="T67" fmla="*/ 69224 h 1998"/>
                <a:gd name="T68" fmla="*/ 103360 w 1638"/>
                <a:gd name="T69" fmla="*/ 72444 h 1998"/>
                <a:gd name="T70" fmla="*/ 108058 w 1638"/>
                <a:gd name="T71" fmla="*/ 77273 h 1998"/>
                <a:gd name="T72" fmla="*/ 108058 w 1638"/>
                <a:gd name="T73" fmla="*/ 88542 h 1998"/>
                <a:gd name="T74" fmla="*/ 107275 w 1638"/>
                <a:gd name="T75" fmla="*/ 94982 h 1998"/>
                <a:gd name="T76" fmla="*/ 104143 w 1638"/>
                <a:gd name="T77" fmla="*/ 99811 h 1998"/>
                <a:gd name="T78" fmla="*/ 95530 w 1638"/>
                <a:gd name="T79" fmla="*/ 100616 h 1998"/>
                <a:gd name="T80" fmla="*/ 90832 w 1638"/>
                <a:gd name="T81" fmla="*/ 102226 h 1998"/>
                <a:gd name="T82" fmla="*/ 84567 w 1638"/>
                <a:gd name="T83" fmla="*/ 99006 h 1998"/>
                <a:gd name="T84" fmla="*/ 85350 w 1638"/>
                <a:gd name="T85" fmla="*/ 95786 h 1998"/>
                <a:gd name="T86" fmla="*/ 81435 w 1638"/>
                <a:gd name="T87" fmla="*/ 83713 h 1998"/>
                <a:gd name="T88" fmla="*/ 73605 w 1638"/>
                <a:gd name="T89" fmla="*/ 84517 h 1998"/>
                <a:gd name="T90" fmla="*/ 68907 w 1638"/>
                <a:gd name="T91" fmla="*/ 87737 h 1998"/>
                <a:gd name="T92" fmla="*/ 59510 w 1638"/>
                <a:gd name="T93" fmla="*/ 86127 h 1998"/>
                <a:gd name="T94" fmla="*/ 56378 w 1638"/>
                <a:gd name="T95" fmla="*/ 91762 h 1998"/>
                <a:gd name="T96" fmla="*/ 67341 w 1638"/>
                <a:gd name="T97" fmla="*/ 97396 h 1998"/>
                <a:gd name="T98" fmla="*/ 68124 w 1638"/>
                <a:gd name="T99" fmla="*/ 103836 h 1998"/>
                <a:gd name="T100" fmla="*/ 67341 w 1638"/>
                <a:gd name="T101" fmla="*/ 110275 h 1998"/>
                <a:gd name="T102" fmla="*/ 61860 w 1638"/>
                <a:gd name="T103" fmla="*/ 113495 h 1998"/>
                <a:gd name="T104" fmla="*/ 57161 w 1638"/>
                <a:gd name="T105" fmla="*/ 115910 h 1998"/>
                <a:gd name="T106" fmla="*/ 56378 w 1638"/>
                <a:gd name="T107" fmla="*/ 132008 h 1998"/>
                <a:gd name="T108" fmla="*/ 53246 w 1638"/>
                <a:gd name="T109" fmla="*/ 138448 h 1998"/>
                <a:gd name="T110" fmla="*/ 46199 w 1638"/>
                <a:gd name="T111" fmla="*/ 132008 h 1998"/>
                <a:gd name="T112" fmla="*/ 50897 w 1638"/>
                <a:gd name="T113" fmla="*/ 117520 h 1998"/>
                <a:gd name="T114" fmla="*/ 54029 w 1638"/>
                <a:gd name="T115" fmla="*/ 107056 h 1998"/>
                <a:gd name="T116" fmla="*/ 47765 w 1638"/>
                <a:gd name="T117" fmla="*/ 105446 h 1998"/>
                <a:gd name="T118" fmla="*/ 33670 w 1638"/>
                <a:gd name="T119" fmla="*/ 100616 h 1998"/>
                <a:gd name="T120" fmla="*/ 18010 w 1638"/>
                <a:gd name="T121" fmla="*/ 100616 h 1998"/>
                <a:gd name="T122" fmla="*/ 13312 w 1638"/>
                <a:gd name="T123" fmla="*/ 97396 h 19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38"/>
                <a:gd name="T187" fmla="*/ 0 h 1998"/>
                <a:gd name="T188" fmla="*/ 1638 w 1638"/>
                <a:gd name="T189" fmla="*/ 1998 h 19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38" h="1998">
                  <a:moveTo>
                    <a:pt x="144" y="1380"/>
                  </a:moveTo>
                  <a:lnTo>
                    <a:pt x="150" y="1368"/>
                  </a:lnTo>
                  <a:lnTo>
                    <a:pt x="150" y="1362"/>
                  </a:lnTo>
                  <a:lnTo>
                    <a:pt x="150" y="1356"/>
                  </a:lnTo>
                  <a:lnTo>
                    <a:pt x="144" y="1356"/>
                  </a:lnTo>
                  <a:lnTo>
                    <a:pt x="138" y="1356"/>
                  </a:lnTo>
                  <a:lnTo>
                    <a:pt x="126" y="1356"/>
                  </a:lnTo>
                  <a:lnTo>
                    <a:pt x="114" y="1344"/>
                  </a:lnTo>
                  <a:lnTo>
                    <a:pt x="84" y="1320"/>
                  </a:lnTo>
                  <a:lnTo>
                    <a:pt x="54" y="1296"/>
                  </a:lnTo>
                  <a:lnTo>
                    <a:pt x="48" y="1290"/>
                  </a:lnTo>
                  <a:lnTo>
                    <a:pt x="42" y="1278"/>
                  </a:lnTo>
                  <a:lnTo>
                    <a:pt x="30" y="1272"/>
                  </a:lnTo>
                  <a:lnTo>
                    <a:pt x="0" y="1248"/>
                  </a:lnTo>
                  <a:lnTo>
                    <a:pt x="6" y="1230"/>
                  </a:lnTo>
                  <a:lnTo>
                    <a:pt x="12" y="1194"/>
                  </a:lnTo>
                  <a:lnTo>
                    <a:pt x="18" y="1170"/>
                  </a:lnTo>
                  <a:lnTo>
                    <a:pt x="30" y="1134"/>
                  </a:lnTo>
                  <a:lnTo>
                    <a:pt x="36" y="1086"/>
                  </a:lnTo>
                  <a:lnTo>
                    <a:pt x="42" y="1050"/>
                  </a:lnTo>
                  <a:lnTo>
                    <a:pt x="48" y="1044"/>
                  </a:lnTo>
                  <a:lnTo>
                    <a:pt x="54" y="1026"/>
                  </a:lnTo>
                  <a:lnTo>
                    <a:pt x="60" y="1014"/>
                  </a:lnTo>
                  <a:lnTo>
                    <a:pt x="66" y="1002"/>
                  </a:lnTo>
                  <a:lnTo>
                    <a:pt x="66" y="996"/>
                  </a:lnTo>
                  <a:lnTo>
                    <a:pt x="72" y="996"/>
                  </a:lnTo>
                  <a:lnTo>
                    <a:pt x="72" y="990"/>
                  </a:lnTo>
                  <a:lnTo>
                    <a:pt x="78" y="990"/>
                  </a:lnTo>
                  <a:lnTo>
                    <a:pt x="90" y="978"/>
                  </a:lnTo>
                  <a:lnTo>
                    <a:pt x="96" y="966"/>
                  </a:lnTo>
                  <a:lnTo>
                    <a:pt x="102" y="966"/>
                  </a:lnTo>
                  <a:lnTo>
                    <a:pt x="114" y="954"/>
                  </a:lnTo>
                  <a:lnTo>
                    <a:pt x="120" y="954"/>
                  </a:lnTo>
                  <a:lnTo>
                    <a:pt x="120" y="948"/>
                  </a:lnTo>
                  <a:lnTo>
                    <a:pt x="114" y="930"/>
                  </a:lnTo>
                  <a:lnTo>
                    <a:pt x="114" y="924"/>
                  </a:lnTo>
                  <a:lnTo>
                    <a:pt x="108" y="918"/>
                  </a:lnTo>
                  <a:lnTo>
                    <a:pt x="102" y="912"/>
                  </a:lnTo>
                  <a:lnTo>
                    <a:pt x="90" y="906"/>
                  </a:lnTo>
                  <a:lnTo>
                    <a:pt x="84" y="900"/>
                  </a:lnTo>
                  <a:lnTo>
                    <a:pt x="84" y="888"/>
                  </a:lnTo>
                  <a:lnTo>
                    <a:pt x="84" y="882"/>
                  </a:lnTo>
                  <a:lnTo>
                    <a:pt x="78" y="858"/>
                  </a:lnTo>
                  <a:lnTo>
                    <a:pt x="78" y="852"/>
                  </a:lnTo>
                  <a:lnTo>
                    <a:pt x="84" y="846"/>
                  </a:lnTo>
                  <a:lnTo>
                    <a:pt x="84" y="840"/>
                  </a:lnTo>
                  <a:lnTo>
                    <a:pt x="96" y="828"/>
                  </a:lnTo>
                  <a:lnTo>
                    <a:pt x="114" y="816"/>
                  </a:lnTo>
                  <a:lnTo>
                    <a:pt x="114" y="810"/>
                  </a:lnTo>
                  <a:lnTo>
                    <a:pt x="114" y="804"/>
                  </a:lnTo>
                  <a:lnTo>
                    <a:pt x="108" y="780"/>
                  </a:lnTo>
                  <a:lnTo>
                    <a:pt x="96" y="756"/>
                  </a:lnTo>
                  <a:lnTo>
                    <a:pt x="96" y="750"/>
                  </a:lnTo>
                  <a:lnTo>
                    <a:pt x="90" y="720"/>
                  </a:lnTo>
                  <a:lnTo>
                    <a:pt x="90" y="708"/>
                  </a:lnTo>
                  <a:lnTo>
                    <a:pt x="90" y="690"/>
                  </a:lnTo>
                  <a:lnTo>
                    <a:pt x="96" y="672"/>
                  </a:lnTo>
                  <a:lnTo>
                    <a:pt x="90" y="666"/>
                  </a:lnTo>
                  <a:lnTo>
                    <a:pt x="96" y="666"/>
                  </a:lnTo>
                  <a:lnTo>
                    <a:pt x="102" y="642"/>
                  </a:lnTo>
                  <a:lnTo>
                    <a:pt x="108" y="624"/>
                  </a:lnTo>
                  <a:lnTo>
                    <a:pt x="102" y="618"/>
                  </a:lnTo>
                  <a:lnTo>
                    <a:pt x="102" y="588"/>
                  </a:lnTo>
                  <a:lnTo>
                    <a:pt x="102" y="564"/>
                  </a:lnTo>
                  <a:lnTo>
                    <a:pt x="102" y="546"/>
                  </a:lnTo>
                  <a:lnTo>
                    <a:pt x="102" y="522"/>
                  </a:lnTo>
                  <a:lnTo>
                    <a:pt x="96" y="522"/>
                  </a:lnTo>
                  <a:lnTo>
                    <a:pt x="96" y="510"/>
                  </a:lnTo>
                  <a:lnTo>
                    <a:pt x="96" y="498"/>
                  </a:lnTo>
                  <a:lnTo>
                    <a:pt x="96" y="486"/>
                  </a:lnTo>
                  <a:lnTo>
                    <a:pt x="96" y="474"/>
                  </a:lnTo>
                  <a:lnTo>
                    <a:pt x="96" y="462"/>
                  </a:lnTo>
                  <a:lnTo>
                    <a:pt x="114" y="450"/>
                  </a:lnTo>
                  <a:lnTo>
                    <a:pt x="126" y="438"/>
                  </a:lnTo>
                  <a:lnTo>
                    <a:pt x="132" y="432"/>
                  </a:lnTo>
                  <a:lnTo>
                    <a:pt x="144" y="426"/>
                  </a:lnTo>
                  <a:lnTo>
                    <a:pt x="144" y="420"/>
                  </a:lnTo>
                  <a:lnTo>
                    <a:pt x="156" y="414"/>
                  </a:lnTo>
                  <a:lnTo>
                    <a:pt x="162" y="408"/>
                  </a:lnTo>
                  <a:lnTo>
                    <a:pt x="180" y="396"/>
                  </a:lnTo>
                  <a:lnTo>
                    <a:pt x="210" y="372"/>
                  </a:lnTo>
                  <a:lnTo>
                    <a:pt x="210" y="366"/>
                  </a:lnTo>
                  <a:lnTo>
                    <a:pt x="216" y="360"/>
                  </a:lnTo>
                  <a:lnTo>
                    <a:pt x="234" y="348"/>
                  </a:lnTo>
                  <a:lnTo>
                    <a:pt x="240" y="348"/>
                  </a:lnTo>
                  <a:lnTo>
                    <a:pt x="246" y="342"/>
                  </a:lnTo>
                  <a:lnTo>
                    <a:pt x="276" y="318"/>
                  </a:lnTo>
                  <a:lnTo>
                    <a:pt x="282" y="312"/>
                  </a:lnTo>
                  <a:lnTo>
                    <a:pt x="288" y="306"/>
                  </a:lnTo>
                  <a:lnTo>
                    <a:pt x="300" y="288"/>
                  </a:lnTo>
                  <a:lnTo>
                    <a:pt x="306" y="276"/>
                  </a:lnTo>
                  <a:lnTo>
                    <a:pt x="324" y="246"/>
                  </a:lnTo>
                  <a:lnTo>
                    <a:pt x="330" y="240"/>
                  </a:lnTo>
                  <a:lnTo>
                    <a:pt x="336" y="234"/>
                  </a:lnTo>
                  <a:lnTo>
                    <a:pt x="342" y="228"/>
                  </a:lnTo>
                  <a:lnTo>
                    <a:pt x="342" y="216"/>
                  </a:lnTo>
                  <a:lnTo>
                    <a:pt x="354" y="204"/>
                  </a:lnTo>
                  <a:lnTo>
                    <a:pt x="360" y="204"/>
                  </a:lnTo>
                  <a:lnTo>
                    <a:pt x="366" y="186"/>
                  </a:lnTo>
                  <a:lnTo>
                    <a:pt x="384" y="162"/>
                  </a:lnTo>
                  <a:lnTo>
                    <a:pt x="390" y="144"/>
                  </a:lnTo>
                  <a:lnTo>
                    <a:pt x="396" y="114"/>
                  </a:lnTo>
                  <a:lnTo>
                    <a:pt x="396" y="102"/>
                  </a:lnTo>
                  <a:lnTo>
                    <a:pt x="402" y="90"/>
                  </a:lnTo>
                  <a:lnTo>
                    <a:pt x="408" y="66"/>
                  </a:lnTo>
                  <a:lnTo>
                    <a:pt x="408" y="60"/>
                  </a:lnTo>
                  <a:lnTo>
                    <a:pt x="408" y="36"/>
                  </a:lnTo>
                  <a:lnTo>
                    <a:pt x="408" y="24"/>
                  </a:lnTo>
                  <a:lnTo>
                    <a:pt x="408" y="6"/>
                  </a:lnTo>
                  <a:lnTo>
                    <a:pt x="420" y="0"/>
                  </a:lnTo>
                  <a:lnTo>
                    <a:pt x="432" y="0"/>
                  </a:lnTo>
                  <a:lnTo>
                    <a:pt x="438" y="0"/>
                  </a:lnTo>
                  <a:lnTo>
                    <a:pt x="468" y="0"/>
                  </a:lnTo>
                  <a:lnTo>
                    <a:pt x="480" y="0"/>
                  </a:lnTo>
                  <a:lnTo>
                    <a:pt x="492" y="0"/>
                  </a:lnTo>
                  <a:lnTo>
                    <a:pt x="498" y="0"/>
                  </a:lnTo>
                  <a:lnTo>
                    <a:pt x="504" y="6"/>
                  </a:lnTo>
                  <a:lnTo>
                    <a:pt x="510" y="12"/>
                  </a:lnTo>
                  <a:lnTo>
                    <a:pt x="528" y="18"/>
                  </a:lnTo>
                  <a:lnTo>
                    <a:pt x="534" y="18"/>
                  </a:lnTo>
                  <a:lnTo>
                    <a:pt x="540" y="18"/>
                  </a:lnTo>
                  <a:lnTo>
                    <a:pt x="546" y="24"/>
                  </a:lnTo>
                  <a:lnTo>
                    <a:pt x="552" y="24"/>
                  </a:lnTo>
                  <a:lnTo>
                    <a:pt x="558" y="36"/>
                  </a:lnTo>
                  <a:lnTo>
                    <a:pt x="588" y="54"/>
                  </a:lnTo>
                  <a:lnTo>
                    <a:pt x="594" y="48"/>
                  </a:lnTo>
                  <a:lnTo>
                    <a:pt x="600" y="48"/>
                  </a:lnTo>
                  <a:lnTo>
                    <a:pt x="600" y="60"/>
                  </a:lnTo>
                  <a:lnTo>
                    <a:pt x="606" y="60"/>
                  </a:lnTo>
                  <a:lnTo>
                    <a:pt x="612" y="66"/>
                  </a:lnTo>
                  <a:lnTo>
                    <a:pt x="630" y="72"/>
                  </a:lnTo>
                  <a:lnTo>
                    <a:pt x="642" y="78"/>
                  </a:lnTo>
                  <a:lnTo>
                    <a:pt x="666" y="78"/>
                  </a:lnTo>
                  <a:lnTo>
                    <a:pt x="672" y="72"/>
                  </a:lnTo>
                  <a:lnTo>
                    <a:pt x="690" y="84"/>
                  </a:lnTo>
                  <a:lnTo>
                    <a:pt x="690" y="90"/>
                  </a:lnTo>
                  <a:lnTo>
                    <a:pt x="708" y="96"/>
                  </a:lnTo>
                  <a:lnTo>
                    <a:pt x="708" y="102"/>
                  </a:lnTo>
                  <a:lnTo>
                    <a:pt x="744" y="96"/>
                  </a:lnTo>
                  <a:lnTo>
                    <a:pt x="756" y="78"/>
                  </a:lnTo>
                  <a:lnTo>
                    <a:pt x="756" y="72"/>
                  </a:lnTo>
                  <a:lnTo>
                    <a:pt x="762" y="66"/>
                  </a:lnTo>
                  <a:lnTo>
                    <a:pt x="768" y="60"/>
                  </a:lnTo>
                  <a:lnTo>
                    <a:pt x="774" y="54"/>
                  </a:lnTo>
                  <a:lnTo>
                    <a:pt x="786" y="54"/>
                  </a:lnTo>
                  <a:lnTo>
                    <a:pt x="786" y="60"/>
                  </a:lnTo>
                  <a:lnTo>
                    <a:pt x="786" y="66"/>
                  </a:lnTo>
                  <a:lnTo>
                    <a:pt x="786" y="72"/>
                  </a:lnTo>
                  <a:lnTo>
                    <a:pt x="786" y="78"/>
                  </a:lnTo>
                  <a:lnTo>
                    <a:pt x="792" y="90"/>
                  </a:lnTo>
                  <a:lnTo>
                    <a:pt x="780" y="102"/>
                  </a:lnTo>
                  <a:lnTo>
                    <a:pt x="774" y="108"/>
                  </a:lnTo>
                  <a:lnTo>
                    <a:pt x="774" y="114"/>
                  </a:lnTo>
                  <a:lnTo>
                    <a:pt x="780" y="126"/>
                  </a:lnTo>
                  <a:lnTo>
                    <a:pt x="768" y="150"/>
                  </a:lnTo>
                  <a:lnTo>
                    <a:pt x="750" y="168"/>
                  </a:lnTo>
                  <a:lnTo>
                    <a:pt x="750" y="174"/>
                  </a:lnTo>
                  <a:lnTo>
                    <a:pt x="762" y="192"/>
                  </a:lnTo>
                  <a:lnTo>
                    <a:pt x="774" y="210"/>
                  </a:lnTo>
                  <a:lnTo>
                    <a:pt x="792" y="228"/>
                  </a:lnTo>
                  <a:lnTo>
                    <a:pt x="804" y="240"/>
                  </a:lnTo>
                  <a:lnTo>
                    <a:pt x="822" y="246"/>
                  </a:lnTo>
                  <a:lnTo>
                    <a:pt x="828" y="252"/>
                  </a:lnTo>
                  <a:lnTo>
                    <a:pt x="840" y="252"/>
                  </a:lnTo>
                  <a:lnTo>
                    <a:pt x="834" y="252"/>
                  </a:lnTo>
                  <a:lnTo>
                    <a:pt x="846" y="252"/>
                  </a:lnTo>
                  <a:lnTo>
                    <a:pt x="852" y="270"/>
                  </a:lnTo>
                  <a:lnTo>
                    <a:pt x="858" y="282"/>
                  </a:lnTo>
                  <a:lnTo>
                    <a:pt x="858" y="288"/>
                  </a:lnTo>
                  <a:lnTo>
                    <a:pt x="864" y="300"/>
                  </a:lnTo>
                  <a:lnTo>
                    <a:pt x="864" y="312"/>
                  </a:lnTo>
                  <a:lnTo>
                    <a:pt x="864" y="318"/>
                  </a:lnTo>
                  <a:lnTo>
                    <a:pt x="858" y="318"/>
                  </a:lnTo>
                  <a:lnTo>
                    <a:pt x="852" y="318"/>
                  </a:lnTo>
                  <a:lnTo>
                    <a:pt x="846" y="324"/>
                  </a:lnTo>
                  <a:lnTo>
                    <a:pt x="846" y="336"/>
                  </a:lnTo>
                  <a:lnTo>
                    <a:pt x="840" y="348"/>
                  </a:lnTo>
                  <a:lnTo>
                    <a:pt x="840" y="360"/>
                  </a:lnTo>
                  <a:lnTo>
                    <a:pt x="840" y="372"/>
                  </a:lnTo>
                  <a:lnTo>
                    <a:pt x="840" y="378"/>
                  </a:lnTo>
                  <a:lnTo>
                    <a:pt x="846" y="402"/>
                  </a:lnTo>
                  <a:lnTo>
                    <a:pt x="858" y="420"/>
                  </a:lnTo>
                  <a:lnTo>
                    <a:pt x="882" y="426"/>
                  </a:lnTo>
                  <a:lnTo>
                    <a:pt x="888" y="444"/>
                  </a:lnTo>
                  <a:lnTo>
                    <a:pt x="900" y="444"/>
                  </a:lnTo>
                  <a:lnTo>
                    <a:pt x="900" y="462"/>
                  </a:lnTo>
                  <a:lnTo>
                    <a:pt x="894" y="474"/>
                  </a:lnTo>
                  <a:lnTo>
                    <a:pt x="888" y="486"/>
                  </a:lnTo>
                  <a:lnTo>
                    <a:pt x="882" y="492"/>
                  </a:lnTo>
                  <a:lnTo>
                    <a:pt x="870" y="504"/>
                  </a:lnTo>
                  <a:lnTo>
                    <a:pt x="852" y="504"/>
                  </a:lnTo>
                  <a:lnTo>
                    <a:pt x="852" y="510"/>
                  </a:lnTo>
                  <a:lnTo>
                    <a:pt x="852" y="516"/>
                  </a:lnTo>
                  <a:lnTo>
                    <a:pt x="846" y="528"/>
                  </a:lnTo>
                  <a:lnTo>
                    <a:pt x="846" y="582"/>
                  </a:lnTo>
                  <a:lnTo>
                    <a:pt x="840" y="582"/>
                  </a:lnTo>
                  <a:lnTo>
                    <a:pt x="834" y="582"/>
                  </a:lnTo>
                  <a:lnTo>
                    <a:pt x="828" y="582"/>
                  </a:lnTo>
                  <a:lnTo>
                    <a:pt x="822" y="582"/>
                  </a:lnTo>
                  <a:lnTo>
                    <a:pt x="810" y="582"/>
                  </a:lnTo>
                  <a:lnTo>
                    <a:pt x="810" y="528"/>
                  </a:lnTo>
                  <a:lnTo>
                    <a:pt x="792" y="528"/>
                  </a:lnTo>
                  <a:lnTo>
                    <a:pt x="792" y="522"/>
                  </a:lnTo>
                  <a:lnTo>
                    <a:pt x="786" y="522"/>
                  </a:lnTo>
                  <a:lnTo>
                    <a:pt x="786" y="516"/>
                  </a:lnTo>
                  <a:lnTo>
                    <a:pt x="780" y="516"/>
                  </a:lnTo>
                  <a:lnTo>
                    <a:pt x="780" y="510"/>
                  </a:lnTo>
                  <a:lnTo>
                    <a:pt x="762" y="510"/>
                  </a:lnTo>
                  <a:lnTo>
                    <a:pt x="756" y="510"/>
                  </a:lnTo>
                  <a:lnTo>
                    <a:pt x="750" y="522"/>
                  </a:lnTo>
                  <a:lnTo>
                    <a:pt x="744" y="534"/>
                  </a:lnTo>
                  <a:lnTo>
                    <a:pt x="732" y="540"/>
                  </a:lnTo>
                  <a:lnTo>
                    <a:pt x="732" y="558"/>
                  </a:lnTo>
                  <a:lnTo>
                    <a:pt x="732" y="564"/>
                  </a:lnTo>
                  <a:lnTo>
                    <a:pt x="732" y="570"/>
                  </a:lnTo>
                  <a:lnTo>
                    <a:pt x="726" y="576"/>
                  </a:lnTo>
                  <a:lnTo>
                    <a:pt x="720" y="576"/>
                  </a:lnTo>
                  <a:lnTo>
                    <a:pt x="714" y="582"/>
                  </a:lnTo>
                  <a:lnTo>
                    <a:pt x="702" y="588"/>
                  </a:lnTo>
                  <a:lnTo>
                    <a:pt x="696" y="594"/>
                  </a:lnTo>
                  <a:lnTo>
                    <a:pt x="690" y="600"/>
                  </a:lnTo>
                  <a:lnTo>
                    <a:pt x="690" y="606"/>
                  </a:lnTo>
                  <a:lnTo>
                    <a:pt x="678" y="606"/>
                  </a:lnTo>
                  <a:lnTo>
                    <a:pt x="678" y="624"/>
                  </a:lnTo>
                  <a:lnTo>
                    <a:pt x="684" y="642"/>
                  </a:lnTo>
                  <a:lnTo>
                    <a:pt x="684" y="660"/>
                  </a:lnTo>
                  <a:lnTo>
                    <a:pt x="690" y="672"/>
                  </a:lnTo>
                  <a:lnTo>
                    <a:pt x="702" y="720"/>
                  </a:lnTo>
                  <a:lnTo>
                    <a:pt x="708" y="750"/>
                  </a:lnTo>
                  <a:lnTo>
                    <a:pt x="708" y="792"/>
                  </a:lnTo>
                  <a:lnTo>
                    <a:pt x="708" y="828"/>
                  </a:lnTo>
                  <a:lnTo>
                    <a:pt x="708" y="852"/>
                  </a:lnTo>
                  <a:lnTo>
                    <a:pt x="696" y="894"/>
                  </a:lnTo>
                  <a:lnTo>
                    <a:pt x="702" y="900"/>
                  </a:lnTo>
                  <a:lnTo>
                    <a:pt x="708" y="924"/>
                  </a:lnTo>
                  <a:lnTo>
                    <a:pt x="684" y="936"/>
                  </a:lnTo>
                  <a:lnTo>
                    <a:pt x="660" y="954"/>
                  </a:lnTo>
                  <a:lnTo>
                    <a:pt x="618" y="984"/>
                  </a:lnTo>
                  <a:lnTo>
                    <a:pt x="618" y="990"/>
                  </a:lnTo>
                  <a:lnTo>
                    <a:pt x="612" y="996"/>
                  </a:lnTo>
                  <a:lnTo>
                    <a:pt x="606" y="1002"/>
                  </a:lnTo>
                  <a:lnTo>
                    <a:pt x="618" y="1008"/>
                  </a:lnTo>
                  <a:lnTo>
                    <a:pt x="618" y="1014"/>
                  </a:lnTo>
                  <a:lnTo>
                    <a:pt x="624" y="1026"/>
                  </a:lnTo>
                  <a:lnTo>
                    <a:pt x="630" y="1026"/>
                  </a:lnTo>
                  <a:lnTo>
                    <a:pt x="636" y="1032"/>
                  </a:lnTo>
                  <a:lnTo>
                    <a:pt x="642" y="1032"/>
                  </a:lnTo>
                  <a:lnTo>
                    <a:pt x="642" y="1038"/>
                  </a:lnTo>
                  <a:lnTo>
                    <a:pt x="648" y="1044"/>
                  </a:lnTo>
                  <a:lnTo>
                    <a:pt x="666" y="1050"/>
                  </a:lnTo>
                  <a:lnTo>
                    <a:pt x="678" y="1038"/>
                  </a:lnTo>
                  <a:lnTo>
                    <a:pt x="684" y="1038"/>
                  </a:lnTo>
                  <a:lnTo>
                    <a:pt x="684" y="1032"/>
                  </a:lnTo>
                  <a:lnTo>
                    <a:pt x="690" y="1032"/>
                  </a:lnTo>
                  <a:lnTo>
                    <a:pt x="690" y="1026"/>
                  </a:lnTo>
                  <a:lnTo>
                    <a:pt x="696" y="1020"/>
                  </a:lnTo>
                  <a:lnTo>
                    <a:pt x="708" y="1014"/>
                  </a:lnTo>
                  <a:lnTo>
                    <a:pt x="720" y="1020"/>
                  </a:lnTo>
                  <a:lnTo>
                    <a:pt x="720" y="1014"/>
                  </a:lnTo>
                  <a:lnTo>
                    <a:pt x="726" y="1008"/>
                  </a:lnTo>
                  <a:lnTo>
                    <a:pt x="732" y="1008"/>
                  </a:lnTo>
                  <a:lnTo>
                    <a:pt x="738" y="1008"/>
                  </a:lnTo>
                  <a:lnTo>
                    <a:pt x="744" y="1002"/>
                  </a:lnTo>
                  <a:lnTo>
                    <a:pt x="744" y="996"/>
                  </a:lnTo>
                  <a:lnTo>
                    <a:pt x="750" y="996"/>
                  </a:lnTo>
                  <a:lnTo>
                    <a:pt x="756" y="1002"/>
                  </a:lnTo>
                  <a:lnTo>
                    <a:pt x="762" y="1002"/>
                  </a:lnTo>
                  <a:lnTo>
                    <a:pt x="768" y="996"/>
                  </a:lnTo>
                  <a:lnTo>
                    <a:pt x="780" y="996"/>
                  </a:lnTo>
                  <a:lnTo>
                    <a:pt x="786" y="996"/>
                  </a:lnTo>
                  <a:lnTo>
                    <a:pt x="816" y="990"/>
                  </a:lnTo>
                  <a:lnTo>
                    <a:pt x="828" y="990"/>
                  </a:lnTo>
                  <a:lnTo>
                    <a:pt x="834" y="990"/>
                  </a:lnTo>
                  <a:lnTo>
                    <a:pt x="840" y="984"/>
                  </a:lnTo>
                  <a:lnTo>
                    <a:pt x="852" y="978"/>
                  </a:lnTo>
                  <a:lnTo>
                    <a:pt x="852" y="972"/>
                  </a:lnTo>
                  <a:lnTo>
                    <a:pt x="858" y="972"/>
                  </a:lnTo>
                  <a:lnTo>
                    <a:pt x="864" y="966"/>
                  </a:lnTo>
                  <a:lnTo>
                    <a:pt x="870" y="966"/>
                  </a:lnTo>
                  <a:lnTo>
                    <a:pt x="876" y="966"/>
                  </a:lnTo>
                  <a:lnTo>
                    <a:pt x="882" y="960"/>
                  </a:lnTo>
                  <a:lnTo>
                    <a:pt x="888" y="960"/>
                  </a:lnTo>
                  <a:lnTo>
                    <a:pt x="894" y="960"/>
                  </a:lnTo>
                  <a:lnTo>
                    <a:pt x="894" y="966"/>
                  </a:lnTo>
                  <a:lnTo>
                    <a:pt x="894" y="978"/>
                  </a:lnTo>
                  <a:lnTo>
                    <a:pt x="894" y="984"/>
                  </a:lnTo>
                  <a:lnTo>
                    <a:pt x="900" y="984"/>
                  </a:lnTo>
                  <a:lnTo>
                    <a:pt x="906" y="978"/>
                  </a:lnTo>
                  <a:lnTo>
                    <a:pt x="912" y="972"/>
                  </a:lnTo>
                  <a:lnTo>
                    <a:pt x="918" y="978"/>
                  </a:lnTo>
                  <a:lnTo>
                    <a:pt x="924" y="978"/>
                  </a:lnTo>
                  <a:lnTo>
                    <a:pt x="924" y="972"/>
                  </a:lnTo>
                  <a:lnTo>
                    <a:pt x="924" y="966"/>
                  </a:lnTo>
                  <a:lnTo>
                    <a:pt x="930" y="966"/>
                  </a:lnTo>
                  <a:lnTo>
                    <a:pt x="948" y="966"/>
                  </a:lnTo>
                  <a:lnTo>
                    <a:pt x="954" y="966"/>
                  </a:lnTo>
                  <a:lnTo>
                    <a:pt x="954" y="960"/>
                  </a:lnTo>
                  <a:lnTo>
                    <a:pt x="960" y="960"/>
                  </a:lnTo>
                  <a:lnTo>
                    <a:pt x="966" y="960"/>
                  </a:lnTo>
                  <a:lnTo>
                    <a:pt x="966" y="966"/>
                  </a:lnTo>
                  <a:lnTo>
                    <a:pt x="978" y="972"/>
                  </a:lnTo>
                  <a:lnTo>
                    <a:pt x="978" y="978"/>
                  </a:lnTo>
                  <a:lnTo>
                    <a:pt x="978" y="984"/>
                  </a:lnTo>
                  <a:lnTo>
                    <a:pt x="984" y="978"/>
                  </a:lnTo>
                  <a:lnTo>
                    <a:pt x="990" y="978"/>
                  </a:lnTo>
                  <a:lnTo>
                    <a:pt x="996" y="984"/>
                  </a:lnTo>
                  <a:lnTo>
                    <a:pt x="1002" y="990"/>
                  </a:lnTo>
                  <a:lnTo>
                    <a:pt x="1008" y="972"/>
                  </a:lnTo>
                  <a:lnTo>
                    <a:pt x="1026" y="972"/>
                  </a:lnTo>
                  <a:lnTo>
                    <a:pt x="1032" y="972"/>
                  </a:lnTo>
                  <a:lnTo>
                    <a:pt x="1038" y="972"/>
                  </a:lnTo>
                  <a:lnTo>
                    <a:pt x="1050" y="972"/>
                  </a:lnTo>
                  <a:lnTo>
                    <a:pt x="1056" y="972"/>
                  </a:lnTo>
                  <a:lnTo>
                    <a:pt x="1062" y="966"/>
                  </a:lnTo>
                  <a:lnTo>
                    <a:pt x="1074" y="966"/>
                  </a:lnTo>
                  <a:lnTo>
                    <a:pt x="1074" y="960"/>
                  </a:lnTo>
                  <a:lnTo>
                    <a:pt x="1080" y="954"/>
                  </a:lnTo>
                  <a:lnTo>
                    <a:pt x="1080" y="948"/>
                  </a:lnTo>
                  <a:lnTo>
                    <a:pt x="1074" y="948"/>
                  </a:lnTo>
                  <a:lnTo>
                    <a:pt x="1068" y="948"/>
                  </a:lnTo>
                  <a:lnTo>
                    <a:pt x="1062" y="942"/>
                  </a:lnTo>
                  <a:lnTo>
                    <a:pt x="1068" y="936"/>
                  </a:lnTo>
                  <a:lnTo>
                    <a:pt x="1074" y="936"/>
                  </a:lnTo>
                  <a:lnTo>
                    <a:pt x="1080" y="936"/>
                  </a:lnTo>
                  <a:lnTo>
                    <a:pt x="1086" y="942"/>
                  </a:lnTo>
                  <a:lnTo>
                    <a:pt x="1092" y="942"/>
                  </a:lnTo>
                  <a:lnTo>
                    <a:pt x="1098" y="948"/>
                  </a:lnTo>
                  <a:lnTo>
                    <a:pt x="1104" y="954"/>
                  </a:lnTo>
                  <a:lnTo>
                    <a:pt x="1110" y="954"/>
                  </a:lnTo>
                  <a:lnTo>
                    <a:pt x="1116" y="948"/>
                  </a:lnTo>
                  <a:lnTo>
                    <a:pt x="1122" y="942"/>
                  </a:lnTo>
                  <a:lnTo>
                    <a:pt x="1128" y="942"/>
                  </a:lnTo>
                  <a:lnTo>
                    <a:pt x="1134" y="942"/>
                  </a:lnTo>
                  <a:lnTo>
                    <a:pt x="1140" y="948"/>
                  </a:lnTo>
                  <a:lnTo>
                    <a:pt x="1146" y="942"/>
                  </a:lnTo>
                  <a:lnTo>
                    <a:pt x="1152" y="942"/>
                  </a:lnTo>
                  <a:lnTo>
                    <a:pt x="1152" y="930"/>
                  </a:lnTo>
                  <a:lnTo>
                    <a:pt x="1164" y="936"/>
                  </a:lnTo>
                  <a:lnTo>
                    <a:pt x="1158" y="942"/>
                  </a:lnTo>
                  <a:lnTo>
                    <a:pt x="1158" y="948"/>
                  </a:lnTo>
                  <a:lnTo>
                    <a:pt x="1146" y="954"/>
                  </a:lnTo>
                  <a:lnTo>
                    <a:pt x="1152" y="954"/>
                  </a:lnTo>
                  <a:lnTo>
                    <a:pt x="1158" y="954"/>
                  </a:lnTo>
                  <a:lnTo>
                    <a:pt x="1158" y="948"/>
                  </a:lnTo>
                  <a:lnTo>
                    <a:pt x="1164" y="948"/>
                  </a:lnTo>
                  <a:lnTo>
                    <a:pt x="1170" y="948"/>
                  </a:lnTo>
                  <a:lnTo>
                    <a:pt x="1176" y="954"/>
                  </a:lnTo>
                  <a:lnTo>
                    <a:pt x="1176" y="966"/>
                  </a:lnTo>
                  <a:lnTo>
                    <a:pt x="1182" y="972"/>
                  </a:lnTo>
                  <a:lnTo>
                    <a:pt x="1188" y="972"/>
                  </a:lnTo>
                  <a:lnTo>
                    <a:pt x="1182" y="984"/>
                  </a:lnTo>
                  <a:lnTo>
                    <a:pt x="1188" y="984"/>
                  </a:lnTo>
                  <a:lnTo>
                    <a:pt x="1194" y="984"/>
                  </a:lnTo>
                  <a:lnTo>
                    <a:pt x="1200" y="984"/>
                  </a:lnTo>
                  <a:lnTo>
                    <a:pt x="1212" y="984"/>
                  </a:lnTo>
                  <a:lnTo>
                    <a:pt x="1218" y="990"/>
                  </a:lnTo>
                  <a:lnTo>
                    <a:pt x="1224" y="990"/>
                  </a:lnTo>
                  <a:lnTo>
                    <a:pt x="1224" y="984"/>
                  </a:lnTo>
                  <a:lnTo>
                    <a:pt x="1230" y="990"/>
                  </a:lnTo>
                  <a:lnTo>
                    <a:pt x="1236" y="984"/>
                  </a:lnTo>
                  <a:lnTo>
                    <a:pt x="1242" y="984"/>
                  </a:lnTo>
                  <a:lnTo>
                    <a:pt x="1248" y="990"/>
                  </a:lnTo>
                  <a:lnTo>
                    <a:pt x="1254" y="990"/>
                  </a:lnTo>
                  <a:lnTo>
                    <a:pt x="1254" y="996"/>
                  </a:lnTo>
                  <a:lnTo>
                    <a:pt x="1254" y="1002"/>
                  </a:lnTo>
                  <a:lnTo>
                    <a:pt x="1254" y="1008"/>
                  </a:lnTo>
                  <a:lnTo>
                    <a:pt x="1260" y="1014"/>
                  </a:lnTo>
                  <a:lnTo>
                    <a:pt x="1266" y="1014"/>
                  </a:lnTo>
                  <a:lnTo>
                    <a:pt x="1272" y="1014"/>
                  </a:lnTo>
                  <a:lnTo>
                    <a:pt x="1278" y="1020"/>
                  </a:lnTo>
                  <a:lnTo>
                    <a:pt x="1284" y="1020"/>
                  </a:lnTo>
                  <a:lnTo>
                    <a:pt x="1290" y="1014"/>
                  </a:lnTo>
                  <a:lnTo>
                    <a:pt x="1290" y="1008"/>
                  </a:lnTo>
                  <a:lnTo>
                    <a:pt x="1296" y="1008"/>
                  </a:lnTo>
                  <a:lnTo>
                    <a:pt x="1302" y="1014"/>
                  </a:lnTo>
                  <a:lnTo>
                    <a:pt x="1308" y="1014"/>
                  </a:lnTo>
                  <a:lnTo>
                    <a:pt x="1314" y="1008"/>
                  </a:lnTo>
                  <a:lnTo>
                    <a:pt x="1320" y="1008"/>
                  </a:lnTo>
                  <a:lnTo>
                    <a:pt x="1320" y="1002"/>
                  </a:lnTo>
                  <a:lnTo>
                    <a:pt x="1320" y="996"/>
                  </a:lnTo>
                  <a:lnTo>
                    <a:pt x="1332" y="1002"/>
                  </a:lnTo>
                  <a:lnTo>
                    <a:pt x="1332" y="1008"/>
                  </a:lnTo>
                  <a:lnTo>
                    <a:pt x="1326" y="1014"/>
                  </a:lnTo>
                  <a:lnTo>
                    <a:pt x="1332" y="1014"/>
                  </a:lnTo>
                  <a:lnTo>
                    <a:pt x="1338" y="1014"/>
                  </a:lnTo>
                  <a:lnTo>
                    <a:pt x="1338" y="1008"/>
                  </a:lnTo>
                  <a:lnTo>
                    <a:pt x="1344" y="1008"/>
                  </a:lnTo>
                  <a:lnTo>
                    <a:pt x="1350" y="1008"/>
                  </a:lnTo>
                  <a:lnTo>
                    <a:pt x="1356" y="1014"/>
                  </a:lnTo>
                  <a:lnTo>
                    <a:pt x="1356" y="1008"/>
                  </a:lnTo>
                  <a:lnTo>
                    <a:pt x="1362" y="1014"/>
                  </a:lnTo>
                  <a:lnTo>
                    <a:pt x="1392" y="1014"/>
                  </a:lnTo>
                  <a:lnTo>
                    <a:pt x="1398" y="1014"/>
                  </a:lnTo>
                  <a:lnTo>
                    <a:pt x="1404" y="1008"/>
                  </a:lnTo>
                  <a:lnTo>
                    <a:pt x="1404" y="1014"/>
                  </a:lnTo>
                  <a:lnTo>
                    <a:pt x="1410" y="1008"/>
                  </a:lnTo>
                  <a:lnTo>
                    <a:pt x="1416" y="1008"/>
                  </a:lnTo>
                  <a:lnTo>
                    <a:pt x="1422" y="1002"/>
                  </a:lnTo>
                  <a:lnTo>
                    <a:pt x="1428" y="1002"/>
                  </a:lnTo>
                  <a:lnTo>
                    <a:pt x="1428" y="996"/>
                  </a:lnTo>
                  <a:lnTo>
                    <a:pt x="1428" y="990"/>
                  </a:lnTo>
                  <a:lnTo>
                    <a:pt x="1440" y="1002"/>
                  </a:lnTo>
                  <a:lnTo>
                    <a:pt x="1446" y="1002"/>
                  </a:lnTo>
                  <a:lnTo>
                    <a:pt x="1452" y="1002"/>
                  </a:lnTo>
                  <a:lnTo>
                    <a:pt x="1446" y="996"/>
                  </a:lnTo>
                  <a:lnTo>
                    <a:pt x="1452" y="996"/>
                  </a:lnTo>
                  <a:lnTo>
                    <a:pt x="1458" y="996"/>
                  </a:lnTo>
                  <a:lnTo>
                    <a:pt x="1464" y="996"/>
                  </a:lnTo>
                  <a:lnTo>
                    <a:pt x="1464" y="1002"/>
                  </a:lnTo>
                  <a:lnTo>
                    <a:pt x="1476" y="1014"/>
                  </a:lnTo>
                  <a:lnTo>
                    <a:pt x="1476" y="1008"/>
                  </a:lnTo>
                  <a:lnTo>
                    <a:pt x="1482" y="1008"/>
                  </a:lnTo>
                  <a:lnTo>
                    <a:pt x="1488" y="1020"/>
                  </a:lnTo>
                  <a:lnTo>
                    <a:pt x="1494" y="1020"/>
                  </a:lnTo>
                  <a:lnTo>
                    <a:pt x="1500" y="1014"/>
                  </a:lnTo>
                  <a:lnTo>
                    <a:pt x="1500" y="1020"/>
                  </a:lnTo>
                  <a:lnTo>
                    <a:pt x="1506" y="1026"/>
                  </a:lnTo>
                  <a:lnTo>
                    <a:pt x="1512" y="1032"/>
                  </a:lnTo>
                  <a:lnTo>
                    <a:pt x="1518" y="1032"/>
                  </a:lnTo>
                  <a:lnTo>
                    <a:pt x="1518" y="1038"/>
                  </a:lnTo>
                  <a:lnTo>
                    <a:pt x="1518" y="1044"/>
                  </a:lnTo>
                  <a:lnTo>
                    <a:pt x="1524" y="1044"/>
                  </a:lnTo>
                  <a:lnTo>
                    <a:pt x="1524" y="1050"/>
                  </a:lnTo>
                  <a:lnTo>
                    <a:pt x="1530" y="1056"/>
                  </a:lnTo>
                  <a:lnTo>
                    <a:pt x="1548" y="1062"/>
                  </a:lnTo>
                  <a:lnTo>
                    <a:pt x="1560" y="1074"/>
                  </a:lnTo>
                  <a:lnTo>
                    <a:pt x="1560" y="1080"/>
                  </a:lnTo>
                  <a:lnTo>
                    <a:pt x="1560" y="1086"/>
                  </a:lnTo>
                  <a:lnTo>
                    <a:pt x="1566" y="1086"/>
                  </a:lnTo>
                  <a:lnTo>
                    <a:pt x="1572" y="1098"/>
                  </a:lnTo>
                  <a:lnTo>
                    <a:pt x="1572" y="1104"/>
                  </a:lnTo>
                  <a:lnTo>
                    <a:pt x="1584" y="1110"/>
                  </a:lnTo>
                  <a:lnTo>
                    <a:pt x="1590" y="1116"/>
                  </a:lnTo>
                  <a:lnTo>
                    <a:pt x="1596" y="1116"/>
                  </a:lnTo>
                  <a:lnTo>
                    <a:pt x="1608" y="1122"/>
                  </a:lnTo>
                  <a:lnTo>
                    <a:pt x="1620" y="1140"/>
                  </a:lnTo>
                  <a:lnTo>
                    <a:pt x="1626" y="1158"/>
                  </a:lnTo>
                  <a:lnTo>
                    <a:pt x="1638" y="1200"/>
                  </a:lnTo>
                  <a:lnTo>
                    <a:pt x="1638" y="1218"/>
                  </a:lnTo>
                  <a:lnTo>
                    <a:pt x="1620" y="1230"/>
                  </a:lnTo>
                  <a:lnTo>
                    <a:pt x="1554" y="1230"/>
                  </a:lnTo>
                  <a:lnTo>
                    <a:pt x="1560" y="1248"/>
                  </a:lnTo>
                  <a:lnTo>
                    <a:pt x="1584" y="1260"/>
                  </a:lnTo>
                  <a:lnTo>
                    <a:pt x="1584" y="1266"/>
                  </a:lnTo>
                  <a:lnTo>
                    <a:pt x="1578" y="1272"/>
                  </a:lnTo>
                  <a:lnTo>
                    <a:pt x="1572" y="1272"/>
                  </a:lnTo>
                  <a:lnTo>
                    <a:pt x="1566" y="1278"/>
                  </a:lnTo>
                  <a:lnTo>
                    <a:pt x="1566" y="1284"/>
                  </a:lnTo>
                  <a:lnTo>
                    <a:pt x="1560" y="1290"/>
                  </a:lnTo>
                  <a:lnTo>
                    <a:pt x="1554" y="1290"/>
                  </a:lnTo>
                  <a:lnTo>
                    <a:pt x="1554" y="1296"/>
                  </a:lnTo>
                  <a:lnTo>
                    <a:pt x="1554" y="1302"/>
                  </a:lnTo>
                  <a:lnTo>
                    <a:pt x="1560" y="1332"/>
                  </a:lnTo>
                  <a:lnTo>
                    <a:pt x="1566" y="1356"/>
                  </a:lnTo>
                  <a:lnTo>
                    <a:pt x="1572" y="1356"/>
                  </a:lnTo>
                  <a:lnTo>
                    <a:pt x="1572" y="1362"/>
                  </a:lnTo>
                  <a:lnTo>
                    <a:pt x="1578" y="1362"/>
                  </a:lnTo>
                  <a:lnTo>
                    <a:pt x="1560" y="1374"/>
                  </a:lnTo>
                  <a:lnTo>
                    <a:pt x="1560" y="1380"/>
                  </a:lnTo>
                  <a:lnTo>
                    <a:pt x="1548" y="1380"/>
                  </a:lnTo>
                  <a:lnTo>
                    <a:pt x="1548" y="1386"/>
                  </a:lnTo>
                  <a:lnTo>
                    <a:pt x="1548" y="1392"/>
                  </a:lnTo>
                  <a:lnTo>
                    <a:pt x="1542" y="1410"/>
                  </a:lnTo>
                  <a:lnTo>
                    <a:pt x="1536" y="1422"/>
                  </a:lnTo>
                  <a:lnTo>
                    <a:pt x="1536" y="1428"/>
                  </a:lnTo>
                  <a:lnTo>
                    <a:pt x="1530" y="1440"/>
                  </a:lnTo>
                  <a:lnTo>
                    <a:pt x="1524" y="1434"/>
                  </a:lnTo>
                  <a:lnTo>
                    <a:pt x="1524" y="1428"/>
                  </a:lnTo>
                  <a:lnTo>
                    <a:pt x="1524" y="1422"/>
                  </a:lnTo>
                  <a:lnTo>
                    <a:pt x="1512" y="1410"/>
                  </a:lnTo>
                  <a:lnTo>
                    <a:pt x="1506" y="1404"/>
                  </a:lnTo>
                  <a:lnTo>
                    <a:pt x="1506" y="1398"/>
                  </a:lnTo>
                  <a:lnTo>
                    <a:pt x="1494" y="1392"/>
                  </a:lnTo>
                  <a:lnTo>
                    <a:pt x="1476" y="1404"/>
                  </a:lnTo>
                  <a:lnTo>
                    <a:pt x="1464" y="1416"/>
                  </a:lnTo>
                  <a:lnTo>
                    <a:pt x="1458" y="1428"/>
                  </a:lnTo>
                  <a:lnTo>
                    <a:pt x="1446" y="1434"/>
                  </a:lnTo>
                  <a:lnTo>
                    <a:pt x="1410" y="1440"/>
                  </a:lnTo>
                  <a:lnTo>
                    <a:pt x="1398" y="1440"/>
                  </a:lnTo>
                  <a:lnTo>
                    <a:pt x="1398" y="1446"/>
                  </a:lnTo>
                  <a:lnTo>
                    <a:pt x="1386" y="1446"/>
                  </a:lnTo>
                  <a:lnTo>
                    <a:pt x="1380" y="1440"/>
                  </a:lnTo>
                  <a:lnTo>
                    <a:pt x="1368" y="1440"/>
                  </a:lnTo>
                  <a:lnTo>
                    <a:pt x="1368" y="1446"/>
                  </a:lnTo>
                  <a:lnTo>
                    <a:pt x="1356" y="1446"/>
                  </a:lnTo>
                  <a:lnTo>
                    <a:pt x="1350" y="1452"/>
                  </a:lnTo>
                  <a:lnTo>
                    <a:pt x="1338" y="1452"/>
                  </a:lnTo>
                  <a:lnTo>
                    <a:pt x="1338" y="1458"/>
                  </a:lnTo>
                  <a:lnTo>
                    <a:pt x="1332" y="1458"/>
                  </a:lnTo>
                  <a:lnTo>
                    <a:pt x="1332" y="1464"/>
                  </a:lnTo>
                  <a:lnTo>
                    <a:pt x="1332" y="1470"/>
                  </a:lnTo>
                  <a:lnTo>
                    <a:pt x="1326" y="1470"/>
                  </a:lnTo>
                  <a:lnTo>
                    <a:pt x="1320" y="1470"/>
                  </a:lnTo>
                  <a:lnTo>
                    <a:pt x="1314" y="1470"/>
                  </a:lnTo>
                  <a:lnTo>
                    <a:pt x="1314" y="1464"/>
                  </a:lnTo>
                  <a:lnTo>
                    <a:pt x="1308" y="1464"/>
                  </a:lnTo>
                  <a:lnTo>
                    <a:pt x="1308" y="1452"/>
                  </a:lnTo>
                  <a:lnTo>
                    <a:pt x="1284" y="1458"/>
                  </a:lnTo>
                  <a:lnTo>
                    <a:pt x="1272" y="1458"/>
                  </a:lnTo>
                  <a:lnTo>
                    <a:pt x="1272" y="1464"/>
                  </a:lnTo>
                  <a:lnTo>
                    <a:pt x="1260" y="1464"/>
                  </a:lnTo>
                  <a:lnTo>
                    <a:pt x="1254" y="1464"/>
                  </a:lnTo>
                  <a:lnTo>
                    <a:pt x="1242" y="1422"/>
                  </a:lnTo>
                  <a:lnTo>
                    <a:pt x="1242" y="1416"/>
                  </a:lnTo>
                  <a:lnTo>
                    <a:pt x="1242" y="1410"/>
                  </a:lnTo>
                  <a:lnTo>
                    <a:pt x="1248" y="1410"/>
                  </a:lnTo>
                  <a:lnTo>
                    <a:pt x="1242" y="1410"/>
                  </a:lnTo>
                  <a:lnTo>
                    <a:pt x="1242" y="1404"/>
                  </a:lnTo>
                  <a:lnTo>
                    <a:pt x="1242" y="1398"/>
                  </a:lnTo>
                  <a:lnTo>
                    <a:pt x="1248" y="1392"/>
                  </a:lnTo>
                  <a:lnTo>
                    <a:pt x="1248" y="1386"/>
                  </a:lnTo>
                  <a:lnTo>
                    <a:pt x="1242" y="1380"/>
                  </a:lnTo>
                  <a:lnTo>
                    <a:pt x="1248" y="1380"/>
                  </a:lnTo>
                  <a:lnTo>
                    <a:pt x="1248" y="1374"/>
                  </a:lnTo>
                  <a:lnTo>
                    <a:pt x="1248" y="1368"/>
                  </a:lnTo>
                  <a:lnTo>
                    <a:pt x="1254" y="1368"/>
                  </a:lnTo>
                  <a:lnTo>
                    <a:pt x="1254" y="1362"/>
                  </a:lnTo>
                  <a:lnTo>
                    <a:pt x="1248" y="1356"/>
                  </a:lnTo>
                  <a:lnTo>
                    <a:pt x="1254" y="1356"/>
                  </a:lnTo>
                  <a:lnTo>
                    <a:pt x="1254" y="1344"/>
                  </a:lnTo>
                  <a:lnTo>
                    <a:pt x="1242" y="1338"/>
                  </a:lnTo>
                  <a:lnTo>
                    <a:pt x="1242" y="1326"/>
                  </a:lnTo>
                  <a:lnTo>
                    <a:pt x="1230" y="1326"/>
                  </a:lnTo>
                  <a:lnTo>
                    <a:pt x="1230" y="1314"/>
                  </a:lnTo>
                  <a:lnTo>
                    <a:pt x="1218" y="1314"/>
                  </a:lnTo>
                  <a:lnTo>
                    <a:pt x="1200" y="1272"/>
                  </a:lnTo>
                  <a:lnTo>
                    <a:pt x="1194" y="1242"/>
                  </a:lnTo>
                  <a:lnTo>
                    <a:pt x="1194" y="1206"/>
                  </a:lnTo>
                  <a:lnTo>
                    <a:pt x="1182" y="1200"/>
                  </a:lnTo>
                  <a:lnTo>
                    <a:pt x="1164" y="1206"/>
                  </a:lnTo>
                  <a:lnTo>
                    <a:pt x="1146" y="1212"/>
                  </a:lnTo>
                  <a:lnTo>
                    <a:pt x="1146" y="1218"/>
                  </a:lnTo>
                  <a:lnTo>
                    <a:pt x="1134" y="1224"/>
                  </a:lnTo>
                  <a:lnTo>
                    <a:pt x="1140" y="1260"/>
                  </a:lnTo>
                  <a:lnTo>
                    <a:pt x="1134" y="1266"/>
                  </a:lnTo>
                  <a:lnTo>
                    <a:pt x="1122" y="1266"/>
                  </a:lnTo>
                  <a:lnTo>
                    <a:pt x="1110" y="1236"/>
                  </a:lnTo>
                  <a:lnTo>
                    <a:pt x="1110" y="1224"/>
                  </a:lnTo>
                  <a:lnTo>
                    <a:pt x="1086" y="1224"/>
                  </a:lnTo>
                  <a:lnTo>
                    <a:pt x="1086" y="1212"/>
                  </a:lnTo>
                  <a:lnTo>
                    <a:pt x="1074" y="1212"/>
                  </a:lnTo>
                  <a:lnTo>
                    <a:pt x="1050" y="1212"/>
                  </a:lnTo>
                  <a:lnTo>
                    <a:pt x="1056" y="1218"/>
                  </a:lnTo>
                  <a:lnTo>
                    <a:pt x="1050" y="1272"/>
                  </a:lnTo>
                  <a:lnTo>
                    <a:pt x="1044" y="1272"/>
                  </a:lnTo>
                  <a:lnTo>
                    <a:pt x="1038" y="1284"/>
                  </a:lnTo>
                  <a:lnTo>
                    <a:pt x="1032" y="1302"/>
                  </a:lnTo>
                  <a:lnTo>
                    <a:pt x="1014" y="1302"/>
                  </a:lnTo>
                  <a:lnTo>
                    <a:pt x="1020" y="1284"/>
                  </a:lnTo>
                  <a:lnTo>
                    <a:pt x="1026" y="1278"/>
                  </a:lnTo>
                  <a:lnTo>
                    <a:pt x="1026" y="1266"/>
                  </a:lnTo>
                  <a:lnTo>
                    <a:pt x="1014" y="1260"/>
                  </a:lnTo>
                  <a:lnTo>
                    <a:pt x="1014" y="1272"/>
                  </a:lnTo>
                  <a:lnTo>
                    <a:pt x="990" y="1278"/>
                  </a:lnTo>
                  <a:lnTo>
                    <a:pt x="990" y="1254"/>
                  </a:lnTo>
                  <a:lnTo>
                    <a:pt x="984" y="1254"/>
                  </a:lnTo>
                  <a:lnTo>
                    <a:pt x="978" y="1242"/>
                  </a:lnTo>
                  <a:lnTo>
                    <a:pt x="972" y="1236"/>
                  </a:lnTo>
                  <a:lnTo>
                    <a:pt x="960" y="1206"/>
                  </a:lnTo>
                  <a:lnTo>
                    <a:pt x="942" y="1206"/>
                  </a:lnTo>
                  <a:lnTo>
                    <a:pt x="936" y="1200"/>
                  </a:lnTo>
                  <a:lnTo>
                    <a:pt x="906" y="1212"/>
                  </a:lnTo>
                  <a:lnTo>
                    <a:pt x="888" y="1230"/>
                  </a:lnTo>
                  <a:lnTo>
                    <a:pt x="876" y="1230"/>
                  </a:lnTo>
                  <a:lnTo>
                    <a:pt x="864" y="1236"/>
                  </a:lnTo>
                  <a:lnTo>
                    <a:pt x="858" y="1236"/>
                  </a:lnTo>
                  <a:lnTo>
                    <a:pt x="852" y="1254"/>
                  </a:lnTo>
                  <a:lnTo>
                    <a:pt x="858" y="1254"/>
                  </a:lnTo>
                  <a:lnTo>
                    <a:pt x="840" y="1266"/>
                  </a:lnTo>
                  <a:lnTo>
                    <a:pt x="828" y="1272"/>
                  </a:lnTo>
                  <a:lnTo>
                    <a:pt x="828" y="1284"/>
                  </a:lnTo>
                  <a:lnTo>
                    <a:pt x="822" y="1284"/>
                  </a:lnTo>
                  <a:lnTo>
                    <a:pt x="804" y="1296"/>
                  </a:lnTo>
                  <a:lnTo>
                    <a:pt x="804" y="1308"/>
                  </a:lnTo>
                  <a:lnTo>
                    <a:pt x="816" y="1320"/>
                  </a:lnTo>
                  <a:lnTo>
                    <a:pt x="828" y="1320"/>
                  </a:lnTo>
                  <a:lnTo>
                    <a:pt x="822" y="1338"/>
                  </a:lnTo>
                  <a:lnTo>
                    <a:pt x="852" y="1344"/>
                  </a:lnTo>
                  <a:lnTo>
                    <a:pt x="864" y="1350"/>
                  </a:lnTo>
                  <a:lnTo>
                    <a:pt x="864" y="1356"/>
                  </a:lnTo>
                  <a:lnTo>
                    <a:pt x="882" y="1356"/>
                  </a:lnTo>
                  <a:lnTo>
                    <a:pt x="894" y="1356"/>
                  </a:lnTo>
                  <a:lnTo>
                    <a:pt x="912" y="1368"/>
                  </a:lnTo>
                  <a:lnTo>
                    <a:pt x="918" y="1380"/>
                  </a:lnTo>
                  <a:lnTo>
                    <a:pt x="936" y="1380"/>
                  </a:lnTo>
                  <a:lnTo>
                    <a:pt x="960" y="1386"/>
                  </a:lnTo>
                  <a:lnTo>
                    <a:pt x="990" y="1386"/>
                  </a:lnTo>
                  <a:lnTo>
                    <a:pt x="990" y="1392"/>
                  </a:lnTo>
                  <a:lnTo>
                    <a:pt x="1020" y="1398"/>
                  </a:lnTo>
                  <a:lnTo>
                    <a:pt x="1014" y="1404"/>
                  </a:lnTo>
                  <a:lnTo>
                    <a:pt x="1008" y="1404"/>
                  </a:lnTo>
                  <a:lnTo>
                    <a:pt x="1014" y="1440"/>
                  </a:lnTo>
                  <a:lnTo>
                    <a:pt x="1020" y="1458"/>
                  </a:lnTo>
                  <a:lnTo>
                    <a:pt x="1026" y="1476"/>
                  </a:lnTo>
                  <a:lnTo>
                    <a:pt x="1020" y="1476"/>
                  </a:lnTo>
                  <a:lnTo>
                    <a:pt x="1014" y="1476"/>
                  </a:lnTo>
                  <a:lnTo>
                    <a:pt x="1014" y="1482"/>
                  </a:lnTo>
                  <a:lnTo>
                    <a:pt x="1014" y="1488"/>
                  </a:lnTo>
                  <a:lnTo>
                    <a:pt x="1002" y="1488"/>
                  </a:lnTo>
                  <a:lnTo>
                    <a:pt x="1002" y="1494"/>
                  </a:lnTo>
                  <a:lnTo>
                    <a:pt x="996" y="1494"/>
                  </a:lnTo>
                  <a:lnTo>
                    <a:pt x="996" y="1518"/>
                  </a:lnTo>
                  <a:lnTo>
                    <a:pt x="1002" y="1524"/>
                  </a:lnTo>
                  <a:lnTo>
                    <a:pt x="1020" y="1530"/>
                  </a:lnTo>
                  <a:lnTo>
                    <a:pt x="1026" y="1542"/>
                  </a:lnTo>
                  <a:lnTo>
                    <a:pt x="1032" y="1566"/>
                  </a:lnTo>
                  <a:lnTo>
                    <a:pt x="1038" y="1578"/>
                  </a:lnTo>
                  <a:lnTo>
                    <a:pt x="1032" y="1584"/>
                  </a:lnTo>
                  <a:lnTo>
                    <a:pt x="1020" y="1584"/>
                  </a:lnTo>
                  <a:lnTo>
                    <a:pt x="1014" y="1584"/>
                  </a:lnTo>
                  <a:lnTo>
                    <a:pt x="1008" y="1596"/>
                  </a:lnTo>
                  <a:lnTo>
                    <a:pt x="990" y="1584"/>
                  </a:lnTo>
                  <a:lnTo>
                    <a:pt x="984" y="1602"/>
                  </a:lnTo>
                  <a:lnTo>
                    <a:pt x="978" y="1608"/>
                  </a:lnTo>
                  <a:lnTo>
                    <a:pt x="966" y="1608"/>
                  </a:lnTo>
                  <a:lnTo>
                    <a:pt x="960" y="1614"/>
                  </a:lnTo>
                  <a:lnTo>
                    <a:pt x="954" y="1614"/>
                  </a:lnTo>
                  <a:lnTo>
                    <a:pt x="942" y="1620"/>
                  </a:lnTo>
                  <a:lnTo>
                    <a:pt x="936" y="1620"/>
                  </a:lnTo>
                  <a:lnTo>
                    <a:pt x="930" y="1620"/>
                  </a:lnTo>
                  <a:lnTo>
                    <a:pt x="930" y="1626"/>
                  </a:lnTo>
                  <a:lnTo>
                    <a:pt x="930" y="1632"/>
                  </a:lnTo>
                  <a:lnTo>
                    <a:pt x="918" y="1632"/>
                  </a:lnTo>
                  <a:lnTo>
                    <a:pt x="912" y="1632"/>
                  </a:lnTo>
                  <a:lnTo>
                    <a:pt x="906" y="1632"/>
                  </a:lnTo>
                  <a:lnTo>
                    <a:pt x="900" y="1632"/>
                  </a:lnTo>
                  <a:lnTo>
                    <a:pt x="894" y="1626"/>
                  </a:lnTo>
                  <a:lnTo>
                    <a:pt x="894" y="1614"/>
                  </a:lnTo>
                  <a:lnTo>
                    <a:pt x="840" y="1614"/>
                  </a:lnTo>
                  <a:lnTo>
                    <a:pt x="840" y="1626"/>
                  </a:lnTo>
                  <a:lnTo>
                    <a:pt x="834" y="1626"/>
                  </a:lnTo>
                  <a:lnTo>
                    <a:pt x="828" y="1632"/>
                  </a:lnTo>
                  <a:lnTo>
                    <a:pt x="822" y="1638"/>
                  </a:lnTo>
                  <a:lnTo>
                    <a:pt x="822" y="1644"/>
                  </a:lnTo>
                  <a:lnTo>
                    <a:pt x="834" y="1650"/>
                  </a:lnTo>
                  <a:lnTo>
                    <a:pt x="840" y="1662"/>
                  </a:lnTo>
                  <a:lnTo>
                    <a:pt x="840" y="1668"/>
                  </a:lnTo>
                  <a:lnTo>
                    <a:pt x="858" y="1680"/>
                  </a:lnTo>
                  <a:lnTo>
                    <a:pt x="858" y="1752"/>
                  </a:lnTo>
                  <a:lnTo>
                    <a:pt x="864" y="1782"/>
                  </a:lnTo>
                  <a:lnTo>
                    <a:pt x="876" y="1788"/>
                  </a:lnTo>
                  <a:lnTo>
                    <a:pt x="870" y="1854"/>
                  </a:lnTo>
                  <a:lnTo>
                    <a:pt x="870" y="1884"/>
                  </a:lnTo>
                  <a:lnTo>
                    <a:pt x="864" y="1884"/>
                  </a:lnTo>
                  <a:lnTo>
                    <a:pt x="846" y="1896"/>
                  </a:lnTo>
                  <a:lnTo>
                    <a:pt x="840" y="1896"/>
                  </a:lnTo>
                  <a:lnTo>
                    <a:pt x="834" y="1896"/>
                  </a:lnTo>
                  <a:lnTo>
                    <a:pt x="828" y="1890"/>
                  </a:lnTo>
                  <a:lnTo>
                    <a:pt x="822" y="1890"/>
                  </a:lnTo>
                  <a:lnTo>
                    <a:pt x="816" y="1896"/>
                  </a:lnTo>
                  <a:lnTo>
                    <a:pt x="804" y="1896"/>
                  </a:lnTo>
                  <a:lnTo>
                    <a:pt x="804" y="1890"/>
                  </a:lnTo>
                  <a:lnTo>
                    <a:pt x="780" y="1896"/>
                  </a:lnTo>
                  <a:lnTo>
                    <a:pt x="780" y="1902"/>
                  </a:lnTo>
                  <a:lnTo>
                    <a:pt x="774" y="1914"/>
                  </a:lnTo>
                  <a:lnTo>
                    <a:pt x="762" y="1926"/>
                  </a:lnTo>
                  <a:lnTo>
                    <a:pt x="762" y="1950"/>
                  </a:lnTo>
                  <a:lnTo>
                    <a:pt x="762" y="1962"/>
                  </a:lnTo>
                  <a:lnTo>
                    <a:pt x="780" y="1974"/>
                  </a:lnTo>
                  <a:lnTo>
                    <a:pt x="780" y="1986"/>
                  </a:lnTo>
                  <a:lnTo>
                    <a:pt x="780" y="1998"/>
                  </a:lnTo>
                  <a:lnTo>
                    <a:pt x="756" y="1998"/>
                  </a:lnTo>
                  <a:lnTo>
                    <a:pt x="720" y="1992"/>
                  </a:lnTo>
                  <a:lnTo>
                    <a:pt x="666" y="1998"/>
                  </a:lnTo>
                  <a:lnTo>
                    <a:pt x="654" y="1998"/>
                  </a:lnTo>
                  <a:lnTo>
                    <a:pt x="660" y="1974"/>
                  </a:lnTo>
                  <a:lnTo>
                    <a:pt x="666" y="1962"/>
                  </a:lnTo>
                  <a:lnTo>
                    <a:pt x="678" y="1950"/>
                  </a:lnTo>
                  <a:lnTo>
                    <a:pt x="696" y="1932"/>
                  </a:lnTo>
                  <a:lnTo>
                    <a:pt x="696" y="1920"/>
                  </a:lnTo>
                  <a:lnTo>
                    <a:pt x="696" y="1896"/>
                  </a:lnTo>
                  <a:lnTo>
                    <a:pt x="678" y="1896"/>
                  </a:lnTo>
                  <a:lnTo>
                    <a:pt x="672" y="1884"/>
                  </a:lnTo>
                  <a:lnTo>
                    <a:pt x="672" y="1776"/>
                  </a:lnTo>
                  <a:lnTo>
                    <a:pt x="678" y="1758"/>
                  </a:lnTo>
                  <a:lnTo>
                    <a:pt x="678" y="1740"/>
                  </a:lnTo>
                  <a:lnTo>
                    <a:pt x="684" y="1728"/>
                  </a:lnTo>
                  <a:lnTo>
                    <a:pt x="690" y="1722"/>
                  </a:lnTo>
                  <a:lnTo>
                    <a:pt x="702" y="1722"/>
                  </a:lnTo>
                  <a:lnTo>
                    <a:pt x="708" y="1716"/>
                  </a:lnTo>
                  <a:lnTo>
                    <a:pt x="714" y="1710"/>
                  </a:lnTo>
                  <a:lnTo>
                    <a:pt x="720" y="1698"/>
                  </a:lnTo>
                  <a:lnTo>
                    <a:pt x="732" y="1692"/>
                  </a:lnTo>
                  <a:lnTo>
                    <a:pt x="744" y="1686"/>
                  </a:lnTo>
                  <a:lnTo>
                    <a:pt x="756" y="1680"/>
                  </a:lnTo>
                  <a:lnTo>
                    <a:pt x="768" y="1668"/>
                  </a:lnTo>
                  <a:lnTo>
                    <a:pt x="768" y="1650"/>
                  </a:lnTo>
                  <a:lnTo>
                    <a:pt x="774" y="1632"/>
                  </a:lnTo>
                  <a:lnTo>
                    <a:pt x="768" y="1620"/>
                  </a:lnTo>
                  <a:lnTo>
                    <a:pt x="774" y="1608"/>
                  </a:lnTo>
                  <a:lnTo>
                    <a:pt x="774" y="1578"/>
                  </a:lnTo>
                  <a:lnTo>
                    <a:pt x="774" y="1572"/>
                  </a:lnTo>
                  <a:lnTo>
                    <a:pt x="780" y="1560"/>
                  </a:lnTo>
                  <a:lnTo>
                    <a:pt x="780" y="1554"/>
                  </a:lnTo>
                  <a:lnTo>
                    <a:pt x="786" y="1542"/>
                  </a:lnTo>
                  <a:lnTo>
                    <a:pt x="792" y="1530"/>
                  </a:lnTo>
                  <a:lnTo>
                    <a:pt x="792" y="1518"/>
                  </a:lnTo>
                  <a:lnTo>
                    <a:pt x="792" y="1506"/>
                  </a:lnTo>
                  <a:lnTo>
                    <a:pt x="786" y="1500"/>
                  </a:lnTo>
                  <a:lnTo>
                    <a:pt x="774" y="1488"/>
                  </a:lnTo>
                  <a:lnTo>
                    <a:pt x="774" y="1482"/>
                  </a:lnTo>
                  <a:lnTo>
                    <a:pt x="762" y="1488"/>
                  </a:lnTo>
                  <a:lnTo>
                    <a:pt x="756" y="1494"/>
                  </a:lnTo>
                  <a:lnTo>
                    <a:pt x="744" y="1500"/>
                  </a:lnTo>
                  <a:lnTo>
                    <a:pt x="732" y="1506"/>
                  </a:lnTo>
                  <a:lnTo>
                    <a:pt x="726" y="1506"/>
                  </a:lnTo>
                  <a:lnTo>
                    <a:pt x="720" y="1506"/>
                  </a:lnTo>
                  <a:lnTo>
                    <a:pt x="702" y="1506"/>
                  </a:lnTo>
                  <a:lnTo>
                    <a:pt x="690" y="1500"/>
                  </a:lnTo>
                  <a:lnTo>
                    <a:pt x="678" y="1500"/>
                  </a:lnTo>
                  <a:lnTo>
                    <a:pt x="672" y="1500"/>
                  </a:lnTo>
                  <a:lnTo>
                    <a:pt x="660" y="1506"/>
                  </a:lnTo>
                  <a:lnTo>
                    <a:pt x="654" y="1506"/>
                  </a:lnTo>
                  <a:lnTo>
                    <a:pt x="648" y="1512"/>
                  </a:lnTo>
                  <a:lnTo>
                    <a:pt x="648" y="1518"/>
                  </a:lnTo>
                  <a:lnTo>
                    <a:pt x="618" y="1518"/>
                  </a:lnTo>
                  <a:lnTo>
                    <a:pt x="534" y="1494"/>
                  </a:lnTo>
                  <a:lnTo>
                    <a:pt x="528" y="1458"/>
                  </a:lnTo>
                  <a:lnTo>
                    <a:pt x="510" y="1458"/>
                  </a:lnTo>
                  <a:lnTo>
                    <a:pt x="492" y="1440"/>
                  </a:lnTo>
                  <a:lnTo>
                    <a:pt x="462" y="1440"/>
                  </a:lnTo>
                  <a:lnTo>
                    <a:pt x="456" y="1428"/>
                  </a:lnTo>
                  <a:lnTo>
                    <a:pt x="420" y="1428"/>
                  </a:lnTo>
                  <a:lnTo>
                    <a:pt x="390" y="1446"/>
                  </a:lnTo>
                  <a:lnTo>
                    <a:pt x="312" y="1452"/>
                  </a:lnTo>
                  <a:lnTo>
                    <a:pt x="300" y="1446"/>
                  </a:lnTo>
                  <a:lnTo>
                    <a:pt x="294" y="1446"/>
                  </a:lnTo>
                  <a:lnTo>
                    <a:pt x="288" y="1446"/>
                  </a:lnTo>
                  <a:lnTo>
                    <a:pt x="282" y="1440"/>
                  </a:lnTo>
                  <a:lnTo>
                    <a:pt x="276" y="1440"/>
                  </a:lnTo>
                  <a:lnTo>
                    <a:pt x="270" y="1440"/>
                  </a:lnTo>
                  <a:lnTo>
                    <a:pt x="264" y="1440"/>
                  </a:lnTo>
                  <a:lnTo>
                    <a:pt x="258" y="1434"/>
                  </a:lnTo>
                  <a:lnTo>
                    <a:pt x="252" y="1434"/>
                  </a:lnTo>
                  <a:lnTo>
                    <a:pt x="246" y="1428"/>
                  </a:lnTo>
                  <a:lnTo>
                    <a:pt x="240" y="1416"/>
                  </a:lnTo>
                  <a:lnTo>
                    <a:pt x="234" y="1404"/>
                  </a:lnTo>
                  <a:lnTo>
                    <a:pt x="228" y="1398"/>
                  </a:lnTo>
                  <a:lnTo>
                    <a:pt x="222" y="1398"/>
                  </a:lnTo>
                  <a:lnTo>
                    <a:pt x="216" y="1404"/>
                  </a:lnTo>
                  <a:lnTo>
                    <a:pt x="210" y="1404"/>
                  </a:lnTo>
                  <a:lnTo>
                    <a:pt x="204" y="1404"/>
                  </a:lnTo>
                  <a:lnTo>
                    <a:pt x="204" y="1398"/>
                  </a:lnTo>
                  <a:lnTo>
                    <a:pt x="198" y="1392"/>
                  </a:lnTo>
                  <a:lnTo>
                    <a:pt x="192" y="1386"/>
                  </a:lnTo>
                  <a:lnTo>
                    <a:pt x="168" y="1374"/>
                  </a:lnTo>
                  <a:lnTo>
                    <a:pt x="144" y="1380"/>
                  </a:lnTo>
                  <a:close/>
                </a:path>
              </a:pathLst>
            </a:custGeom>
            <a:solidFill>
              <a:srgbClr val="FFC000"/>
            </a:solidFill>
            <a:ln w="9525">
              <a:solidFill>
                <a:schemeClr val="bg1"/>
              </a:solidFill>
              <a:round/>
              <a:headEnd/>
              <a:tailEnd/>
            </a:ln>
          </p:spPr>
          <p:txBody>
            <a:bodyPr/>
            <a:lstStyle/>
            <a:p>
              <a:endParaRPr lang="en-GB"/>
            </a:p>
          </p:txBody>
        </p:sp>
        <p:sp>
          <p:nvSpPr>
            <p:cNvPr id="19511" name="Freeform 36"/>
            <p:cNvSpPr>
              <a:spLocks/>
            </p:cNvSpPr>
            <p:nvPr/>
          </p:nvSpPr>
          <p:spPr bwMode="gray">
            <a:xfrm>
              <a:off x="2576923" y="1594233"/>
              <a:ext cx="1128905" cy="1189812"/>
            </a:xfrm>
            <a:custGeom>
              <a:avLst/>
              <a:gdLst>
                <a:gd name="T0" fmla="*/ 79964 w 1440"/>
                <a:gd name="T1" fmla="*/ 83835 h 1476"/>
                <a:gd name="T2" fmla="*/ 77612 w 1440"/>
                <a:gd name="T3" fmla="*/ 87059 h 1476"/>
                <a:gd name="T4" fmla="*/ 76828 w 1440"/>
                <a:gd name="T5" fmla="*/ 90284 h 1476"/>
                <a:gd name="T6" fmla="*/ 75260 w 1440"/>
                <a:gd name="T7" fmla="*/ 93508 h 1476"/>
                <a:gd name="T8" fmla="*/ 71341 w 1440"/>
                <a:gd name="T9" fmla="*/ 95120 h 1476"/>
                <a:gd name="T10" fmla="*/ 68205 w 1440"/>
                <a:gd name="T11" fmla="*/ 96733 h 1476"/>
                <a:gd name="T12" fmla="*/ 58797 w 1440"/>
                <a:gd name="T13" fmla="*/ 96733 h 1476"/>
                <a:gd name="T14" fmla="*/ 56445 w 1440"/>
                <a:gd name="T15" fmla="*/ 99151 h 1476"/>
                <a:gd name="T16" fmla="*/ 54093 w 1440"/>
                <a:gd name="T17" fmla="*/ 103182 h 1476"/>
                <a:gd name="T18" fmla="*/ 52525 w 1440"/>
                <a:gd name="T19" fmla="*/ 102375 h 1476"/>
                <a:gd name="T20" fmla="*/ 51741 w 1440"/>
                <a:gd name="T21" fmla="*/ 99151 h 1476"/>
                <a:gd name="T22" fmla="*/ 49390 w 1440"/>
                <a:gd name="T23" fmla="*/ 95927 h 1476"/>
                <a:gd name="T24" fmla="*/ 42334 w 1440"/>
                <a:gd name="T25" fmla="*/ 91896 h 1476"/>
                <a:gd name="T26" fmla="*/ 43118 w 1440"/>
                <a:gd name="T27" fmla="*/ 85447 h 1476"/>
                <a:gd name="T28" fmla="*/ 47038 w 1440"/>
                <a:gd name="T29" fmla="*/ 80611 h 1476"/>
                <a:gd name="T30" fmla="*/ 43118 w 1440"/>
                <a:gd name="T31" fmla="*/ 73356 h 1476"/>
                <a:gd name="T32" fmla="*/ 39982 w 1440"/>
                <a:gd name="T33" fmla="*/ 69325 h 1476"/>
                <a:gd name="T34" fmla="*/ 36846 w 1440"/>
                <a:gd name="T35" fmla="*/ 68519 h 1476"/>
                <a:gd name="T36" fmla="*/ 34494 w 1440"/>
                <a:gd name="T37" fmla="*/ 66101 h 1476"/>
                <a:gd name="T38" fmla="*/ 32142 w 1440"/>
                <a:gd name="T39" fmla="*/ 66907 h 1476"/>
                <a:gd name="T40" fmla="*/ 28223 w 1440"/>
                <a:gd name="T41" fmla="*/ 66907 h 1476"/>
                <a:gd name="T42" fmla="*/ 25871 w 1440"/>
                <a:gd name="T43" fmla="*/ 66907 h 1476"/>
                <a:gd name="T44" fmla="*/ 23519 w 1440"/>
                <a:gd name="T45" fmla="*/ 66907 h 1476"/>
                <a:gd name="T46" fmla="*/ 21167 w 1440"/>
                <a:gd name="T47" fmla="*/ 66907 h 1476"/>
                <a:gd name="T48" fmla="*/ 18815 w 1440"/>
                <a:gd name="T49" fmla="*/ 66101 h 1476"/>
                <a:gd name="T50" fmla="*/ 16463 w 1440"/>
                <a:gd name="T51" fmla="*/ 64488 h 1476"/>
                <a:gd name="T52" fmla="*/ 14111 w 1440"/>
                <a:gd name="T53" fmla="*/ 63682 h 1476"/>
                <a:gd name="T54" fmla="*/ 13327 w 1440"/>
                <a:gd name="T55" fmla="*/ 62876 h 1476"/>
                <a:gd name="T56" fmla="*/ 9408 w 1440"/>
                <a:gd name="T57" fmla="*/ 62876 h 1476"/>
                <a:gd name="T58" fmla="*/ 9408 w 1440"/>
                <a:gd name="T59" fmla="*/ 62876 h 1476"/>
                <a:gd name="T60" fmla="*/ 5488 w 1440"/>
                <a:gd name="T61" fmla="*/ 64488 h 1476"/>
                <a:gd name="T62" fmla="*/ 2352 w 1440"/>
                <a:gd name="T63" fmla="*/ 65295 h 1476"/>
                <a:gd name="T64" fmla="*/ 0 w 1440"/>
                <a:gd name="T65" fmla="*/ 61264 h 1476"/>
                <a:gd name="T66" fmla="*/ 784 w 1440"/>
                <a:gd name="T67" fmla="*/ 40305 h 1476"/>
                <a:gd name="T68" fmla="*/ 6272 w 1440"/>
                <a:gd name="T69" fmla="*/ 38693 h 1476"/>
                <a:gd name="T70" fmla="*/ 15679 w 1440"/>
                <a:gd name="T71" fmla="*/ 39499 h 1476"/>
                <a:gd name="T72" fmla="*/ 20383 w 1440"/>
                <a:gd name="T73" fmla="*/ 40305 h 1476"/>
                <a:gd name="T74" fmla="*/ 34494 w 1440"/>
                <a:gd name="T75" fmla="*/ 37887 h 1476"/>
                <a:gd name="T76" fmla="*/ 32142 w 1440"/>
                <a:gd name="T77" fmla="*/ 19347 h 1476"/>
                <a:gd name="T78" fmla="*/ 34494 w 1440"/>
                <a:gd name="T79" fmla="*/ 16122 h 1476"/>
                <a:gd name="T80" fmla="*/ 36846 w 1440"/>
                <a:gd name="T81" fmla="*/ 14510 h 1476"/>
                <a:gd name="T82" fmla="*/ 42334 w 1440"/>
                <a:gd name="T83" fmla="*/ 16928 h 1476"/>
                <a:gd name="T84" fmla="*/ 47822 w 1440"/>
                <a:gd name="T85" fmla="*/ 18540 h 1476"/>
                <a:gd name="T86" fmla="*/ 46254 w 1440"/>
                <a:gd name="T87" fmla="*/ 11285 h 1476"/>
                <a:gd name="T88" fmla="*/ 47822 w 1440"/>
                <a:gd name="T89" fmla="*/ 6449 h 1476"/>
                <a:gd name="T90" fmla="*/ 55661 w 1440"/>
                <a:gd name="T91" fmla="*/ 5643 h 1476"/>
                <a:gd name="T92" fmla="*/ 58797 w 1440"/>
                <a:gd name="T93" fmla="*/ 0 h 1476"/>
                <a:gd name="T94" fmla="*/ 64285 w 1440"/>
                <a:gd name="T95" fmla="*/ 2418 h 1476"/>
                <a:gd name="T96" fmla="*/ 72908 w 1440"/>
                <a:gd name="T97" fmla="*/ 4031 h 1476"/>
                <a:gd name="T98" fmla="*/ 78396 w 1440"/>
                <a:gd name="T99" fmla="*/ 806 h 1476"/>
                <a:gd name="T100" fmla="*/ 81532 w 1440"/>
                <a:gd name="T101" fmla="*/ 3224 h 1476"/>
                <a:gd name="T102" fmla="*/ 86236 w 1440"/>
                <a:gd name="T103" fmla="*/ 8061 h 1476"/>
                <a:gd name="T104" fmla="*/ 90156 w 1440"/>
                <a:gd name="T105" fmla="*/ 18540 h 1476"/>
                <a:gd name="T106" fmla="*/ 91724 w 1440"/>
                <a:gd name="T107" fmla="*/ 33856 h 1476"/>
                <a:gd name="T108" fmla="*/ 94859 w 1440"/>
                <a:gd name="T109" fmla="*/ 41917 h 1476"/>
                <a:gd name="T110" fmla="*/ 92507 w 1440"/>
                <a:gd name="T111" fmla="*/ 49979 h 1476"/>
                <a:gd name="T112" fmla="*/ 97211 w 1440"/>
                <a:gd name="T113" fmla="*/ 53203 h 1476"/>
                <a:gd name="T114" fmla="*/ 94859 w 1440"/>
                <a:gd name="T115" fmla="*/ 57234 h 1476"/>
                <a:gd name="T116" fmla="*/ 90156 w 1440"/>
                <a:gd name="T117" fmla="*/ 61264 h 1476"/>
                <a:gd name="T118" fmla="*/ 85452 w 1440"/>
                <a:gd name="T119" fmla="*/ 61264 h 1476"/>
                <a:gd name="T120" fmla="*/ 82316 w 1440"/>
                <a:gd name="T121" fmla="*/ 69325 h 1476"/>
                <a:gd name="T122" fmla="*/ 83884 w 1440"/>
                <a:gd name="T123" fmla="*/ 78192 h 14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0"/>
                <a:gd name="T187" fmla="*/ 0 h 1476"/>
                <a:gd name="T188" fmla="*/ 1440 w 1440"/>
                <a:gd name="T189" fmla="*/ 1476 h 147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0" h="1476">
                  <a:moveTo>
                    <a:pt x="1212" y="1164"/>
                  </a:moveTo>
                  <a:lnTo>
                    <a:pt x="1206" y="1170"/>
                  </a:lnTo>
                  <a:lnTo>
                    <a:pt x="1200" y="1176"/>
                  </a:lnTo>
                  <a:lnTo>
                    <a:pt x="1194" y="1176"/>
                  </a:lnTo>
                  <a:lnTo>
                    <a:pt x="1188" y="1188"/>
                  </a:lnTo>
                  <a:lnTo>
                    <a:pt x="1182" y="1194"/>
                  </a:lnTo>
                  <a:lnTo>
                    <a:pt x="1176" y="1194"/>
                  </a:lnTo>
                  <a:lnTo>
                    <a:pt x="1170" y="1194"/>
                  </a:lnTo>
                  <a:lnTo>
                    <a:pt x="1170" y="1200"/>
                  </a:lnTo>
                  <a:lnTo>
                    <a:pt x="1164" y="1206"/>
                  </a:lnTo>
                  <a:lnTo>
                    <a:pt x="1158" y="1206"/>
                  </a:lnTo>
                  <a:lnTo>
                    <a:pt x="1152" y="1212"/>
                  </a:lnTo>
                  <a:lnTo>
                    <a:pt x="1146" y="1212"/>
                  </a:lnTo>
                  <a:lnTo>
                    <a:pt x="1140" y="1224"/>
                  </a:lnTo>
                  <a:lnTo>
                    <a:pt x="1134" y="1230"/>
                  </a:lnTo>
                  <a:lnTo>
                    <a:pt x="1128" y="1236"/>
                  </a:lnTo>
                  <a:lnTo>
                    <a:pt x="1128" y="1242"/>
                  </a:lnTo>
                  <a:lnTo>
                    <a:pt x="1128" y="1254"/>
                  </a:lnTo>
                  <a:lnTo>
                    <a:pt x="1128" y="1260"/>
                  </a:lnTo>
                  <a:lnTo>
                    <a:pt x="1122" y="1260"/>
                  </a:lnTo>
                  <a:lnTo>
                    <a:pt x="1122" y="1266"/>
                  </a:lnTo>
                  <a:lnTo>
                    <a:pt x="1128" y="1278"/>
                  </a:lnTo>
                  <a:lnTo>
                    <a:pt x="1122" y="1278"/>
                  </a:lnTo>
                  <a:lnTo>
                    <a:pt x="1122" y="1284"/>
                  </a:lnTo>
                  <a:lnTo>
                    <a:pt x="1128" y="1290"/>
                  </a:lnTo>
                  <a:lnTo>
                    <a:pt x="1122" y="1296"/>
                  </a:lnTo>
                  <a:lnTo>
                    <a:pt x="1122" y="1302"/>
                  </a:lnTo>
                  <a:lnTo>
                    <a:pt x="1116" y="1302"/>
                  </a:lnTo>
                  <a:lnTo>
                    <a:pt x="1110" y="1314"/>
                  </a:lnTo>
                  <a:lnTo>
                    <a:pt x="1110" y="1320"/>
                  </a:lnTo>
                  <a:lnTo>
                    <a:pt x="1110" y="1326"/>
                  </a:lnTo>
                  <a:lnTo>
                    <a:pt x="1098" y="1332"/>
                  </a:lnTo>
                  <a:lnTo>
                    <a:pt x="1092" y="1338"/>
                  </a:lnTo>
                  <a:lnTo>
                    <a:pt x="1092" y="1344"/>
                  </a:lnTo>
                  <a:lnTo>
                    <a:pt x="1086" y="1350"/>
                  </a:lnTo>
                  <a:lnTo>
                    <a:pt x="1080" y="1350"/>
                  </a:lnTo>
                  <a:lnTo>
                    <a:pt x="1074" y="1350"/>
                  </a:lnTo>
                  <a:lnTo>
                    <a:pt x="1068" y="1356"/>
                  </a:lnTo>
                  <a:lnTo>
                    <a:pt x="1062" y="1356"/>
                  </a:lnTo>
                  <a:lnTo>
                    <a:pt x="1044" y="1356"/>
                  </a:lnTo>
                  <a:lnTo>
                    <a:pt x="1038" y="1362"/>
                  </a:lnTo>
                  <a:lnTo>
                    <a:pt x="1032" y="1368"/>
                  </a:lnTo>
                  <a:lnTo>
                    <a:pt x="1026" y="1368"/>
                  </a:lnTo>
                  <a:lnTo>
                    <a:pt x="1020" y="1374"/>
                  </a:lnTo>
                  <a:lnTo>
                    <a:pt x="1008" y="1374"/>
                  </a:lnTo>
                  <a:lnTo>
                    <a:pt x="1002" y="1374"/>
                  </a:lnTo>
                  <a:lnTo>
                    <a:pt x="996" y="1368"/>
                  </a:lnTo>
                  <a:lnTo>
                    <a:pt x="990" y="1374"/>
                  </a:lnTo>
                  <a:lnTo>
                    <a:pt x="978" y="1380"/>
                  </a:lnTo>
                  <a:lnTo>
                    <a:pt x="972" y="1380"/>
                  </a:lnTo>
                  <a:lnTo>
                    <a:pt x="954" y="1368"/>
                  </a:lnTo>
                  <a:lnTo>
                    <a:pt x="930" y="1368"/>
                  </a:lnTo>
                  <a:lnTo>
                    <a:pt x="918" y="1368"/>
                  </a:lnTo>
                  <a:lnTo>
                    <a:pt x="906" y="1368"/>
                  </a:lnTo>
                  <a:lnTo>
                    <a:pt x="894" y="1368"/>
                  </a:lnTo>
                  <a:lnTo>
                    <a:pt x="864" y="1374"/>
                  </a:lnTo>
                  <a:lnTo>
                    <a:pt x="852" y="1374"/>
                  </a:lnTo>
                  <a:lnTo>
                    <a:pt x="846" y="1386"/>
                  </a:lnTo>
                  <a:lnTo>
                    <a:pt x="846" y="1392"/>
                  </a:lnTo>
                  <a:lnTo>
                    <a:pt x="840" y="1398"/>
                  </a:lnTo>
                  <a:lnTo>
                    <a:pt x="840" y="1404"/>
                  </a:lnTo>
                  <a:lnTo>
                    <a:pt x="834" y="1416"/>
                  </a:lnTo>
                  <a:lnTo>
                    <a:pt x="828" y="1416"/>
                  </a:lnTo>
                  <a:lnTo>
                    <a:pt x="828" y="1410"/>
                  </a:lnTo>
                  <a:lnTo>
                    <a:pt x="822" y="1416"/>
                  </a:lnTo>
                  <a:lnTo>
                    <a:pt x="816" y="1422"/>
                  </a:lnTo>
                  <a:lnTo>
                    <a:pt x="804" y="1428"/>
                  </a:lnTo>
                  <a:lnTo>
                    <a:pt x="804" y="1434"/>
                  </a:lnTo>
                  <a:lnTo>
                    <a:pt x="804" y="1440"/>
                  </a:lnTo>
                  <a:lnTo>
                    <a:pt x="798" y="1446"/>
                  </a:lnTo>
                  <a:lnTo>
                    <a:pt x="798" y="1458"/>
                  </a:lnTo>
                  <a:lnTo>
                    <a:pt x="792" y="1464"/>
                  </a:lnTo>
                  <a:lnTo>
                    <a:pt x="786" y="1476"/>
                  </a:lnTo>
                  <a:lnTo>
                    <a:pt x="780" y="1470"/>
                  </a:lnTo>
                  <a:lnTo>
                    <a:pt x="774" y="1470"/>
                  </a:lnTo>
                  <a:lnTo>
                    <a:pt x="768" y="1470"/>
                  </a:lnTo>
                  <a:lnTo>
                    <a:pt x="762" y="1476"/>
                  </a:lnTo>
                  <a:lnTo>
                    <a:pt x="762" y="1470"/>
                  </a:lnTo>
                  <a:lnTo>
                    <a:pt x="762" y="1464"/>
                  </a:lnTo>
                  <a:lnTo>
                    <a:pt x="762" y="1458"/>
                  </a:lnTo>
                  <a:lnTo>
                    <a:pt x="756" y="1458"/>
                  </a:lnTo>
                  <a:lnTo>
                    <a:pt x="756" y="1452"/>
                  </a:lnTo>
                  <a:lnTo>
                    <a:pt x="756" y="1446"/>
                  </a:lnTo>
                  <a:lnTo>
                    <a:pt x="756" y="1440"/>
                  </a:lnTo>
                  <a:lnTo>
                    <a:pt x="750" y="1434"/>
                  </a:lnTo>
                  <a:lnTo>
                    <a:pt x="750" y="1428"/>
                  </a:lnTo>
                  <a:lnTo>
                    <a:pt x="750" y="1422"/>
                  </a:lnTo>
                  <a:lnTo>
                    <a:pt x="750" y="1416"/>
                  </a:lnTo>
                  <a:lnTo>
                    <a:pt x="744" y="1416"/>
                  </a:lnTo>
                  <a:lnTo>
                    <a:pt x="744" y="1410"/>
                  </a:lnTo>
                  <a:lnTo>
                    <a:pt x="738" y="1404"/>
                  </a:lnTo>
                  <a:lnTo>
                    <a:pt x="732" y="1398"/>
                  </a:lnTo>
                  <a:lnTo>
                    <a:pt x="732" y="1392"/>
                  </a:lnTo>
                  <a:lnTo>
                    <a:pt x="726" y="1386"/>
                  </a:lnTo>
                  <a:lnTo>
                    <a:pt x="726" y="1380"/>
                  </a:lnTo>
                  <a:lnTo>
                    <a:pt x="714" y="1368"/>
                  </a:lnTo>
                  <a:lnTo>
                    <a:pt x="708" y="1368"/>
                  </a:lnTo>
                  <a:lnTo>
                    <a:pt x="684" y="1332"/>
                  </a:lnTo>
                  <a:lnTo>
                    <a:pt x="666" y="1320"/>
                  </a:lnTo>
                  <a:lnTo>
                    <a:pt x="648" y="1302"/>
                  </a:lnTo>
                  <a:lnTo>
                    <a:pt x="630" y="1314"/>
                  </a:lnTo>
                  <a:lnTo>
                    <a:pt x="624" y="1314"/>
                  </a:lnTo>
                  <a:lnTo>
                    <a:pt x="624" y="1308"/>
                  </a:lnTo>
                  <a:lnTo>
                    <a:pt x="618" y="1308"/>
                  </a:lnTo>
                  <a:lnTo>
                    <a:pt x="612" y="1284"/>
                  </a:lnTo>
                  <a:lnTo>
                    <a:pt x="606" y="1254"/>
                  </a:lnTo>
                  <a:lnTo>
                    <a:pt x="606" y="1248"/>
                  </a:lnTo>
                  <a:lnTo>
                    <a:pt x="606" y="1242"/>
                  </a:lnTo>
                  <a:lnTo>
                    <a:pt x="612" y="1242"/>
                  </a:lnTo>
                  <a:lnTo>
                    <a:pt x="618" y="1236"/>
                  </a:lnTo>
                  <a:lnTo>
                    <a:pt x="618" y="1230"/>
                  </a:lnTo>
                  <a:lnTo>
                    <a:pt x="624" y="1224"/>
                  </a:lnTo>
                  <a:lnTo>
                    <a:pt x="630" y="1224"/>
                  </a:lnTo>
                  <a:lnTo>
                    <a:pt x="636" y="1218"/>
                  </a:lnTo>
                  <a:lnTo>
                    <a:pt x="636" y="1212"/>
                  </a:lnTo>
                  <a:lnTo>
                    <a:pt x="612" y="1200"/>
                  </a:lnTo>
                  <a:lnTo>
                    <a:pt x="606" y="1182"/>
                  </a:lnTo>
                  <a:lnTo>
                    <a:pt x="672" y="1182"/>
                  </a:lnTo>
                  <a:lnTo>
                    <a:pt x="690" y="1170"/>
                  </a:lnTo>
                  <a:lnTo>
                    <a:pt x="690" y="1152"/>
                  </a:lnTo>
                  <a:lnTo>
                    <a:pt x="678" y="1110"/>
                  </a:lnTo>
                  <a:lnTo>
                    <a:pt x="672" y="1092"/>
                  </a:lnTo>
                  <a:lnTo>
                    <a:pt x="660" y="1074"/>
                  </a:lnTo>
                  <a:lnTo>
                    <a:pt x="648" y="1068"/>
                  </a:lnTo>
                  <a:lnTo>
                    <a:pt x="642" y="1068"/>
                  </a:lnTo>
                  <a:lnTo>
                    <a:pt x="636" y="1062"/>
                  </a:lnTo>
                  <a:lnTo>
                    <a:pt x="624" y="1056"/>
                  </a:lnTo>
                  <a:lnTo>
                    <a:pt x="624" y="1050"/>
                  </a:lnTo>
                  <a:lnTo>
                    <a:pt x="618" y="1038"/>
                  </a:lnTo>
                  <a:lnTo>
                    <a:pt x="612" y="1038"/>
                  </a:lnTo>
                  <a:lnTo>
                    <a:pt x="612" y="1032"/>
                  </a:lnTo>
                  <a:lnTo>
                    <a:pt x="612" y="1026"/>
                  </a:lnTo>
                  <a:lnTo>
                    <a:pt x="600" y="1014"/>
                  </a:lnTo>
                  <a:lnTo>
                    <a:pt x="582" y="1008"/>
                  </a:lnTo>
                  <a:lnTo>
                    <a:pt x="576" y="1002"/>
                  </a:lnTo>
                  <a:lnTo>
                    <a:pt x="576" y="996"/>
                  </a:lnTo>
                  <a:lnTo>
                    <a:pt x="570" y="996"/>
                  </a:lnTo>
                  <a:lnTo>
                    <a:pt x="570" y="990"/>
                  </a:lnTo>
                  <a:lnTo>
                    <a:pt x="570" y="984"/>
                  </a:lnTo>
                  <a:lnTo>
                    <a:pt x="564" y="984"/>
                  </a:lnTo>
                  <a:lnTo>
                    <a:pt x="558" y="978"/>
                  </a:lnTo>
                  <a:lnTo>
                    <a:pt x="552" y="972"/>
                  </a:lnTo>
                  <a:lnTo>
                    <a:pt x="552" y="966"/>
                  </a:lnTo>
                  <a:lnTo>
                    <a:pt x="546" y="972"/>
                  </a:lnTo>
                  <a:lnTo>
                    <a:pt x="540" y="972"/>
                  </a:lnTo>
                  <a:lnTo>
                    <a:pt x="534" y="960"/>
                  </a:lnTo>
                  <a:lnTo>
                    <a:pt x="528" y="960"/>
                  </a:lnTo>
                  <a:lnTo>
                    <a:pt x="528" y="966"/>
                  </a:lnTo>
                  <a:lnTo>
                    <a:pt x="516" y="954"/>
                  </a:lnTo>
                  <a:lnTo>
                    <a:pt x="516" y="948"/>
                  </a:lnTo>
                  <a:lnTo>
                    <a:pt x="510" y="948"/>
                  </a:lnTo>
                  <a:lnTo>
                    <a:pt x="504" y="948"/>
                  </a:lnTo>
                  <a:lnTo>
                    <a:pt x="498" y="948"/>
                  </a:lnTo>
                  <a:lnTo>
                    <a:pt x="504" y="954"/>
                  </a:lnTo>
                  <a:lnTo>
                    <a:pt x="498" y="954"/>
                  </a:lnTo>
                  <a:lnTo>
                    <a:pt x="492" y="954"/>
                  </a:lnTo>
                  <a:lnTo>
                    <a:pt x="480" y="942"/>
                  </a:lnTo>
                  <a:lnTo>
                    <a:pt x="480" y="948"/>
                  </a:lnTo>
                  <a:lnTo>
                    <a:pt x="480" y="954"/>
                  </a:lnTo>
                  <a:lnTo>
                    <a:pt x="474" y="954"/>
                  </a:lnTo>
                  <a:lnTo>
                    <a:pt x="468" y="960"/>
                  </a:lnTo>
                  <a:lnTo>
                    <a:pt x="462" y="960"/>
                  </a:lnTo>
                  <a:lnTo>
                    <a:pt x="456" y="966"/>
                  </a:lnTo>
                  <a:lnTo>
                    <a:pt x="456" y="960"/>
                  </a:lnTo>
                  <a:lnTo>
                    <a:pt x="450" y="966"/>
                  </a:lnTo>
                  <a:lnTo>
                    <a:pt x="444" y="966"/>
                  </a:lnTo>
                  <a:lnTo>
                    <a:pt x="414" y="966"/>
                  </a:lnTo>
                  <a:lnTo>
                    <a:pt x="408" y="960"/>
                  </a:lnTo>
                  <a:lnTo>
                    <a:pt x="408" y="966"/>
                  </a:lnTo>
                  <a:lnTo>
                    <a:pt x="402" y="960"/>
                  </a:lnTo>
                  <a:lnTo>
                    <a:pt x="396" y="960"/>
                  </a:lnTo>
                  <a:lnTo>
                    <a:pt x="390" y="960"/>
                  </a:lnTo>
                  <a:lnTo>
                    <a:pt x="390" y="966"/>
                  </a:lnTo>
                  <a:lnTo>
                    <a:pt x="384" y="966"/>
                  </a:lnTo>
                  <a:lnTo>
                    <a:pt x="378" y="966"/>
                  </a:lnTo>
                  <a:lnTo>
                    <a:pt x="384" y="960"/>
                  </a:lnTo>
                  <a:lnTo>
                    <a:pt x="384" y="954"/>
                  </a:lnTo>
                  <a:lnTo>
                    <a:pt x="372" y="948"/>
                  </a:lnTo>
                  <a:lnTo>
                    <a:pt x="372" y="954"/>
                  </a:lnTo>
                  <a:lnTo>
                    <a:pt x="372" y="960"/>
                  </a:lnTo>
                  <a:lnTo>
                    <a:pt x="366" y="960"/>
                  </a:lnTo>
                  <a:lnTo>
                    <a:pt x="360" y="966"/>
                  </a:lnTo>
                  <a:lnTo>
                    <a:pt x="354" y="966"/>
                  </a:lnTo>
                  <a:lnTo>
                    <a:pt x="348" y="960"/>
                  </a:lnTo>
                  <a:lnTo>
                    <a:pt x="342" y="960"/>
                  </a:lnTo>
                  <a:lnTo>
                    <a:pt x="342" y="966"/>
                  </a:lnTo>
                  <a:lnTo>
                    <a:pt x="336" y="972"/>
                  </a:lnTo>
                  <a:lnTo>
                    <a:pt x="330" y="972"/>
                  </a:lnTo>
                  <a:lnTo>
                    <a:pt x="324" y="966"/>
                  </a:lnTo>
                  <a:lnTo>
                    <a:pt x="318" y="966"/>
                  </a:lnTo>
                  <a:lnTo>
                    <a:pt x="312" y="966"/>
                  </a:lnTo>
                  <a:lnTo>
                    <a:pt x="306" y="960"/>
                  </a:lnTo>
                  <a:lnTo>
                    <a:pt x="306" y="954"/>
                  </a:lnTo>
                  <a:lnTo>
                    <a:pt x="306" y="948"/>
                  </a:lnTo>
                  <a:lnTo>
                    <a:pt x="306" y="942"/>
                  </a:lnTo>
                  <a:lnTo>
                    <a:pt x="300" y="942"/>
                  </a:lnTo>
                  <a:lnTo>
                    <a:pt x="294" y="936"/>
                  </a:lnTo>
                  <a:lnTo>
                    <a:pt x="288" y="936"/>
                  </a:lnTo>
                  <a:lnTo>
                    <a:pt x="282" y="942"/>
                  </a:lnTo>
                  <a:lnTo>
                    <a:pt x="276" y="936"/>
                  </a:lnTo>
                  <a:lnTo>
                    <a:pt x="276" y="942"/>
                  </a:lnTo>
                  <a:lnTo>
                    <a:pt x="270" y="942"/>
                  </a:lnTo>
                  <a:lnTo>
                    <a:pt x="264" y="936"/>
                  </a:lnTo>
                  <a:lnTo>
                    <a:pt x="252" y="936"/>
                  </a:lnTo>
                  <a:lnTo>
                    <a:pt x="246" y="936"/>
                  </a:lnTo>
                  <a:lnTo>
                    <a:pt x="240" y="936"/>
                  </a:lnTo>
                  <a:lnTo>
                    <a:pt x="234" y="936"/>
                  </a:lnTo>
                  <a:lnTo>
                    <a:pt x="240" y="924"/>
                  </a:lnTo>
                  <a:lnTo>
                    <a:pt x="234" y="924"/>
                  </a:lnTo>
                  <a:lnTo>
                    <a:pt x="228" y="918"/>
                  </a:lnTo>
                  <a:lnTo>
                    <a:pt x="228" y="906"/>
                  </a:lnTo>
                  <a:lnTo>
                    <a:pt x="222" y="900"/>
                  </a:lnTo>
                  <a:lnTo>
                    <a:pt x="216" y="900"/>
                  </a:lnTo>
                  <a:lnTo>
                    <a:pt x="210" y="900"/>
                  </a:lnTo>
                  <a:lnTo>
                    <a:pt x="210" y="906"/>
                  </a:lnTo>
                  <a:lnTo>
                    <a:pt x="204" y="906"/>
                  </a:lnTo>
                  <a:lnTo>
                    <a:pt x="198" y="906"/>
                  </a:lnTo>
                  <a:lnTo>
                    <a:pt x="210" y="900"/>
                  </a:lnTo>
                  <a:lnTo>
                    <a:pt x="210" y="894"/>
                  </a:lnTo>
                  <a:lnTo>
                    <a:pt x="216" y="888"/>
                  </a:lnTo>
                  <a:lnTo>
                    <a:pt x="204" y="882"/>
                  </a:lnTo>
                  <a:lnTo>
                    <a:pt x="204" y="894"/>
                  </a:lnTo>
                  <a:lnTo>
                    <a:pt x="198" y="894"/>
                  </a:lnTo>
                  <a:lnTo>
                    <a:pt x="192" y="900"/>
                  </a:lnTo>
                  <a:lnTo>
                    <a:pt x="186" y="894"/>
                  </a:lnTo>
                  <a:lnTo>
                    <a:pt x="180" y="894"/>
                  </a:lnTo>
                  <a:lnTo>
                    <a:pt x="174" y="894"/>
                  </a:lnTo>
                  <a:lnTo>
                    <a:pt x="168" y="900"/>
                  </a:lnTo>
                  <a:lnTo>
                    <a:pt x="162" y="906"/>
                  </a:lnTo>
                  <a:lnTo>
                    <a:pt x="156" y="906"/>
                  </a:lnTo>
                  <a:lnTo>
                    <a:pt x="150" y="900"/>
                  </a:lnTo>
                  <a:lnTo>
                    <a:pt x="144" y="894"/>
                  </a:lnTo>
                  <a:lnTo>
                    <a:pt x="138" y="894"/>
                  </a:lnTo>
                  <a:lnTo>
                    <a:pt x="132" y="888"/>
                  </a:lnTo>
                  <a:lnTo>
                    <a:pt x="126" y="888"/>
                  </a:lnTo>
                  <a:lnTo>
                    <a:pt x="120" y="888"/>
                  </a:lnTo>
                  <a:lnTo>
                    <a:pt x="114" y="894"/>
                  </a:lnTo>
                  <a:lnTo>
                    <a:pt x="120" y="900"/>
                  </a:lnTo>
                  <a:lnTo>
                    <a:pt x="126" y="900"/>
                  </a:lnTo>
                  <a:lnTo>
                    <a:pt x="132" y="900"/>
                  </a:lnTo>
                  <a:lnTo>
                    <a:pt x="132" y="906"/>
                  </a:lnTo>
                  <a:lnTo>
                    <a:pt x="126" y="912"/>
                  </a:lnTo>
                  <a:lnTo>
                    <a:pt x="126" y="918"/>
                  </a:lnTo>
                  <a:lnTo>
                    <a:pt x="114" y="918"/>
                  </a:lnTo>
                  <a:lnTo>
                    <a:pt x="108" y="924"/>
                  </a:lnTo>
                  <a:lnTo>
                    <a:pt x="102" y="924"/>
                  </a:lnTo>
                  <a:lnTo>
                    <a:pt x="90" y="924"/>
                  </a:lnTo>
                  <a:lnTo>
                    <a:pt x="84" y="924"/>
                  </a:lnTo>
                  <a:lnTo>
                    <a:pt x="78" y="924"/>
                  </a:lnTo>
                  <a:lnTo>
                    <a:pt x="60" y="924"/>
                  </a:lnTo>
                  <a:lnTo>
                    <a:pt x="54" y="942"/>
                  </a:lnTo>
                  <a:lnTo>
                    <a:pt x="48" y="936"/>
                  </a:lnTo>
                  <a:lnTo>
                    <a:pt x="42" y="930"/>
                  </a:lnTo>
                  <a:lnTo>
                    <a:pt x="36" y="930"/>
                  </a:lnTo>
                  <a:lnTo>
                    <a:pt x="30" y="936"/>
                  </a:lnTo>
                  <a:lnTo>
                    <a:pt x="30" y="930"/>
                  </a:lnTo>
                  <a:lnTo>
                    <a:pt x="30" y="924"/>
                  </a:lnTo>
                  <a:lnTo>
                    <a:pt x="18" y="918"/>
                  </a:lnTo>
                  <a:lnTo>
                    <a:pt x="18" y="912"/>
                  </a:lnTo>
                  <a:lnTo>
                    <a:pt x="12" y="912"/>
                  </a:lnTo>
                  <a:lnTo>
                    <a:pt x="6" y="912"/>
                  </a:lnTo>
                  <a:lnTo>
                    <a:pt x="6" y="900"/>
                  </a:lnTo>
                  <a:lnTo>
                    <a:pt x="6" y="894"/>
                  </a:lnTo>
                  <a:lnTo>
                    <a:pt x="0" y="870"/>
                  </a:lnTo>
                  <a:lnTo>
                    <a:pt x="6" y="846"/>
                  </a:lnTo>
                  <a:lnTo>
                    <a:pt x="6" y="810"/>
                  </a:lnTo>
                  <a:lnTo>
                    <a:pt x="12" y="774"/>
                  </a:lnTo>
                  <a:lnTo>
                    <a:pt x="12" y="756"/>
                  </a:lnTo>
                  <a:lnTo>
                    <a:pt x="18" y="744"/>
                  </a:lnTo>
                  <a:lnTo>
                    <a:pt x="18" y="732"/>
                  </a:lnTo>
                  <a:lnTo>
                    <a:pt x="12" y="576"/>
                  </a:lnTo>
                  <a:lnTo>
                    <a:pt x="12" y="570"/>
                  </a:lnTo>
                  <a:lnTo>
                    <a:pt x="18" y="564"/>
                  </a:lnTo>
                  <a:lnTo>
                    <a:pt x="24" y="558"/>
                  </a:lnTo>
                  <a:lnTo>
                    <a:pt x="30" y="552"/>
                  </a:lnTo>
                  <a:lnTo>
                    <a:pt x="36" y="552"/>
                  </a:lnTo>
                  <a:lnTo>
                    <a:pt x="42" y="552"/>
                  </a:lnTo>
                  <a:lnTo>
                    <a:pt x="66" y="552"/>
                  </a:lnTo>
                  <a:lnTo>
                    <a:pt x="78" y="558"/>
                  </a:lnTo>
                  <a:lnTo>
                    <a:pt x="90" y="558"/>
                  </a:lnTo>
                  <a:lnTo>
                    <a:pt x="108" y="558"/>
                  </a:lnTo>
                  <a:lnTo>
                    <a:pt x="144" y="558"/>
                  </a:lnTo>
                  <a:lnTo>
                    <a:pt x="204" y="552"/>
                  </a:lnTo>
                  <a:lnTo>
                    <a:pt x="210" y="558"/>
                  </a:lnTo>
                  <a:lnTo>
                    <a:pt x="216" y="558"/>
                  </a:lnTo>
                  <a:lnTo>
                    <a:pt x="210" y="564"/>
                  </a:lnTo>
                  <a:lnTo>
                    <a:pt x="216" y="564"/>
                  </a:lnTo>
                  <a:lnTo>
                    <a:pt x="222" y="564"/>
                  </a:lnTo>
                  <a:lnTo>
                    <a:pt x="240" y="564"/>
                  </a:lnTo>
                  <a:lnTo>
                    <a:pt x="258" y="564"/>
                  </a:lnTo>
                  <a:lnTo>
                    <a:pt x="264" y="570"/>
                  </a:lnTo>
                  <a:lnTo>
                    <a:pt x="276" y="570"/>
                  </a:lnTo>
                  <a:lnTo>
                    <a:pt x="282" y="564"/>
                  </a:lnTo>
                  <a:lnTo>
                    <a:pt x="294" y="564"/>
                  </a:lnTo>
                  <a:lnTo>
                    <a:pt x="294" y="570"/>
                  </a:lnTo>
                  <a:lnTo>
                    <a:pt x="300" y="570"/>
                  </a:lnTo>
                  <a:lnTo>
                    <a:pt x="378" y="564"/>
                  </a:lnTo>
                  <a:lnTo>
                    <a:pt x="408" y="558"/>
                  </a:lnTo>
                  <a:lnTo>
                    <a:pt x="432" y="552"/>
                  </a:lnTo>
                  <a:lnTo>
                    <a:pt x="450" y="546"/>
                  </a:lnTo>
                  <a:lnTo>
                    <a:pt x="468" y="546"/>
                  </a:lnTo>
                  <a:lnTo>
                    <a:pt x="468" y="552"/>
                  </a:lnTo>
                  <a:lnTo>
                    <a:pt x="504" y="552"/>
                  </a:lnTo>
                  <a:lnTo>
                    <a:pt x="510" y="534"/>
                  </a:lnTo>
                  <a:lnTo>
                    <a:pt x="516" y="510"/>
                  </a:lnTo>
                  <a:lnTo>
                    <a:pt x="522" y="510"/>
                  </a:lnTo>
                  <a:lnTo>
                    <a:pt x="528" y="420"/>
                  </a:lnTo>
                  <a:lnTo>
                    <a:pt x="522" y="414"/>
                  </a:lnTo>
                  <a:lnTo>
                    <a:pt x="516" y="396"/>
                  </a:lnTo>
                  <a:lnTo>
                    <a:pt x="510" y="372"/>
                  </a:lnTo>
                  <a:lnTo>
                    <a:pt x="498" y="348"/>
                  </a:lnTo>
                  <a:lnTo>
                    <a:pt x="474" y="282"/>
                  </a:lnTo>
                  <a:lnTo>
                    <a:pt x="474" y="270"/>
                  </a:lnTo>
                  <a:lnTo>
                    <a:pt x="480" y="258"/>
                  </a:lnTo>
                  <a:lnTo>
                    <a:pt x="486" y="258"/>
                  </a:lnTo>
                  <a:lnTo>
                    <a:pt x="492" y="252"/>
                  </a:lnTo>
                  <a:lnTo>
                    <a:pt x="486" y="246"/>
                  </a:lnTo>
                  <a:lnTo>
                    <a:pt x="492" y="246"/>
                  </a:lnTo>
                  <a:lnTo>
                    <a:pt x="504" y="234"/>
                  </a:lnTo>
                  <a:lnTo>
                    <a:pt x="510" y="228"/>
                  </a:lnTo>
                  <a:lnTo>
                    <a:pt x="516" y="228"/>
                  </a:lnTo>
                  <a:lnTo>
                    <a:pt x="516" y="222"/>
                  </a:lnTo>
                  <a:lnTo>
                    <a:pt x="516" y="216"/>
                  </a:lnTo>
                  <a:lnTo>
                    <a:pt x="522" y="216"/>
                  </a:lnTo>
                  <a:lnTo>
                    <a:pt x="528" y="210"/>
                  </a:lnTo>
                  <a:lnTo>
                    <a:pt x="534" y="210"/>
                  </a:lnTo>
                  <a:lnTo>
                    <a:pt x="540" y="210"/>
                  </a:lnTo>
                  <a:lnTo>
                    <a:pt x="546" y="210"/>
                  </a:lnTo>
                  <a:lnTo>
                    <a:pt x="552" y="210"/>
                  </a:lnTo>
                  <a:lnTo>
                    <a:pt x="564" y="210"/>
                  </a:lnTo>
                  <a:lnTo>
                    <a:pt x="570" y="216"/>
                  </a:lnTo>
                  <a:lnTo>
                    <a:pt x="576" y="216"/>
                  </a:lnTo>
                  <a:lnTo>
                    <a:pt x="588" y="228"/>
                  </a:lnTo>
                  <a:lnTo>
                    <a:pt x="594" y="234"/>
                  </a:lnTo>
                  <a:lnTo>
                    <a:pt x="600" y="240"/>
                  </a:lnTo>
                  <a:lnTo>
                    <a:pt x="618" y="246"/>
                  </a:lnTo>
                  <a:lnTo>
                    <a:pt x="624" y="246"/>
                  </a:lnTo>
                  <a:lnTo>
                    <a:pt x="636" y="252"/>
                  </a:lnTo>
                  <a:lnTo>
                    <a:pt x="654" y="252"/>
                  </a:lnTo>
                  <a:lnTo>
                    <a:pt x="654" y="258"/>
                  </a:lnTo>
                  <a:lnTo>
                    <a:pt x="666" y="264"/>
                  </a:lnTo>
                  <a:lnTo>
                    <a:pt x="672" y="264"/>
                  </a:lnTo>
                  <a:lnTo>
                    <a:pt x="678" y="264"/>
                  </a:lnTo>
                  <a:lnTo>
                    <a:pt x="696" y="258"/>
                  </a:lnTo>
                  <a:lnTo>
                    <a:pt x="696" y="252"/>
                  </a:lnTo>
                  <a:lnTo>
                    <a:pt x="696" y="246"/>
                  </a:lnTo>
                  <a:lnTo>
                    <a:pt x="690" y="234"/>
                  </a:lnTo>
                  <a:lnTo>
                    <a:pt x="684" y="210"/>
                  </a:lnTo>
                  <a:lnTo>
                    <a:pt x="678" y="192"/>
                  </a:lnTo>
                  <a:lnTo>
                    <a:pt x="672" y="174"/>
                  </a:lnTo>
                  <a:lnTo>
                    <a:pt x="672" y="168"/>
                  </a:lnTo>
                  <a:lnTo>
                    <a:pt x="672" y="162"/>
                  </a:lnTo>
                  <a:lnTo>
                    <a:pt x="672" y="156"/>
                  </a:lnTo>
                  <a:lnTo>
                    <a:pt x="684" y="132"/>
                  </a:lnTo>
                  <a:lnTo>
                    <a:pt x="684" y="120"/>
                  </a:lnTo>
                  <a:lnTo>
                    <a:pt x="684" y="108"/>
                  </a:lnTo>
                  <a:lnTo>
                    <a:pt x="678" y="102"/>
                  </a:lnTo>
                  <a:lnTo>
                    <a:pt x="678" y="96"/>
                  </a:lnTo>
                  <a:lnTo>
                    <a:pt x="684" y="96"/>
                  </a:lnTo>
                  <a:lnTo>
                    <a:pt x="696" y="90"/>
                  </a:lnTo>
                  <a:lnTo>
                    <a:pt x="702" y="84"/>
                  </a:lnTo>
                  <a:lnTo>
                    <a:pt x="720" y="72"/>
                  </a:lnTo>
                  <a:lnTo>
                    <a:pt x="738" y="66"/>
                  </a:lnTo>
                  <a:lnTo>
                    <a:pt x="756" y="60"/>
                  </a:lnTo>
                  <a:lnTo>
                    <a:pt x="768" y="60"/>
                  </a:lnTo>
                  <a:lnTo>
                    <a:pt x="798" y="72"/>
                  </a:lnTo>
                  <a:lnTo>
                    <a:pt x="804" y="78"/>
                  </a:lnTo>
                  <a:lnTo>
                    <a:pt x="816" y="84"/>
                  </a:lnTo>
                  <a:lnTo>
                    <a:pt x="822" y="84"/>
                  </a:lnTo>
                  <a:lnTo>
                    <a:pt x="828" y="72"/>
                  </a:lnTo>
                  <a:lnTo>
                    <a:pt x="828" y="60"/>
                  </a:lnTo>
                  <a:lnTo>
                    <a:pt x="828" y="36"/>
                  </a:lnTo>
                  <a:lnTo>
                    <a:pt x="828" y="24"/>
                  </a:lnTo>
                  <a:lnTo>
                    <a:pt x="828" y="12"/>
                  </a:lnTo>
                  <a:lnTo>
                    <a:pt x="834" y="12"/>
                  </a:lnTo>
                  <a:lnTo>
                    <a:pt x="852" y="6"/>
                  </a:lnTo>
                  <a:lnTo>
                    <a:pt x="876" y="6"/>
                  </a:lnTo>
                  <a:lnTo>
                    <a:pt x="894" y="6"/>
                  </a:lnTo>
                  <a:lnTo>
                    <a:pt x="906" y="12"/>
                  </a:lnTo>
                  <a:lnTo>
                    <a:pt x="912" y="24"/>
                  </a:lnTo>
                  <a:lnTo>
                    <a:pt x="924" y="24"/>
                  </a:lnTo>
                  <a:lnTo>
                    <a:pt x="930" y="30"/>
                  </a:lnTo>
                  <a:lnTo>
                    <a:pt x="936" y="30"/>
                  </a:lnTo>
                  <a:lnTo>
                    <a:pt x="936" y="36"/>
                  </a:lnTo>
                  <a:lnTo>
                    <a:pt x="942" y="36"/>
                  </a:lnTo>
                  <a:lnTo>
                    <a:pt x="948" y="42"/>
                  </a:lnTo>
                  <a:lnTo>
                    <a:pt x="960" y="48"/>
                  </a:lnTo>
                  <a:lnTo>
                    <a:pt x="966" y="48"/>
                  </a:lnTo>
                  <a:lnTo>
                    <a:pt x="1026" y="60"/>
                  </a:lnTo>
                  <a:lnTo>
                    <a:pt x="1050" y="60"/>
                  </a:lnTo>
                  <a:lnTo>
                    <a:pt x="1050" y="54"/>
                  </a:lnTo>
                  <a:lnTo>
                    <a:pt x="1062" y="54"/>
                  </a:lnTo>
                  <a:lnTo>
                    <a:pt x="1074" y="48"/>
                  </a:lnTo>
                  <a:lnTo>
                    <a:pt x="1086" y="42"/>
                  </a:lnTo>
                  <a:lnTo>
                    <a:pt x="1104" y="36"/>
                  </a:lnTo>
                  <a:lnTo>
                    <a:pt x="1116" y="30"/>
                  </a:lnTo>
                  <a:lnTo>
                    <a:pt x="1122" y="24"/>
                  </a:lnTo>
                  <a:lnTo>
                    <a:pt x="1128" y="18"/>
                  </a:lnTo>
                  <a:lnTo>
                    <a:pt x="1134" y="18"/>
                  </a:lnTo>
                  <a:lnTo>
                    <a:pt x="1140" y="12"/>
                  </a:lnTo>
                  <a:lnTo>
                    <a:pt x="1146" y="6"/>
                  </a:lnTo>
                  <a:lnTo>
                    <a:pt x="1158" y="0"/>
                  </a:lnTo>
                  <a:lnTo>
                    <a:pt x="1158" y="6"/>
                  </a:lnTo>
                  <a:lnTo>
                    <a:pt x="1164" y="6"/>
                  </a:lnTo>
                  <a:lnTo>
                    <a:pt x="1164" y="12"/>
                  </a:lnTo>
                  <a:lnTo>
                    <a:pt x="1170" y="24"/>
                  </a:lnTo>
                  <a:lnTo>
                    <a:pt x="1176" y="36"/>
                  </a:lnTo>
                  <a:lnTo>
                    <a:pt x="1188" y="42"/>
                  </a:lnTo>
                  <a:lnTo>
                    <a:pt x="1200" y="54"/>
                  </a:lnTo>
                  <a:lnTo>
                    <a:pt x="1224" y="84"/>
                  </a:lnTo>
                  <a:lnTo>
                    <a:pt x="1224" y="90"/>
                  </a:lnTo>
                  <a:lnTo>
                    <a:pt x="1236" y="96"/>
                  </a:lnTo>
                  <a:lnTo>
                    <a:pt x="1236" y="108"/>
                  </a:lnTo>
                  <a:lnTo>
                    <a:pt x="1248" y="114"/>
                  </a:lnTo>
                  <a:lnTo>
                    <a:pt x="1254" y="114"/>
                  </a:lnTo>
                  <a:lnTo>
                    <a:pt x="1260" y="114"/>
                  </a:lnTo>
                  <a:lnTo>
                    <a:pt x="1296" y="114"/>
                  </a:lnTo>
                  <a:lnTo>
                    <a:pt x="1302" y="114"/>
                  </a:lnTo>
                  <a:lnTo>
                    <a:pt x="1320" y="108"/>
                  </a:lnTo>
                  <a:lnTo>
                    <a:pt x="1326" y="108"/>
                  </a:lnTo>
                  <a:lnTo>
                    <a:pt x="1326" y="138"/>
                  </a:lnTo>
                  <a:lnTo>
                    <a:pt x="1326" y="210"/>
                  </a:lnTo>
                  <a:lnTo>
                    <a:pt x="1320" y="252"/>
                  </a:lnTo>
                  <a:lnTo>
                    <a:pt x="1320" y="270"/>
                  </a:lnTo>
                  <a:lnTo>
                    <a:pt x="1320" y="288"/>
                  </a:lnTo>
                  <a:lnTo>
                    <a:pt x="1320" y="318"/>
                  </a:lnTo>
                  <a:lnTo>
                    <a:pt x="1326" y="354"/>
                  </a:lnTo>
                  <a:lnTo>
                    <a:pt x="1326" y="372"/>
                  </a:lnTo>
                  <a:lnTo>
                    <a:pt x="1332" y="420"/>
                  </a:lnTo>
                  <a:lnTo>
                    <a:pt x="1332" y="450"/>
                  </a:lnTo>
                  <a:lnTo>
                    <a:pt x="1338" y="480"/>
                  </a:lnTo>
                  <a:lnTo>
                    <a:pt x="1344" y="486"/>
                  </a:lnTo>
                  <a:lnTo>
                    <a:pt x="1338" y="492"/>
                  </a:lnTo>
                  <a:lnTo>
                    <a:pt x="1344" y="492"/>
                  </a:lnTo>
                  <a:lnTo>
                    <a:pt x="1344" y="498"/>
                  </a:lnTo>
                  <a:lnTo>
                    <a:pt x="1350" y="498"/>
                  </a:lnTo>
                  <a:lnTo>
                    <a:pt x="1350" y="522"/>
                  </a:lnTo>
                  <a:lnTo>
                    <a:pt x="1362" y="564"/>
                  </a:lnTo>
                  <a:lnTo>
                    <a:pt x="1368" y="582"/>
                  </a:lnTo>
                  <a:lnTo>
                    <a:pt x="1380" y="600"/>
                  </a:lnTo>
                  <a:lnTo>
                    <a:pt x="1386" y="636"/>
                  </a:lnTo>
                  <a:lnTo>
                    <a:pt x="1380" y="660"/>
                  </a:lnTo>
                  <a:lnTo>
                    <a:pt x="1380" y="678"/>
                  </a:lnTo>
                  <a:lnTo>
                    <a:pt x="1380" y="684"/>
                  </a:lnTo>
                  <a:lnTo>
                    <a:pt x="1374" y="684"/>
                  </a:lnTo>
                  <a:lnTo>
                    <a:pt x="1368" y="690"/>
                  </a:lnTo>
                  <a:lnTo>
                    <a:pt x="1356" y="702"/>
                  </a:lnTo>
                  <a:lnTo>
                    <a:pt x="1350" y="708"/>
                  </a:lnTo>
                  <a:lnTo>
                    <a:pt x="1356" y="714"/>
                  </a:lnTo>
                  <a:lnTo>
                    <a:pt x="1368" y="726"/>
                  </a:lnTo>
                  <a:lnTo>
                    <a:pt x="1380" y="738"/>
                  </a:lnTo>
                  <a:lnTo>
                    <a:pt x="1386" y="744"/>
                  </a:lnTo>
                  <a:lnTo>
                    <a:pt x="1392" y="744"/>
                  </a:lnTo>
                  <a:lnTo>
                    <a:pt x="1410" y="750"/>
                  </a:lnTo>
                  <a:lnTo>
                    <a:pt x="1416" y="756"/>
                  </a:lnTo>
                  <a:lnTo>
                    <a:pt x="1422" y="756"/>
                  </a:lnTo>
                  <a:lnTo>
                    <a:pt x="1422" y="762"/>
                  </a:lnTo>
                  <a:lnTo>
                    <a:pt x="1428" y="774"/>
                  </a:lnTo>
                  <a:lnTo>
                    <a:pt x="1428" y="780"/>
                  </a:lnTo>
                  <a:lnTo>
                    <a:pt x="1434" y="780"/>
                  </a:lnTo>
                  <a:lnTo>
                    <a:pt x="1440" y="798"/>
                  </a:lnTo>
                  <a:lnTo>
                    <a:pt x="1422" y="816"/>
                  </a:lnTo>
                  <a:lnTo>
                    <a:pt x="1386" y="810"/>
                  </a:lnTo>
                  <a:lnTo>
                    <a:pt x="1380" y="816"/>
                  </a:lnTo>
                  <a:lnTo>
                    <a:pt x="1374" y="840"/>
                  </a:lnTo>
                  <a:lnTo>
                    <a:pt x="1350" y="852"/>
                  </a:lnTo>
                  <a:lnTo>
                    <a:pt x="1350" y="858"/>
                  </a:lnTo>
                  <a:lnTo>
                    <a:pt x="1350" y="864"/>
                  </a:lnTo>
                  <a:lnTo>
                    <a:pt x="1344" y="864"/>
                  </a:lnTo>
                  <a:lnTo>
                    <a:pt x="1338" y="870"/>
                  </a:lnTo>
                  <a:lnTo>
                    <a:pt x="1332" y="876"/>
                  </a:lnTo>
                  <a:lnTo>
                    <a:pt x="1314" y="876"/>
                  </a:lnTo>
                  <a:lnTo>
                    <a:pt x="1314" y="870"/>
                  </a:lnTo>
                  <a:lnTo>
                    <a:pt x="1308" y="870"/>
                  </a:lnTo>
                  <a:lnTo>
                    <a:pt x="1302" y="864"/>
                  </a:lnTo>
                  <a:lnTo>
                    <a:pt x="1296" y="864"/>
                  </a:lnTo>
                  <a:lnTo>
                    <a:pt x="1284" y="870"/>
                  </a:lnTo>
                  <a:lnTo>
                    <a:pt x="1266" y="870"/>
                  </a:lnTo>
                  <a:lnTo>
                    <a:pt x="1260" y="870"/>
                  </a:lnTo>
                  <a:lnTo>
                    <a:pt x="1248" y="876"/>
                  </a:lnTo>
                  <a:lnTo>
                    <a:pt x="1236" y="876"/>
                  </a:lnTo>
                  <a:lnTo>
                    <a:pt x="1230" y="882"/>
                  </a:lnTo>
                  <a:lnTo>
                    <a:pt x="1224" y="894"/>
                  </a:lnTo>
                  <a:lnTo>
                    <a:pt x="1218" y="918"/>
                  </a:lnTo>
                  <a:lnTo>
                    <a:pt x="1218" y="930"/>
                  </a:lnTo>
                  <a:lnTo>
                    <a:pt x="1218" y="942"/>
                  </a:lnTo>
                  <a:lnTo>
                    <a:pt x="1212" y="948"/>
                  </a:lnTo>
                  <a:lnTo>
                    <a:pt x="1200" y="984"/>
                  </a:lnTo>
                  <a:lnTo>
                    <a:pt x="1194" y="1008"/>
                  </a:lnTo>
                  <a:lnTo>
                    <a:pt x="1218" y="1038"/>
                  </a:lnTo>
                  <a:lnTo>
                    <a:pt x="1224" y="1044"/>
                  </a:lnTo>
                  <a:lnTo>
                    <a:pt x="1224" y="1062"/>
                  </a:lnTo>
                  <a:lnTo>
                    <a:pt x="1236" y="1080"/>
                  </a:lnTo>
                  <a:lnTo>
                    <a:pt x="1236" y="1086"/>
                  </a:lnTo>
                  <a:lnTo>
                    <a:pt x="1230" y="1092"/>
                  </a:lnTo>
                  <a:lnTo>
                    <a:pt x="1224" y="1110"/>
                  </a:lnTo>
                  <a:lnTo>
                    <a:pt x="1218" y="1122"/>
                  </a:lnTo>
                  <a:lnTo>
                    <a:pt x="1224" y="1140"/>
                  </a:lnTo>
                  <a:lnTo>
                    <a:pt x="1218" y="1146"/>
                  </a:lnTo>
                  <a:lnTo>
                    <a:pt x="1218" y="1152"/>
                  </a:lnTo>
                  <a:lnTo>
                    <a:pt x="1212" y="116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9512" name="Freeform 37"/>
            <p:cNvSpPr>
              <a:spLocks/>
            </p:cNvSpPr>
            <p:nvPr/>
          </p:nvSpPr>
          <p:spPr bwMode="gray">
            <a:xfrm>
              <a:off x="3513260" y="1506907"/>
              <a:ext cx="1093571" cy="1149787"/>
            </a:xfrm>
            <a:custGeom>
              <a:avLst/>
              <a:gdLst>
                <a:gd name="T0" fmla="*/ 58668 w 1398"/>
                <a:gd name="T1" fmla="*/ 38648 h 1428"/>
                <a:gd name="T2" fmla="*/ 53192 w 1398"/>
                <a:gd name="T3" fmla="*/ 43479 h 1428"/>
                <a:gd name="T4" fmla="*/ 44588 w 1398"/>
                <a:gd name="T5" fmla="*/ 47505 h 1428"/>
                <a:gd name="T6" fmla="*/ 43023 w 1398"/>
                <a:gd name="T7" fmla="*/ 54752 h 1428"/>
                <a:gd name="T8" fmla="*/ 43023 w 1398"/>
                <a:gd name="T9" fmla="*/ 61998 h 1428"/>
                <a:gd name="T10" fmla="*/ 44588 w 1398"/>
                <a:gd name="T11" fmla="*/ 65219 h 1428"/>
                <a:gd name="T12" fmla="*/ 43805 w 1398"/>
                <a:gd name="T13" fmla="*/ 69245 h 1428"/>
                <a:gd name="T14" fmla="*/ 44588 w 1398"/>
                <a:gd name="T15" fmla="*/ 71660 h 1428"/>
                <a:gd name="T16" fmla="*/ 45370 w 1398"/>
                <a:gd name="T17" fmla="*/ 74076 h 1428"/>
                <a:gd name="T18" fmla="*/ 45370 w 1398"/>
                <a:gd name="T19" fmla="*/ 77297 h 1428"/>
                <a:gd name="T20" fmla="*/ 38330 w 1398"/>
                <a:gd name="T21" fmla="*/ 80517 h 1428"/>
                <a:gd name="T22" fmla="*/ 36765 w 1398"/>
                <a:gd name="T23" fmla="*/ 86959 h 1428"/>
                <a:gd name="T24" fmla="*/ 37548 w 1398"/>
                <a:gd name="T25" fmla="*/ 90985 h 1428"/>
                <a:gd name="T26" fmla="*/ 33636 w 1398"/>
                <a:gd name="T27" fmla="*/ 91790 h 1428"/>
                <a:gd name="T28" fmla="*/ 30507 w 1398"/>
                <a:gd name="T29" fmla="*/ 90985 h 1428"/>
                <a:gd name="T30" fmla="*/ 25814 w 1398"/>
                <a:gd name="T31" fmla="*/ 87764 h 1428"/>
                <a:gd name="T32" fmla="*/ 22685 w 1398"/>
                <a:gd name="T33" fmla="*/ 91790 h 1428"/>
                <a:gd name="T34" fmla="*/ 17209 w 1398"/>
                <a:gd name="T35" fmla="*/ 92595 h 1428"/>
                <a:gd name="T36" fmla="*/ 16427 w 1398"/>
                <a:gd name="T37" fmla="*/ 97426 h 1428"/>
                <a:gd name="T38" fmla="*/ 9387 w 1398"/>
                <a:gd name="T39" fmla="*/ 95816 h 1428"/>
                <a:gd name="T40" fmla="*/ 7040 w 1398"/>
                <a:gd name="T41" fmla="*/ 90985 h 1428"/>
                <a:gd name="T42" fmla="*/ 1564 w 1398"/>
                <a:gd name="T43" fmla="*/ 87764 h 1428"/>
                <a:gd name="T44" fmla="*/ 3129 w 1398"/>
                <a:gd name="T45" fmla="*/ 82933 h 1428"/>
                <a:gd name="T46" fmla="*/ 1564 w 1398"/>
                <a:gd name="T47" fmla="*/ 73271 h 1428"/>
                <a:gd name="T48" fmla="*/ 4693 w 1398"/>
                <a:gd name="T49" fmla="*/ 68440 h 1428"/>
                <a:gd name="T50" fmla="*/ 7822 w 1398"/>
                <a:gd name="T51" fmla="*/ 68440 h 1428"/>
                <a:gd name="T52" fmla="*/ 11734 w 1398"/>
                <a:gd name="T53" fmla="*/ 66024 h 1428"/>
                <a:gd name="T54" fmla="*/ 15645 w 1398"/>
                <a:gd name="T55" fmla="*/ 61998 h 1428"/>
                <a:gd name="T56" fmla="*/ 12516 w 1398"/>
                <a:gd name="T57" fmla="*/ 58778 h 1428"/>
                <a:gd name="T58" fmla="*/ 12516 w 1398"/>
                <a:gd name="T59" fmla="*/ 55557 h 1428"/>
                <a:gd name="T60" fmla="*/ 10951 w 1398"/>
                <a:gd name="T61" fmla="*/ 43479 h 1428"/>
                <a:gd name="T62" fmla="*/ 9387 w 1398"/>
                <a:gd name="T63" fmla="*/ 38648 h 1428"/>
                <a:gd name="T64" fmla="*/ 8605 w 1398"/>
                <a:gd name="T65" fmla="*/ 24960 h 1428"/>
                <a:gd name="T66" fmla="*/ 10951 w 1398"/>
                <a:gd name="T67" fmla="*/ 14493 h 1428"/>
                <a:gd name="T68" fmla="*/ 14863 w 1398"/>
                <a:gd name="T69" fmla="*/ 12078 h 1428"/>
                <a:gd name="T70" fmla="*/ 20338 w 1398"/>
                <a:gd name="T71" fmla="*/ 10467 h 1428"/>
                <a:gd name="T72" fmla="*/ 26596 w 1398"/>
                <a:gd name="T73" fmla="*/ 9662 h 1428"/>
                <a:gd name="T74" fmla="*/ 30507 w 1398"/>
                <a:gd name="T75" fmla="*/ 7247 h 1428"/>
                <a:gd name="T76" fmla="*/ 33636 w 1398"/>
                <a:gd name="T77" fmla="*/ 5636 h 1428"/>
                <a:gd name="T78" fmla="*/ 37548 w 1398"/>
                <a:gd name="T79" fmla="*/ 2416 h 1428"/>
                <a:gd name="T80" fmla="*/ 42241 w 1398"/>
                <a:gd name="T81" fmla="*/ 0 h 1428"/>
                <a:gd name="T82" fmla="*/ 45370 w 1398"/>
                <a:gd name="T83" fmla="*/ 0 h 1428"/>
                <a:gd name="T84" fmla="*/ 51628 w 1398"/>
                <a:gd name="T85" fmla="*/ 1610 h 1428"/>
                <a:gd name="T86" fmla="*/ 54757 w 1398"/>
                <a:gd name="T87" fmla="*/ 2416 h 1428"/>
                <a:gd name="T88" fmla="*/ 58668 w 1398"/>
                <a:gd name="T89" fmla="*/ 4831 h 1428"/>
                <a:gd name="T90" fmla="*/ 62579 w 1398"/>
                <a:gd name="T91" fmla="*/ 7247 h 1428"/>
                <a:gd name="T92" fmla="*/ 64926 w 1398"/>
                <a:gd name="T93" fmla="*/ 9662 h 1428"/>
                <a:gd name="T94" fmla="*/ 68055 w 1398"/>
                <a:gd name="T95" fmla="*/ 12078 h 1428"/>
                <a:gd name="T96" fmla="*/ 73531 w 1398"/>
                <a:gd name="T97" fmla="*/ 12078 h 1428"/>
                <a:gd name="T98" fmla="*/ 77442 w 1398"/>
                <a:gd name="T99" fmla="*/ 16909 h 1428"/>
                <a:gd name="T100" fmla="*/ 80571 w 1398"/>
                <a:gd name="T101" fmla="*/ 18519 h 1428"/>
                <a:gd name="T102" fmla="*/ 86046 w 1398"/>
                <a:gd name="T103" fmla="*/ 20934 h 1428"/>
                <a:gd name="T104" fmla="*/ 90740 w 1398"/>
                <a:gd name="T105" fmla="*/ 21740 h 1428"/>
                <a:gd name="T106" fmla="*/ 93869 w 1398"/>
                <a:gd name="T107" fmla="*/ 21740 h 1428"/>
                <a:gd name="T108" fmla="*/ 90740 w 1398"/>
                <a:gd name="T109" fmla="*/ 28181 h 1428"/>
                <a:gd name="T110" fmla="*/ 81353 w 1398"/>
                <a:gd name="T111" fmla="*/ 29791 h 1428"/>
                <a:gd name="T112" fmla="*/ 75877 w 1398"/>
                <a:gd name="T113" fmla="*/ 27376 h 1428"/>
                <a:gd name="T114" fmla="*/ 71184 w 1398"/>
                <a:gd name="T115" fmla="*/ 23350 h 1428"/>
                <a:gd name="T116" fmla="*/ 58668 w 1398"/>
                <a:gd name="T117" fmla="*/ 23350 h 1428"/>
                <a:gd name="T118" fmla="*/ 56321 w 1398"/>
                <a:gd name="T119" fmla="*/ 31402 h 1428"/>
                <a:gd name="T120" fmla="*/ 62579 w 1398"/>
                <a:gd name="T121" fmla="*/ 33012 h 14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98"/>
                <a:gd name="T184" fmla="*/ 0 h 1428"/>
                <a:gd name="T185" fmla="*/ 1398 w 1398"/>
                <a:gd name="T186" fmla="*/ 1428 h 142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98" h="1428">
                  <a:moveTo>
                    <a:pt x="924" y="474"/>
                  </a:moveTo>
                  <a:lnTo>
                    <a:pt x="900" y="480"/>
                  </a:lnTo>
                  <a:lnTo>
                    <a:pt x="864" y="486"/>
                  </a:lnTo>
                  <a:lnTo>
                    <a:pt x="864" y="504"/>
                  </a:lnTo>
                  <a:lnTo>
                    <a:pt x="858" y="522"/>
                  </a:lnTo>
                  <a:lnTo>
                    <a:pt x="864" y="528"/>
                  </a:lnTo>
                  <a:lnTo>
                    <a:pt x="864" y="552"/>
                  </a:lnTo>
                  <a:lnTo>
                    <a:pt x="852" y="552"/>
                  </a:lnTo>
                  <a:lnTo>
                    <a:pt x="846" y="564"/>
                  </a:lnTo>
                  <a:lnTo>
                    <a:pt x="840" y="582"/>
                  </a:lnTo>
                  <a:lnTo>
                    <a:pt x="834" y="594"/>
                  </a:lnTo>
                  <a:lnTo>
                    <a:pt x="828" y="606"/>
                  </a:lnTo>
                  <a:lnTo>
                    <a:pt x="828" y="618"/>
                  </a:lnTo>
                  <a:lnTo>
                    <a:pt x="786" y="630"/>
                  </a:lnTo>
                  <a:lnTo>
                    <a:pt x="774" y="636"/>
                  </a:lnTo>
                  <a:lnTo>
                    <a:pt x="762" y="642"/>
                  </a:lnTo>
                  <a:lnTo>
                    <a:pt x="744" y="648"/>
                  </a:lnTo>
                  <a:lnTo>
                    <a:pt x="714" y="660"/>
                  </a:lnTo>
                  <a:lnTo>
                    <a:pt x="696" y="666"/>
                  </a:lnTo>
                  <a:lnTo>
                    <a:pt x="666" y="672"/>
                  </a:lnTo>
                  <a:lnTo>
                    <a:pt x="654" y="684"/>
                  </a:lnTo>
                  <a:lnTo>
                    <a:pt x="648" y="684"/>
                  </a:lnTo>
                  <a:lnTo>
                    <a:pt x="642" y="696"/>
                  </a:lnTo>
                  <a:lnTo>
                    <a:pt x="636" y="696"/>
                  </a:lnTo>
                  <a:lnTo>
                    <a:pt x="630" y="714"/>
                  </a:lnTo>
                  <a:lnTo>
                    <a:pt x="624" y="738"/>
                  </a:lnTo>
                  <a:lnTo>
                    <a:pt x="624" y="762"/>
                  </a:lnTo>
                  <a:lnTo>
                    <a:pt x="630" y="780"/>
                  </a:lnTo>
                  <a:lnTo>
                    <a:pt x="636" y="804"/>
                  </a:lnTo>
                  <a:lnTo>
                    <a:pt x="642" y="822"/>
                  </a:lnTo>
                  <a:lnTo>
                    <a:pt x="642" y="828"/>
                  </a:lnTo>
                  <a:lnTo>
                    <a:pt x="636" y="828"/>
                  </a:lnTo>
                  <a:lnTo>
                    <a:pt x="636" y="834"/>
                  </a:lnTo>
                  <a:lnTo>
                    <a:pt x="636" y="870"/>
                  </a:lnTo>
                  <a:lnTo>
                    <a:pt x="636" y="882"/>
                  </a:lnTo>
                  <a:lnTo>
                    <a:pt x="636" y="906"/>
                  </a:lnTo>
                  <a:lnTo>
                    <a:pt x="630" y="906"/>
                  </a:lnTo>
                  <a:lnTo>
                    <a:pt x="636" y="918"/>
                  </a:lnTo>
                  <a:lnTo>
                    <a:pt x="642" y="918"/>
                  </a:lnTo>
                  <a:lnTo>
                    <a:pt x="642" y="930"/>
                  </a:lnTo>
                  <a:lnTo>
                    <a:pt x="648" y="936"/>
                  </a:lnTo>
                  <a:lnTo>
                    <a:pt x="654" y="936"/>
                  </a:lnTo>
                  <a:lnTo>
                    <a:pt x="654" y="942"/>
                  </a:lnTo>
                  <a:lnTo>
                    <a:pt x="654" y="948"/>
                  </a:lnTo>
                  <a:lnTo>
                    <a:pt x="648" y="954"/>
                  </a:lnTo>
                  <a:lnTo>
                    <a:pt x="648" y="960"/>
                  </a:lnTo>
                  <a:lnTo>
                    <a:pt x="648" y="966"/>
                  </a:lnTo>
                  <a:lnTo>
                    <a:pt x="648" y="972"/>
                  </a:lnTo>
                  <a:lnTo>
                    <a:pt x="648" y="990"/>
                  </a:lnTo>
                  <a:lnTo>
                    <a:pt x="654" y="996"/>
                  </a:lnTo>
                  <a:lnTo>
                    <a:pt x="648" y="1002"/>
                  </a:lnTo>
                  <a:lnTo>
                    <a:pt x="648" y="1008"/>
                  </a:lnTo>
                  <a:lnTo>
                    <a:pt x="654" y="1014"/>
                  </a:lnTo>
                  <a:lnTo>
                    <a:pt x="654" y="1020"/>
                  </a:lnTo>
                  <a:lnTo>
                    <a:pt x="654" y="1026"/>
                  </a:lnTo>
                  <a:lnTo>
                    <a:pt x="660" y="1026"/>
                  </a:lnTo>
                  <a:lnTo>
                    <a:pt x="660" y="1032"/>
                  </a:lnTo>
                  <a:lnTo>
                    <a:pt x="660" y="1038"/>
                  </a:lnTo>
                  <a:lnTo>
                    <a:pt x="666" y="1044"/>
                  </a:lnTo>
                  <a:lnTo>
                    <a:pt x="672" y="1050"/>
                  </a:lnTo>
                  <a:lnTo>
                    <a:pt x="672" y="1056"/>
                  </a:lnTo>
                  <a:lnTo>
                    <a:pt x="672" y="1062"/>
                  </a:lnTo>
                  <a:lnTo>
                    <a:pt x="672" y="1068"/>
                  </a:lnTo>
                  <a:lnTo>
                    <a:pt x="672" y="1074"/>
                  </a:lnTo>
                  <a:lnTo>
                    <a:pt x="678" y="1074"/>
                  </a:lnTo>
                  <a:lnTo>
                    <a:pt x="678" y="1080"/>
                  </a:lnTo>
                  <a:lnTo>
                    <a:pt x="678" y="1086"/>
                  </a:lnTo>
                  <a:lnTo>
                    <a:pt x="672" y="1092"/>
                  </a:lnTo>
                  <a:lnTo>
                    <a:pt x="672" y="1098"/>
                  </a:lnTo>
                  <a:lnTo>
                    <a:pt x="672" y="1104"/>
                  </a:lnTo>
                  <a:lnTo>
                    <a:pt x="666" y="1116"/>
                  </a:lnTo>
                  <a:lnTo>
                    <a:pt x="624" y="1122"/>
                  </a:lnTo>
                  <a:lnTo>
                    <a:pt x="576" y="1134"/>
                  </a:lnTo>
                  <a:lnTo>
                    <a:pt x="570" y="1140"/>
                  </a:lnTo>
                  <a:lnTo>
                    <a:pt x="570" y="1146"/>
                  </a:lnTo>
                  <a:lnTo>
                    <a:pt x="564" y="1146"/>
                  </a:lnTo>
                  <a:lnTo>
                    <a:pt x="564" y="1152"/>
                  </a:lnTo>
                  <a:lnTo>
                    <a:pt x="564" y="1164"/>
                  </a:lnTo>
                  <a:lnTo>
                    <a:pt x="564" y="1170"/>
                  </a:lnTo>
                  <a:lnTo>
                    <a:pt x="564" y="1176"/>
                  </a:lnTo>
                  <a:lnTo>
                    <a:pt x="546" y="1176"/>
                  </a:lnTo>
                  <a:lnTo>
                    <a:pt x="540" y="1212"/>
                  </a:lnTo>
                  <a:lnTo>
                    <a:pt x="540" y="1230"/>
                  </a:lnTo>
                  <a:lnTo>
                    <a:pt x="546" y="1242"/>
                  </a:lnTo>
                  <a:lnTo>
                    <a:pt x="546" y="1254"/>
                  </a:lnTo>
                  <a:lnTo>
                    <a:pt x="558" y="1266"/>
                  </a:lnTo>
                  <a:lnTo>
                    <a:pt x="576" y="1272"/>
                  </a:lnTo>
                  <a:lnTo>
                    <a:pt x="570" y="1278"/>
                  </a:lnTo>
                  <a:lnTo>
                    <a:pt x="576" y="1284"/>
                  </a:lnTo>
                  <a:lnTo>
                    <a:pt x="570" y="1296"/>
                  </a:lnTo>
                  <a:lnTo>
                    <a:pt x="558" y="1302"/>
                  </a:lnTo>
                  <a:lnTo>
                    <a:pt x="540" y="1308"/>
                  </a:lnTo>
                  <a:lnTo>
                    <a:pt x="522" y="1314"/>
                  </a:lnTo>
                  <a:lnTo>
                    <a:pt x="516" y="1314"/>
                  </a:lnTo>
                  <a:lnTo>
                    <a:pt x="510" y="1314"/>
                  </a:lnTo>
                  <a:lnTo>
                    <a:pt x="504" y="1314"/>
                  </a:lnTo>
                  <a:lnTo>
                    <a:pt x="498" y="1320"/>
                  </a:lnTo>
                  <a:lnTo>
                    <a:pt x="492" y="1320"/>
                  </a:lnTo>
                  <a:lnTo>
                    <a:pt x="492" y="1326"/>
                  </a:lnTo>
                  <a:lnTo>
                    <a:pt x="486" y="1326"/>
                  </a:lnTo>
                  <a:lnTo>
                    <a:pt x="480" y="1326"/>
                  </a:lnTo>
                  <a:lnTo>
                    <a:pt x="480" y="1320"/>
                  </a:lnTo>
                  <a:lnTo>
                    <a:pt x="468" y="1314"/>
                  </a:lnTo>
                  <a:lnTo>
                    <a:pt x="462" y="1308"/>
                  </a:lnTo>
                  <a:lnTo>
                    <a:pt x="456" y="1302"/>
                  </a:lnTo>
                  <a:lnTo>
                    <a:pt x="444" y="1296"/>
                  </a:lnTo>
                  <a:lnTo>
                    <a:pt x="420" y="1290"/>
                  </a:lnTo>
                  <a:lnTo>
                    <a:pt x="414" y="1278"/>
                  </a:lnTo>
                  <a:lnTo>
                    <a:pt x="408" y="1278"/>
                  </a:lnTo>
                  <a:lnTo>
                    <a:pt x="408" y="1266"/>
                  </a:lnTo>
                  <a:lnTo>
                    <a:pt x="402" y="1260"/>
                  </a:lnTo>
                  <a:lnTo>
                    <a:pt x="384" y="1260"/>
                  </a:lnTo>
                  <a:lnTo>
                    <a:pt x="372" y="1266"/>
                  </a:lnTo>
                  <a:lnTo>
                    <a:pt x="360" y="1272"/>
                  </a:lnTo>
                  <a:lnTo>
                    <a:pt x="348" y="1272"/>
                  </a:lnTo>
                  <a:lnTo>
                    <a:pt x="342" y="1284"/>
                  </a:lnTo>
                  <a:lnTo>
                    <a:pt x="336" y="1290"/>
                  </a:lnTo>
                  <a:lnTo>
                    <a:pt x="336" y="1308"/>
                  </a:lnTo>
                  <a:lnTo>
                    <a:pt x="336" y="1314"/>
                  </a:lnTo>
                  <a:lnTo>
                    <a:pt x="336" y="1320"/>
                  </a:lnTo>
                  <a:lnTo>
                    <a:pt x="330" y="1326"/>
                  </a:lnTo>
                  <a:lnTo>
                    <a:pt x="330" y="1332"/>
                  </a:lnTo>
                  <a:lnTo>
                    <a:pt x="330" y="1338"/>
                  </a:lnTo>
                  <a:lnTo>
                    <a:pt x="300" y="1338"/>
                  </a:lnTo>
                  <a:lnTo>
                    <a:pt x="288" y="1338"/>
                  </a:lnTo>
                  <a:lnTo>
                    <a:pt x="258" y="1326"/>
                  </a:lnTo>
                  <a:lnTo>
                    <a:pt x="246" y="1332"/>
                  </a:lnTo>
                  <a:lnTo>
                    <a:pt x="240" y="1338"/>
                  </a:lnTo>
                  <a:lnTo>
                    <a:pt x="234" y="1338"/>
                  </a:lnTo>
                  <a:lnTo>
                    <a:pt x="228" y="1350"/>
                  </a:lnTo>
                  <a:lnTo>
                    <a:pt x="228" y="1374"/>
                  </a:lnTo>
                  <a:lnTo>
                    <a:pt x="234" y="1392"/>
                  </a:lnTo>
                  <a:lnTo>
                    <a:pt x="246" y="1398"/>
                  </a:lnTo>
                  <a:lnTo>
                    <a:pt x="246" y="1410"/>
                  </a:lnTo>
                  <a:lnTo>
                    <a:pt x="216" y="1428"/>
                  </a:lnTo>
                  <a:lnTo>
                    <a:pt x="198" y="1428"/>
                  </a:lnTo>
                  <a:lnTo>
                    <a:pt x="192" y="1422"/>
                  </a:lnTo>
                  <a:lnTo>
                    <a:pt x="174" y="1410"/>
                  </a:lnTo>
                  <a:lnTo>
                    <a:pt x="156" y="1386"/>
                  </a:lnTo>
                  <a:lnTo>
                    <a:pt x="132" y="1374"/>
                  </a:lnTo>
                  <a:lnTo>
                    <a:pt x="108" y="1368"/>
                  </a:lnTo>
                  <a:lnTo>
                    <a:pt x="84" y="1368"/>
                  </a:lnTo>
                  <a:lnTo>
                    <a:pt x="96" y="1356"/>
                  </a:lnTo>
                  <a:lnTo>
                    <a:pt x="102" y="1344"/>
                  </a:lnTo>
                  <a:lnTo>
                    <a:pt x="102" y="1332"/>
                  </a:lnTo>
                  <a:lnTo>
                    <a:pt x="108" y="1320"/>
                  </a:lnTo>
                  <a:lnTo>
                    <a:pt x="108" y="1302"/>
                  </a:lnTo>
                  <a:lnTo>
                    <a:pt x="96" y="1278"/>
                  </a:lnTo>
                  <a:lnTo>
                    <a:pt x="66" y="1284"/>
                  </a:lnTo>
                  <a:lnTo>
                    <a:pt x="54" y="1278"/>
                  </a:lnTo>
                  <a:lnTo>
                    <a:pt x="36" y="1278"/>
                  </a:lnTo>
                  <a:lnTo>
                    <a:pt x="18" y="1284"/>
                  </a:lnTo>
                  <a:lnTo>
                    <a:pt x="18" y="1272"/>
                  </a:lnTo>
                  <a:lnTo>
                    <a:pt x="24" y="1260"/>
                  </a:lnTo>
                  <a:lnTo>
                    <a:pt x="24" y="1254"/>
                  </a:lnTo>
                  <a:lnTo>
                    <a:pt x="30" y="1248"/>
                  </a:lnTo>
                  <a:lnTo>
                    <a:pt x="24" y="1230"/>
                  </a:lnTo>
                  <a:lnTo>
                    <a:pt x="30" y="1218"/>
                  </a:lnTo>
                  <a:lnTo>
                    <a:pt x="36" y="1200"/>
                  </a:lnTo>
                  <a:lnTo>
                    <a:pt x="42" y="1194"/>
                  </a:lnTo>
                  <a:lnTo>
                    <a:pt x="42" y="1188"/>
                  </a:lnTo>
                  <a:lnTo>
                    <a:pt x="30" y="1170"/>
                  </a:lnTo>
                  <a:lnTo>
                    <a:pt x="30" y="1152"/>
                  </a:lnTo>
                  <a:lnTo>
                    <a:pt x="24" y="1146"/>
                  </a:lnTo>
                  <a:lnTo>
                    <a:pt x="0" y="1116"/>
                  </a:lnTo>
                  <a:lnTo>
                    <a:pt x="6" y="1092"/>
                  </a:lnTo>
                  <a:lnTo>
                    <a:pt x="18" y="1056"/>
                  </a:lnTo>
                  <a:lnTo>
                    <a:pt x="24" y="1050"/>
                  </a:lnTo>
                  <a:lnTo>
                    <a:pt x="24" y="1038"/>
                  </a:lnTo>
                  <a:lnTo>
                    <a:pt x="24" y="1026"/>
                  </a:lnTo>
                  <a:lnTo>
                    <a:pt x="30" y="1002"/>
                  </a:lnTo>
                  <a:lnTo>
                    <a:pt x="36" y="990"/>
                  </a:lnTo>
                  <a:lnTo>
                    <a:pt x="42" y="984"/>
                  </a:lnTo>
                  <a:lnTo>
                    <a:pt x="54" y="984"/>
                  </a:lnTo>
                  <a:lnTo>
                    <a:pt x="66" y="978"/>
                  </a:lnTo>
                  <a:lnTo>
                    <a:pt x="72" y="978"/>
                  </a:lnTo>
                  <a:lnTo>
                    <a:pt x="90" y="978"/>
                  </a:lnTo>
                  <a:lnTo>
                    <a:pt x="102" y="972"/>
                  </a:lnTo>
                  <a:lnTo>
                    <a:pt x="108" y="972"/>
                  </a:lnTo>
                  <a:lnTo>
                    <a:pt x="114" y="978"/>
                  </a:lnTo>
                  <a:lnTo>
                    <a:pt x="120" y="978"/>
                  </a:lnTo>
                  <a:lnTo>
                    <a:pt x="120" y="984"/>
                  </a:lnTo>
                  <a:lnTo>
                    <a:pt x="138" y="984"/>
                  </a:lnTo>
                  <a:lnTo>
                    <a:pt x="144" y="978"/>
                  </a:lnTo>
                  <a:lnTo>
                    <a:pt x="150" y="972"/>
                  </a:lnTo>
                  <a:lnTo>
                    <a:pt x="156" y="972"/>
                  </a:lnTo>
                  <a:lnTo>
                    <a:pt x="156" y="966"/>
                  </a:lnTo>
                  <a:lnTo>
                    <a:pt x="156" y="960"/>
                  </a:lnTo>
                  <a:lnTo>
                    <a:pt x="180" y="948"/>
                  </a:lnTo>
                  <a:lnTo>
                    <a:pt x="186" y="924"/>
                  </a:lnTo>
                  <a:lnTo>
                    <a:pt x="192" y="918"/>
                  </a:lnTo>
                  <a:lnTo>
                    <a:pt x="228" y="924"/>
                  </a:lnTo>
                  <a:lnTo>
                    <a:pt x="246" y="906"/>
                  </a:lnTo>
                  <a:lnTo>
                    <a:pt x="240" y="888"/>
                  </a:lnTo>
                  <a:lnTo>
                    <a:pt x="234" y="888"/>
                  </a:lnTo>
                  <a:lnTo>
                    <a:pt x="234" y="882"/>
                  </a:lnTo>
                  <a:lnTo>
                    <a:pt x="228" y="870"/>
                  </a:lnTo>
                  <a:lnTo>
                    <a:pt x="228" y="864"/>
                  </a:lnTo>
                  <a:lnTo>
                    <a:pt x="222" y="864"/>
                  </a:lnTo>
                  <a:lnTo>
                    <a:pt x="216" y="858"/>
                  </a:lnTo>
                  <a:lnTo>
                    <a:pt x="198" y="852"/>
                  </a:lnTo>
                  <a:lnTo>
                    <a:pt x="192" y="852"/>
                  </a:lnTo>
                  <a:lnTo>
                    <a:pt x="186" y="846"/>
                  </a:lnTo>
                  <a:lnTo>
                    <a:pt x="174" y="834"/>
                  </a:lnTo>
                  <a:lnTo>
                    <a:pt x="162" y="822"/>
                  </a:lnTo>
                  <a:lnTo>
                    <a:pt x="156" y="816"/>
                  </a:lnTo>
                  <a:lnTo>
                    <a:pt x="162" y="810"/>
                  </a:lnTo>
                  <a:lnTo>
                    <a:pt x="174" y="798"/>
                  </a:lnTo>
                  <a:lnTo>
                    <a:pt x="180" y="792"/>
                  </a:lnTo>
                  <a:lnTo>
                    <a:pt x="186" y="792"/>
                  </a:lnTo>
                  <a:lnTo>
                    <a:pt x="186" y="786"/>
                  </a:lnTo>
                  <a:lnTo>
                    <a:pt x="186" y="768"/>
                  </a:lnTo>
                  <a:lnTo>
                    <a:pt x="192" y="744"/>
                  </a:lnTo>
                  <a:lnTo>
                    <a:pt x="186" y="708"/>
                  </a:lnTo>
                  <a:lnTo>
                    <a:pt x="174" y="690"/>
                  </a:lnTo>
                  <a:lnTo>
                    <a:pt x="168" y="672"/>
                  </a:lnTo>
                  <a:lnTo>
                    <a:pt x="156" y="630"/>
                  </a:lnTo>
                  <a:lnTo>
                    <a:pt x="156" y="606"/>
                  </a:lnTo>
                  <a:lnTo>
                    <a:pt x="150" y="606"/>
                  </a:lnTo>
                  <a:lnTo>
                    <a:pt x="150" y="600"/>
                  </a:lnTo>
                  <a:lnTo>
                    <a:pt x="144" y="600"/>
                  </a:lnTo>
                  <a:lnTo>
                    <a:pt x="150" y="594"/>
                  </a:lnTo>
                  <a:lnTo>
                    <a:pt x="144" y="588"/>
                  </a:lnTo>
                  <a:lnTo>
                    <a:pt x="138" y="558"/>
                  </a:lnTo>
                  <a:lnTo>
                    <a:pt x="138" y="528"/>
                  </a:lnTo>
                  <a:lnTo>
                    <a:pt x="132" y="480"/>
                  </a:lnTo>
                  <a:lnTo>
                    <a:pt x="132" y="462"/>
                  </a:lnTo>
                  <a:lnTo>
                    <a:pt x="126" y="426"/>
                  </a:lnTo>
                  <a:lnTo>
                    <a:pt x="126" y="396"/>
                  </a:lnTo>
                  <a:lnTo>
                    <a:pt x="126" y="378"/>
                  </a:lnTo>
                  <a:lnTo>
                    <a:pt x="126" y="360"/>
                  </a:lnTo>
                  <a:lnTo>
                    <a:pt x="132" y="318"/>
                  </a:lnTo>
                  <a:lnTo>
                    <a:pt x="132" y="246"/>
                  </a:lnTo>
                  <a:lnTo>
                    <a:pt x="132" y="216"/>
                  </a:lnTo>
                  <a:lnTo>
                    <a:pt x="138" y="216"/>
                  </a:lnTo>
                  <a:lnTo>
                    <a:pt x="144" y="216"/>
                  </a:lnTo>
                  <a:lnTo>
                    <a:pt x="156" y="210"/>
                  </a:lnTo>
                  <a:lnTo>
                    <a:pt x="162" y="210"/>
                  </a:lnTo>
                  <a:lnTo>
                    <a:pt x="180" y="204"/>
                  </a:lnTo>
                  <a:lnTo>
                    <a:pt x="186" y="204"/>
                  </a:lnTo>
                  <a:lnTo>
                    <a:pt x="192" y="198"/>
                  </a:lnTo>
                  <a:lnTo>
                    <a:pt x="198" y="198"/>
                  </a:lnTo>
                  <a:lnTo>
                    <a:pt x="216" y="180"/>
                  </a:lnTo>
                  <a:lnTo>
                    <a:pt x="222" y="174"/>
                  </a:lnTo>
                  <a:lnTo>
                    <a:pt x="222" y="168"/>
                  </a:lnTo>
                  <a:lnTo>
                    <a:pt x="228" y="168"/>
                  </a:lnTo>
                  <a:lnTo>
                    <a:pt x="234" y="156"/>
                  </a:lnTo>
                  <a:lnTo>
                    <a:pt x="240" y="150"/>
                  </a:lnTo>
                  <a:lnTo>
                    <a:pt x="246" y="144"/>
                  </a:lnTo>
                  <a:lnTo>
                    <a:pt x="258" y="144"/>
                  </a:lnTo>
                  <a:lnTo>
                    <a:pt x="276" y="150"/>
                  </a:lnTo>
                  <a:lnTo>
                    <a:pt x="300" y="150"/>
                  </a:lnTo>
                  <a:lnTo>
                    <a:pt x="312" y="150"/>
                  </a:lnTo>
                  <a:lnTo>
                    <a:pt x="330" y="156"/>
                  </a:lnTo>
                  <a:lnTo>
                    <a:pt x="336" y="156"/>
                  </a:lnTo>
                  <a:lnTo>
                    <a:pt x="348" y="156"/>
                  </a:lnTo>
                  <a:lnTo>
                    <a:pt x="354" y="150"/>
                  </a:lnTo>
                  <a:lnTo>
                    <a:pt x="372" y="144"/>
                  </a:lnTo>
                  <a:lnTo>
                    <a:pt x="390" y="138"/>
                  </a:lnTo>
                  <a:lnTo>
                    <a:pt x="402" y="126"/>
                  </a:lnTo>
                  <a:lnTo>
                    <a:pt x="408" y="126"/>
                  </a:lnTo>
                  <a:lnTo>
                    <a:pt x="414" y="120"/>
                  </a:lnTo>
                  <a:lnTo>
                    <a:pt x="420" y="120"/>
                  </a:lnTo>
                  <a:lnTo>
                    <a:pt x="426" y="120"/>
                  </a:lnTo>
                  <a:lnTo>
                    <a:pt x="432" y="114"/>
                  </a:lnTo>
                  <a:lnTo>
                    <a:pt x="450" y="102"/>
                  </a:lnTo>
                  <a:lnTo>
                    <a:pt x="456" y="96"/>
                  </a:lnTo>
                  <a:lnTo>
                    <a:pt x="468" y="90"/>
                  </a:lnTo>
                  <a:lnTo>
                    <a:pt x="474" y="90"/>
                  </a:lnTo>
                  <a:lnTo>
                    <a:pt x="480" y="84"/>
                  </a:lnTo>
                  <a:lnTo>
                    <a:pt x="486" y="84"/>
                  </a:lnTo>
                  <a:lnTo>
                    <a:pt x="492" y="78"/>
                  </a:lnTo>
                  <a:lnTo>
                    <a:pt x="498" y="78"/>
                  </a:lnTo>
                  <a:lnTo>
                    <a:pt x="498" y="72"/>
                  </a:lnTo>
                  <a:lnTo>
                    <a:pt x="504" y="72"/>
                  </a:lnTo>
                  <a:lnTo>
                    <a:pt x="510" y="66"/>
                  </a:lnTo>
                  <a:lnTo>
                    <a:pt x="516" y="66"/>
                  </a:lnTo>
                  <a:lnTo>
                    <a:pt x="522" y="60"/>
                  </a:lnTo>
                  <a:lnTo>
                    <a:pt x="552" y="42"/>
                  </a:lnTo>
                  <a:lnTo>
                    <a:pt x="558" y="36"/>
                  </a:lnTo>
                  <a:lnTo>
                    <a:pt x="576" y="30"/>
                  </a:lnTo>
                  <a:lnTo>
                    <a:pt x="576" y="24"/>
                  </a:lnTo>
                  <a:lnTo>
                    <a:pt x="582" y="24"/>
                  </a:lnTo>
                  <a:lnTo>
                    <a:pt x="594" y="18"/>
                  </a:lnTo>
                  <a:lnTo>
                    <a:pt x="600" y="12"/>
                  </a:lnTo>
                  <a:lnTo>
                    <a:pt x="612" y="6"/>
                  </a:lnTo>
                  <a:lnTo>
                    <a:pt x="624" y="0"/>
                  </a:lnTo>
                  <a:lnTo>
                    <a:pt x="630" y="0"/>
                  </a:lnTo>
                  <a:lnTo>
                    <a:pt x="636" y="0"/>
                  </a:lnTo>
                  <a:lnTo>
                    <a:pt x="642" y="6"/>
                  </a:lnTo>
                  <a:lnTo>
                    <a:pt x="648" y="6"/>
                  </a:lnTo>
                  <a:lnTo>
                    <a:pt x="660" y="6"/>
                  </a:lnTo>
                  <a:lnTo>
                    <a:pt x="666" y="6"/>
                  </a:lnTo>
                  <a:lnTo>
                    <a:pt x="672" y="6"/>
                  </a:lnTo>
                  <a:lnTo>
                    <a:pt x="678" y="6"/>
                  </a:lnTo>
                  <a:lnTo>
                    <a:pt x="684" y="6"/>
                  </a:lnTo>
                  <a:lnTo>
                    <a:pt x="708" y="12"/>
                  </a:lnTo>
                  <a:lnTo>
                    <a:pt x="732" y="12"/>
                  </a:lnTo>
                  <a:lnTo>
                    <a:pt x="738" y="18"/>
                  </a:lnTo>
                  <a:lnTo>
                    <a:pt x="744" y="18"/>
                  </a:lnTo>
                  <a:lnTo>
                    <a:pt x="756" y="18"/>
                  </a:lnTo>
                  <a:lnTo>
                    <a:pt x="762" y="18"/>
                  </a:lnTo>
                  <a:lnTo>
                    <a:pt x="762" y="24"/>
                  </a:lnTo>
                  <a:lnTo>
                    <a:pt x="768" y="24"/>
                  </a:lnTo>
                  <a:lnTo>
                    <a:pt x="780" y="24"/>
                  </a:lnTo>
                  <a:lnTo>
                    <a:pt x="792" y="24"/>
                  </a:lnTo>
                  <a:lnTo>
                    <a:pt x="792" y="30"/>
                  </a:lnTo>
                  <a:lnTo>
                    <a:pt x="810" y="30"/>
                  </a:lnTo>
                  <a:lnTo>
                    <a:pt x="822" y="36"/>
                  </a:lnTo>
                  <a:lnTo>
                    <a:pt x="834" y="42"/>
                  </a:lnTo>
                  <a:lnTo>
                    <a:pt x="840" y="48"/>
                  </a:lnTo>
                  <a:lnTo>
                    <a:pt x="846" y="54"/>
                  </a:lnTo>
                  <a:lnTo>
                    <a:pt x="852" y="60"/>
                  </a:lnTo>
                  <a:lnTo>
                    <a:pt x="858" y="66"/>
                  </a:lnTo>
                  <a:lnTo>
                    <a:pt x="864" y="66"/>
                  </a:lnTo>
                  <a:lnTo>
                    <a:pt x="864" y="72"/>
                  </a:lnTo>
                  <a:lnTo>
                    <a:pt x="876" y="78"/>
                  </a:lnTo>
                  <a:lnTo>
                    <a:pt x="900" y="84"/>
                  </a:lnTo>
                  <a:lnTo>
                    <a:pt x="906" y="90"/>
                  </a:lnTo>
                  <a:lnTo>
                    <a:pt x="912" y="90"/>
                  </a:lnTo>
                  <a:lnTo>
                    <a:pt x="912" y="96"/>
                  </a:lnTo>
                  <a:lnTo>
                    <a:pt x="924" y="108"/>
                  </a:lnTo>
                  <a:lnTo>
                    <a:pt x="930" y="108"/>
                  </a:lnTo>
                  <a:lnTo>
                    <a:pt x="936" y="114"/>
                  </a:lnTo>
                  <a:lnTo>
                    <a:pt x="936" y="120"/>
                  </a:lnTo>
                  <a:lnTo>
                    <a:pt x="942" y="120"/>
                  </a:lnTo>
                  <a:lnTo>
                    <a:pt x="942" y="126"/>
                  </a:lnTo>
                  <a:lnTo>
                    <a:pt x="948" y="132"/>
                  </a:lnTo>
                  <a:lnTo>
                    <a:pt x="960" y="138"/>
                  </a:lnTo>
                  <a:lnTo>
                    <a:pt x="966" y="144"/>
                  </a:lnTo>
                  <a:lnTo>
                    <a:pt x="972" y="156"/>
                  </a:lnTo>
                  <a:lnTo>
                    <a:pt x="978" y="162"/>
                  </a:lnTo>
                  <a:lnTo>
                    <a:pt x="984" y="162"/>
                  </a:lnTo>
                  <a:lnTo>
                    <a:pt x="990" y="168"/>
                  </a:lnTo>
                  <a:lnTo>
                    <a:pt x="996" y="174"/>
                  </a:lnTo>
                  <a:lnTo>
                    <a:pt x="1002" y="180"/>
                  </a:lnTo>
                  <a:lnTo>
                    <a:pt x="1008" y="180"/>
                  </a:lnTo>
                  <a:lnTo>
                    <a:pt x="1020" y="180"/>
                  </a:lnTo>
                  <a:lnTo>
                    <a:pt x="1038" y="174"/>
                  </a:lnTo>
                  <a:lnTo>
                    <a:pt x="1050" y="174"/>
                  </a:lnTo>
                  <a:lnTo>
                    <a:pt x="1056" y="174"/>
                  </a:lnTo>
                  <a:lnTo>
                    <a:pt x="1068" y="180"/>
                  </a:lnTo>
                  <a:lnTo>
                    <a:pt x="1080" y="180"/>
                  </a:lnTo>
                  <a:lnTo>
                    <a:pt x="1086" y="186"/>
                  </a:lnTo>
                  <a:lnTo>
                    <a:pt x="1098" y="192"/>
                  </a:lnTo>
                  <a:lnTo>
                    <a:pt x="1116" y="204"/>
                  </a:lnTo>
                  <a:lnTo>
                    <a:pt x="1122" y="210"/>
                  </a:lnTo>
                  <a:lnTo>
                    <a:pt x="1134" y="222"/>
                  </a:lnTo>
                  <a:lnTo>
                    <a:pt x="1146" y="234"/>
                  </a:lnTo>
                  <a:lnTo>
                    <a:pt x="1146" y="240"/>
                  </a:lnTo>
                  <a:lnTo>
                    <a:pt x="1152" y="246"/>
                  </a:lnTo>
                  <a:lnTo>
                    <a:pt x="1152" y="252"/>
                  </a:lnTo>
                  <a:lnTo>
                    <a:pt x="1152" y="258"/>
                  </a:lnTo>
                  <a:lnTo>
                    <a:pt x="1164" y="258"/>
                  </a:lnTo>
                  <a:lnTo>
                    <a:pt x="1170" y="264"/>
                  </a:lnTo>
                  <a:lnTo>
                    <a:pt x="1182" y="270"/>
                  </a:lnTo>
                  <a:lnTo>
                    <a:pt x="1188" y="270"/>
                  </a:lnTo>
                  <a:lnTo>
                    <a:pt x="1194" y="270"/>
                  </a:lnTo>
                  <a:lnTo>
                    <a:pt x="1206" y="276"/>
                  </a:lnTo>
                  <a:lnTo>
                    <a:pt x="1224" y="282"/>
                  </a:lnTo>
                  <a:lnTo>
                    <a:pt x="1236" y="282"/>
                  </a:lnTo>
                  <a:lnTo>
                    <a:pt x="1242" y="288"/>
                  </a:lnTo>
                  <a:lnTo>
                    <a:pt x="1254" y="288"/>
                  </a:lnTo>
                  <a:lnTo>
                    <a:pt x="1266" y="294"/>
                  </a:lnTo>
                  <a:lnTo>
                    <a:pt x="1272" y="294"/>
                  </a:lnTo>
                  <a:lnTo>
                    <a:pt x="1284" y="300"/>
                  </a:lnTo>
                  <a:lnTo>
                    <a:pt x="1290" y="300"/>
                  </a:lnTo>
                  <a:lnTo>
                    <a:pt x="1296" y="300"/>
                  </a:lnTo>
                  <a:lnTo>
                    <a:pt x="1302" y="306"/>
                  </a:lnTo>
                  <a:lnTo>
                    <a:pt x="1326" y="312"/>
                  </a:lnTo>
                  <a:lnTo>
                    <a:pt x="1338" y="312"/>
                  </a:lnTo>
                  <a:lnTo>
                    <a:pt x="1338" y="318"/>
                  </a:lnTo>
                  <a:lnTo>
                    <a:pt x="1344" y="318"/>
                  </a:lnTo>
                  <a:lnTo>
                    <a:pt x="1350" y="318"/>
                  </a:lnTo>
                  <a:lnTo>
                    <a:pt x="1362" y="324"/>
                  </a:lnTo>
                  <a:lnTo>
                    <a:pt x="1368" y="318"/>
                  </a:lnTo>
                  <a:lnTo>
                    <a:pt x="1374" y="318"/>
                  </a:lnTo>
                  <a:lnTo>
                    <a:pt x="1386" y="318"/>
                  </a:lnTo>
                  <a:lnTo>
                    <a:pt x="1398" y="324"/>
                  </a:lnTo>
                  <a:lnTo>
                    <a:pt x="1398" y="342"/>
                  </a:lnTo>
                  <a:lnTo>
                    <a:pt x="1356" y="342"/>
                  </a:lnTo>
                  <a:lnTo>
                    <a:pt x="1350" y="348"/>
                  </a:lnTo>
                  <a:lnTo>
                    <a:pt x="1350" y="372"/>
                  </a:lnTo>
                  <a:lnTo>
                    <a:pt x="1338" y="384"/>
                  </a:lnTo>
                  <a:lnTo>
                    <a:pt x="1332" y="408"/>
                  </a:lnTo>
                  <a:lnTo>
                    <a:pt x="1320" y="420"/>
                  </a:lnTo>
                  <a:lnTo>
                    <a:pt x="1254" y="426"/>
                  </a:lnTo>
                  <a:lnTo>
                    <a:pt x="1248" y="432"/>
                  </a:lnTo>
                  <a:lnTo>
                    <a:pt x="1230" y="432"/>
                  </a:lnTo>
                  <a:lnTo>
                    <a:pt x="1212" y="432"/>
                  </a:lnTo>
                  <a:lnTo>
                    <a:pt x="1212" y="426"/>
                  </a:lnTo>
                  <a:lnTo>
                    <a:pt x="1200" y="426"/>
                  </a:lnTo>
                  <a:lnTo>
                    <a:pt x="1182" y="414"/>
                  </a:lnTo>
                  <a:lnTo>
                    <a:pt x="1182" y="420"/>
                  </a:lnTo>
                  <a:lnTo>
                    <a:pt x="1164" y="420"/>
                  </a:lnTo>
                  <a:lnTo>
                    <a:pt x="1158" y="414"/>
                  </a:lnTo>
                  <a:lnTo>
                    <a:pt x="1152" y="408"/>
                  </a:lnTo>
                  <a:lnTo>
                    <a:pt x="1146" y="402"/>
                  </a:lnTo>
                  <a:lnTo>
                    <a:pt x="1122" y="396"/>
                  </a:lnTo>
                  <a:lnTo>
                    <a:pt x="1116" y="366"/>
                  </a:lnTo>
                  <a:lnTo>
                    <a:pt x="1116" y="348"/>
                  </a:lnTo>
                  <a:lnTo>
                    <a:pt x="1110" y="342"/>
                  </a:lnTo>
                  <a:lnTo>
                    <a:pt x="1104" y="336"/>
                  </a:lnTo>
                  <a:lnTo>
                    <a:pt x="1092" y="330"/>
                  </a:lnTo>
                  <a:lnTo>
                    <a:pt x="1074" y="330"/>
                  </a:lnTo>
                  <a:lnTo>
                    <a:pt x="1044" y="330"/>
                  </a:lnTo>
                  <a:lnTo>
                    <a:pt x="1014" y="336"/>
                  </a:lnTo>
                  <a:lnTo>
                    <a:pt x="984" y="342"/>
                  </a:lnTo>
                  <a:lnTo>
                    <a:pt x="978" y="330"/>
                  </a:lnTo>
                  <a:lnTo>
                    <a:pt x="966" y="324"/>
                  </a:lnTo>
                  <a:lnTo>
                    <a:pt x="888" y="336"/>
                  </a:lnTo>
                  <a:lnTo>
                    <a:pt x="888" y="330"/>
                  </a:lnTo>
                  <a:lnTo>
                    <a:pt x="870" y="336"/>
                  </a:lnTo>
                  <a:lnTo>
                    <a:pt x="858" y="336"/>
                  </a:lnTo>
                  <a:lnTo>
                    <a:pt x="852" y="354"/>
                  </a:lnTo>
                  <a:lnTo>
                    <a:pt x="852" y="402"/>
                  </a:lnTo>
                  <a:lnTo>
                    <a:pt x="840" y="414"/>
                  </a:lnTo>
                  <a:lnTo>
                    <a:pt x="834" y="420"/>
                  </a:lnTo>
                  <a:lnTo>
                    <a:pt x="834" y="444"/>
                  </a:lnTo>
                  <a:lnTo>
                    <a:pt x="834" y="450"/>
                  </a:lnTo>
                  <a:lnTo>
                    <a:pt x="852" y="456"/>
                  </a:lnTo>
                  <a:lnTo>
                    <a:pt x="864" y="462"/>
                  </a:lnTo>
                  <a:lnTo>
                    <a:pt x="894" y="456"/>
                  </a:lnTo>
                  <a:lnTo>
                    <a:pt x="900" y="468"/>
                  </a:lnTo>
                  <a:lnTo>
                    <a:pt x="918" y="462"/>
                  </a:lnTo>
                  <a:lnTo>
                    <a:pt x="924" y="468"/>
                  </a:lnTo>
                  <a:lnTo>
                    <a:pt x="924" y="474"/>
                  </a:lnTo>
                  <a:close/>
                </a:path>
              </a:pathLst>
            </a:custGeom>
            <a:solidFill>
              <a:srgbClr val="CD202C"/>
            </a:solidFill>
            <a:ln w="9525">
              <a:solidFill>
                <a:schemeClr val="bg1"/>
              </a:solidFill>
              <a:round/>
              <a:headEnd/>
              <a:tailEnd/>
            </a:ln>
          </p:spPr>
          <p:txBody>
            <a:bodyPr/>
            <a:lstStyle/>
            <a:p>
              <a:endParaRPr lang="en-GB"/>
            </a:p>
          </p:txBody>
        </p:sp>
        <p:sp>
          <p:nvSpPr>
            <p:cNvPr id="19513" name="Freeform 38"/>
            <p:cNvSpPr>
              <a:spLocks/>
            </p:cNvSpPr>
            <p:nvPr/>
          </p:nvSpPr>
          <p:spPr bwMode="gray">
            <a:xfrm>
              <a:off x="3935495" y="1887138"/>
              <a:ext cx="835637" cy="1040630"/>
            </a:xfrm>
            <a:custGeom>
              <a:avLst/>
              <a:gdLst>
                <a:gd name="T0" fmla="*/ 61812 w 1068"/>
                <a:gd name="T1" fmla="*/ 58082 h 1290"/>
                <a:gd name="T2" fmla="*/ 58682 w 1068"/>
                <a:gd name="T3" fmla="*/ 58888 h 1290"/>
                <a:gd name="T4" fmla="*/ 56335 w 1068"/>
                <a:gd name="T5" fmla="*/ 61308 h 1290"/>
                <a:gd name="T6" fmla="*/ 54770 w 1068"/>
                <a:gd name="T7" fmla="*/ 62922 h 1290"/>
                <a:gd name="T8" fmla="*/ 52423 w 1068"/>
                <a:gd name="T9" fmla="*/ 66149 h 1290"/>
                <a:gd name="T10" fmla="*/ 47728 w 1068"/>
                <a:gd name="T11" fmla="*/ 69375 h 1290"/>
                <a:gd name="T12" fmla="*/ 46946 w 1068"/>
                <a:gd name="T13" fmla="*/ 75022 h 1290"/>
                <a:gd name="T14" fmla="*/ 46163 w 1068"/>
                <a:gd name="T15" fmla="*/ 78249 h 1290"/>
                <a:gd name="T16" fmla="*/ 47728 w 1068"/>
                <a:gd name="T17" fmla="*/ 81476 h 1290"/>
                <a:gd name="T18" fmla="*/ 49293 w 1068"/>
                <a:gd name="T19" fmla="*/ 83896 h 1290"/>
                <a:gd name="T20" fmla="*/ 48511 w 1068"/>
                <a:gd name="T21" fmla="*/ 87123 h 1290"/>
                <a:gd name="T22" fmla="*/ 46946 w 1068"/>
                <a:gd name="T23" fmla="*/ 89543 h 1290"/>
                <a:gd name="T24" fmla="*/ 43816 w 1068"/>
                <a:gd name="T25" fmla="*/ 89543 h 1290"/>
                <a:gd name="T26" fmla="*/ 41469 w 1068"/>
                <a:gd name="T27" fmla="*/ 88736 h 1290"/>
                <a:gd name="T28" fmla="*/ 39122 w 1068"/>
                <a:gd name="T29" fmla="*/ 87929 h 1290"/>
                <a:gd name="T30" fmla="*/ 36774 w 1068"/>
                <a:gd name="T31" fmla="*/ 88736 h 1290"/>
                <a:gd name="T32" fmla="*/ 39904 w 1068"/>
                <a:gd name="T33" fmla="*/ 83896 h 1290"/>
                <a:gd name="T34" fmla="*/ 39122 w 1068"/>
                <a:gd name="T35" fmla="*/ 76636 h 1290"/>
                <a:gd name="T36" fmla="*/ 39904 w 1068"/>
                <a:gd name="T37" fmla="*/ 72602 h 1290"/>
                <a:gd name="T38" fmla="*/ 36774 w 1068"/>
                <a:gd name="T39" fmla="*/ 67762 h 1290"/>
                <a:gd name="T40" fmla="*/ 32862 w 1068"/>
                <a:gd name="T41" fmla="*/ 62922 h 1290"/>
                <a:gd name="T42" fmla="*/ 25820 w 1068"/>
                <a:gd name="T43" fmla="*/ 58888 h 1290"/>
                <a:gd name="T44" fmla="*/ 20343 w 1068"/>
                <a:gd name="T45" fmla="*/ 54855 h 1290"/>
                <a:gd name="T46" fmla="*/ 17213 w 1068"/>
                <a:gd name="T47" fmla="*/ 50821 h 1290"/>
                <a:gd name="T48" fmla="*/ 8607 w 1068"/>
                <a:gd name="T49" fmla="*/ 54048 h 1290"/>
                <a:gd name="T50" fmla="*/ 0 w 1068"/>
                <a:gd name="T51" fmla="*/ 54855 h 1290"/>
                <a:gd name="T52" fmla="*/ 1565 w 1068"/>
                <a:gd name="T53" fmla="*/ 47595 h 1290"/>
                <a:gd name="T54" fmla="*/ 9389 w 1068"/>
                <a:gd name="T55" fmla="*/ 44368 h 1290"/>
                <a:gd name="T56" fmla="*/ 9389 w 1068"/>
                <a:gd name="T57" fmla="*/ 41141 h 1290"/>
                <a:gd name="T58" fmla="*/ 7824 w 1068"/>
                <a:gd name="T59" fmla="*/ 37914 h 1290"/>
                <a:gd name="T60" fmla="*/ 7042 w 1068"/>
                <a:gd name="T61" fmla="*/ 33881 h 1290"/>
                <a:gd name="T62" fmla="*/ 6259 w 1068"/>
                <a:gd name="T63" fmla="*/ 30654 h 1290"/>
                <a:gd name="T64" fmla="*/ 6259 w 1068"/>
                <a:gd name="T65" fmla="*/ 23394 h 1290"/>
                <a:gd name="T66" fmla="*/ 7824 w 1068"/>
                <a:gd name="T67" fmla="*/ 14520 h 1290"/>
                <a:gd name="T68" fmla="*/ 19561 w 1068"/>
                <a:gd name="T69" fmla="*/ 9680 h 1290"/>
                <a:gd name="T70" fmla="*/ 21126 w 1068"/>
                <a:gd name="T71" fmla="*/ 3227 h 1290"/>
                <a:gd name="T72" fmla="*/ 27385 w 1068"/>
                <a:gd name="T73" fmla="*/ 4840 h 1290"/>
                <a:gd name="T74" fmla="*/ 30515 w 1068"/>
                <a:gd name="T75" fmla="*/ 6454 h 1290"/>
                <a:gd name="T76" fmla="*/ 32080 w 1068"/>
                <a:gd name="T77" fmla="*/ 2420 h 1290"/>
                <a:gd name="T78" fmla="*/ 35209 w 1068"/>
                <a:gd name="T79" fmla="*/ 0 h 1290"/>
                <a:gd name="T80" fmla="*/ 39904 w 1068"/>
                <a:gd name="T81" fmla="*/ 0 h 1290"/>
                <a:gd name="T82" fmla="*/ 43816 w 1068"/>
                <a:gd name="T83" fmla="*/ 3227 h 1290"/>
                <a:gd name="T84" fmla="*/ 48511 w 1068"/>
                <a:gd name="T85" fmla="*/ 9680 h 1290"/>
                <a:gd name="T86" fmla="*/ 45381 w 1068"/>
                <a:gd name="T87" fmla="*/ 13714 h 1290"/>
                <a:gd name="T88" fmla="*/ 46946 w 1068"/>
                <a:gd name="T89" fmla="*/ 14520 h 1290"/>
                <a:gd name="T90" fmla="*/ 50076 w 1068"/>
                <a:gd name="T91" fmla="*/ 12907 h 1290"/>
                <a:gd name="T92" fmla="*/ 53205 w 1068"/>
                <a:gd name="T93" fmla="*/ 14520 h 1290"/>
                <a:gd name="T94" fmla="*/ 55553 w 1068"/>
                <a:gd name="T95" fmla="*/ 21781 h 1290"/>
                <a:gd name="T96" fmla="*/ 57900 w 1068"/>
                <a:gd name="T97" fmla="*/ 24201 h 1290"/>
                <a:gd name="T98" fmla="*/ 64159 w 1068"/>
                <a:gd name="T99" fmla="*/ 24201 h 1290"/>
                <a:gd name="T100" fmla="*/ 68072 w 1068"/>
                <a:gd name="T101" fmla="*/ 28234 h 1290"/>
                <a:gd name="T102" fmla="*/ 66507 w 1068"/>
                <a:gd name="T103" fmla="*/ 33881 h 1290"/>
                <a:gd name="T104" fmla="*/ 63377 w 1068"/>
                <a:gd name="T105" fmla="*/ 37108 h 1290"/>
                <a:gd name="T106" fmla="*/ 67289 w 1068"/>
                <a:gd name="T107" fmla="*/ 40334 h 1290"/>
                <a:gd name="T108" fmla="*/ 69636 w 1068"/>
                <a:gd name="T109" fmla="*/ 46788 h 1290"/>
                <a:gd name="T110" fmla="*/ 71984 w 1068"/>
                <a:gd name="T111" fmla="*/ 49208 h 1290"/>
                <a:gd name="T112" fmla="*/ 67289 w 1068"/>
                <a:gd name="T113" fmla="*/ 53242 h 1290"/>
                <a:gd name="T114" fmla="*/ 66507 w 1068"/>
                <a:gd name="T115" fmla="*/ 56468 h 129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68"/>
                <a:gd name="T175" fmla="*/ 0 h 1290"/>
                <a:gd name="T176" fmla="*/ 1068 w 1068"/>
                <a:gd name="T177" fmla="*/ 1290 h 129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68" h="1290">
                  <a:moveTo>
                    <a:pt x="978" y="804"/>
                  </a:moveTo>
                  <a:lnTo>
                    <a:pt x="972" y="810"/>
                  </a:lnTo>
                  <a:lnTo>
                    <a:pt x="966" y="810"/>
                  </a:lnTo>
                  <a:lnTo>
                    <a:pt x="966" y="816"/>
                  </a:lnTo>
                  <a:lnTo>
                    <a:pt x="936" y="828"/>
                  </a:lnTo>
                  <a:lnTo>
                    <a:pt x="924" y="822"/>
                  </a:lnTo>
                  <a:lnTo>
                    <a:pt x="912" y="822"/>
                  </a:lnTo>
                  <a:lnTo>
                    <a:pt x="906" y="828"/>
                  </a:lnTo>
                  <a:lnTo>
                    <a:pt x="900" y="828"/>
                  </a:lnTo>
                  <a:lnTo>
                    <a:pt x="900" y="822"/>
                  </a:lnTo>
                  <a:lnTo>
                    <a:pt x="894" y="822"/>
                  </a:lnTo>
                  <a:lnTo>
                    <a:pt x="888" y="828"/>
                  </a:lnTo>
                  <a:lnTo>
                    <a:pt x="882" y="834"/>
                  </a:lnTo>
                  <a:lnTo>
                    <a:pt x="876" y="834"/>
                  </a:lnTo>
                  <a:lnTo>
                    <a:pt x="870" y="840"/>
                  </a:lnTo>
                  <a:lnTo>
                    <a:pt x="864" y="840"/>
                  </a:lnTo>
                  <a:lnTo>
                    <a:pt x="864" y="846"/>
                  </a:lnTo>
                  <a:lnTo>
                    <a:pt x="858" y="846"/>
                  </a:lnTo>
                  <a:lnTo>
                    <a:pt x="852" y="846"/>
                  </a:lnTo>
                  <a:lnTo>
                    <a:pt x="852" y="858"/>
                  </a:lnTo>
                  <a:lnTo>
                    <a:pt x="846" y="864"/>
                  </a:lnTo>
                  <a:lnTo>
                    <a:pt x="840" y="870"/>
                  </a:lnTo>
                  <a:lnTo>
                    <a:pt x="834" y="870"/>
                  </a:lnTo>
                  <a:lnTo>
                    <a:pt x="834" y="876"/>
                  </a:lnTo>
                  <a:lnTo>
                    <a:pt x="834" y="882"/>
                  </a:lnTo>
                  <a:lnTo>
                    <a:pt x="834" y="876"/>
                  </a:lnTo>
                  <a:lnTo>
                    <a:pt x="828" y="882"/>
                  </a:lnTo>
                  <a:lnTo>
                    <a:pt x="822" y="888"/>
                  </a:lnTo>
                  <a:lnTo>
                    <a:pt x="816" y="888"/>
                  </a:lnTo>
                  <a:lnTo>
                    <a:pt x="816" y="894"/>
                  </a:lnTo>
                  <a:lnTo>
                    <a:pt x="810" y="894"/>
                  </a:lnTo>
                  <a:lnTo>
                    <a:pt x="810" y="900"/>
                  </a:lnTo>
                  <a:lnTo>
                    <a:pt x="804" y="900"/>
                  </a:lnTo>
                  <a:lnTo>
                    <a:pt x="798" y="900"/>
                  </a:lnTo>
                  <a:lnTo>
                    <a:pt x="798" y="906"/>
                  </a:lnTo>
                  <a:lnTo>
                    <a:pt x="792" y="906"/>
                  </a:lnTo>
                  <a:lnTo>
                    <a:pt x="792" y="912"/>
                  </a:lnTo>
                  <a:lnTo>
                    <a:pt x="792" y="924"/>
                  </a:lnTo>
                  <a:lnTo>
                    <a:pt x="786" y="930"/>
                  </a:lnTo>
                  <a:lnTo>
                    <a:pt x="774" y="942"/>
                  </a:lnTo>
                  <a:lnTo>
                    <a:pt x="774" y="948"/>
                  </a:lnTo>
                  <a:lnTo>
                    <a:pt x="768" y="954"/>
                  </a:lnTo>
                  <a:lnTo>
                    <a:pt x="762" y="954"/>
                  </a:lnTo>
                  <a:lnTo>
                    <a:pt x="750" y="972"/>
                  </a:lnTo>
                  <a:lnTo>
                    <a:pt x="720" y="978"/>
                  </a:lnTo>
                  <a:lnTo>
                    <a:pt x="714" y="978"/>
                  </a:lnTo>
                  <a:lnTo>
                    <a:pt x="708" y="978"/>
                  </a:lnTo>
                  <a:lnTo>
                    <a:pt x="702" y="990"/>
                  </a:lnTo>
                  <a:lnTo>
                    <a:pt x="696" y="990"/>
                  </a:lnTo>
                  <a:lnTo>
                    <a:pt x="696" y="1008"/>
                  </a:lnTo>
                  <a:lnTo>
                    <a:pt x="690" y="1008"/>
                  </a:lnTo>
                  <a:lnTo>
                    <a:pt x="690" y="1014"/>
                  </a:lnTo>
                  <a:lnTo>
                    <a:pt x="684" y="1032"/>
                  </a:lnTo>
                  <a:lnTo>
                    <a:pt x="690" y="1050"/>
                  </a:lnTo>
                  <a:lnTo>
                    <a:pt x="690" y="1062"/>
                  </a:lnTo>
                  <a:lnTo>
                    <a:pt x="690" y="1068"/>
                  </a:lnTo>
                  <a:lnTo>
                    <a:pt x="690" y="1074"/>
                  </a:lnTo>
                  <a:lnTo>
                    <a:pt x="684" y="1074"/>
                  </a:lnTo>
                  <a:lnTo>
                    <a:pt x="684" y="1080"/>
                  </a:lnTo>
                  <a:lnTo>
                    <a:pt x="678" y="1086"/>
                  </a:lnTo>
                  <a:lnTo>
                    <a:pt x="678" y="1104"/>
                  </a:lnTo>
                  <a:lnTo>
                    <a:pt x="678" y="1110"/>
                  </a:lnTo>
                  <a:lnTo>
                    <a:pt x="678" y="1116"/>
                  </a:lnTo>
                  <a:lnTo>
                    <a:pt x="684" y="1116"/>
                  </a:lnTo>
                  <a:lnTo>
                    <a:pt x="678" y="1128"/>
                  </a:lnTo>
                  <a:lnTo>
                    <a:pt x="684" y="1128"/>
                  </a:lnTo>
                  <a:lnTo>
                    <a:pt x="690" y="1134"/>
                  </a:lnTo>
                  <a:lnTo>
                    <a:pt x="690" y="1140"/>
                  </a:lnTo>
                  <a:lnTo>
                    <a:pt x="696" y="1140"/>
                  </a:lnTo>
                  <a:lnTo>
                    <a:pt x="696" y="1146"/>
                  </a:lnTo>
                  <a:lnTo>
                    <a:pt x="696" y="1152"/>
                  </a:lnTo>
                  <a:lnTo>
                    <a:pt x="702" y="1152"/>
                  </a:lnTo>
                  <a:lnTo>
                    <a:pt x="708" y="1152"/>
                  </a:lnTo>
                  <a:lnTo>
                    <a:pt x="714" y="1158"/>
                  </a:lnTo>
                  <a:lnTo>
                    <a:pt x="714" y="1164"/>
                  </a:lnTo>
                  <a:lnTo>
                    <a:pt x="720" y="1170"/>
                  </a:lnTo>
                  <a:lnTo>
                    <a:pt x="720" y="1176"/>
                  </a:lnTo>
                  <a:lnTo>
                    <a:pt x="720" y="1182"/>
                  </a:lnTo>
                  <a:lnTo>
                    <a:pt x="726" y="1188"/>
                  </a:lnTo>
                  <a:lnTo>
                    <a:pt x="726" y="1194"/>
                  </a:lnTo>
                  <a:lnTo>
                    <a:pt x="732" y="1194"/>
                  </a:lnTo>
                  <a:lnTo>
                    <a:pt x="732" y="1200"/>
                  </a:lnTo>
                  <a:lnTo>
                    <a:pt x="738" y="1212"/>
                  </a:lnTo>
                  <a:lnTo>
                    <a:pt x="732" y="1218"/>
                  </a:lnTo>
                  <a:lnTo>
                    <a:pt x="732" y="1224"/>
                  </a:lnTo>
                  <a:lnTo>
                    <a:pt x="726" y="1230"/>
                  </a:lnTo>
                  <a:lnTo>
                    <a:pt x="720" y="1230"/>
                  </a:lnTo>
                  <a:lnTo>
                    <a:pt x="720" y="1236"/>
                  </a:lnTo>
                  <a:lnTo>
                    <a:pt x="720" y="1242"/>
                  </a:lnTo>
                  <a:lnTo>
                    <a:pt x="720" y="1248"/>
                  </a:lnTo>
                  <a:lnTo>
                    <a:pt x="714" y="1248"/>
                  </a:lnTo>
                  <a:lnTo>
                    <a:pt x="714" y="1254"/>
                  </a:lnTo>
                  <a:lnTo>
                    <a:pt x="708" y="1260"/>
                  </a:lnTo>
                  <a:lnTo>
                    <a:pt x="702" y="1272"/>
                  </a:lnTo>
                  <a:lnTo>
                    <a:pt x="696" y="1272"/>
                  </a:lnTo>
                  <a:lnTo>
                    <a:pt x="696" y="1278"/>
                  </a:lnTo>
                  <a:lnTo>
                    <a:pt x="690" y="1284"/>
                  </a:lnTo>
                  <a:lnTo>
                    <a:pt x="690" y="1290"/>
                  </a:lnTo>
                  <a:lnTo>
                    <a:pt x="684" y="1290"/>
                  </a:lnTo>
                  <a:lnTo>
                    <a:pt x="660" y="1284"/>
                  </a:lnTo>
                  <a:lnTo>
                    <a:pt x="660" y="1278"/>
                  </a:lnTo>
                  <a:lnTo>
                    <a:pt x="654" y="1272"/>
                  </a:lnTo>
                  <a:lnTo>
                    <a:pt x="648" y="1272"/>
                  </a:lnTo>
                  <a:lnTo>
                    <a:pt x="642" y="1272"/>
                  </a:lnTo>
                  <a:lnTo>
                    <a:pt x="642" y="1266"/>
                  </a:lnTo>
                  <a:lnTo>
                    <a:pt x="636" y="1266"/>
                  </a:lnTo>
                  <a:lnTo>
                    <a:pt x="630" y="1266"/>
                  </a:lnTo>
                  <a:lnTo>
                    <a:pt x="624" y="1266"/>
                  </a:lnTo>
                  <a:lnTo>
                    <a:pt x="624" y="1260"/>
                  </a:lnTo>
                  <a:lnTo>
                    <a:pt x="618" y="1260"/>
                  </a:lnTo>
                  <a:lnTo>
                    <a:pt x="612" y="1260"/>
                  </a:lnTo>
                  <a:lnTo>
                    <a:pt x="606" y="1260"/>
                  </a:lnTo>
                  <a:lnTo>
                    <a:pt x="600" y="1260"/>
                  </a:lnTo>
                  <a:lnTo>
                    <a:pt x="600" y="1254"/>
                  </a:lnTo>
                  <a:lnTo>
                    <a:pt x="594" y="1254"/>
                  </a:lnTo>
                  <a:lnTo>
                    <a:pt x="588" y="1248"/>
                  </a:lnTo>
                  <a:lnTo>
                    <a:pt x="588" y="1254"/>
                  </a:lnTo>
                  <a:lnTo>
                    <a:pt x="582" y="1254"/>
                  </a:lnTo>
                  <a:lnTo>
                    <a:pt x="582" y="1248"/>
                  </a:lnTo>
                  <a:lnTo>
                    <a:pt x="576" y="1248"/>
                  </a:lnTo>
                  <a:lnTo>
                    <a:pt x="576" y="1254"/>
                  </a:lnTo>
                  <a:lnTo>
                    <a:pt x="570" y="1248"/>
                  </a:lnTo>
                  <a:lnTo>
                    <a:pt x="564" y="1248"/>
                  </a:lnTo>
                  <a:lnTo>
                    <a:pt x="564" y="1254"/>
                  </a:lnTo>
                  <a:lnTo>
                    <a:pt x="558" y="1254"/>
                  </a:lnTo>
                  <a:lnTo>
                    <a:pt x="552" y="1254"/>
                  </a:lnTo>
                  <a:lnTo>
                    <a:pt x="552" y="1260"/>
                  </a:lnTo>
                  <a:lnTo>
                    <a:pt x="546" y="1260"/>
                  </a:lnTo>
                  <a:lnTo>
                    <a:pt x="540" y="1260"/>
                  </a:lnTo>
                  <a:lnTo>
                    <a:pt x="540" y="1254"/>
                  </a:lnTo>
                  <a:lnTo>
                    <a:pt x="534" y="1254"/>
                  </a:lnTo>
                  <a:lnTo>
                    <a:pt x="528" y="1224"/>
                  </a:lnTo>
                  <a:lnTo>
                    <a:pt x="534" y="1212"/>
                  </a:lnTo>
                  <a:lnTo>
                    <a:pt x="546" y="1206"/>
                  </a:lnTo>
                  <a:lnTo>
                    <a:pt x="582" y="1206"/>
                  </a:lnTo>
                  <a:lnTo>
                    <a:pt x="588" y="1188"/>
                  </a:lnTo>
                  <a:lnTo>
                    <a:pt x="582" y="1188"/>
                  </a:lnTo>
                  <a:lnTo>
                    <a:pt x="582" y="1182"/>
                  </a:lnTo>
                  <a:lnTo>
                    <a:pt x="576" y="1176"/>
                  </a:lnTo>
                  <a:lnTo>
                    <a:pt x="558" y="1128"/>
                  </a:lnTo>
                  <a:lnTo>
                    <a:pt x="558" y="1122"/>
                  </a:lnTo>
                  <a:lnTo>
                    <a:pt x="576" y="1098"/>
                  </a:lnTo>
                  <a:lnTo>
                    <a:pt x="576" y="1092"/>
                  </a:lnTo>
                  <a:lnTo>
                    <a:pt x="582" y="1092"/>
                  </a:lnTo>
                  <a:lnTo>
                    <a:pt x="582" y="1086"/>
                  </a:lnTo>
                  <a:lnTo>
                    <a:pt x="582" y="1080"/>
                  </a:lnTo>
                  <a:lnTo>
                    <a:pt x="582" y="1074"/>
                  </a:lnTo>
                  <a:lnTo>
                    <a:pt x="588" y="1074"/>
                  </a:lnTo>
                  <a:lnTo>
                    <a:pt x="588" y="1062"/>
                  </a:lnTo>
                  <a:lnTo>
                    <a:pt x="588" y="1056"/>
                  </a:lnTo>
                  <a:lnTo>
                    <a:pt x="588" y="1044"/>
                  </a:lnTo>
                  <a:lnTo>
                    <a:pt x="588" y="1038"/>
                  </a:lnTo>
                  <a:lnTo>
                    <a:pt x="588" y="1032"/>
                  </a:lnTo>
                  <a:lnTo>
                    <a:pt x="582" y="1026"/>
                  </a:lnTo>
                  <a:lnTo>
                    <a:pt x="582" y="1020"/>
                  </a:lnTo>
                  <a:lnTo>
                    <a:pt x="582" y="1008"/>
                  </a:lnTo>
                  <a:lnTo>
                    <a:pt x="576" y="990"/>
                  </a:lnTo>
                  <a:lnTo>
                    <a:pt x="570" y="972"/>
                  </a:lnTo>
                  <a:lnTo>
                    <a:pt x="552" y="972"/>
                  </a:lnTo>
                  <a:lnTo>
                    <a:pt x="540" y="960"/>
                  </a:lnTo>
                  <a:lnTo>
                    <a:pt x="534" y="954"/>
                  </a:lnTo>
                  <a:lnTo>
                    <a:pt x="534" y="948"/>
                  </a:lnTo>
                  <a:lnTo>
                    <a:pt x="516" y="948"/>
                  </a:lnTo>
                  <a:lnTo>
                    <a:pt x="522" y="936"/>
                  </a:lnTo>
                  <a:lnTo>
                    <a:pt x="522" y="930"/>
                  </a:lnTo>
                  <a:lnTo>
                    <a:pt x="504" y="918"/>
                  </a:lnTo>
                  <a:lnTo>
                    <a:pt x="492" y="906"/>
                  </a:lnTo>
                  <a:lnTo>
                    <a:pt x="486" y="894"/>
                  </a:lnTo>
                  <a:lnTo>
                    <a:pt x="468" y="876"/>
                  </a:lnTo>
                  <a:lnTo>
                    <a:pt x="450" y="876"/>
                  </a:lnTo>
                  <a:lnTo>
                    <a:pt x="414" y="882"/>
                  </a:lnTo>
                  <a:lnTo>
                    <a:pt x="402" y="870"/>
                  </a:lnTo>
                  <a:lnTo>
                    <a:pt x="390" y="864"/>
                  </a:lnTo>
                  <a:lnTo>
                    <a:pt x="384" y="852"/>
                  </a:lnTo>
                  <a:lnTo>
                    <a:pt x="378" y="840"/>
                  </a:lnTo>
                  <a:lnTo>
                    <a:pt x="378" y="834"/>
                  </a:lnTo>
                  <a:lnTo>
                    <a:pt x="360" y="822"/>
                  </a:lnTo>
                  <a:lnTo>
                    <a:pt x="342" y="828"/>
                  </a:lnTo>
                  <a:lnTo>
                    <a:pt x="324" y="816"/>
                  </a:lnTo>
                  <a:lnTo>
                    <a:pt x="318" y="816"/>
                  </a:lnTo>
                  <a:lnTo>
                    <a:pt x="306" y="810"/>
                  </a:lnTo>
                  <a:lnTo>
                    <a:pt x="306" y="804"/>
                  </a:lnTo>
                  <a:lnTo>
                    <a:pt x="300" y="804"/>
                  </a:lnTo>
                  <a:lnTo>
                    <a:pt x="300" y="780"/>
                  </a:lnTo>
                  <a:lnTo>
                    <a:pt x="300" y="774"/>
                  </a:lnTo>
                  <a:lnTo>
                    <a:pt x="306" y="774"/>
                  </a:lnTo>
                  <a:lnTo>
                    <a:pt x="312" y="756"/>
                  </a:lnTo>
                  <a:lnTo>
                    <a:pt x="312" y="732"/>
                  </a:lnTo>
                  <a:lnTo>
                    <a:pt x="300" y="720"/>
                  </a:lnTo>
                  <a:lnTo>
                    <a:pt x="288" y="702"/>
                  </a:lnTo>
                  <a:lnTo>
                    <a:pt x="276" y="702"/>
                  </a:lnTo>
                  <a:lnTo>
                    <a:pt x="258" y="714"/>
                  </a:lnTo>
                  <a:lnTo>
                    <a:pt x="246" y="726"/>
                  </a:lnTo>
                  <a:lnTo>
                    <a:pt x="222" y="726"/>
                  </a:lnTo>
                  <a:lnTo>
                    <a:pt x="192" y="726"/>
                  </a:lnTo>
                  <a:lnTo>
                    <a:pt x="174" y="738"/>
                  </a:lnTo>
                  <a:lnTo>
                    <a:pt x="162" y="750"/>
                  </a:lnTo>
                  <a:lnTo>
                    <a:pt x="144" y="762"/>
                  </a:lnTo>
                  <a:lnTo>
                    <a:pt x="138" y="768"/>
                  </a:lnTo>
                  <a:lnTo>
                    <a:pt x="126" y="774"/>
                  </a:lnTo>
                  <a:lnTo>
                    <a:pt x="114" y="780"/>
                  </a:lnTo>
                  <a:lnTo>
                    <a:pt x="108" y="786"/>
                  </a:lnTo>
                  <a:lnTo>
                    <a:pt x="102" y="786"/>
                  </a:lnTo>
                  <a:lnTo>
                    <a:pt x="54" y="786"/>
                  </a:lnTo>
                  <a:lnTo>
                    <a:pt x="48" y="792"/>
                  </a:lnTo>
                  <a:lnTo>
                    <a:pt x="36" y="798"/>
                  </a:lnTo>
                  <a:lnTo>
                    <a:pt x="18" y="792"/>
                  </a:lnTo>
                  <a:lnTo>
                    <a:pt x="6" y="780"/>
                  </a:lnTo>
                  <a:lnTo>
                    <a:pt x="6" y="768"/>
                  </a:lnTo>
                  <a:lnTo>
                    <a:pt x="0" y="756"/>
                  </a:lnTo>
                  <a:lnTo>
                    <a:pt x="0" y="738"/>
                  </a:lnTo>
                  <a:lnTo>
                    <a:pt x="6" y="702"/>
                  </a:lnTo>
                  <a:lnTo>
                    <a:pt x="24" y="702"/>
                  </a:lnTo>
                  <a:lnTo>
                    <a:pt x="24" y="696"/>
                  </a:lnTo>
                  <a:lnTo>
                    <a:pt x="24" y="690"/>
                  </a:lnTo>
                  <a:lnTo>
                    <a:pt x="24" y="678"/>
                  </a:lnTo>
                  <a:lnTo>
                    <a:pt x="24" y="672"/>
                  </a:lnTo>
                  <a:lnTo>
                    <a:pt x="30" y="672"/>
                  </a:lnTo>
                  <a:lnTo>
                    <a:pt x="30" y="666"/>
                  </a:lnTo>
                  <a:lnTo>
                    <a:pt x="36" y="660"/>
                  </a:lnTo>
                  <a:lnTo>
                    <a:pt x="84" y="648"/>
                  </a:lnTo>
                  <a:lnTo>
                    <a:pt x="126" y="642"/>
                  </a:lnTo>
                  <a:lnTo>
                    <a:pt x="132" y="630"/>
                  </a:lnTo>
                  <a:lnTo>
                    <a:pt x="132" y="624"/>
                  </a:lnTo>
                  <a:lnTo>
                    <a:pt x="132" y="618"/>
                  </a:lnTo>
                  <a:lnTo>
                    <a:pt x="138" y="612"/>
                  </a:lnTo>
                  <a:lnTo>
                    <a:pt x="138" y="606"/>
                  </a:lnTo>
                  <a:lnTo>
                    <a:pt x="138" y="600"/>
                  </a:lnTo>
                  <a:lnTo>
                    <a:pt x="132" y="600"/>
                  </a:lnTo>
                  <a:lnTo>
                    <a:pt x="132" y="594"/>
                  </a:lnTo>
                  <a:lnTo>
                    <a:pt x="132" y="588"/>
                  </a:lnTo>
                  <a:lnTo>
                    <a:pt x="132" y="582"/>
                  </a:lnTo>
                  <a:lnTo>
                    <a:pt x="132" y="576"/>
                  </a:lnTo>
                  <a:lnTo>
                    <a:pt x="126" y="570"/>
                  </a:lnTo>
                  <a:lnTo>
                    <a:pt x="120" y="564"/>
                  </a:lnTo>
                  <a:lnTo>
                    <a:pt x="120" y="558"/>
                  </a:lnTo>
                  <a:lnTo>
                    <a:pt x="120" y="552"/>
                  </a:lnTo>
                  <a:lnTo>
                    <a:pt x="114" y="552"/>
                  </a:lnTo>
                  <a:lnTo>
                    <a:pt x="114" y="546"/>
                  </a:lnTo>
                  <a:lnTo>
                    <a:pt x="114" y="540"/>
                  </a:lnTo>
                  <a:lnTo>
                    <a:pt x="108" y="534"/>
                  </a:lnTo>
                  <a:lnTo>
                    <a:pt x="108" y="528"/>
                  </a:lnTo>
                  <a:lnTo>
                    <a:pt x="114" y="522"/>
                  </a:lnTo>
                  <a:lnTo>
                    <a:pt x="108" y="516"/>
                  </a:lnTo>
                  <a:lnTo>
                    <a:pt x="108" y="498"/>
                  </a:lnTo>
                  <a:lnTo>
                    <a:pt x="108" y="492"/>
                  </a:lnTo>
                  <a:lnTo>
                    <a:pt x="108" y="486"/>
                  </a:lnTo>
                  <a:lnTo>
                    <a:pt x="108" y="480"/>
                  </a:lnTo>
                  <a:lnTo>
                    <a:pt x="114" y="474"/>
                  </a:lnTo>
                  <a:lnTo>
                    <a:pt x="114" y="468"/>
                  </a:lnTo>
                  <a:lnTo>
                    <a:pt x="114" y="462"/>
                  </a:lnTo>
                  <a:lnTo>
                    <a:pt x="108" y="462"/>
                  </a:lnTo>
                  <a:lnTo>
                    <a:pt x="102" y="456"/>
                  </a:lnTo>
                  <a:lnTo>
                    <a:pt x="102" y="444"/>
                  </a:lnTo>
                  <a:lnTo>
                    <a:pt x="96" y="444"/>
                  </a:lnTo>
                  <a:lnTo>
                    <a:pt x="90" y="432"/>
                  </a:lnTo>
                  <a:lnTo>
                    <a:pt x="96" y="432"/>
                  </a:lnTo>
                  <a:lnTo>
                    <a:pt x="96" y="408"/>
                  </a:lnTo>
                  <a:lnTo>
                    <a:pt x="96" y="396"/>
                  </a:lnTo>
                  <a:lnTo>
                    <a:pt x="96" y="360"/>
                  </a:lnTo>
                  <a:lnTo>
                    <a:pt x="96" y="354"/>
                  </a:lnTo>
                  <a:lnTo>
                    <a:pt x="102" y="354"/>
                  </a:lnTo>
                  <a:lnTo>
                    <a:pt x="102" y="348"/>
                  </a:lnTo>
                  <a:lnTo>
                    <a:pt x="96" y="330"/>
                  </a:lnTo>
                  <a:lnTo>
                    <a:pt x="90" y="306"/>
                  </a:lnTo>
                  <a:lnTo>
                    <a:pt x="84" y="288"/>
                  </a:lnTo>
                  <a:lnTo>
                    <a:pt x="84" y="264"/>
                  </a:lnTo>
                  <a:lnTo>
                    <a:pt x="90" y="240"/>
                  </a:lnTo>
                  <a:lnTo>
                    <a:pt x="96" y="222"/>
                  </a:lnTo>
                  <a:lnTo>
                    <a:pt x="102" y="222"/>
                  </a:lnTo>
                  <a:lnTo>
                    <a:pt x="108" y="210"/>
                  </a:lnTo>
                  <a:lnTo>
                    <a:pt x="114" y="210"/>
                  </a:lnTo>
                  <a:lnTo>
                    <a:pt x="126" y="198"/>
                  </a:lnTo>
                  <a:lnTo>
                    <a:pt x="156" y="192"/>
                  </a:lnTo>
                  <a:lnTo>
                    <a:pt x="174" y="186"/>
                  </a:lnTo>
                  <a:lnTo>
                    <a:pt x="204" y="174"/>
                  </a:lnTo>
                  <a:lnTo>
                    <a:pt x="222" y="168"/>
                  </a:lnTo>
                  <a:lnTo>
                    <a:pt x="234" y="162"/>
                  </a:lnTo>
                  <a:lnTo>
                    <a:pt x="246" y="156"/>
                  </a:lnTo>
                  <a:lnTo>
                    <a:pt x="288" y="144"/>
                  </a:lnTo>
                  <a:lnTo>
                    <a:pt x="288" y="132"/>
                  </a:lnTo>
                  <a:lnTo>
                    <a:pt x="294" y="120"/>
                  </a:lnTo>
                  <a:lnTo>
                    <a:pt x="300" y="108"/>
                  </a:lnTo>
                  <a:lnTo>
                    <a:pt x="306" y="90"/>
                  </a:lnTo>
                  <a:lnTo>
                    <a:pt x="312" y="78"/>
                  </a:lnTo>
                  <a:lnTo>
                    <a:pt x="324" y="78"/>
                  </a:lnTo>
                  <a:lnTo>
                    <a:pt x="324" y="54"/>
                  </a:lnTo>
                  <a:lnTo>
                    <a:pt x="318" y="48"/>
                  </a:lnTo>
                  <a:lnTo>
                    <a:pt x="324" y="30"/>
                  </a:lnTo>
                  <a:lnTo>
                    <a:pt x="324" y="12"/>
                  </a:lnTo>
                  <a:lnTo>
                    <a:pt x="360" y="6"/>
                  </a:lnTo>
                  <a:lnTo>
                    <a:pt x="384" y="0"/>
                  </a:lnTo>
                  <a:lnTo>
                    <a:pt x="390" y="6"/>
                  </a:lnTo>
                  <a:lnTo>
                    <a:pt x="390" y="18"/>
                  </a:lnTo>
                  <a:lnTo>
                    <a:pt x="390" y="54"/>
                  </a:lnTo>
                  <a:lnTo>
                    <a:pt x="396" y="66"/>
                  </a:lnTo>
                  <a:lnTo>
                    <a:pt x="414" y="84"/>
                  </a:lnTo>
                  <a:lnTo>
                    <a:pt x="426" y="90"/>
                  </a:lnTo>
                  <a:lnTo>
                    <a:pt x="432" y="96"/>
                  </a:lnTo>
                  <a:lnTo>
                    <a:pt x="426" y="102"/>
                  </a:lnTo>
                  <a:lnTo>
                    <a:pt x="438" y="102"/>
                  </a:lnTo>
                  <a:lnTo>
                    <a:pt x="444" y="108"/>
                  </a:lnTo>
                  <a:lnTo>
                    <a:pt x="444" y="102"/>
                  </a:lnTo>
                  <a:lnTo>
                    <a:pt x="450" y="90"/>
                  </a:lnTo>
                  <a:lnTo>
                    <a:pt x="450" y="84"/>
                  </a:lnTo>
                  <a:lnTo>
                    <a:pt x="450" y="78"/>
                  </a:lnTo>
                  <a:lnTo>
                    <a:pt x="456" y="72"/>
                  </a:lnTo>
                  <a:lnTo>
                    <a:pt x="462" y="66"/>
                  </a:lnTo>
                  <a:lnTo>
                    <a:pt x="462" y="60"/>
                  </a:lnTo>
                  <a:lnTo>
                    <a:pt x="462" y="54"/>
                  </a:lnTo>
                  <a:lnTo>
                    <a:pt x="462" y="42"/>
                  </a:lnTo>
                  <a:lnTo>
                    <a:pt x="468" y="36"/>
                  </a:lnTo>
                  <a:lnTo>
                    <a:pt x="474" y="24"/>
                  </a:lnTo>
                  <a:lnTo>
                    <a:pt x="480" y="18"/>
                  </a:lnTo>
                  <a:lnTo>
                    <a:pt x="486" y="12"/>
                  </a:lnTo>
                  <a:lnTo>
                    <a:pt x="492" y="12"/>
                  </a:lnTo>
                  <a:lnTo>
                    <a:pt x="498" y="6"/>
                  </a:lnTo>
                  <a:lnTo>
                    <a:pt x="504" y="6"/>
                  </a:lnTo>
                  <a:lnTo>
                    <a:pt x="510" y="12"/>
                  </a:lnTo>
                  <a:lnTo>
                    <a:pt x="522" y="6"/>
                  </a:lnTo>
                  <a:lnTo>
                    <a:pt x="534" y="6"/>
                  </a:lnTo>
                  <a:lnTo>
                    <a:pt x="540" y="6"/>
                  </a:lnTo>
                  <a:lnTo>
                    <a:pt x="546" y="6"/>
                  </a:lnTo>
                  <a:lnTo>
                    <a:pt x="564" y="0"/>
                  </a:lnTo>
                  <a:lnTo>
                    <a:pt x="570" y="0"/>
                  </a:lnTo>
                  <a:lnTo>
                    <a:pt x="576" y="6"/>
                  </a:lnTo>
                  <a:lnTo>
                    <a:pt x="582" y="6"/>
                  </a:lnTo>
                  <a:lnTo>
                    <a:pt x="594" y="6"/>
                  </a:lnTo>
                  <a:lnTo>
                    <a:pt x="600" y="6"/>
                  </a:lnTo>
                  <a:lnTo>
                    <a:pt x="606" y="6"/>
                  </a:lnTo>
                  <a:lnTo>
                    <a:pt x="624" y="0"/>
                  </a:lnTo>
                  <a:lnTo>
                    <a:pt x="636" y="0"/>
                  </a:lnTo>
                  <a:lnTo>
                    <a:pt x="636" y="6"/>
                  </a:lnTo>
                  <a:lnTo>
                    <a:pt x="654" y="18"/>
                  </a:lnTo>
                  <a:lnTo>
                    <a:pt x="654" y="30"/>
                  </a:lnTo>
                  <a:lnTo>
                    <a:pt x="642" y="42"/>
                  </a:lnTo>
                  <a:lnTo>
                    <a:pt x="630" y="66"/>
                  </a:lnTo>
                  <a:lnTo>
                    <a:pt x="636" y="84"/>
                  </a:lnTo>
                  <a:lnTo>
                    <a:pt x="636" y="96"/>
                  </a:lnTo>
                  <a:lnTo>
                    <a:pt x="648" y="102"/>
                  </a:lnTo>
                  <a:lnTo>
                    <a:pt x="672" y="114"/>
                  </a:lnTo>
                  <a:lnTo>
                    <a:pt x="702" y="120"/>
                  </a:lnTo>
                  <a:lnTo>
                    <a:pt x="714" y="126"/>
                  </a:lnTo>
                  <a:lnTo>
                    <a:pt x="720" y="144"/>
                  </a:lnTo>
                  <a:lnTo>
                    <a:pt x="720" y="156"/>
                  </a:lnTo>
                  <a:lnTo>
                    <a:pt x="708" y="156"/>
                  </a:lnTo>
                  <a:lnTo>
                    <a:pt x="702" y="162"/>
                  </a:lnTo>
                  <a:lnTo>
                    <a:pt x="702" y="174"/>
                  </a:lnTo>
                  <a:lnTo>
                    <a:pt x="696" y="174"/>
                  </a:lnTo>
                  <a:lnTo>
                    <a:pt x="690" y="180"/>
                  </a:lnTo>
                  <a:lnTo>
                    <a:pt x="678" y="186"/>
                  </a:lnTo>
                  <a:lnTo>
                    <a:pt x="672" y="192"/>
                  </a:lnTo>
                  <a:lnTo>
                    <a:pt x="654" y="210"/>
                  </a:lnTo>
                  <a:lnTo>
                    <a:pt x="654" y="216"/>
                  </a:lnTo>
                  <a:lnTo>
                    <a:pt x="648" y="246"/>
                  </a:lnTo>
                  <a:lnTo>
                    <a:pt x="660" y="246"/>
                  </a:lnTo>
                  <a:lnTo>
                    <a:pt x="666" y="234"/>
                  </a:lnTo>
                  <a:lnTo>
                    <a:pt x="678" y="240"/>
                  </a:lnTo>
                  <a:lnTo>
                    <a:pt x="684" y="228"/>
                  </a:lnTo>
                  <a:lnTo>
                    <a:pt x="690" y="210"/>
                  </a:lnTo>
                  <a:lnTo>
                    <a:pt x="696" y="204"/>
                  </a:lnTo>
                  <a:lnTo>
                    <a:pt x="702" y="204"/>
                  </a:lnTo>
                  <a:lnTo>
                    <a:pt x="708" y="192"/>
                  </a:lnTo>
                  <a:lnTo>
                    <a:pt x="714" y="192"/>
                  </a:lnTo>
                  <a:lnTo>
                    <a:pt x="714" y="186"/>
                  </a:lnTo>
                  <a:lnTo>
                    <a:pt x="726" y="186"/>
                  </a:lnTo>
                  <a:lnTo>
                    <a:pt x="732" y="186"/>
                  </a:lnTo>
                  <a:lnTo>
                    <a:pt x="738" y="186"/>
                  </a:lnTo>
                  <a:lnTo>
                    <a:pt x="744" y="216"/>
                  </a:lnTo>
                  <a:lnTo>
                    <a:pt x="750" y="210"/>
                  </a:lnTo>
                  <a:lnTo>
                    <a:pt x="750" y="204"/>
                  </a:lnTo>
                  <a:lnTo>
                    <a:pt x="756" y="192"/>
                  </a:lnTo>
                  <a:lnTo>
                    <a:pt x="762" y="192"/>
                  </a:lnTo>
                  <a:lnTo>
                    <a:pt x="768" y="192"/>
                  </a:lnTo>
                  <a:lnTo>
                    <a:pt x="780" y="186"/>
                  </a:lnTo>
                  <a:lnTo>
                    <a:pt x="786" y="204"/>
                  </a:lnTo>
                  <a:lnTo>
                    <a:pt x="774" y="210"/>
                  </a:lnTo>
                  <a:lnTo>
                    <a:pt x="774" y="234"/>
                  </a:lnTo>
                  <a:lnTo>
                    <a:pt x="780" y="246"/>
                  </a:lnTo>
                  <a:lnTo>
                    <a:pt x="804" y="264"/>
                  </a:lnTo>
                  <a:lnTo>
                    <a:pt x="816" y="276"/>
                  </a:lnTo>
                  <a:lnTo>
                    <a:pt x="822" y="288"/>
                  </a:lnTo>
                  <a:lnTo>
                    <a:pt x="822" y="312"/>
                  </a:lnTo>
                  <a:lnTo>
                    <a:pt x="816" y="312"/>
                  </a:lnTo>
                  <a:lnTo>
                    <a:pt x="810" y="318"/>
                  </a:lnTo>
                  <a:lnTo>
                    <a:pt x="810" y="348"/>
                  </a:lnTo>
                  <a:lnTo>
                    <a:pt x="816" y="348"/>
                  </a:lnTo>
                  <a:lnTo>
                    <a:pt x="816" y="342"/>
                  </a:lnTo>
                  <a:lnTo>
                    <a:pt x="834" y="342"/>
                  </a:lnTo>
                  <a:lnTo>
                    <a:pt x="834" y="348"/>
                  </a:lnTo>
                  <a:lnTo>
                    <a:pt x="846" y="348"/>
                  </a:lnTo>
                  <a:lnTo>
                    <a:pt x="846" y="342"/>
                  </a:lnTo>
                  <a:lnTo>
                    <a:pt x="882" y="342"/>
                  </a:lnTo>
                  <a:lnTo>
                    <a:pt x="894" y="366"/>
                  </a:lnTo>
                  <a:lnTo>
                    <a:pt x="900" y="372"/>
                  </a:lnTo>
                  <a:lnTo>
                    <a:pt x="906" y="384"/>
                  </a:lnTo>
                  <a:lnTo>
                    <a:pt x="924" y="384"/>
                  </a:lnTo>
                  <a:lnTo>
                    <a:pt x="930" y="372"/>
                  </a:lnTo>
                  <a:lnTo>
                    <a:pt x="936" y="372"/>
                  </a:lnTo>
                  <a:lnTo>
                    <a:pt x="942" y="348"/>
                  </a:lnTo>
                  <a:lnTo>
                    <a:pt x="954" y="348"/>
                  </a:lnTo>
                  <a:lnTo>
                    <a:pt x="954" y="342"/>
                  </a:lnTo>
                  <a:lnTo>
                    <a:pt x="984" y="342"/>
                  </a:lnTo>
                  <a:lnTo>
                    <a:pt x="978" y="390"/>
                  </a:lnTo>
                  <a:lnTo>
                    <a:pt x="984" y="390"/>
                  </a:lnTo>
                  <a:lnTo>
                    <a:pt x="990" y="396"/>
                  </a:lnTo>
                  <a:lnTo>
                    <a:pt x="996" y="396"/>
                  </a:lnTo>
                  <a:lnTo>
                    <a:pt x="1002" y="396"/>
                  </a:lnTo>
                  <a:lnTo>
                    <a:pt x="1002" y="408"/>
                  </a:lnTo>
                  <a:lnTo>
                    <a:pt x="990" y="414"/>
                  </a:lnTo>
                  <a:lnTo>
                    <a:pt x="984" y="426"/>
                  </a:lnTo>
                  <a:lnTo>
                    <a:pt x="990" y="444"/>
                  </a:lnTo>
                  <a:lnTo>
                    <a:pt x="996" y="450"/>
                  </a:lnTo>
                  <a:lnTo>
                    <a:pt x="990" y="462"/>
                  </a:lnTo>
                  <a:lnTo>
                    <a:pt x="990" y="468"/>
                  </a:lnTo>
                  <a:lnTo>
                    <a:pt x="984" y="480"/>
                  </a:lnTo>
                  <a:lnTo>
                    <a:pt x="978" y="486"/>
                  </a:lnTo>
                  <a:lnTo>
                    <a:pt x="972" y="486"/>
                  </a:lnTo>
                  <a:lnTo>
                    <a:pt x="966" y="492"/>
                  </a:lnTo>
                  <a:lnTo>
                    <a:pt x="966" y="498"/>
                  </a:lnTo>
                  <a:lnTo>
                    <a:pt x="954" y="510"/>
                  </a:lnTo>
                  <a:lnTo>
                    <a:pt x="948" y="510"/>
                  </a:lnTo>
                  <a:lnTo>
                    <a:pt x="942" y="516"/>
                  </a:lnTo>
                  <a:lnTo>
                    <a:pt x="936" y="528"/>
                  </a:lnTo>
                  <a:lnTo>
                    <a:pt x="936" y="534"/>
                  </a:lnTo>
                  <a:lnTo>
                    <a:pt x="936" y="546"/>
                  </a:lnTo>
                  <a:lnTo>
                    <a:pt x="936" y="558"/>
                  </a:lnTo>
                  <a:lnTo>
                    <a:pt x="948" y="558"/>
                  </a:lnTo>
                  <a:lnTo>
                    <a:pt x="954" y="558"/>
                  </a:lnTo>
                  <a:lnTo>
                    <a:pt x="996" y="558"/>
                  </a:lnTo>
                  <a:lnTo>
                    <a:pt x="1002" y="570"/>
                  </a:lnTo>
                  <a:lnTo>
                    <a:pt x="996" y="576"/>
                  </a:lnTo>
                  <a:lnTo>
                    <a:pt x="996" y="588"/>
                  </a:lnTo>
                  <a:lnTo>
                    <a:pt x="984" y="588"/>
                  </a:lnTo>
                  <a:lnTo>
                    <a:pt x="990" y="612"/>
                  </a:lnTo>
                  <a:lnTo>
                    <a:pt x="1014" y="606"/>
                  </a:lnTo>
                  <a:lnTo>
                    <a:pt x="1014" y="636"/>
                  </a:lnTo>
                  <a:lnTo>
                    <a:pt x="1014" y="648"/>
                  </a:lnTo>
                  <a:lnTo>
                    <a:pt x="1020" y="648"/>
                  </a:lnTo>
                  <a:lnTo>
                    <a:pt x="1026" y="660"/>
                  </a:lnTo>
                  <a:lnTo>
                    <a:pt x="1038" y="654"/>
                  </a:lnTo>
                  <a:lnTo>
                    <a:pt x="1050" y="654"/>
                  </a:lnTo>
                  <a:lnTo>
                    <a:pt x="1062" y="654"/>
                  </a:lnTo>
                  <a:lnTo>
                    <a:pt x="1068" y="660"/>
                  </a:lnTo>
                  <a:lnTo>
                    <a:pt x="1068" y="678"/>
                  </a:lnTo>
                  <a:lnTo>
                    <a:pt x="1068" y="684"/>
                  </a:lnTo>
                  <a:lnTo>
                    <a:pt x="1062" y="690"/>
                  </a:lnTo>
                  <a:lnTo>
                    <a:pt x="1056" y="696"/>
                  </a:lnTo>
                  <a:lnTo>
                    <a:pt x="1056" y="702"/>
                  </a:lnTo>
                  <a:lnTo>
                    <a:pt x="1038" y="714"/>
                  </a:lnTo>
                  <a:lnTo>
                    <a:pt x="1026" y="720"/>
                  </a:lnTo>
                  <a:lnTo>
                    <a:pt x="1008" y="726"/>
                  </a:lnTo>
                  <a:lnTo>
                    <a:pt x="1008" y="732"/>
                  </a:lnTo>
                  <a:lnTo>
                    <a:pt x="990" y="732"/>
                  </a:lnTo>
                  <a:lnTo>
                    <a:pt x="984" y="744"/>
                  </a:lnTo>
                  <a:lnTo>
                    <a:pt x="990" y="750"/>
                  </a:lnTo>
                  <a:lnTo>
                    <a:pt x="984" y="762"/>
                  </a:lnTo>
                  <a:lnTo>
                    <a:pt x="984" y="768"/>
                  </a:lnTo>
                  <a:lnTo>
                    <a:pt x="984" y="774"/>
                  </a:lnTo>
                  <a:lnTo>
                    <a:pt x="984" y="780"/>
                  </a:lnTo>
                  <a:lnTo>
                    <a:pt x="984" y="786"/>
                  </a:lnTo>
                  <a:lnTo>
                    <a:pt x="984" y="792"/>
                  </a:lnTo>
                  <a:lnTo>
                    <a:pt x="978" y="798"/>
                  </a:lnTo>
                  <a:lnTo>
                    <a:pt x="978" y="804"/>
                  </a:lnTo>
                  <a:close/>
                </a:path>
              </a:pathLst>
            </a:custGeom>
            <a:solidFill>
              <a:srgbClr val="FFC000"/>
            </a:solidFill>
            <a:ln w="9525">
              <a:solidFill>
                <a:schemeClr val="bg1"/>
              </a:solidFill>
              <a:round/>
              <a:headEnd/>
              <a:tailEnd/>
            </a:ln>
          </p:spPr>
          <p:txBody>
            <a:bodyPr/>
            <a:lstStyle/>
            <a:p>
              <a:endParaRPr lang="en-GB"/>
            </a:p>
          </p:txBody>
        </p:sp>
        <p:sp>
          <p:nvSpPr>
            <p:cNvPr id="19514" name="Freeform 39"/>
            <p:cNvSpPr>
              <a:spLocks/>
            </p:cNvSpPr>
            <p:nvPr/>
          </p:nvSpPr>
          <p:spPr bwMode="gray">
            <a:xfrm>
              <a:off x="4917766" y="1486896"/>
              <a:ext cx="1411573" cy="1455427"/>
            </a:xfrm>
            <a:custGeom>
              <a:avLst/>
              <a:gdLst>
                <a:gd name="T0" fmla="*/ 82068 w 1806"/>
                <a:gd name="T1" fmla="*/ 124912 h 1806"/>
                <a:gd name="T2" fmla="*/ 80505 w 1806"/>
                <a:gd name="T3" fmla="*/ 124912 h 1806"/>
                <a:gd name="T4" fmla="*/ 80505 w 1806"/>
                <a:gd name="T5" fmla="*/ 120883 h 1806"/>
                <a:gd name="T6" fmla="*/ 81287 w 1806"/>
                <a:gd name="T7" fmla="*/ 113630 h 1806"/>
                <a:gd name="T8" fmla="*/ 81287 w 1806"/>
                <a:gd name="T9" fmla="*/ 109600 h 1806"/>
                <a:gd name="T10" fmla="*/ 78160 w 1806"/>
                <a:gd name="T11" fmla="*/ 105571 h 1806"/>
                <a:gd name="T12" fmla="*/ 75034 w 1806"/>
                <a:gd name="T13" fmla="*/ 102347 h 1806"/>
                <a:gd name="T14" fmla="*/ 71126 w 1806"/>
                <a:gd name="T15" fmla="*/ 97512 h 1806"/>
                <a:gd name="T16" fmla="*/ 67999 w 1806"/>
                <a:gd name="T17" fmla="*/ 96706 h 1806"/>
                <a:gd name="T18" fmla="*/ 63310 w 1806"/>
                <a:gd name="T19" fmla="*/ 94288 h 1806"/>
                <a:gd name="T20" fmla="*/ 50804 w 1806"/>
                <a:gd name="T21" fmla="*/ 91065 h 1806"/>
                <a:gd name="T22" fmla="*/ 53931 w 1806"/>
                <a:gd name="T23" fmla="*/ 84618 h 1806"/>
                <a:gd name="T24" fmla="*/ 51586 w 1806"/>
                <a:gd name="T25" fmla="*/ 71724 h 1806"/>
                <a:gd name="T26" fmla="*/ 49241 w 1806"/>
                <a:gd name="T27" fmla="*/ 67694 h 1806"/>
                <a:gd name="T28" fmla="*/ 48459 w 1806"/>
                <a:gd name="T29" fmla="*/ 59635 h 1806"/>
                <a:gd name="T30" fmla="*/ 45333 w 1806"/>
                <a:gd name="T31" fmla="*/ 41906 h 1806"/>
                <a:gd name="T32" fmla="*/ 41425 w 1806"/>
                <a:gd name="T33" fmla="*/ 39488 h 1806"/>
                <a:gd name="T34" fmla="*/ 39862 w 1806"/>
                <a:gd name="T35" fmla="*/ 29012 h 1806"/>
                <a:gd name="T36" fmla="*/ 33609 w 1806"/>
                <a:gd name="T37" fmla="*/ 25788 h 1806"/>
                <a:gd name="T38" fmla="*/ 25793 w 1806"/>
                <a:gd name="T39" fmla="*/ 24177 h 1806"/>
                <a:gd name="T40" fmla="*/ 23448 w 1806"/>
                <a:gd name="T41" fmla="*/ 16924 h 1806"/>
                <a:gd name="T42" fmla="*/ 13287 w 1806"/>
                <a:gd name="T43" fmla="*/ 20147 h 1806"/>
                <a:gd name="T44" fmla="*/ 3126 w 1806"/>
                <a:gd name="T45" fmla="*/ 26594 h 1806"/>
                <a:gd name="T46" fmla="*/ 5471 w 1806"/>
                <a:gd name="T47" fmla="*/ 20953 h 1806"/>
                <a:gd name="T48" fmla="*/ 8598 w 1806"/>
                <a:gd name="T49" fmla="*/ 16118 h 1806"/>
                <a:gd name="T50" fmla="*/ 14069 w 1806"/>
                <a:gd name="T51" fmla="*/ 9671 h 1806"/>
                <a:gd name="T52" fmla="*/ 20322 w 1806"/>
                <a:gd name="T53" fmla="*/ 6447 h 1806"/>
                <a:gd name="T54" fmla="*/ 27356 w 1806"/>
                <a:gd name="T55" fmla="*/ 4835 h 1806"/>
                <a:gd name="T56" fmla="*/ 34390 w 1806"/>
                <a:gd name="T57" fmla="*/ 4029 h 1806"/>
                <a:gd name="T58" fmla="*/ 42207 w 1806"/>
                <a:gd name="T59" fmla="*/ 1612 h 1806"/>
                <a:gd name="T60" fmla="*/ 50804 w 1806"/>
                <a:gd name="T61" fmla="*/ 0 h 1806"/>
                <a:gd name="T62" fmla="*/ 59402 w 1806"/>
                <a:gd name="T63" fmla="*/ 0 h 1806"/>
                <a:gd name="T64" fmla="*/ 66436 w 1806"/>
                <a:gd name="T65" fmla="*/ 0 h 1806"/>
                <a:gd name="T66" fmla="*/ 75815 w 1806"/>
                <a:gd name="T67" fmla="*/ 0 h 1806"/>
                <a:gd name="T68" fmla="*/ 84413 w 1806"/>
                <a:gd name="T69" fmla="*/ 2418 h 1806"/>
                <a:gd name="T70" fmla="*/ 89884 w 1806"/>
                <a:gd name="T71" fmla="*/ 4029 h 1806"/>
                <a:gd name="T72" fmla="*/ 96137 w 1806"/>
                <a:gd name="T73" fmla="*/ 5641 h 1806"/>
                <a:gd name="T74" fmla="*/ 103953 w 1806"/>
                <a:gd name="T75" fmla="*/ 11282 h 1806"/>
                <a:gd name="T76" fmla="*/ 107861 w 1806"/>
                <a:gd name="T77" fmla="*/ 12894 h 1806"/>
                <a:gd name="T78" fmla="*/ 109424 w 1806"/>
                <a:gd name="T79" fmla="*/ 11282 h 1806"/>
                <a:gd name="T80" fmla="*/ 113332 w 1806"/>
                <a:gd name="T81" fmla="*/ 12894 h 1806"/>
                <a:gd name="T82" fmla="*/ 114895 w 1806"/>
                <a:gd name="T83" fmla="*/ 12894 h 1806"/>
                <a:gd name="T84" fmla="*/ 117240 w 1806"/>
                <a:gd name="T85" fmla="*/ 13700 h 1806"/>
                <a:gd name="T86" fmla="*/ 118804 w 1806"/>
                <a:gd name="T87" fmla="*/ 14506 h 1806"/>
                <a:gd name="T88" fmla="*/ 121148 w 1806"/>
                <a:gd name="T89" fmla="*/ 29818 h 1806"/>
                <a:gd name="T90" fmla="*/ 114114 w 1806"/>
                <a:gd name="T91" fmla="*/ 53188 h 1806"/>
                <a:gd name="T92" fmla="*/ 111769 w 1806"/>
                <a:gd name="T93" fmla="*/ 70918 h 1806"/>
                <a:gd name="T94" fmla="*/ 112551 w 1806"/>
                <a:gd name="T95" fmla="*/ 78977 h 1806"/>
                <a:gd name="T96" fmla="*/ 107079 w 1806"/>
                <a:gd name="T97" fmla="*/ 95094 h 1806"/>
                <a:gd name="T98" fmla="*/ 103171 w 1806"/>
                <a:gd name="T99" fmla="*/ 103959 h 1806"/>
                <a:gd name="T100" fmla="*/ 96919 w 1806"/>
                <a:gd name="T101" fmla="*/ 108794 h 1806"/>
                <a:gd name="T102" fmla="*/ 93011 w 1806"/>
                <a:gd name="T103" fmla="*/ 109600 h 1806"/>
                <a:gd name="T104" fmla="*/ 90666 w 1806"/>
                <a:gd name="T105" fmla="*/ 110406 h 1806"/>
                <a:gd name="T106" fmla="*/ 87539 w 1806"/>
                <a:gd name="T107" fmla="*/ 112018 h 1806"/>
                <a:gd name="T108" fmla="*/ 87539 w 1806"/>
                <a:gd name="T109" fmla="*/ 113630 h 1806"/>
                <a:gd name="T110" fmla="*/ 90666 w 1806"/>
                <a:gd name="T111" fmla="*/ 117659 h 1806"/>
                <a:gd name="T112" fmla="*/ 90666 w 1806"/>
                <a:gd name="T113" fmla="*/ 121689 h 1806"/>
                <a:gd name="T114" fmla="*/ 88321 w 1806"/>
                <a:gd name="T115" fmla="*/ 123300 h 18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06"/>
                <a:gd name="T175" fmla="*/ 0 h 1806"/>
                <a:gd name="T176" fmla="*/ 1806 w 1806"/>
                <a:gd name="T177" fmla="*/ 1806 h 18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06" h="1806">
                  <a:moveTo>
                    <a:pt x="1260" y="1776"/>
                  </a:moveTo>
                  <a:lnTo>
                    <a:pt x="1254" y="1776"/>
                  </a:lnTo>
                  <a:lnTo>
                    <a:pt x="1248" y="1776"/>
                  </a:lnTo>
                  <a:lnTo>
                    <a:pt x="1242" y="1782"/>
                  </a:lnTo>
                  <a:lnTo>
                    <a:pt x="1236" y="1782"/>
                  </a:lnTo>
                  <a:lnTo>
                    <a:pt x="1230" y="1788"/>
                  </a:lnTo>
                  <a:lnTo>
                    <a:pt x="1224" y="1782"/>
                  </a:lnTo>
                  <a:lnTo>
                    <a:pt x="1218" y="1782"/>
                  </a:lnTo>
                  <a:lnTo>
                    <a:pt x="1218" y="1788"/>
                  </a:lnTo>
                  <a:lnTo>
                    <a:pt x="1212" y="1788"/>
                  </a:lnTo>
                  <a:lnTo>
                    <a:pt x="1206" y="1788"/>
                  </a:lnTo>
                  <a:lnTo>
                    <a:pt x="1206" y="1794"/>
                  </a:lnTo>
                  <a:lnTo>
                    <a:pt x="1200" y="1806"/>
                  </a:lnTo>
                  <a:lnTo>
                    <a:pt x="1194" y="1800"/>
                  </a:lnTo>
                  <a:lnTo>
                    <a:pt x="1194" y="1794"/>
                  </a:lnTo>
                  <a:lnTo>
                    <a:pt x="1194" y="1788"/>
                  </a:lnTo>
                  <a:lnTo>
                    <a:pt x="1188" y="1788"/>
                  </a:lnTo>
                  <a:lnTo>
                    <a:pt x="1188" y="1782"/>
                  </a:lnTo>
                  <a:lnTo>
                    <a:pt x="1188" y="1776"/>
                  </a:lnTo>
                  <a:lnTo>
                    <a:pt x="1194" y="1770"/>
                  </a:lnTo>
                  <a:lnTo>
                    <a:pt x="1194" y="1764"/>
                  </a:lnTo>
                  <a:lnTo>
                    <a:pt x="1194" y="1758"/>
                  </a:lnTo>
                  <a:lnTo>
                    <a:pt x="1194" y="1752"/>
                  </a:lnTo>
                  <a:lnTo>
                    <a:pt x="1200" y="1746"/>
                  </a:lnTo>
                  <a:lnTo>
                    <a:pt x="1200" y="1740"/>
                  </a:lnTo>
                  <a:lnTo>
                    <a:pt x="1200" y="1734"/>
                  </a:lnTo>
                  <a:lnTo>
                    <a:pt x="1188" y="1722"/>
                  </a:lnTo>
                  <a:lnTo>
                    <a:pt x="1188" y="1716"/>
                  </a:lnTo>
                  <a:lnTo>
                    <a:pt x="1194" y="1704"/>
                  </a:lnTo>
                  <a:lnTo>
                    <a:pt x="1194" y="1692"/>
                  </a:lnTo>
                  <a:lnTo>
                    <a:pt x="1200" y="1680"/>
                  </a:lnTo>
                  <a:lnTo>
                    <a:pt x="1200" y="1662"/>
                  </a:lnTo>
                  <a:lnTo>
                    <a:pt x="1200" y="1650"/>
                  </a:lnTo>
                  <a:lnTo>
                    <a:pt x="1206" y="1644"/>
                  </a:lnTo>
                  <a:lnTo>
                    <a:pt x="1206" y="1638"/>
                  </a:lnTo>
                  <a:lnTo>
                    <a:pt x="1206" y="1626"/>
                  </a:lnTo>
                  <a:lnTo>
                    <a:pt x="1206" y="1620"/>
                  </a:lnTo>
                  <a:lnTo>
                    <a:pt x="1206" y="1614"/>
                  </a:lnTo>
                  <a:lnTo>
                    <a:pt x="1200" y="1608"/>
                  </a:lnTo>
                  <a:lnTo>
                    <a:pt x="1200" y="1602"/>
                  </a:lnTo>
                  <a:lnTo>
                    <a:pt x="1200" y="1596"/>
                  </a:lnTo>
                  <a:lnTo>
                    <a:pt x="1200" y="1590"/>
                  </a:lnTo>
                  <a:lnTo>
                    <a:pt x="1200" y="1572"/>
                  </a:lnTo>
                  <a:lnTo>
                    <a:pt x="1200" y="1566"/>
                  </a:lnTo>
                  <a:lnTo>
                    <a:pt x="1200" y="1560"/>
                  </a:lnTo>
                  <a:lnTo>
                    <a:pt x="1194" y="1554"/>
                  </a:lnTo>
                  <a:lnTo>
                    <a:pt x="1188" y="1548"/>
                  </a:lnTo>
                  <a:lnTo>
                    <a:pt x="1188" y="1542"/>
                  </a:lnTo>
                  <a:lnTo>
                    <a:pt x="1176" y="1536"/>
                  </a:lnTo>
                  <a:lnTo>
                    <a:pt x="1176" y="1530"/>
                  </a:lnTo>
                  <a:lnTo>
                    <a:pt x="1170" y="1524"/>
                  </a:lnTo>
                  <a:lnTo>
                    <a:pt x="1170" y="1518"/>
                  </a:lnTo>
                  <a:lnTo>
                    <a:pt x="1164" y="1512"/>
                  </a:lnTo>
                  <a:lnTo>
                    <a:pt x="1158" y="1506"/>
                  </a:lnTo>
                  <a:lnTo>
                    <a:pt x="1152" y="1500"/>
                  </a:lnTo>
                  <a:lnTo>
                    <a:pt x="1146" y="1494"/>
                  </a:lnTo>
                  <a:lnTo>
                    <a:pt x="1140" y="1488"/>
                  </a:lnTo>
                  <a:lnTo>
                    <a:pt x="1134" y="1482"/>
                  </a:lnTo>
                  <a:lnTo>
                    <a:pt x="1128" y="1476"/>
                  </a:lnTo>
                  <a:lnTo>
                    <a:pt x="1122" y="1470"/>
                  </a:lnTo>
                  <a:lnTo>
                    <a:pt x="1116" y="1464"/>
                  </a:lnTo>
                  <a:lnTo>
                    <a:pt x="1110" y="1464"/>
                  </a:lnTo>
                  <a:lnTo>
                    <a:pt x="1104" y="1458"/>
                  </a:lnTo>
                  <a:lnTo>
                    <a:pt x="1098" y="1464"/>
                  </a:lnTo>
                  <a:lnTo>
                    <a:pt x="1092" y="1464"/>
                  </a:lnTo>
                  <a:lnTo>
                    <a:pt x="1086" y="1446"/>
                  </a:lnTo>
                  <a:lnTo>
                    <a:pt x="1086" y="1440"/>
                  </a:lnTo>
                  <a:lnTo>
                    <a:pt x="1080" y="1416"/>
                  </a:lnTo>
                  <a:lnTo>
                    <a:pt x="1068" y="1404"/>
                  </a:lnTo>
                  <a:lnTo>
                    <a:pt x="1062" y="1398"/>
                  </a:lnTo>
                  <a:lnTo>
                    <a:pt x="1056" y="1398"/>
                  </a:lnTo>
                  <a:lnTo>
                    <a:pt x="1050" y="1398"/>
                  </a:lnTo>
                  <a:lnTo>
                    <a:pt x="1044" y="1398"/>
                  </a:lnTo>
                  <a:lnTo>
                    <a:pt x="1044" y="1392"/>
                  </a:lnTo>
                  <a:lnTo>
                    <a:pt x="1038" y="1392"/>
                  </a:lnTo>
                  <a:lnTo>
                    <a:pt x="1032" y="1392"/>
                  </a:lnTo>
                  <a:lnTo>
                    <a:pt x="1020" y="1386"/>
                  </a:lnTo>
                  <a:lnTo>
                    <a:pt x="1014" y="1386"/>
                  </a:lnTo>
                  <a:lnTo>
                    <a:pt x="1014" y="1380"/>
                  </a:lnTo>
                  <a:lnTo>
                    <a:pt x="1008" y="1380"/>
                  </a:lnTo>
                  <a:lnTo>
                    <a:pt x="1002" y="1374"/>
                  </a:lnTo>
                  <a:lnTo>
                    <a:pt x="996" y="1368"/>
                  </a:lnTo>
                  <a:lnTo>
                    <a:pt x="990" y="1362"/>
                  </a:lnTo>
                  <a:lnTo>
                    <a:pt x="984" y="1356"/>
                  </a:lnTo>
                  <a:lnTo>
                    <a:pt x="978" y="1356"/>
                  </a:lnTo>
                  <a:lnTo>
                    <a:pt x="972" y="1356"/>
                  </a:lnTo>
                  <a:lnTo>
                    <a:pt x="966" y="1356"/>
                  </a:lnTo>
                  <a:lnTo>
                    <a:pt x="966" y="1350"/>
                  </a:lnTo>
                  <a:lnTo>
                    <a:pt x="948" y="1350"/>
                  </a:lnTo>
                  <a:lnTo>
                    <a:pt x="936" y="1344"/>
                  </a:lnTo>
                  <a:lnTo>
                    <a:pt x="930" y="1338"/>
                  </a:lnTo>
                  <a:lnTo>
                    <a:pt x="918" y="1332"/>
                  </a:lnTo>
                  <a:lnTo>
                    <a:pt x="900" y="1326"/>
                  </a:lnTo>
                  <a:lnTo>
                    <a:pt x="864" y="1332"/>
                  </a:lnTo>
                  <a:lnTo>
                    <a:pt x="828" y="1332"/>
                  </a:lnTo>
                  <a:lnTo>
                    <a:pt x="792" y="1314"/>
                  </a:lnTo>
                  <a:lnTo>
                    <a:pt x="780" y="1314"/>
                  </a:lnTo>
                  <a:lnTo>
                    <a:pt x="780" y="1308"/>
                  </a:lnTo>
                  <a:lnTo>
                    <a:pt x="756" y="1296"/>
                  </a:lnTo>
                  <a:lnTo>
                    <a:pt x="756" y="1278"/>
                  </a:lnTo>
                  <a:lnTo>
                    <a:pt x="768" y="1278"/>
                  </a:lnTo>
                  <a:lnTo>
                    <a:pt x="774" y="1272"/>
                  </a:lnTo>
                  <a:lnTo>
                    <a:pt x="780" y="1266"/>
                  </a:lnTo>
                  <a:lnTo>
                    <a:pt x="786" y="1260"/>
                  </a:lnTo>
                  <a:lnTo>
                    <a:pt x="792" y="1254"/>
                  </a:lnTo>
                  <a:lnTo>
                    <a:pt x="798" y="1242"/>
                  </a:lnTo>
                  <a:lnTo>
                    <a:pt x="804" y="1242"/>
                  </a:lnTo>
                  <a:lnTo>
                    <a:pt x="804" y="1206"/>
                  </a:lnTo>
                  <a:lnTo>
                    <a:pt x="804" y="1182"/>
                  </a:lnTo>
                  <a:lnTo>
                    <a:pt x="804" y="1158"/>
                  </a:lnTo>
                  <a:lnTo>
                    <a:pt x="804" y="1134"/>
                  </a:lnTo>
                  <a:lnTo>
                    <a:pt x="798" y="1116"/>
                  </a:lnTo>
                  <a:lnTo>
                    <a:pt x="792" y="1092"/>
                  </a:lnTo>
                  <a:lnTo>
                    <a:pt x="786" y="1062"/>
                  </a:lnTo>
                  <a:lnTo>
                    <a:pt x="768" y="1032"/>
                  </a:lnTo>
                  <a:lnTo>
                    <a:pt x="762" y="1032"/>
                  </a:lnTo>
                  <a:lnTo>
                    <a:pt x="762" y="1020"/>
                  </a:lnTo>
                  <a:lnTo>
                    <a:pt x="762" y="1014"/>
                  </a:lnTo>
                  <a:lnTo>
                    <a:pt x="756" y="1008"/>
                  </a:lnTo>
                  <a:lnTo>
                    <a:pt x="750" y="1002"/>
                  </a:lnTo>
                  <a:lnTo>
                    <a:pt x="738" y="1002"/>
                  </a:lnTo>
                  <a:lnTo>
                    <a:pt x="738" y="990"/>
                  </a:lnTo>
                  <a:lnTo>
                    <a:pt x="726" y="990"/>
                  </a:lnTo>
                  <a:lnTo>
                    <a:pt x="726" y="978"/>
                  </a:lnTo>
                  <a:lnTo>
                    <a:pt x="732" y="972"/>
                  </a:lnTo>
                  <a:lnTo>
                    <a:pt x="732" y="966"/>
                  </a:lnTo>
                  <a:lnTo>
                    <a:pt x="726" y="966"/>
                  </a:lnTo>
                  <a:lnTo>
                    <a:pt x="732" y="948"/>
                  </a:lnTo>
                  <a:lnTo>
                    <a:pt x="726" y="942"/>
                  </a:lnTo>
                  <a:lnTo>
                    <a:pt x="726" y="930"/>
                  </a:lnTo>
                  <a:lnTo>
                    <a:pt x="720" y="924"/>
                  </a:lnTo>
                  <a:lnTo>
                    <a:pt x="714" y="912"/>
                  </a:lnTo>
                  <a:lnTo>
                    <a:pt x="714" y="882"/>
                  </a:lnTo>
                  <a:lnTo>
                    <a:pt x="714" y="870"/>
                  </a:lnTo>
                  <a:lnTo>
                    <a:pt x="714" y="858"/>
                  </a:lnTo>
                  <a:lnTo>
                    <a:pt x="714" y="846"/>
                  </a:lnTo>
                  <a:lnTo>
                    <a:pt x="708" y="822"/>
                  </a:lnTo>
                  <a:lnTo>
                    <a:pt x="702" y="798"/>
                  </a:lnTo>
                  <a:lnTo>
                    <a:pt x="696" y="792"/>
                  </a:lnTo>
                  <a:lnTo>
                    <a:pt x="684" y="726"/>
                  </a:lnTo>
                  <a:lnTo>
                    <a:pt x="678" y="666"/>
                  </a:lnTo>
                  <a:lnTo>
                    <a:pt x="678" y="606"/>
                  </a:lnTo>
                  <a:lnTo>
                    <a:pt x="666" y="606"/>
                  </a:lnTo>
                  <a:lnTo>
                    <a:pt x="666" y="600"/>
                  </a:lnTo>
                  <a:lnTo>
                    <a:pt x="660" y="594"/>
                  </a:lnTo>
                  <a:lnTo>
                    <a:pt x="654" y="594"/>
                  </a:lnTo>
                  <a:lnTo>
                    <a:pt x="636" y="582"/>
                  </a:lnTo>
                  <a:lnTo>
                    <a:pt x="630" y="576"/>
                  </a:lnTo>
                  <a:lnTo>
                    <a:pt x="624" y="576"/>
                  </a:lnTo>
                  <a:lnTo>
                    <a:pt x="618" y="570"/>
                  </a:lnTo>
                  <a:lnTo>
                    <a:pt x="612" y="564"/>
                  </a:lnTo>
                  <a:lnTo>
                    <a:pt x="606" y="558"/>
                  </a:lnTo>
                  <a:lnTo>
                    <a:pt x="606" y="564"/>
                  </a:lnTo>
                  <a:lnTo>
                    <a:pt x="600" y="564"/>
                  </a:lnTo>
                  <a:lnTo>
                    <a:pt x="594" y="558"/>
                  </a:lnTo>
                  <a:lnTo>
                    <a:pt x="594" y="540"/>
                  </a:lnTo>
                  <a:lnTo>
                    <a:pt x="594" y="528"/>
                  </a:lnTo>
                  <a:lnTo>
                    <a:pt x="594" y="516"/>
                  </a:lnTo>
                  <a:lnTo>
                    <a:pt x="594" y="510"/>
                  </a:lnTo>
                  <a:lnTo>
                    <a:pt x="594" y="492"/>
                  </a:lnTo>
                  <a:lnTo>
                    <a:pt x="594" y="456"/>
                  </a:lnTo>
                  <a:lnTo>
                    <a:pt x="588" y="414"/>
                  </a:lnTo>
                  <a:lnTo>
                    <a:pt x="588" y="408"/>
                  </a:lnTo>
                  <a:lnTo>
                    <a:pt x="582" y="396"/>
                  </a:lnTo>
                  <a:lnTo>
                    <a:pt x="582" y="384"/>
                  </a:lnTo>
                  <a:lnTo>
                    <a:pt x="582" y="372"/>
                  </a:lnTo>
                  <a:lnTo>
                    <a:pt x="564" y="372"/>
                  </a:lnTo>
                  <a:lnTo>
                    <a:pt x="552" y="366"/>
                  </a:lnTo>
                  <a:lnTo>
                    <a:pt x="552" y="372"/>
                  </a:lnTo>
                  <a:lnTo>
                    <a:pt x="498" y="372"/>
                  </a:lnTo>
                  <a:lnTo>
                    <a:pt x="498" y="366"/>
                  </a:lnTo>
                  <a:lnTo>
                    <a:pt x="474" y="360"/>
                  </a:lnTo>
                  <a:lnTo>
                    <a:pt x="456" y="354"/>
                  </a:lnTo>
                  <a:lnTo>
                    <a:pt x="438" y="348"/>
                  </a:lnTo>
                  <a:lnTo>
                    <a:pt x="426" y="354"/>
                  </a:lnTo>
                  <a:lnTo>
                    <a:pt x="408" y="360"/>
                  </a:lnTo>
                  <a:lnTo>
                    <a:pt x="378" y="360"/>
                  </a:lnTo>
                  <a:lnTo>
                    <a:pt x="378" y="354"/>
                  </a:lnTo>
                  <a:lnTo>
                    <a:pt x="378" y="348"/>
                  </a:lnTo>
                  <a:lnTo>
                    <a:pt x="378" y="342"/>
                  </a:lnTo>
                  <a:lnTo>
                    <a:pt x="390" y="330"/>
                  </a:lnTo>
                  <a:lnTo>
                    <a:pt x="396" y="312"/>
                  </a:lnTo>
                  <a:lnTo>
                    <a:pt x="396" y="282"/>
                  </a:lnTo>
                  <a:lnTo>
                    <a:pt x="390" y="276"/>
                  </a:lnTo>
                  <a:lnTo>
                    <a:pt x="384" y="264"/>
                  </a:lnTo>
                  <a:lnTo>
                    <a:pt x="378" y="258"/>
                  </a:lnTo>
                  <a:lnTo>
                    <a:pt x="372" y="234"/>
                  </a:lnTo>
                  <a:lnTo>
                    <a:pt x="354" y="234"/>
                  </a:lnTo>
                  <a:lnTo>
                    <a:pt x="342" y="246"/>
                  </a:lnTo>
                  <a:lnTo>
                    <a:pt x="330" y="252"/>
                  </a:lnTo>
                  <a:lnTo>
                    <a:pt x="318" y="252"/>
                  </a:lnTo>
                  <a:lnTo>
                    <a:pt x="276" y="258"/>
                  </a:lnTo>
                  <a:lnTo>
                    <a:pt x="276" y="264"/>
                  </a:lnTo>
                  <a:lnTo>
                    <a:pt x="252" y="270"/>
                  </a:lnTo>
                  <a:lnTo>
                    <a:pt x="240" y="270"/>
                  </a:lnTo>
                  <a:lnTo>
                    <a:pt x="228" y="276"/>
                  </a:lnTo>
                  <a:lnTo>
                    <a:pt x="210" y="282"/>
                  </a:lnTo>
                  <a:lnTo>
                    <a:pt x="198" y="288"/>
                  </a:lnTo>
                  <a:lnTo>
                    <a:pt x="186" y="294"/>
                  </a:lnTo>
                  <a:lnTo>
                    <a:pt x="174" y="330"/>
                  </a:lnTo>
                  <a:lnTo>
                    <a:pt x="162" y="342"/>
                  </a:lnTo>
                  <a:lnTo>
                    <a:pt x="156" y="354"/>
                  </a:lnTo>
                  <a:lnTo>
                    <a:pt x="150" y="360"/>
                  </a:lnTo>
                  <a:lnTo>
                    <a:pt x="150" y="366"/>
                  </a:lnTo>
                  <a:lnTo>
                    <a:pt x="108" y="372"/>
                  </a:lnTo>
                  <a:lnTo>
                    <a:pt x="60" y="378"/>
                  </a:lnTo>
                  <a:lnTo>
                    <a:pt x="42" y="378"/>
                  </a:lnTo>
                  <a:lnTo>
                    <a:pt x="12" y="378"/>
                  </a:lnTo>
                  <a:lnTo>
                    <a:pt x="6" y="378"/>
                  </a:lnTo>
                  <a:lnTo>
                    <a:pt x="0" y="366"/>
                  </a:lnTo>
                  <a:lnTo>
                    <a:pt x="12" y="360"/>
                  </a:lnTo>
                  <a:lnTo>
                    <a:pt x="24" y="348"/>
                  </a:lnTo>
                  <a:lnTo>
                    <a:pt x="30" y="342"/>
                  </a:lnTo>
                  <a:lnTo>
                    <a:pt x="36" y="330"/>
                  </a:lnTo>
                  <a:lnTo>
                    <a:pt x="72" y="300"/>
                  </a:lnTo>
                  <a:lnTo>
                    <a:pt x="78" y="294"/>
                  </a:lnTo>
                  <a:lnTo>
                    <a:pt x="78" y="288"/>
                  </a:lnTo>
                  <a:lnTo>
                    <a:pt x="90" y="282"/>
                  </a:lnTo>
                  <a:lnTo>
                    <a:pt x="90" y="276"/>
                  </a:lnTo>
                  <a:lnTo>
                    <a:pt x="96" y="270"/>
                  </a:lnTo>
                  <a:lnTo>
                    <a:pt x="102" y="264"/>
                  </a:lnTo>
                  <a:lnTo>
                    <a:pt x="108" y="258"/>
                  </a:lnTo>
                  <a:lnTo>
                    <a:pt x="114" y="246"/>
                  </a:lnTo>
                  <a:lnTo>
                    <a:pt x="120" y="240"/>
                  </a:lnTo>
                  <a:lnTo>
                    <a:pt x="126" y="234"/>
                  </a:lnTo>
                  <a:lnTo>
                    <a:pt x="138" y="216"/>
                  </a:lnTo>
                  <a:lnTo>
                    <a:pt x="144" y="216"/>
                  </a:lnTo>
                  <a:lnTo>
                    <a:pt x="150" y="210"/>
                  </a:lnTo>
                  <a:lnTo>
                    <a:pt x="162" y="204"/>
                  </a:lnTo>
                  <a:lnTo>
                    <a:pt x="162" y="198"/>
                  </a:lnTo>
                  <a:lnTo>
                    <a:pt x="168" y="198"/>
                  </a:lnTo>
                  <a:lnTo>
                    <a:pt x="186" y="174"/>
                  </a:lnTo>
                  <a:lnTo>
                    <a:pt x="210" y="150"/>
                  </a:lnTo>
                  <a:lnTo>
                    <a:pt x="210" y="144"/>
                  </a:lnTo>
                  <a:lnTo>
                    <a:pt x="216" y="144"/>
                  </a:lnTo>
                  <a:lnTo>
                    <a:pt x="222" y="138"/>
                  </a:lnTo>
                  <a:lnTo>
                    <a:pt x="234" y="132"/>
                  </a:lnTo>
                  <a:lnTo>
                    <a:pt x="246" y="126"/>
                  </a:lnTo>
                  <a:lnTo>
                    <a:pt x="246" y="120"/>
                  </a:lnTo>
                  <a:lnTo>
                    <a:pt x="258" y="114"/>
                  </a:lnTo>
                  <a:lnTo>
                    <a:pt x="264" y="114"/>
                  </a:lnTo>
                  <a:lnTo>
                    <a:pt x="288" y="102"/>
                  </a:lnTo>
                  <a:lnTo>
                    <a:pt x="300" y="96"/>
                  </a:lnTo>
                  <a:lnTo>
                    <a:pt x="306" y="90"/>
                  </a:lnTo>
                  <a:lnTo>
                    <a:pt x="318" y="90"/>
                  </a:lnTo>
                  <a:lnTo>
                    <a:pt x="324" y="84"/>
                  </a:lnTo>
                  <a:lnTo>
                    <a:pt x="348" y="72"/>
                  </a:lnTo>
                  <a:lnTo>
                    <a:pt x="354" y="72"/>
                  </a:lnTo>
                  <a:lnTo>
                    <a:pt x="384" y="66"/>
                  </a:lnTo>
                  <a:lnTo>
                    <a:pt x="390" y="66"/>
                  </a:lnTo>
                  <a:lnTo>
                    <a:pt x="396" y="66"/>
                  </a:lnTo>
                  <a:lnTo>
                    <a:pt x="408" y="66"/>
                  </a:lnTo>
                  <a:lnTo>
                    <a:pt x="414" y="66"/>
                  </a:lnTo>
                  <a:lnTo>
                    <a:pt x="432" y="66"/>
                  </a:lnTo>
                  <a:lnTo>
                    <a:pt x="438" y="66"/>
                  </a:lnTo>
                  <a:lnTo>
                    <a:pt x="468" y="66"/>
                  </a:lnTo>
                  <a:lnTo>
                    <a:pt x="480" y="66"/>
                  </a:lnTo>
                  <a:lnTo>
                    <a:pt x="486" y="66"/>
                  </a:lnTo>
                  <a:lnTo>
                    <a:pt x="498" y="60"/>
                  </a:lnTo>
                  <a:lnTo>
                    <a:pt x="504" y="60"/>
                  </a:lnTo>
                  <a:lnTo>
                    <a:pt x="510" y="60"/>
                  </a:lnTo>
                  <a:lnTo>
                    <a:pt x="522" y="60"/>
                  </a:lnTo>
                  <a:lnTo>
                    <a:pt x="534" y="54"/>
                  </a:lnTo>
                  <a:lnTo>
                    <a:pt x="564" y="42"/>
                  </a:lnTo>
                  <a:lnTo>
                    <a:pt x="570" y="42"/>
                  </a:lnTo>
                  <a:lnTo>
                    <a:pt x="582" y="36"/>
                  </a:lnTo>
                  <a:lnTo>
                    <a:pt x="588" y="36"/>
                  </a:lnTo>
                  <a:lnTo>
                    <a:pt x="600" y="30"/>
                  </a:lnTo>
                  <a:lnTo>
                    <a:pt x="606" y="30"/>
                  </a:lnTo>
                  <a:lnTo>
                    <a:pt x="618" y="24"/>
                  </a:lnTo>
                  <a:lnTo>
                    <a:pt x="642" y="18"/>
                  </a:lnTo>
                  <a:lnTo>
                    <a:pt x="648" y="12"/>
                  </a:lnTo>
                  <a:lnTo>
                    <a:pt x="654" y="12"/>
                  </a:lnTo>
                  <a:lnTo>
                    <a:pt x="660" y="12"/>
                  </a:lnTo>
                  <a:lnTo>
                    <a:pt x="672" y="12"/>
                  </a:lnTo>
                  <a:lnTo>
                    <a:pt x="696" y="12"/>
                  </a:lnTo>
                  <a:lnTo>
                    <a:pt x="708" y="12"/>
                  </a:lnTo>
                  <a:lnTo>
                    <a:pt x="732" y="12"/>
                  </a:lnTo>
                  <a:lnTo>
                    <a:pt x="750" y="6"/>
                  </a:lnTo>
                  <a:lnTo>
                    <a:pt x="768" y="6"/>
                  </a:lnTo>
                  <a:lnTo>
                    <a:pt x="774" y="6"/>
                  </a:lnTo>
                  <a:lnTo>
                    <a:pt x="786" y="6"/>
                  </a:lnTo>
                  <a:lnTo>
                    <a:pt x="798" y="6"/>
                  </a:lnTo>
                  <a:lnTo>
                    <a:pt x="804" y="6"/>
                  </a:lnTo>
                  <a:lnTo>
                    <a:pt x="816" y="6"/>
                  </a:lnTo>
                  <a:lnTo>
                    <a:pt x="846" y="6"/>
                  </a:lnTo>
                  <a:lnTo>
                    <a:pt x="852" y="0"/>
                  </a:lnTo>
                  <a:lnTo>
                    <a:pt x="876" y="0"/>
                  </a:lnTo>
                  <a:lnTo>
                    <a:pt x="876" y="6"/>
                  </a:lnTo>
                  <a:lnTo>
                    <a:pt x="888" y="0"/>
                  </a:lnTo>
                  <a:lnTo>
                    <a:pt x="900" y="0"/>
                  </a:lnTo>
                  <a:lnTo>
                    <a:pt x="906" y="0"/>
                  </a:lnTo>
                  <a:lnTo>
                    <a:pt x="912" y="0"/>
                  </a:lnTo>
                  <a:lnTo>
                    <a:pt x="948" y="0"/>
                  </a:lnTo>
                  <a:lnTo>
                    <a:pt x="954" y="0"/>
                  </a:lnTo>
                  <a:lnTo>
                    <a:pt x="972" y="0"/>
                  </a:lnTo>
                  <a:lnTo>
                    <a:pt x="978" y="0"/>
                  </a:lnTo>
                  <a:lnTo>
                    <a:pt x="996" y="0"/>
                  </a:lnTo>
                  <a:lnTo>
                    <a:pt x="1032" y="0"/>
                  </a:lnTo>
                  <a:lnTo>
                    <a:pt x="1044" y="0"/>
                  </a:lnTo>
                  <a:lnTo>
                    <a:pt x="1050" y="0"/>
                  </a:lnTo>
                  <a:lnTo>
                    <a:pt x="1056" y="6"/>
                  </a:lnTo>
                  <a:lnTo>
                    <a:pt x="1056" y="0"/>
                  </a:lnTo>
                  <a:lnTo>
                    <a:pt x="1074" y="0"/>
                  </a:lnTo>
                  <a:lnTo>
                    <a:pt x="1098" y="6"/>
                  </a:lnTo>
                  <a:lnTo>
                    <a:pt x="1116" y="6"/>
                  </a:lnTo>
                  <a:lnTo>
                    <a:pt x="1140" y="12"/>
                  </a:lnTo>
                  <a:lnTo>
                    <a:pt x="1152" y="12"/>
                  </a:lnTo>
                  <a:lnTo>
                    <a:pt x="1158" y="12"/>
                  </a:lnTo>
                  <a:lnTo>
                    <a:pt x="1164" y="12"/>
                  </a:lnTo>
                  <a:lnTo>
                    <a:pt x="1170" y="12"/>
                  </a:lnTo>
                  <a:lnTo>
                    <a:pt x="1176" y="12"/>
                  </a:lnTo>
                  <a:lnTo>
                    <a:pt x="1194" y="18"/>
                  </a:lnTo>
                  <a:lnTo>
                    <a:pt x="1206" y="18"/>
                  </a:lnTo>
                  <a:lnTo>
                    <a:pt x="1242" y="36"/>
                  </a:lnTo>
                  <a:lnTo>
                    <a:pt x="1248" y="36"/>
                  </a:lnTo>
                  <a:lnTo>
                    <a:pt x="1254" y="36"/>
                  </a:lnTo>
                  <a:lnTo>
                    <a:pt x="1260" y="42"/>
                  </a:lnTo>
                  <a:lnTo>
                    <a:pt x="1272" y="48"/>
                  </a:lnTo>
                  <a:lnTo>
                    <a:pt x="1278" y="48"/>
                  </a:lnTo>
                  <a:lnTo>
                    <a:pt x="1284" y="48"/>
                  </a:lnTo>
                  <a:lnTo>
                    <a:pt x="1290" y="54"/>
                  </a:lnTo>
                  <a:lnTo>
                    <a:pt x="1308" y="60"/>
                  </a:lnTo>
                  <a:lnTo>
                    <a:pt x="1326" y="60"/>
                  </a:lnTo>
                  <a:lnTo>
                    <a:pt x="1338" y="66"/>
                  </a:lnTo>
                  <a:lnTo>
                    <a:pt x="1344" y="66"/>
                  </a:lnTo>
                  <a:lnTo>
                    <a:pt x="1350" y="66"/>
                  </a:lnTo>
                  <a:lnTo>
                    <a:pt x="1356" y="66"/>
                  </a:lnTo>
                  <a:lnTo>
                    <a:pt x="1362" y="72"/>
                  </a:lnTo>
                  <a:lnTo>
                    <a:pt x="1368" y="72"/>
                  </a:lnTo>
                  <a:lnTo>
                    <a:pt x="1380" y="72"/>
                  </a:lnTo>
                  <a:lnTo>
                    <a:pt x="1386" y="72"/>
                  </a:lnTo>
                  <a:lnTo>
                    <a:pt x="1422" y="84"/>
                  </a:lnTo>
                  <a:lnTo>
                    <a:pt x="1428" y="84"/>
                  </a:lnTo>
                  <a:lnTo>
                    <a:pt x="1446" y="90"/>
                  </a:lnTo>
                  <a:lnTo>
                    <a:pt x="1458" y="102"/>
                  </a:lnTo>
                  <a:lnTo>
                    <a:pt x="1494" y="126"/>
                  </a:lnTo>
                  <a:lnTo>
                    <a:pt x="1500" y="132"/>
                  </a:lnTo>
                  <a:lnTo>
                    <a:pt x="1512" y="138"/>
                  </a:lnTo>
                  <a:lnTo>
                    <a:pt x="1512" y="144"/>
                  </a:lnTo>
                  <a:lnTo>
                    <a:pt x="1518" y="150"/>
                  </a:lnTo>
                  <a:lnTo>
                    <a:pt x="1530" y="156"/>
                  </a:lnTo>
                  <a:lnTo>
                    <a:pt x="1530" y="162"/>
                  </a:lnTo>
                  <a:lnTo>
                    <a:pt x="1548" y="168"/>
                  </a:lnTo>
                  <a:lnTo>
                    <a:pt x="1566" y="180"/>
                  </a:lnTo>
                  <a:lnTo>
                    <a:pt x="1578" y="186"/>
                  </a:lnTo>
                  <a:lnTo>
                    <a:pt x="1578" y="180"/>
                  </a:lnTo>
                  <a:lnTo>
                    <a:pt x="1584" y="186"/>
                  </a:lnTo>
                  <a:lnTo>
                    <a:pt x="1584" y="174"/>
                  </a:lnTo>
                  <a:lnTo>
                    <a:pt x="1590" y="174"/>
                  </a:lnTo>
                  <a:lnTo>
                    <a:pt x="1590" y="180"/>
                  </a:lnTo>
                  <a:lnTo>
                    <a:pt x="1596" y="180"/>
                  </a:lnTo>
                  <a:lnTo>
                    <a:pt x="1596" y="174"/>
                  </a:lnTo>
                  <a:lnTo>
                    <a:pt x="1602" y="174"/>
                  </a:lnTo>
                  <a:lnTo>
                    <a:pt x="1608" y="174"/>
                  </a:lnTo>
                  <a:lnTo>
                    <a:pt x="1614" y="180"/>
                  </a:lnTo>
                  <a:lnTo>
                    <a:pt x="1620" y="174"/>
                  </a:lnTo>
                  <a:lnTo>
                    <a:pt x="1614" y="168"/>
                  </a:lnTo>
                  <a:lnTo>
                    <a:pt x="1614" y="162"/>
                  </a:lnTo>
                  <a:lnTo>
                    <a:pt x="1620" y="162"/>
                  </a:lnTo>
                  <a:lnTo>
                    <a:pt x="1626" y="162"/>
                  </a:lnTo>
                  <a:lnTo>
                    <a:pt x="1632" y="162"/>
                  </a:lnTo>
                  <a:lnTo>
                    <a:pt x="1638" y="168"/>
                  </a:lnTo>
                  <a:lnTo>
                    <a:pt x="1644" y="168"/>
                  </a:lnTo>
                  <a:lnTo>
                    <a:pt x="1650" y="174"/>
                  </a:lnTo>
                  <a:lnTo>
                    <a:pt x="1656" y="168"/>
                  </a:lnTo>
                  <a:lnTo>
                    <a:pt x="1668" y="168"/>
                  </a:lnTo>
                  <a:lnTo>
                    <a:pt x="1674" y="174"/>
                  </a:lnTo>
                  <a:lnTo>
                    <a:pt x="1674" y="180"/>
                  </a:lnTo>
                  <a:lnTo>
                    <a:pt x="1674" y="186"/>
                  </a:lnTo>
                  <a:lnTo>
                    <a:pt x="1680" y="186"/>
                  </a:lnTo>
                  <a:lnTo>
                    <a:pt x="1680" y="192"/>
                  </a:lnTo>
                  <a:lnTo>
                    <a:pt x="1686" y="192"/>
                  </a:lnTo>
                  <a:lnTo>
                    <a:pt x="1686" y="186"/>
                  </a:lnTo>
                  <a:lnTo>
                    <a:pt x="1680" y="186"/>
                  </a:lnTo>
                  <a:lnTo>
                    <a:pt x="1686" y="180"/>
                  </a:lnTo>
                  <a:lnTo>
                    <a:pt x="1692" y="180"/>
                  </a:lnTo>
                  <a:lnTo>
                    <a:pt x="1698" y="180"/>
                  </a:lnTo>
                  <a:lnTo>
                    <a:pt x="1704" y="180"/>
                  </a:lnTo>
                  <a:lnTo>
                    <a:pt x="1704" y="186"/>
                  </a:lnTo>
                  <a:lnTo>
                    <a:pt x="1710" y="186"/>
                  </a:lnTo>
                  <a:lnTo>
                    <a:pt x="1716" y="186"/>
                  </a:lnTo>
                  <a:lnTo>
                    <a:pt x="1716" y="192"/>
                  </a:lnTo>
                  <a:lnTo>
                    <a:pt x="1716" y="198"/>
                  </a:lnTo>
                  <a:lnTo>
                    <a:pt x="1722" y="192"/>
                  </a:lnTo>
                  <a:lnTo>
                    <a:pt x="1722" y="186"/>
                  </a:lnTo>
                  <a:lnTo>
                    <a:pt x="1728" y="192"/>
                  </a:lnTo>
                  <a:lnTo>
                    <a:pt x="1734" y="192"/>
                  </a:lnTo>
                  <a:lnTo>
                    <a:pt x="1734" y="186"/>
                  </a:lnTo>
                  <a:lnTo>
                    <a:pt x="1740" y="186"/>
                  </a:lnTo>
                  <a:lnTo>
                    <a:pt x="1740" y="192"/>
                  </a:lnTo>
                  <a:lnTo>
                    <a:pt x="1746" y="192"/>
                  </a:lnTo>
                  <a:lnTo>
                    <a:pt x="1758" y="192"/>
                  </a:lnTo>
                  <a:lnTo>
                    <a:pt x="1764" y="192"/>
                  </a:lnTo>
                  <a:lnTo>
                    <a:pt x="1764" y="198"/>
                  </a:lnTo>
                  <a:lnTo>
                    <a:pt x="1758" y="204"/>
                  </a:lnTo>
                  <a:lnTo>
                    <a:pt x="1752" y="210"/>
                  </a:lnTo>
                  <a:lnTo>
                    <a:pt x="1746" y="216"/>
                  </a:lnTo>
                  <a:lnTo>
                    <a:pt x="1746" y="222"/>
                  </a:lnTo>
                  <a:lnTo>
                    <a:pt x="1734" y="228"/>
                  </a:lnTo>
                  <a:lnTo>
                    <a:pt x="1734" y="234"/>
                  </a:lnTo>
                  <a:lnTo>
                    <a:pt x="1734" y="258"/>
                  </a:lnTo>
                  <a:lnTo>
                    <a:pt x="1740" y="330"/>
                  </a:lnTo>
                  <a:lnTo>
                    <a:pt x="1746" y="372"/>
                  </a:lnTo>
                  <a:lnTo>
                    <a:pt x="1788" y="426"/>
                  </a:lnTo>
                  <a:lnTo>
                    <a:pt x="1806" y="438"/>
                  </a:lnTo>
                  <a:lnTo>
                    <a:pt x="1794" y="480"/>
                  </a:lnTo>
                  <a:lnTo>
                    <a:pt x="1770" y="516"/>
                  </a:lnTo>
                  <a:lnTo>
                    <a:pt x="1746" y="546"/>
                  </a:lnTo>
                  <a:lnTo>
                    <a:pt x="1716" y="570"/>
                  </a:lnTo>
                  <a:lnTo>
                    <a:pt x="1680" y="594"/>
                  </a:lnTo>
                  <a:lnTo>
                    <a:pt x="1668" y="630"/>
                  </a:lnTo>
                  <a:lnTo>
                    <a:pt x="1680" y="684"/>
                  </a:lnTo>
                  <a:lnTo>
                    <a:pt x="1686" y="756"/>
                  </a:lnTo>
                  <a:lnTo>
                    <a:pt x="1662" y="870"/>
                  </a:lnTo>
                  <a:lnTo>
                    <a:pt x="1656" y="888"/>
                  </a:lnTo>
                  <a:lnTo>
                    <a:pt x="1650" y="972"/>
                  </a:lnTo>
                  <a:lnTo>
                    <a:pt x="1656" y="978"/>
                  </a:lnTo>
                  <a:lnTo>
                    <a:pt x="1650" y="984"/>
                  </a:lnTo>
                  <a:lnTo>
                    <a:pt x="1650" y="990"/>
                  </a:lnTo>
                  <a:lnTo>
                    <a:pt x="1650" y="1002"/>
                  </a:lnTo>
                  <a:lnTo>
                    <a:pt x="1656" y="1008"/>
                  </a:lnTo>
                  <a:lnTo>
                    <a:pt x="1656" y="1014"/>
                  </a:lnTo>
                  <a:lnTo>
                    <a:pt x="1662" y="1026"/>
                  </a:lnTo>
                  <a:lnTo>
                    <a:pt x="1650" y="1032"/>
                  </a:lnTo>
                  <a:lnTo>
                    <a:pt x="1638" y="1044"/>
                  </a:lnTo>
                  <a:lnTo>
                    <a:pt x="1626" y="1080"/>
                  </a:lnTo>
                  <a:lnTo>
                    <a:pt x="1614" y="1116"/>
                  </a:lnTo>
                  <a:lnTo>
                    <a:pt x="1614" y="1128"/>
                  </a:lnTo>
                  <a:lnTo>
                    <a:pt x="1626" y="1134"/>
                  </a:lnTo>
                  <a:lnTo>
                    <a:pt x="1644" y="1134"/>
                  </a:lnTo>
                  <a:lnTo>
                    <a:pt x="1662" y="1134"/>
                  </a:lnTo>
                  <a:lnTo>
                    <a:pt x="1680" y="1140"/>
                  </a:lnTo>
                  <a:lnTo>
                    <a:pt x="1698" y="1170"/>
                  </a:lnTo>
                  <a:lnTo>
                    <a:pt x="1704" y="1194"/>
                  </a:lnTo>
                  <a:lnTo>
                    <a:pt x="1692" y="1206"/>
                  </a:lnTo>
                  <a:lnTo>
                    <a:pt x="1662" y="1242"/>
                  </a:lnTo>
                  <a:lnTo>
                    <a:pt x="1632" y="1266"/>
                  </a:lnTo>
                  <a:lnTo>
                    <a:pt x="1620" y="1314"/>
                  </a:lnTo>
                  <a:lnTo>
                    <a:pt x="1584" y="1356"/>
                  </a:lnTo>
                  <a:lnTo>
                    <a:pt x="1578" y="1356"/>
                  </a:lnTo>
                  <a:lnTo>
                    <a:pt x="1578" y="1362"/>
                  </a:lnTo>
                  <a:lnTo>
                    <a:pt x="1572" y="1410"/>
                  </a:lnTo>
                  <a:lnTo>
                    <a:pt x="1584" y="1452"/>
                  </a:lnTo>
                  <a:lnTo>
                    <a:pt x="1608" y="1476"/>
                  </a:lnTo>
                  <a:lnTo>
                    <a:pt x="1596" y="1476"/>
                  </a:lnTo>
                  <a:lnTo>
                    <a:pt x="1584" y="1482"/>
                  </a:lnTo>
                  <a:lnTo>
                    <a:pt x="1560" y="1482"/>
                  </a:lnTo>
                  <a:lnTo>
                    <a:pt x="1536" y="1482"/>
                  </a:lnTo>
                  <a:lnTo>
                    <a:pt x="1524" y="1482"/>
                  </a:lnTo>
                  <a:lnTo>
                    <a:pt x="1506" y="1500"/>
                  </a:lnTo>
                  <a:lnTo>
                    <a:pt x="1482" y="1530"/>
                  </a:lnTo>
                  <a:lnTo>
                    <a:pt x="1452" y="1542"/>
                  </a:lnTo>
                  <a:lnTo>
                    <a:pt x="1446" y="1542"/>
                  </a:lnTo>
                  <a:lnTo>
                    <a:pt x="1440" y="1542"/>
                  </a:lnTo>
                  <a:lnTo>
                    <a:pt x="1440" y="1548"/>
                  </a:lnTo>
                  <a:lnTo>
                    <a:pt x="1434" y="1548"/>
                  </a:lnTo>
                  <a:lnTo>
                    <a:pt x="1428" y="1548"/>
                  </a:lnTo>
                  <a:lnTo>
                    <a:pt x="1428" y="1554"/>
                  </a:lnTo>
                  <a:lnTo>
                    <a:pt x="1422" y="1560"/>
                  </a:lnTo>
                  <a:lnTo>
                    <a:pt x="1416" y="1560"/>
                  </a:lnTo>
                  <a:lnTo>
                    <a:pt x="1410" y="1566"/>
                  </a:lnTo>
                  <a:lnTo>
                    <a:pt x="1410" y="1560"/>
                  </a:lnTo>
                  <a:lnTo>
                    <a:pt x="1404" y="1560"/>
                  </a:lnTo>
                  <a:lnTo>
                    <a:pt x="1392" y="1560"/>
                  </a:lnTo>
                  <a:lnTo>
                    <a:pt x="1386" y="1560"/>
                  </a:lnTo>
                  <a:lnTo>
                    <a:pt x="1380" y="1566"/>
                  </a:lnTo>
                  <a:lnTo>
                    <a:pt x="1374" y="1560"/>
                  </a:lnTo>
                  <a:lnTo>
                    <a:pt x="1368" y="1566"/>
                  </a:lnTo>
                  <a:lnTo>
                    <a:pt x="1362" y="1566"/>
                  </a:lnTo>
                  <a:lnTo>
                    <a:pt x="1362" y="1572"/>
                  </a:lnTo>
                  <a:lnTo>
                    <a:pt x="1356" y="1572"/>
                  </a:lnTo>
                  <a:lnTo>
                    <a:pt x="1356" y="1578"/>
                  </a:lnTo>
                  <a:lnTo>
                    <a:pt x="1350" y="1578"/>
                  </a:lnTo>
                  <a:lnTo>
                    <a:pt x="1350" y="1572"/>
                  </a:lnTo>
                  <a:lnTo>
                    <a:pt x="1344" y="1578"/>
                  </a:lnTo>
                  <a:lnTo>
                    <a:pt x="1338" y="1578"/>
                  </a:lnTo>
                  <a:lnTo>
                    <a:pt x="1344" y="1578"/>
                  </a:lnTo>
                  <a:lnTo>
                    <a:pt x="1338" y="1578"/>
                  </a:lnTo>
                  <a:lnTo>
                    <a:pt x="1332" y="1584"/>
                  </a:lnTo>
                  <a:lnTo>
                    <a:pt x="1326" y="1590"/>
                  </a:lnTo>
                  <a:lnTo>
                    <a:pt x="1320" y="1584"/>
                  </a:lnTo>
                  <a:lnTo>
                    <a:pt x="1314" y="1590"/>
                  </a:lnTo>
                  <a:lnTo>
                    <a:pt x="1308" y="1596"/>
                  </a:lnTo>
                  <a:lnTo>
                    <a:pt x="1302" y="1596"/>
                  </a:lnTo>
                  <a:lnTo>
                    <a:pt x="1296" y="1596"/>
                  </a:lnTo>
                  <a:lnTo>
                    <a:pt x="1290" y="1596"/>
                  </a:lnTo>
                  <a:lnTo>
                    <a:pt x="1284" y="1596"/>
                  </a:lnTo>
                  <a:lnTo>
                    <a:pt x="1278" y="1602"/>
                  </a:lnTo>
                  <a:lnTo>
                    <a:pt x="1266" y="1602"/>
                  </a:lnTo>
                  <a:lnTo>
                    <a:pt x="1272" y="1608"/>
                  </a:lnTo>
                  <a:lnTo>
                    <a:pt x="1278" y="1608"/>
                  </a:lnTo>
                  <a:lnTo>
                    <a:pt x="1284" y="1608"/>
                  </a:lnTo>
                  <a:lnTo>
                    <a:pt x="1290" y="1614"/>
                  </a:lnTo>
                  <a:lnTo>
                    <a:pt x="1296" y="1620"/>
                  </a:lnTo>
                  <a:lnTo>
                    <a:pt x="1302" y="1626"/>
                  </a:lnTo>
                  <a:lnTo>
                    <a:pt x="1308" y="1632"/>
                  </a:lnTo>
                  <a:lnTo>
                    <a:pt x="1314" y="1638"/>
                  </a:lnTo>
                  <a:lnTo>
                    <a:pt x="1314" y="1644"/>
                  </a:lnTo>
                  <a:lnTo>
                    <a:pt x="1320" y="1644"/>
                  </a:lnTo>
                  <a:lnTo>
                    <a:pt x="1320" y="1650"/>
                  </a:lnTo>
                  <a:lnTo>
                    <a:pt x="1326" y="1656"/>
                  </a:lnTo>
                  <a:lnTo>
                    <a:pt x="1332" y="1668"/>
                  </a:lnTo>
                  <a:lnTo>
                    <a:pt x="1338" y="1680"/>
                  </a:lnTo>
                  <a:lnTo>
                    <a:pt x="1338" y="1698"/>
                  </a:lnTo>
                  <a:lnTo>
                    <a:pt x="1350" y="1710"/>
                  </a:lnTo>
                  <a:lnTo>
                    <a:pt x="1350" y="1716"/>
                  </a:lnTo>
                  <a:lnTo>
                    <a:pt x="1350" y="1722"/>
                  </a:lnTo>
                  <a:lnTo>
                    <a:pt x="1350" y="1728"/>
                  </a:lnTo>
                  <a:lnTo>
                    <a:pt x="1356" y="1728"/>
                  </a:lnTo>
                  <a:lnTo>
                    <a:pt x="1356" y="1734"/>
                  </a:lnTo>
                  <a:lnTo>
                    <a:pt x="1350" y="1734"/>
                  </a:lnTo>
                  <a:lnTo>
                    <a:pt x="1344" y="1740"/>
                  </a:lnTo>
                  <a:lnTo>
                    <a:pt x="1338" y="1740"/>
                  </a:lnTo>
                  <a:lnTo>
                    <a:pt x="1332" y="1746"/>
                  </a:lnTo>
                  <a:lnTo>
                    <a:pt x="1326" y="1746"/>
                  </a:lnTo>
                  <a:lnTo>
                    <a:pt x="1326" y="1752"/>
                  </a:lnTo>
                  <a:lnTo>
                    <a:pt x="1320" y="1752"/>
                  </a:lnTo>
                  <a:lnTo>
                    <a:pt x="1320" y="1758"/>
                  </a:lnTo>
                  <a:lnTo>
                    <a:pt x="1314" y="1758"/>
                  </a:lnTo>
                  <a:lnTo>
                    <a:pt x="1308" y="1758"/>
                  </a:lnTo>
                  <a:lnTo>
                    <a:pt x="1302" y="1758"/>
                  </a:lnTo>
                  <a:lnTo>
                    <a:pt x="1296" y="1758"/>
                  </a:lnTo>
                  <a:lnTo>
                    <a:pt x="1290" y="1764"/>
                  </a:lnTo>
                  <a:lnTo>
                    <a:pt x="1284" y="1770"/>
                  </a:lnTo>
                  <a:lnTo>
                    <a:pt x="1278" y="1770"/>
                  </a:lnTo>
                  <a:lnTo>
                    <a:pt x="1272" y="1770"/>
                  </a:lnTo>
                  <a:lnTo>
                    <a:pt x="1266" y="1770"/>
                  </a:lnTo>
                  <a:lnTo>
                    <a:pt x="1266" y="1776"/>
                  </a:lnTo>
                  <a:lnTo>
                    <a:pt x="1260" y="1776"/>
                  </a:lnTo>
                  <a:close/>
                </a:path>
              </a:pathLst>
            </a:custGeom>
            <a:solidFill>
              <a:srgbClr val="FFC000"/>
            </a:solidFill>
            <a:ln w="9525">
              <a:solidFill>
                <a:schemeClr val="bg1"/>
              </a:solidFill>
              <a:round/>
              <a:headEnd/>
              <a:tailEnd/>
            </a:ln>
          </p:spPr>
          <p:txBody>
            <a:bodyPr/>
            <a:lstStyle/>
            <a:p>
              <a:endParaRPr lang="en-GB"/>
            </a:p>
          </p:txBody>
        </p:sp>
        <p:sp>
          <p:nvSpPr>
            <p:cNvPr id="19515" name="Freeform 40"/>
            <p:cNvSpPr>
              <a:spLocks/>
            </p:cNvSpPr>
            <p:nvPr/>
          </p:nvSpPr>
          <p:spPr bwMode="gray">
            <a:xfrm>
              <a:off x="4166930" y="1676101"/>
              <a:ext cx="1213705" cy="1062461"/>
            </a:xfrm>
            <a:custGeom>
              <a:avLst/>
              <a:gdLst>
                <a:gd name="T0" fmla="*/ 46861 w 1554"/>
                <a:gd name="T1" fmla="*/ 69221 h 1320"/>
                <a:gd name="T2" fmla="*/ 51547 w 1554"/>
                <a:gd name="T3" fmla="*/ 64392 h 1320"/>
                <a:gd name="T4" fmla="*/ 47642 w 1554"/>
                <a:gd name="T5" fmla="*/ 58757 h 1320"/>
                <a:gd name="T6" fmla="*/ 44518 w 1554"/>
                <a:gd name="T7" fmla="*/ 53928 h 1320"/>
                <a:gd name="T8" fmla="*/ 46861 w 1554"/>
                <a:gd name="T9" fmla="*/ 47489 h 1320"/>
                <a:gd name="T10" fmla="*/ 43737 w 1554"/>
                <a:gd name="T11" fmla="*/ 44269 h 1320"/>
                <a:gd name="T12" fmla="*/ 35146 w 1554"/>
                <a:gd name="T13" fmla="*/ 42659 h 1320"/>
                <a:gd name="T14" fmla="*/ 32803 w 1554"/>
                <a:gd name="T15" fmla="*/ 33001 h 1320"/>
                <a:gd name="T16" fmla="*/ 28898 w 1554"/>
                <a:gd name="T17" fmla="*/ 31391 h 1320"/>
                <a:gd name="T18" fmla="*/ 24212 w 1554"/>
                <a:gd name="T19" fmla="*/ 35415 h 1320"/>
                <a:gd name="T20" fmla="*/ 28898 w 1554"/>
                <a:gd name="T21" fmla="*/ 28171 h 1320"/>
                <a:gd name="T22" fmla="*/ 23431 w 1554"/>
                <a:gd name="T23" fmla="*/ 18513 h 1320"/>
                <a:gd name="T24" fmla="*/ 16401 w 1554"/>
                <a:gd name="T25" fmla="*/ 18513 h 1320"/>
                <a:gd name="T26" fmla="*/ 11715 w 1554"/>
                <a:gd name="T27" fmla="*/ 21732 h 1320"/>
                <a:gd name="T28" fmla="*/ 8591 w 1554"/>
                <a:gd name="T29" fmla="*/ 25757 h 1320"/>
                <a:gd name="T30" fmla="*/ 4686 w 1554"/>
                <a:gd name="T31" fmla="*/ 17708 h 1320"/>
                <a:gd name="T32" fmla="*/ 2343 w 1554"/>
                <a:gd name="T33" fmla="*/ 8854 h 1320"/>
                <a:gd name="T34" fmla="*/ 18744 w 1554"/>
                <a:gd name="T35" fmla="*/ 9659 h 1320"/>
                <a:gd name="T36" fmla="*/ 25774 w 1554"/>
                <a:gd name="T37" fmla="*/ 15293 h 1320"/>
                <a:gd name="T38" fmla="*/ 38270 w 1554"/>
                <a:gd name="T39" fmla="*/ 9659 h 1320"/>
                <a:gd name="T40" fmla="*/ 45299 w 1554"/>
                <a:gd name="T41" fmla="*/ 8049 h 1320"/>
                <a:gd name="T42" fmla="*/ 53109 w 1554"/>
                <a:gd name="T43" fmla="*/ 8854 h 1320"/>
                <a:gd name="T44" fmla="*/ 61701 w 1554"/>
                <a:gd name="T45" fmla="*/ 9659 h 1320"/>
                <a:gd name="T46" fmla="*/ 74978 w 1554"/>
                <a:gd name="T47" fmla="*/ 8854 h 1320"/>
                <a:gd name="T48" fmla="*/ 83569 w 1554"/>
                <a:gd name="T49" fmla="*/ 1610 h 1320"/>
                <a:gd name="T50" fmla="*/ 91379 w 1554"/>
                <a:gd name="T51" fmla="*/ 6439 h 1320"/>
                <a:gd name="T52" fmla="*/ 98409 w 1554"/>
                <a:gd name="T53" fmla="*/ 9659 h 1320"/>
                <a:gd name="T54" fmla="*/ 104657 w 1554"/>
                <a:gd name="T55" fmla="*/ 19317 h 1320"/>
                <a:gd name="T56" fmla="*/ 103876 w 1554"/>
                <a:gd name="T57" fmla="*/ 23342 h 1320"/>
                <a:gd name="T58" fmla="*/ 100752 w 1554"/>
                <a:gd name="T59" fmla="*/ 24952 h 1320"/>
                <a:gd name="T60" fmla="*/ 97627 w 1554"/>
                <a:gd name="T61" fmla="*/ 25757 h 1320"/>
                <a:gd name="T62" fmla="*/ 89817 w 1554"/>
                <a:gd name="T63" fmla="*/ 27366 h 1320"/>
                <a:gd name="T64" fmla="*/ 88255 w 1554"/>
                <a:gd name="T65" fmla="*/ 35415 h 1320"/>
                <a:gd name="T66" fmla="*/ 86693 w 1554"/>
                <a:gd name="T67" fmla="*/ 43464 h 1320"/>
                <a:gd name="T68" fmla="*/ 83569 w 1554"/>
                <a:gd name="T69" fmla="*/ 45074 h 1320"/>
                <a:gd name="T70" fmla="*/ 79664 w 1554"/>
                <a:gd name="T71" fmla="*/ 46684 h 1320"/>
                <a:gd name="T72" fmla="*/ 77321 w 1554"/>
                <a:gd name="T73" fmla="*/ 48294 h 1320"/>
                <a:gd name="T74" fmla="*/ 72635 w 1554"/>
                <a:gd name="T75" fmla="*/ 49903 h 1320"/>
                <a:gd name="T76" fmla="*/ 67949 w 1554"/>
                <a:gd name="T77" fmla="*/ 51513 h 1320"/>
                <a:gd name="T78" fmla="*/ 65606 w 1554"/>
                <a:gd name="T79" fmla="*/ 52318 h 1320"/>
                <a:gd name="T80" fmla="*/ 63263 w 1554"/>
                <a:gd name="T81" fmla="*/ 55538 h 1320"/>
                <a:gd name="T82" fmla="*/ 64825 w 1554"/>
                <a:gd name="T83" fmla="*/ 57952 h 1320"/>
                <a:gd name="T84" fmla="*/ 71854 w 1554"/>
                <a:gd name="T85" fmla="*/ 58757 h 1320"/>
                <a:gd name="T86" fmla="*/ 72635 w 1554"/>
                <a:gd name="T87" fmla="*/ 70026 h 1320"/>
                <a:gd name="T88" fmla="*/ 81226 w 1554"/>
                <a:gd name="T89" fmla="*/ 78880 h 1320"/>
                <a:gd name="T90" fmla="*/ 84350 w 1554"/>
                <a:gd name="T91" fmla="*/ 78880 h 1320"/>
                <a:gd name="T92" fmla="*/ 87474 w 1554"/>
                <a:gd name="T93" fmla="*/ 80489 h 1320"/>
                <a:gd name="T94" fmla="*/ 92160 w 1554"/>
                <a:gd name="T95" fmla="*/ 80489 h 1320"/>
                <a:gd name="T96" fmla="*/ 95284 w 1554"/>
                <a:gd name="T97" fmla="*/ 82099 h 1320"/>
                <a:gd name="T98" fmla="*/ 92160 w 1554"/>
                <a:gd name="T99" fmla="*/ 84514 h 1320"/>
                <a:gd name="T100" fmla="*/ 89036 w 1554"/>
                <a:gd name="T101" fmla="*/ 86124 h 1320"/>
                <a:gd name="T102" fmla="*/ 88255 w 1554"/>
                <a:gd name="T103" fmla="*/ 90953 h 1320"/>
                <a:gd name="T104" fmla="*/ 81226 w 1554"/>
                <a:gd name="T105" fmla="*/ 90953 h 1320"/>
                <a:gd name="T106" fmla="*/ 72635 w 1554"/>
                <a:gd name="T107" fmla="*/ 87734 h 1320"/>
                <a:gd name="T108" fmla="*/ 74978 w 1554"/>
                <a:gd name="T109" fmla="*/ 82904 h 1320"/>
                <a:gd name="T110" fmla="*/ 74197 w 1554"/>
                <a:gd name="T111" fmla="*/ 78075 h 1320"/>
                <a:gd name="T112" fmla="*/ 67949 w 1554"/>
                <a:gd name="T113" fmla="*/ 78880 h 1320"/>
                <a:gd name="T114" fmla="*/ 63263 w 1554"/>
                <a:gd name="T115" fmla="*/ 78880 h 1320"/>
                <a:gd name="T116" fmla="*/ 60920 w 1554"/>
                <a:gd name="T117" fmla="*/ 74855 h 1320"/>
                <a:gd name="T118" fmla="*/ 50766 w 1554"/>
                <a:gd name="T119" fmla="*/ 74050 h 1320"/>
                <a:gd name="T120" fmla="*/ 46080 w 1554"/>
                <a:gd name="T121" fmla="*/ 74050 h 13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54"/>
                <a:gd name="T184" fmla="*/ 0 h 1320"/>
                <a:gd name="T185" fmla="*/ 1554 w 1554"/>
                <a:gd name="T186" fmla="*/ 1320 h 13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54" h="1320">
                  <a:moveTo>
                    <a:pt x="684" y="1068"/>
                  </a:moveTo>
                  <a:lnTo>
                    <a:pt x="684" y="1062"/>
                  </a:lnTo>
                  <a:lnTo>
                    <a:pt x="690" y="1056"/>
                  </a:lnTo>
                  <a:lnTo>
                    <a:pt x="690" y="1050"/>
                  </a:lnTo>
                  <a:lnTo>
                    <a:pt x="690" y="1044"/>
                  </a:lnTo>
                  <a:lnTo>
                    <a:pt x="690" y="1038"/>
                  </a:lnTo>
                  <a:lnTo>
                    <a:pt x="690" y="1032"/>
                  </a:lnTo>
                  <a:lnTo>
                    <a:pt x="690" y="1026"/>
                  </a:lnTo>
                  <a:lnTo>
                    <a:pt x="696" y="1014"/>
                  </a:lnTo>
                  <a:lnTo>
                    <a:pt x="690" y="1008"/>
                  </a:lnTo>
                  <a:lnTo>
                    <a:pt x="696" y="996"/>
                  </a:lnTo>
                  <a:lnTo>
                    <a:pt x="714" y="996"/>
                  </a:lnTo>
                  <a:lnTo>
                    <a:pt x="714" y="990"/>
                  </a:lnTo>
                  <a:lnTo>
                    <a:pt x="732" y="984"/>
                  </a:lnTo>
                  <a:lnTo>
                    <a:pt x="744" y="978"/>
                  </a:lnTo>
                  <a:lnTo>
                    <a:pt x="762" y="966"/>
                  </a:lnTo>
                  <a:lnTo>
                    <a:pt x="762" y="960"/>
                  </a:lnTo>
                  <a:lnTo>
                    <a:pt x="768" y="954"/>
                  </a:lnTo>
                  <a:lnTo>
                    <a:pt x="774" y="948"/>
                  </a:lnTo>
                  <a:lnTo>
                    <a:pt x="774" y="942"/>
                  </a:lnTo>
                  <a:lnTo>
                    <a:pt x="774" y="924"/>
                  </a:lnTo>
                  <a:lnTo>
                    <a:pt x="768" y="918"/>
                  </a:lnTo>
                  <a:lnTo>
                    <a:pt x="756" y="918"/>
                  </a:lnTo>
                  <a:lnTo>
                    <a:pt x="744" y="918"/>
                  </a:lnTo>
                  <a:lnTo>
                    <a:pt x="732" y="924"/>
                  </a:lnTo>
                  <a:lnTo>
                    <a:pt x="726" y="912"/>
                  </a:lnTo>
                  <a:lnTo>
                    <a:pt x="720" y="912"/>
                  </a:lnTo>
                  <a:lnTo>
                    <a:pt x="720" y="900"/>
                  </a:lnTo>
                  <a:lnTo>
                    <a:pt x="720" y="870"/>
                  </a:lnTo>
                  <a:lnTo>
                    <a:pt x="696" y="876"/>
                  </a:lnTo>
                  <a:lnTo>
                    <a:pt x="690" y="852"/>
                  </a:lnTo>
                  <a:lnTo>
                    <a:pt x="702" y="852"/>
                  </a:lnTo>
                  <a:lnTo>
                    <a:pt x="702" y="840"/>
                  </a:lnTo>
                  <a:lnTo>
                    <a:pt x="708" y="834"/>
                  </a:lnTo>
                  <a:lnTo>
                    <a:pt x="702" y="822"/>
                  </a:lnTo>
                  <a:lnTo>
                    <a:pt x="660" y="822"/>
                  </a:lnTo>
                  <a:lnTo>
                    <a:pt x="654" y="822"/>
                  </a:lnTo>
                  <a:lnTo>
                    <a:pt x="642" y="822"/>
                  </a:lnTo>
                  <a:lnTo>
                    <a:pt x="642" y="810"/>
                  </a:lnTo>
                  <a:lnTo>
                    <a:pt x="642" y="798"/>
                  </a:lnTo>
                  <a:lnTo>
                    <a:pt x="642" y="792"/>
                  </a:lnTo>
                  <a:lnTo>
                    <a:pt x="648" y="780"/>
                  </a:lnTo>
                  <a:lnTo>
                    <a:pt x="654" y="774"/>
                  </a:lnTo>
                  <a:lnTo>
                    <a:pt x="660" y="774"/>
                  </a:lnTo>
                  <a:lnTo>
                    <a:pt x="672" y="762"/>
                  </a:lnTo>
                  <a:lnTo>
                    <a:pt x="672" y="756"/>
                  </a:lnTo>
                  <a:lnTo>
                    <a:pt x="678" y="750"/>
                  </a:lnTo>
                  <a:lnTo>
                    <a:pt x="684" y="750"/>
                  </a:lnTo>
                  <a:lnTo>
                    <a:pt x="690" y="744"/>
                  </a:lnTo>
                  <a:lnTo>
                    <a:pt x="696" y="732"/>
                  </a:lnTo>
                  <a:lnTo>
                    <a:pt x="696" y="726"/>
                  </a:lnTo>
                  <a:lnTo>
                    <a:pt x="702" y="714"/>
                  </a:lnTo>
                  <a:lnTo>
                    <a:pt x="696" y="708"/>
                  </a:lnTo>
                  <a:lnTo>
                    <a:pt x="690" y="690"/>
                  </a:lnTo>
                  <a:lnTo>
                    <a:pt x="696" y="678"/>
                  </a:lnTo>
                  <a:lnTo>
                    <a:pt x="708" y="672"/>
                  </a:lnTo>
                  <a:lnTo>
                    <a:pt x="708" y="660"/>
                  </a:lnTo>
                  <a:lnTo>
                    <a:pt x="702" y="660"/>
                  </a:lnTo>
                  <a:lnTo>
                    <a:pt x="696" y="660"/>
                  </a:lnTo>
                  <a:lnTo>
                    <a:pt x="690" y="654"/>
                  </a:lnTo>
                  <a:lnTo>
                    <a:pt x="684" y="654"/>
                  </a:lnTo>
                  <a:lnTo>
                    <a:pt x="690" y="606"/>
                  </a:lnTo>
                  <a:lnTo>
                    <a:pt x="660" y="606"/>
                  </a:lnTo>
                  <a:lnTo>
                    <a:pt x="660" y="612"/>
                  </a:lnTo>
                  <a:lnTo>
                    <a:pt x="648" y="612"/>
                  </a:lnTo>
                  <a:lnTo>
                    <a:pt x="642" y="636"/>
                  </a:lnTo>
                  <a:lnTo>
                    <a:pt x="636" y="636"/>
                  </a:lnTo>
                  <a:lnTo>
                    <a:pt x="630" y="648"/>
                  </a:lnTo>
                  <a:lnTo>
                    <a:pt x="612" y="648"/>
                  </a:lnTo>
                  <a:lnTo>
                    <a:pt x="606" y="636"/>
                  </a:lnTo>
                  <a:lnTo>
                    <a:pt x="600" y="630"/>
                  </a:lnTo>
                  <a:lnTo>
                    <a:pt x="588" y="606"/>
                  </a:lnTo>
                  <a:lnTo>
                    <a:pt x="552" y="606"/>
                  </a:lnTo>
                  <a:lnTo>
                    <a:pt x="552" y="612"/>
                  </a:lnTo>
                  <a:lnTo>
                    <a:pt x="540" y="612"/>
                  </a:lnTo>
                  <a:lnTo>
                    <a:pt x="540" y="606"/>
                  </a:lnTo>
                  <a:lnTo>
                    <a:pt x="522" y="606"/>
                  </a:lnTo>
                  <a:lnTo>
                    <a:pt x="522" y="612"/>
                  </a:lnTo>
                  <a:lnTo>
                    <a:pt x="516" y="612"/>
                  </a:lnTo>
                  <a:lnTo>
                    <a:pt x="516" y="582"/>
                  </a:lnTo>
                  <a:lnTo>
                    <a:pt x="522" y="576"/>
                  </a:lnTo>
                  <a:lnTo>
                    <a:pt x="528" y="576"/>
                  </a:lnTo>
                  <a:lnTo>
                    <a:pt x="528" y="552"/>
                  </a:lnTo>
                  <a:lnTo>
                    <a:pt x="522" y="540"/>
                  </a:lnTo>
                  <a:lnTo>
                    <a:pt x="510" y="528"/>
                  </a:lnTo>
                  <a:lnTo>
                    <a:pt x="486" y="510"/>
                  </a:lnTo>
                  <a:lnTo>
                    <a:pt x="480" y="498"/>
                  </a:lnTo>
                  <a:lnTo>
                    <a:pt x="480" y="474"/>
                  </a:lnTo>
                  <a:lnTo>
                    <a:pt x="492" y="468"/>
                  </a:lnTo>
                  <a:lnTo>
                    <a:pt x="486" y="450"/>
                  </a:lnTo>
                  <a:lnTo>
                    <a:pt x="474" y="456"/>
                  </a:lnTo>
                  <a:lnTo>
                    <a:pt x="468" y="456"/>
                  </a:lnTo>
                  <a:lnTo>
                    <a:pt x="462" y="456"/>
                  </a:lnTo>
                  <a:lnTo>
                    <a:pt x="456" y="468"/>
                  </a:lnTo>
                  <a:lnTo>
                    <a:pt x="456" y="474"/>
                  </a:lnTo>
                  <a:lnTo>
                    <a:pt x="450" y="480"/>
                  </a:lnTo>
                  <a:lnTo>
                    <a:pt x="444" y="450"/>
                  </a:lnTo>
                  <a:lnTo>
                    <a:pt x="438" y="450"/>
                  </a:lnTo>
                  <a:lnTo>
                    <a:pt x="432" y="450"/>
                  </a:lnTo>
                  <a:lnTo>
                    <a:pt x="420" y="450"/>
                  </a:lnTo>
                  <a:lnTo>
                    <a:pt x="420" y="456"/>
                  </a:lnTo>
                  <a:lnTo>
                    <a:pt x="414" y="456"/>
                  </a:lnTo>
                  <a:lnTo>
                    <a:pt x="408" y="468"/>
                  </a:lnTo>
                  <a:lnTo>
                    <a:pt x="402" y="468"/>
                  </a:lnTo>
                  <a:lnTo>
                    <a:pt x="396" y="474"/>
                  </a:lnTo>
                  <a:lnTo>
                    <a:pt x="390" y="492"/>
                  </a:lnTo>
                  <a:lnTo>
                    <a:pt x="384" y="504"/>
                  </a:lnTo>
                  <a:lnTo>
                    <a:pt x="372" y="498"/>
                  </a:lnTo>
                  <a:lnTo>
                    <a:pt x="366" y="510"/>
                  </a:lnTo>
                  <a:lnTo>
                    <a:pt x="354" y="510"/>
                  </a:lnTo>
                  <a:lnTo>
                    <a:pt x="360" y="480"/>
                  </a:lnTo>
                  <a:lnTo>
                    <a:pt x="360" y="474"/>
                  </a:lnTo>
                  <a:lnTo>
                    <a:pt x="378" y="456"/>
                  </a:lnTo>
                  <a:lnTo>
                    <a:pt x="384" y="450"/>
                  </a:lnTo>
                  <a:lnTo>
                    <a:pt x="396" y="444"/>
                  </a:lnTo>
                  <a:lnTo>
                    <a:pt x="402" y="438"/>
                  </a:lnTo>
                  <a:lnTo>
                    <a:pt x="408" y="438"/>
                  </a:lnTo>
                  <a:lnTo>
                    <a:pt x="408" y="426"/>
                  </a:lnTo>
                  <a:lnTo>
                    <a:pt x="414" y="420"/>
                  </a:lnTo>
                  <a:lnTo>
                    <a:pt x="426" y="420"/>
                  </a:lnTo>
                  <a:lnTo>
                    <a:pt x="426" y="408"/>
                  </a:lnTo>
                  <a:lnTo>
                    <a:pt x="420" y="390"/>
                  </a:lnTo>
                  <a:lnTo>
                    <a:pt x="408" y="384"/>
                  </a:lnTo>
                  <a:lnTo>
                    <a:pt x="378" y="378"/>
                  </a:lnTo>
                  <a:lnTo>
                    <a:pt x="354" y="366"/>
                  </a:lnTo>
                  <a:lnTo>
                    <a:pt x="342" y="360"/>
                  </a:lnTo>
                  <a:lnTo>
                    <a:pt x="342" y="348"/>
                  </a:lnTo>
                  <a:lnTo>
                    <a:pt x="336" y="330"/>
                  </a:lnTo>
                  <a:lnTo>
                    <a:pt x="348" y="306"/>
                  </a:lnTo>
                  <a:lnTo>
                    <a:pt x="360" y="294"/>
                  </a:lnTo>
                  <a:lnTo>
                    <a:pt x="360" y="282"/>
                  </a:lnTo>
                  <a:lnTo>
                    <a:pt x="342" y="270"/>
                  </a:lnTo>
                  <a:lnTo>
                    <a:pt x="342" y="264"/>
                  </a:lnTo>
                  <a:lnTo>
                    <a:pt x="330" y="264"/>
                  </a:lnTo>
                  <a:lnTo>
                    <a:pt x="312" y="270"/>
                  </a:lnTo>
                  <a:lnTo>
                    <a:pt x="306" y="270"/>
                  </a:lnTo>
                  <a:lnTo>
                    <a:pt x="300" y="270"/>
                  </a:lnTo>
                  <a:lnTo>
                    <a:pt x="288" y="270"/>
                  </a:lnTo>
                  <a:lnTo>
                    <a:pt x="282" y="270"/>
                  </a:lnTo>
                  <a:lnTo>
                    <a:pt x="276" y="264"/>
                  </a:lnTo>
                  <a:lnTo>
                    <a:pt x="270" y="264"/>
                  </a:lnTo>
                  <a:lnTo>
                    <a:pt x="252" y="270"/>
                  </a:lnTo>
                  <a:lnTo>
                    <a:pt x="246" y="270"/>
                  </a:lnTo>
                  <a:lnTo>
                    <a:pt x="240" y="270"/>
                  </a:lnTo>
                  <a:lnTo>
                    <a:pt x="228" y="270"/>
                  </a:lnTo>
                  <a:lnTo>
                    <a:pt x="216" y="276"/>
                  </a:lnTo>
                  <a:lnTo>
                    <a:pt x="210" y="270"/>
                  </a:lnTo>
                  <a:lnTo>
                    <a:pt x="204" y="270"/>
                  </a:lnTo>
                  <a:lnTo>
                    <a:pt x="198" y="276"/>
                  </a:lnTo>
                  <a:lnTo>
                    <a:pt x="192" y="276"/>
                  </a:lnTo>
                  <a:lnTo>
                    <a:pt x="186" y="282"/>
                  </a:lnTo>
                  <a:lnTo>
                    <a:pt x="180" y="288"/>
                  </a:lnTo>
                  <a:lnTo>
                    <a:pt x="174" y="300"/>
                  </a:lnTo>
                  <a:lnTo>
                    <a:pt x="168" y="306"/>
                  </a:lnTo>
                  <a:lnTo>
                    <a:pt x="168" y="318"/>
                  </a:lnTo>
                  <a:lnTo>
                    <a:pt x="168" y="324"/>
                  </a:lnTo>
                  <a:lnTo>
                    <a:pt x="168" y="330"/>
                  </a:lnTo>
                  <a:lnTo>
                    <a:pt x="162" y="336"/>
                  </a:lnTo>
                  <a:lnTo>
                    <a:pt x="156" y="342"/>
                  </a:lnTo>
                  <a:lnTo>
                    <a:pt x="156" y="348"/>
                  </a:lnTo>
                  <a:lnTo>
                    <a:pt x="156" y="354"/>
                  </a:lnTo>
                  <a:lnTo>
                    <a:pt x="150" y="366"/>
                  </a:lnTo>
                  <a:lnTo>
                    <a:pt x="150" y="372"/>
                  </a:lnTo>
                  <a:lnTo>
                    <a:pt x="144" y="366"/>
                  </a:lnTo>
                  <a:lnTo>
                    <a:pt x="132" y="366"/>
                  </a:lnTo>
                  <a:lnTo>
                    <a:pt x="138" y="360"/>
                  </a:lnTo>
                  <a:lnTo>
                    <a:pt x="132" y="354"/>
                  </a:lnTo>
                  <a:lnTo>
                    <a:pt x="120" y="348"/>
                  </a:lnTo>
                  <a:lnTo>
                    <a:pt x="102" y="330"/>
                  </a:lnTo>
                  <a:lnTo>
                    <a:pt x="96" y="318"/>
                  </a:lnTo>
                  <a:lnTo>
                    <a:pt x="96" y="282"/>
                  </a:lnTo>
                  <a:lnTo>
                    <a:pt x="96" y="270"/>
                  </a:lnTo>
                  <a:lnTo>
                    <a:pt x="90" y="264"/>
                  </a:lnTo>
                  <a:lnTo>
                    <a:pt x="90" y="258"/>
                  </a:lnTo>
                  <a:lnTo>
                    <a:pt x="84" y="252"/>
                  </a:lnTo>
                  <a:lnTo>
                    <a:pt x="66" y="258"/>
                  </a:lnTo>
                  <a:lnTo>
                    <a:pt x="60" y="246"/>
                  </a:lnTo>
                  <a:lnTo>
                    <a:pt x="30" y="252"/>
                  </a:lnTo>
                  <a:lnTo>
                    <a:pt x="18" y="246"/>
                  </a:lnTo>
                  <a:lnTo>
                    <a:pt x="0" y="240"/>
                  </a:lnTo>
                  <a:lnTo>
                    <a:pt x="0" y="234"/>
                  </a:lnTo>
                  <a:lnTo>
                    <a:pt x="0" y="210"/>
                  </a:lnTo>
                  <a:lnTo>
                    <a:pt x="6" y="204"/>
                  </a:lnTo>
                  <a:lnTo>
                    <a:pt x="18" y="192"/>
                  </a:lnTo>
                  <a:lnTo>
                    <a:pt x="18" y="144"/>
                  </a:lnTo>
                  <a:lnTo>
                    <a:pt x="24" y="126"/>
                  </a:lnTo>
                  <a:lnTo>
                    <a:pt x="36" y="126"/>
                  </a:lnTo>
                  <a:lnTo>
                    <a:pt x="54" y="120"/>
                  </a:lnTo>
                  <a:lnTo>
                    <a:pt x="54" y="126"/>
                  </a:lnTo>
                  <a:lnTo>
                    <a:pt x="132" y="114"/>
                  </a:lnTo>
                  <a:lnTo>
                    <a:pt x="144" y="120"/>
                  </a:lnTo>
                  <a:lnTo>
                    <a:pt x="150" y="132"/>
                  </a:lnTo>
                  <a:lnTo>
                    <a:pt x="180" y="126"/>
                  </a:lnTo>
                  <a:lnTo>
                    <a:pt x="210" y="120"/>
                  </a:lnTo>
                  <a:lnTo>
                    <a:pt x="240" y="120"/>
                  </a:lnTo>
                  <a:lnTo>
                    <a:pt x="258" y="120"/>
                  </a:lnTo>
                  <a:lnTo>
                    <a:pt x="270" y="126"/>
                  </a:lnTo>
                  <a:lnTo>
                    <a:pt x="276" y="132"/>
                  </a:lnTo>
                  <a:lnTo>
                    <a:pt x="282" y="138"/>
                  </a:lnTo>
                  <a:lnTo>
                    <a:pt x="282" y="156"/>
                  </a:lnTo>
                  <a:lnTo>
                    <a:pt x="288" y="186"/>
                  </a:lnTo>
                  <a:lnTo>
                    <a:pt x="312" y="192"/>
                  </a:lnTo>
                  <a:lnTo>
                    <a:pt x="318" y="198"/>
                  </a:lnTo>
                  <a:lnTo>
                    <a:pt x="324" y="204"/>
                  </a:lnTo>
                  <a:lnTo>
                    <a:pt x="330" y="210"/>
                  </a:lnTo>
                  <a:lnTo>
                    <a:pt x="348" y="210"/>
                  </a:lnTo>
                  <a:lnTo>
                    <a:pt x="348" y="204"/>
                  </a:lnTo>
                  <a:lnTo>
                    <a:pt x="366" y="216"/>
                  </a:lnTo>
                  <a:lnTo>
                    <a:pt x="378" y="216"/>
                  </a:lnTo>
                  <a:lnTo>
                    <a:pt x="378" y="222"/>
                  </a:lnTo>
                  <a:lnTo>
                    <a:pt x="396" y="222"/>
                  </a:lnTo>
                  <a:lnTo>
                    <a:pt x="414" y="222"/>
                  </a:lnTo>
                  <a:lnTo>
                    <a:pt x="420" y="216"/>
                  </a:lnTo>
                  <a:lnTo>
                    <a:pt x="486" y="210"/>
                  </a:lnTo>
                  <a:lnTo>
                    <a:pt x="498" y="198"/>
                  </a:lnTo>
                  <a:lnTo>
                    <a:pt x="504" y="174"/>
                  </a:lnTo>
                  <a:lnTo>
                    <a:pt x="516" y="162"/>
                  </a:lnTo>
                  <a:lnTo>
                    <a:pt x="516" y="138"/>
                  </a:lnTo>
                  <a:lnTo>
                    <a:pt x="522" y="132"/>
                  </a:lnTo>
                  <a:lnTo>
                    <a:pt x="564" y="132"/>
                  </a:lnTo>
                  <a:lnTo>
                    <a:pt x="564" y="114"/>
                  </a:lnTo>
                  <a:lnTo>
                    <a:pt x="582" y="114"/>
                  </a:lnTo>
                  <a:lnTo>
                    <a:pt x="594" y="114"/>
                  </a:lnTo>
                  <a:lnTo>
                    <a:pt x="606" y="114"/>
                  </a:lnTo>
                  <a:lnTo>
                    <a:pt x="612" y="114"/>
                  </a:lnTo>
                  <a:lnTo>
                    <a:pt x="630" y="114"/>
                  </a:lnTo>
                  <a:lnTo>
                    <a:pt x="636" y="114"/>
                  </a:lnTo>
                  <a:lnTo>
                    <a:pt x="648" y="114"/>
                  </a:lnTo>
                  <a:lnTo>
                    <a:pt x="654" y="114"/>
                  </a:lnTo>
                  <a:lnTo>
                    <a:pt x="660" y="120"/>
                  </a:lnTo>
                  <a:lnTo>
                    <a:pt x="672" y="120"/>
                  </a:lnTo>
                  <a:lnTo>
                    <a:pt x="684" y="120"/>
                  </a:lnTo>
                  <a:lnTo>
                    <a:pt x="690" y="120"/>
                  </a:lnTo>
                  <a:lnTo>
                    <a:pt x="702" y="120"/>
                  </a:lnTo>
                  <a:lnTo>
                    <a:pt x="708" y="120"/>
                  </a:lnTo>
                  <a:lnTo>
                    <a:pt x="726" y="126"/>
                  </a:lnTo>
                  <a:lnTo>
                    <a:pt x="732" y="126"/>
                  </a:lnTo>
                  <a:lnTo>
                    <a:pt x="738" y="126"/>
                  </a:lnTo>
                  <a:lnTo>
                    <a:pt x="750" y="126"/>
                  </a:lnTo>
                  <a:lnTo>
                    <a:pt x="756" y="126"/>
                  </a:lnTo>
                  <a:lnTo>
                    <a:pt x="768" y="126"/>
                  </a:lnTo>
                  <a:lnTo>
                    <a:pt x="780" y="126"/>
                  </a:lnTo>
                  <a:lnTo>
                    <a:pt x="786" y="120"/>
                  </a:lnTo>
                  <a:lnTo>
                    <a:pt x="792" y="120"/>
                  </a:lnTo>
                  <a:lnTo>
                    <a:pt x="810" y="120"/>
                  </a:lnTo>
                  <a:lnTo>
                    <a:pt x="822" y="120"/>
                  </a:lnTo>
                  <a:lnTo>
                    <a:pt x="846" y="126"/>
                  </a:lnTo>
                  <a:lnTo>
                    <a:pt x="858" y="126"/>
                  </a:lnTo>
                  <a:lnTo>
                    <a:pt x="870" y="132"/>
                  </a:lnTo>
                  <a:lnTo>
                    <a:pt x="882" y="132"/>
                  </a:lnTo>
                  <a:lnTo>
                    <a:pt x="894" y="132"/>
                  </a:lnTo>
                  <a:lnTo>
                    <a:pt x="900" y="132"/>
                  </a:lnTo>
                  <a:lnTo>
                    <a:pt x="912" y="132"/>
                  </a:lnTo>
                  <a:lnTo>
                    <a:pt x="918" y="132"/>
                  </a:lnTo>
                  <a:lnTo>
                    <a:pt x="924" y="132"/>
                  </a:lnTo>
                  <a:lnTo>
                    <a:pt x="936" y="132"/>
                  </a:lnTo>
                  <a:lnTo>
                    <a:pt x="960" y="132"/>
                  </a:lnTo>
                  <a:lnTo>
                    <a:pt x="966" y="144"/>
                  </a:lnTo>
                  <a:lnTo>
                    <a:pt x="972" y="144"/>
                  </a:lnTo>
                  <a:lnTo>
                    <a:pt x="1002" y="144"/>
                  </a:lnTo>
                  <a:lnTo>
                    <a:pt x="1020" y="144"/>
                  </a:lnTo>
                  <a:lnTo>
                    <a:pt x="1068" y="138"/>
                  </a:lnTo>
                  <a:lnTo>
                    <a:pt x="1110" y="132"/>
                  </a:lnTo>
                  <a:lnTo>
                    <a:pt x="1110" y="126"/>
                  </a:lnTo>
                  <a:lnTo>
                    <a:pt x="1116" y="120"/>
                  </a:lnTo>
                  <a:lnTo>
                    <a:pt x="1122" y="108"/>
                  </a:lnTo>
                  <a:lnTo>
                    <a:pt x="1134" y="96"/>
                  </a:lnTo>
                  <a:lnTo>
                    <a:pt x="1146" y="60"/>
                  </a:lnTo>
                  <a:lnTo>
                    <a:pt x="1158" y="54"/>
                  </a:lnTo>
                  <a:lnTo>
                    <a:pt x="1170" y="48"/>
                  </a:lnTo>
                  <a:lnTo>
                    <a:pt x="1188" y="42"/>
                  </a:lnTo>
                  <a:lnTo>
                    <a:pt x="1200" y="36"/>
                  </a:lnTo>
                  <a:lnTo>
                    <a:pt x="1212" y="36"/>
                  </a:lnTo>
                  <a:lnTo>
                    <a:pt x="1236" y="30"/>
                  </a:lnTo>
                  <a:lnTo>
                    <a:pt x="1236" y="24"/>
                  </a:lnTo>
                  <a:lnTo>
                    <a:pt x="1278" y="18"/>
                  </a:lnTo>
                  <a:lnTo>
                    <a:pt x="1290" y="18"/>
                  </a:lnTo>
                  <a:lnTo>
                    <a:pt x="1302" y="12"/>
                  </a:lnTo>
                  <a:lnTo>
                    <a:pt x="1314" y="0"/>
                  </a:lnTo>
                  <a:lnTo>
                    <a:pt x="1332" y="0"/>
                  </a:lnTo>
                  <a:lnTo>
                    <a:pt x="1338" y="24"/>
                  </a:lnTo>
                  <a:lnTo>
                    <a:pt x="1344" y="30"/>
                  </a:lnTo>
                  <a:lnTo>
                    <a:pt x="1350" y="42"/>
                  </a:lnTo>
                  <a:lnTo>
                    <a:pt x="1356" y="48"/>
                  </a:lnTo>
                  <a:lnTo>
                    <a:pt x="1356" y="78"/>
                  </a:lnTo>
                  <a:lnTo>
                    <a:pt x="1350" y="96"/>
                  </a:lnTo>
                  <a:lnTo>
                    <a:pt x="1338" y="108"/>
                  </a:lnTo>
                  <a:lnTo>
                    <a:pt x="1338" y="114"/>
                  </a:lnTo>
                  <a:lnTo>
                    <a:pt x="1338" y="120"/>
                  </a:lnTo>
                  <a:lnTo>
                    <a:pt x="1338" y="126"/>
                  </a:lnTo>
                  <a:lnTo>
                    <a:pt x="1368" y="126"/>
                  </a:lnTo>
                  <a:lnTo>
                    <a:pt x="1386" y="120"/>
                  </a:lnTo>
                  <a:lnTo>
                    <a:pt x="1398" y="114"/>
                  </a:lnTo>
                  <a:lnTo>
                    <a:pt x="1416" y="120"/>
                  </a:lnTo>
                  <a:lnTo>
                    <a:pt x="1434" y="126"/>
                  </a:lnTo>
                  <a:lnTo>
                    <a:pt x="1458" y="132"/>
                  </a:lnTo>
                  <a:lnTo>
                    <a:pt x="1458" y="138"/>
                  </a:lnTo>
                  <a:lnTo>
                    <a:pt x="1512" y="138"/>
                  </a:lnTo>
                  <a:lnTo>
                    <a:pt x="1512" y="132"/>
                  </a:lnTo>
                  <a:lnTo>
                    <a:pt x="1524" y="138"/>
                  </a:lnTo>
                  <a:lnTo>
                    <a:pt x="1542" y="138"/>
                  </a:lnTo>
                  <a:lnTo>
                    <a:pt x="1542" y="150"/>
                  </a:lnTo>
                  <a:lnTo>
                    <a:pt x="1542" y="162"/>
                  </a:lnTo>
                  <a:lnTo>
                    <a:pt x="1548" y="174"/>
                  </a:lnTo>
                  <a:lnTo>
                    <a:pt x="1548" y="180"/>
                  </a:lnTo>
                  <a:lnTo>
                    <a:pt x="1554" y="222"/>
                  </a:lnTo>
                  <a:lnTo>
                    <a:pt x="1554" y="258"/>
                  </a:lnTo>
                  <a:lnTo>
                    <a:pt x="1554" y="276"/>
                  </a:lnTo>
                  <a:lnTo>
                    <a:pt x="1554" y="282"/>
                  </a:lnTo>
                  <a:lnTo>
                    <a:pt x="1554" y="294"/>
                  </a:lnTo>
                  <a:lnTo>
                    <a:pt x="1554" y="306"/>
                  </a:lnTo>
                  <a:lnTo>
                    <a:pt x="1554" y="324"/>
                  </a:lnTo>
                  <a:lnTo>
                    <a:pt x="1554" y="330"/>
                  </a:lnTo>
                  <a:lnTo>
                    <a:pt x="1548" y="330"/>
                  </a:lnTo>
                  <a:lnTo>
                    <a:pt x="1548" y="336"/>
                  </a:lnTo>
                  <a:lnTo>
                    <a:pt x="1548" y="342"/>
                  </a:lnTo>
                  <a:lnTo>
                    <a:pt x="1542" y="336"/>
                  </a:lnTo>
                  <a:lnTo>
                    <a:pt x="1542" y="330"/>
                  </a:lnTo>
                  <a:lnTo>
                    <a:pt x="1536" y="330"/>
                  </a:lnTo>
                  <a:lnTo>
                    <a:pt x="1530" y="330"/>
                  </a:lnTo>
                  <a:lnTo>
                    <a:pt x="1530" y="336"/>
                  </a:lnTo>
                  <a:lnTo>
                    <a:pt x="1536" y="342"/>
                  </a:lnTo>
                  <a:lnTo>
                    <a:pt x="1530" y="342"/>
                  </a:lnTo>
                  <a:lnTo>
                    <a:pt x="1518" y="348"/>
                  </a:lnTo>
                  <a:lnTo>
                    <a:pt x="1512" y="354"/>
                  </a:lnTo>
                  <a:lnTo>
                    <a:pt x="1506" y="354"/>
                  </a:lnTo>
                  <a:lnTo>
                    <a:pt x="1500" y="354"/>
                  </a:lnTo>
                  <a:lnTo>
                    <a:pt x="1494" y="354"/>
                  </a:lnTo>
                  <a:lnTo>
                    <a:pt x="1494" y="360"/>
                  </a:lnTo>
                  <a:lnTo>
                    <a:pt x="1488" y="360"/>
                  </a:lnTo>
                  <a:lnTo>
                    <a:pt x="1488" y="366"/>
                  </a:lnTo>
                  <a:lnTo>
                    <a:pt x="1488" y="372"/>
                  </a:lnTo>
                  <a:lnTo>
                    <a:pt x="1482" y="372"/>
                  </a:lnTo>
                  <a:lnTo>
                    <a:pt x="1476" y="372"/>
                  </a:lnTo>
                  <a:lnTo>
                    <a:pt x="1470" y="372"/>
                  </a:lnTo>
                  <a:lnTo>
                    <a:pt x="1470" y="378"/>
                  </a:lnTo>
                  <a:lnTo>
                    <a:pt x="1470" y="384"/>
                  </a:lnTo>
                  <a:lnTo>
                    <a:pt x="1470" y="390"/>
                  </a:lnTo>
                  <a:lnTo>
                    <a:pt x="1464" y="402"/>
                  </a:lnTo>
                  <a:lnTo>
                    <a:pt x="1446" y="402"/>
                  </a:lnTo>
                  <a:lnTo>
                    <a:pt x="1440" y="372"/>
                  </a:lnTo>
                  <a:lnTo>
                    <a:pt x="1410" y="372"/>
                  </a:lnTo>
                  <a:lnTo>
                    <a:pt x="1380" y="372"/>
                  </a:lnTo>
                  <a:lnTo>
                    <a:pt x="1374" y="372"/>
                  </a:lnTo>
                  <a:lnTo>
                    <a:pt x="1368" y="378"/>
                  </a:lnTo>
                  <a:lnTo>
                    <a:pt x="1362" y="378"/>
                  </a:lnTo>
                  <a:lnTo>
                    <a:pt x="1356" y="378"/>
                  </a:lnTo>
                  <a:lnTo>
                    <a:pt x="1350" y="384"/>
                  </a:lnTo>
                  <a:lnTo>
                    <a:pt x="1350" y="390"/>
                  </a:lnTo>
                  <a:lnTo>
                    <a:pt x="1344" y="390"/>
                  </a:lnTo>
                  <a:lnTo>
                    <a:pt x="1338" y="390"/>
                  </a:lnTo>
                  <a:lnTo>
                    <a:pt x="1332" y="390"/>
                  </a:lnTo>
                  <a:lnTo>
                    <a:pt x="1332" y="396"/>
                  </a:lnTo>
                  <a:lnTo>
                    <a:pt x="1332" y="390"/>
                  </a:lnTo>
                  <a:lnTo>
                    <a:pt x="1326" y="402"/>
                  </a:lnTo>
                  <a:lnTo>
                    <a:pt x="1320" y="402"/>
                  </a:lnTo>
                  <a:lnTo>
                    <a:pt x="1302" y="474"/>
                  </a:lnTo>
                  <a:lnTo>
                    <a:pt x="1308" y="480"/>
                  </a:lnTo>
                  <a:lnTo>
                    <a:pt x="1314" y="480"/>
                  </a:lnTo>
                  <a:lnTo>
                    <a:pt x="1308" y="498"/>
                  </a:lnTo>
                  <a:lnTo>
                    <a:pt x="1308" y="504"/>
                  </a:lnTo>
                  <a:lnTo>
                    <a:pt x="1314" y="510"/>
                  </a:lnTo>
                  <a:lnTo>
                    <a:pt x="1308" y="510"/>
                  </a:lnTo>
                  <a:lnTo>
                    <a:pt x="1308" y="516"/>
                  </a:lnTo>
                  <a:lnTo>
                    <a:pt x="1302" y="516"/>
                  </a:lnTo>
                  <a:lnTo>
                    <a:pt x="1296" y="510"/>
                  </a:lnTo>
                  <a:lnTo>
                    <a:pt x="1296" y="516"/>
                  </a:lnTo>
                  <a:lnTo>
                    <a:pt x="1290" y="540"/>
                  </a:lnTo>
                  <a:lnTo>
                    <a:pt x="1290" y="552"/>
                  </a:lnTo>
                  <a:lnTo>
                    <a:pt x="1284" y="558"/>
                  </a:lnTo>
                  <a:lnTo>
                    <a:pt x="1290" y="576"/>
                  </a:lnTo>
                  <a:lnTo>
                    <a:pt x="1290" y="600"/>
                  </a:lnTo>
                  <a:lnTo>
                    <a:pt x="1284" y="618"/>
                  </a:lnTo>
                  <a:lnTo>
                    <a:pt x="1290" y="624"/>
                  </a:lnTo>
                  <a:lnTo>
                    <a:pt x="1284" y="630"/>
                  </a:lnTo>
                  <a:lnTo>
                    <a:pt x="1278" y="630"/>
                  </a:lnTo>
                  <a:lnTo>
                    <a:pt x="1272" y="630"/>
                  </a:lnTo>
                  <a:lnTo>
                    <a:pt x="1266" y="636"/>
                  </a:lnTo>
                  <a:lnTo>
                    <a:pt x="1260" y="642"/>
                  </a:lnTo>
                  <a:lnTo>
                    <a:pt x="1260" y="636"/>
                  </a:lnTo>
                  <a:lnTo>
                    <a:pt x="1254" y="636"/>
                  </a:lnTo>
                  <a:lnTo>
                    <a:pt x="1248" y="636"/>
                  </a:lnTo>
                  <a:lnTo>
                    <a:pt x="1248" y="642"/>
                  </a:lnTo>
                  <a:lnTo>
                    <a:pt x="1242" y="642"/>
                  </a:lnTo>
                  <a:lnTo>
                    <a:pt x="1242" y="648"/>
                  </a:lnTo>
                  <a:lnTo>
                    <a:pt x="1236" y="654"/>
                  </a:lnTo>
                  <a:lnTo>
                    <a:pt x="1230" y="654"/>
                  </a:lnTo>
                  <a:lnTo>
                    <a:pt x="1224" y="654"/>
                  </a:lnTo>
                  <a:lnTo>
                    <a:pt x="1218" y="660"/>
                  </a:lnTo>
                  <a:lnTo>
                    <a:pt x="1212" y="660"/>
                  </a:lnTo>
                  <a:lnTo>
                    <a:pt x="1206" y="660"/>
                  </a:lnTo>
                  <a:lnTo>
                    <a:pt x="1200" y="660"/>
                  </a:lnTo>
                  <a:lnTo>
                    <a:pt x="1200" y="666"/>
                  </a:lnTo>
                  <a:lnTo>
                    <a:pt x="1194" y="666"/>
                  </a:lnTo>
                  <a:lnTo>
                    <a:pt x="1188" y="666"/>
                  </a:lnTo>
                  <a:lnTo>
                    <a:pt x="1182" y="672"/>
                  </a:lnTo>
                  <a:lnTo>
                    <a:pt x="1176" y="672"/>
                  </a:lnTo>
                  <a:lnTo>
                    <a:pt x="1170" y="672"/>
                  </a:lnTo>
                  <a:lnTo>
                    <a:pt x="1164" y="678"/>
                  </a:lnTo>
                  <a:lnTo>
                    <a:pt x="1170" y="678"/>
                  </a:lnTo>
                  <a:lnTo>
                    <a:pt x="1164" y="684"/>
                  </a:lnTo>
                  <a:lnTo>
                    <a:pt x="1164" y="690"/>
                  </a:lnTo>
                  <a:lnTo>
                    <a:pt x="1158" y="690"/>
                  </a:lnTo>
                  <a:lnTo>
                    <a:pt x="1152" y="684"/>
                  </a:lnTo>
                  <a:lnTo>
                    <a:pt x="1152" y="690"/>
                  </a:lnTo>
                  <a:lnTo>
                    <a:pt x="1146" y="690"/>
                  </a:lnTo>
                  <a:lnTo>
                    <a:pt x="1140" y="690"/>
                  </a:lnTo>
                  <a:lnTo>
                    <a:pt x="1134" y="696"/>
                  </a:lnTo>
                  <a:lnTo>
                    <a:pt x="1128" y="696"/>
                  </a:lnTo>
                  <a:lnTo>
                    <a:pt x="1122" y="702"/>
                  </a:lnTo>
                  <a:lnTo>
                    <a:pt x="1116" y="702"/>
                  </a:lnTo>
                  <a:lnTo>
                    <a:pt x="1110" y="708"/>
                  </a:lnTo>
                  <a:lnTo>
                    <a:pt x="1104" y="708"/>
                  </a:lnTo>
                  <a:lnTo>
                    <a:pt x="1098" y="708"/>
                  </a:lnTo>
                  <a:lnTo>
                    <a:pt x="1092" y="708"/>
                  </a:lnTo>
                  <a:lnTo>
                    <a:pt x="1092" y="714"/>
                  </a:lnTo>
                  <a:lnTo>
                    <a:pt x="1086" y="720"/>
                  </a:lnTo>
                  <a:lnTo>
                    <a:pt x="1080" y="720"/>
                  </a:lnTo>
                  <a:lnTo>
                    <a:pt x="1074" y="720"/>
                  </a:lnTo>
                  <a:lnTo>
                    <a:pt x="1068" y="720"/>
                  </a:lnTo>
                  <a:lnTo>
                    <a:pt x="1062" y="720"/>
                  </a:lnTo>
                  <a:lnTo>
                    <a:pt x="1050" y="726"/>
                  </a:lnTo>
                  <a:lnTo>
                    <a:pt x="1044" y="726"/>
                  </a:lnTo>
                  <a:lnTo>
                    <a:pt x="1038" y="732"/>
                  </a:lnTo>
                  <a:lnTo>
                    <a:pt x="1026" y="732"/>
                  </a:lnTo>
                  <a:lnTo>
                    <a:pt x="1020" y="732"/>
                  </a:lnTo>
                  <a:lnTo>
                    <a:pt x="1014" y="738"/>
                  </a:lnTo>
                  <a:lnTo>
                    <a:pt x="1008" y="738"/>
                  </a:lnTo>
                  <a:lnTo>
                    <a:pt x="1002" y="738"/>
                  </a:lnTo>
                  <a:lnTo>
                    <a:pt x="996" y="738"/>
                  </a:lnTo>
                  <a:lnTo>
                    <a:pt x="990" y="738"/>
                  </a:lnTo>
                  <a:lnTo>
                    <a:pt x="990" y="732"/>
                  </a:lnTo>
                  <a:lnTo>
                    <a:pt x="984" y="732"/>
                  </a:lnTo>
                  <a:lnTo>
                    <a:pt x="978" y="738"/>
                  </a:lnTo>
                  <a:lnTo>
                    <a:pt x="978" y="744"/>
                  </a:lnTo>
                  <a:lnTo>
                    <a:pt x="984" y="744"/>
                  </a:lnTo>
                  <a:lnTo>
                    <a:pt x="978" y="744"/>
                  </a:lnTo>
                  <a:lnTo>
                    <a:pt x="978" y="750"/>
                  </a:lnTo>
                  <a:lnTo>
                    <a:pt x="978" y="756"/>
                  </a:lnTo>
                  <a:lnTo>
                    <a:pt x="972" y="756"/>
                  </a:lnTo>
                  <a:lnTo>
                    <a:pt x="972" y="762"/>
                  </a:lnTo>
                  <a:lnTo>
                    <a:pt x="966" y="768"/>
                  </a:lnTo>
                  <a:lnTo>
                    <a:pt x="966" y="762"/>
                  </a:lnTo>
                  <a:lnTo>
                    <a:pt x="960" y="762"/>
                  </a:lnTo>
                  <a:lnTo>
                    <a:pt x="954" y="768"/>
                  </a:lnTo>
                  <a:lnTo>
                    <a:pt x="954" y="774"/>
                  </a:lnTo>
                  <a:lnTo>
                    <a:pt x="948" y="774"/>
                  </a:lnTo>
                  <a:lnTo>
                    <a:pt x="948" y="780"/>
                  </a:lnTo>
                  <a:lnTo>
                    <a:pt x="948" y="786"/>
                  </a:lnTo>
                  <a:lnTo>
                    <a:pt x="942" y="786"/>
                  </a:lnTo>
                  <a:lnTo>
                    <a:pt x="942" y="792"/>
                  </a:lnTo>
                  <a:lnTo>
                    <a:pt x="936" y="792"/>
                  </a:lnTo>
                  <a:lnTo>
                    <a:pt x="942" y="798"/>
                  </a:lnTo>
                  <a:lnTo>
                    <a:pt x="942" y="804"/>
                  </a:lnTo>
                  <a:lnTo>
                    <a:pt x="942" y="810"/>
                  </a:lnTo>
                  <a:lnTo>
                    <a:pt x="948" y="810"/>
                  </a:lnTo>
                  <a:lnTo>
                    <a:pt x="942" y="816"/>
                  </a:lnTo>
                  <a:lnTo>
                    <a:pt x="948" y="816"/>
                  </a:lnTo>
                  <a:lnTo>
                    <a:pt x="948" y="822"/>
                  </a:lnTo>
                  <a:lnTo>
                    <a:pt x="954" y="822"/>
                  </a:lnTo>
                  <a:lnTo>
                    <a:pt x="960" y="828"/>
                  </a:lnTo>
                  <a:lnTo>
                    <a:pt x="960" y="834"/>
                  </a:lnTo>
                  <a:lnTo>
                    <a:pt x="966" y="834"/>
                  </a:lnTo>
                  <a:lnTo>
                    <a:pt x="960" y="840"/>
                  </a:lnTo>
                  <a:lnTo>
                    <a:pt x="966" y="846"/>
                  </a:lnTo>
                  <a:lnTo>
                    <a:pt x="966" y="840"/>
                  </a:lnTo>
                  <a:lnTo>
                    <a:pt x="972" y="840"/>
                  </a:lnTo>
                  <a:lnTo>
                    <a:pt x="990" y="840"/>
                  </a:lnTo>
                  <a:lnTo>
                    <a:pt x="1002" y="834"/>
                  </a:lnTo>
                  <a:lnTo>
                    <a:pt x="1020" y="828"/>
                  </a:lnTo>
                  <a:lnTo>
                    <a:pt x="1032" y="828"/>
                  </a:lnTo>
                  <a:lnTo>
                    <a:pt x="1050" y="828"/>
                  </a:lnTo>
                  <a:lnTo>
                    <a:pt x="1062" y="846"/>
                  </a:lnTo>
                  <a:lnTo>
                    <a:pt x="1074" y="876"/>
                  </a:lnTo>
                  <a:lnTo>
                    <a:pt x="1068" y="900"/>
                  </a:lnTo>
                  <a:lnTo>
                    <a:pt x="1074" y="912"/>
                  </a:lnTo>
                  <a:lnTo>
                    <a:pt x="1074" y="936"/>
                  </a:lnTo>
                  <a:lnTo>
                    <a:pt x="1068" y="942"/>
                  </a:lnTo>
                  <a:lnTo>
                    <a:pt x="1062" y="954"/>
                  </a:lnTo>
                  <a:lnTo>
                    <a:pt x="1056" y="978"/>
                  </a:lnTo>
                  <a:lnTo>
                    <a:pt x="1056" y="996"/>
                  </a:lnTo>
                  <a:lnTo>
                    <a:pt x="1068" y="990"/>
                  </a:lnTo>
                  <a:lnTo>
                    <a:pt x="1074" y="990"/>
                  </a:lnTo>
                  <a:lnTo>
                    <a:pt x="1074" y="1008"/>
                  </a:lnTo>
                  <a:lnTo>
                    <a:pt x="1080" y="1008"/>
                  </a:lnTo>
                  <a:lnTo>
                    <a:pt x="1092" y="1014"/>
                  </a:lnTo>
                  <a:lnTo>
                    <a:pt x="1110" y="1044"/>
                  </a:lnTo>
                  <a:lnTo>
                    <a:pt x="1110" y="1062"/>
                  </a:lnTo>
                  <a:lnTo>
                    <a:pt x="1128" y="1068"/>
                  </a:lnTo>
                  <a:lnTo>
                    <a:pt x="1128" y="1092"/>
                  </a:lnTo>
                  <a:lnTo>
                    <a:pt x="1134" y="1098"/>
                  </a:lnTo>
                  <a:lnTo>
                    <a:pt x="1158" y="1122"/>
                  </a:lnTo>
                  <a:lnTo>
                    <a:pt x="1188" y="1122"/>
                  </a:lnTo>
                  <a:lnTo>
                    <a:pt x="1188" y="1128"/>
                  </a:lnTo>
                  <a:lnTo>
                    <a:pt x="1200" y="1134"/>
                  </a:lnTo>
                  <a:lnTo>
                    <a:pt x="1206" y="1134"/>
                  </a:lnTo>
                  <a:lnTo>
                    <a:pt x="1206" y="1128"/>
                  </a:lnTo>
                  <a:lnTo>
                    <a:pt x="1212" y="1128"/>
                  </a:lnTo>
                  <a:lnTo>
                    <a:pt x="1218" y="1128"/>
                  </a:lnTo>
                  <a:lnTo>
                    <a:pt x="1224" y="1122"/>
                  </a:lnTo>
                  <a:lnTo>
                    <a:pt x="1224" y="1128"/>
                  </a:lnTo>
                  <a:lnTo>
                    <a:pt x="1230" y="1128"/>
                  </a:lnTo>
                  <a:lnTo>
                    <a:pt x="1236" y="1128"/>
                  </a:lnTo>
                  <a:lnTo>
                    <a:pt x="1236" y="1122"/>
                  </a:lnTo>
                  <a:lnTo>
                    <a:pt x="1242" y="1122"/>
                  </a:lnTo>
                  <a:lnTo>
                    <a:pt x="1248" y="1128"/>
                  </a:lnTo>
                  <a:lnTo>
                    <a:pt x="1254" y="1128"/>
                  </a:lnTo>
                  <a:lnTo>
                    <a:pt x="1260" y="1134"/>
                  </a:lnTo>
                  <a:lnTo>
                    <a:pt x="1260" y="1140"/>
                  </a:lnTo>
                  <a:lnTo>
                    <a:pt x="1266" y="1140"/>
                  </a:lnTo>
                  <a:lnTo>
                    <a:pt x="1272" y="1140"/>
                  </a:lnTo>
                  <a:lnTo>
                    <a:pt x="1278" y="1140"/>
                  </a:lnTo>
                  <a:lnTo>
                    <a:pt x="1284" y="1140"/>
                  </a:lnTo>
                  <a:lnTo>
                    <a:pt x="1290" y="1146"/>
                  </a:lnTo>
                  <a:lnTo>
                    <a:pt x="1290" y="1152"/>
                  </a:lnTo>
                  <a:lnTo>
                    <a:pt x="1296" y="1146"/>
                  </a:lnTo>
                  <a:lnTo>
                    <a:pt x="1296" y="1152"/>
                  </a:lnTo>
                  <a:lnTo>
                    <a:pt x="1308" y="1152"/>
                  </a:lnTo>
                  <a:lnTo>
                    <a:pt x="1314" y="1152"/>
                  </a:lnTo>
                  <a:lnTo>
                    <a:pt x="1320" y="1152"/>
                  </a:lnTo>
                  <a:lnTo>
                    <a:pt x="1332" y="1152"/>
                  </a:lnTo>
                  <a:lnTo>
                    <a:pt x="1338" y="1152"/>
                  </a:lnTo>
                  <a:lnTo>
                    <a:pt x="1344" y="1152"/>
                  </a:lnTo>
                  <a:lnTo>
                    <a:pt x="1344" y="1158"/>
                  </a:lnTo>
                  <a:lnTo>
                    <a:pt x="1350" y="1158"/>
                  </a:lnTo>
                  <a:lnTo>
                    <a:pt x="1356" y="1158"/>
                  </a:lnTo>
                  <a:lnTo>
                    <a:pt x="1362" y="1158"/>
                  </a:lnTo>
                  <a:lnTo>
                    <a:pt x="1368" y="1158"/>
                  </a:lnTo>
                  <a:lnTo>
                    <a:pt x="1374" y="1164"/>
                  </a:lnTo>
                  <a:lnTo>
                    <a:pt x="1380" y="1164"/>
                  </a:lnTo>
                  <a:lnTo>
                    <a:pt x="1386" y="1170"/>
                  </a:lnTo>
                  <a:lnTo>
                    <a:pt x="1392" y="1170"/>
                  </a:lnTo>
                  <a:lnTo>
                    <a:pt x="1398" y="1164"/>
                  </a:lnTo>
                  <a:lnTo>
                    <a:pt x="1404" y="1164"/>
                  </a:lnTo>
                  <a:lnTo>
                    <a:pt x="1410" y="1164"/>
                  </a:lnTo>
                  <a:lnTo>
                    <a:pt x="1416" y="1164"/>
                  </a:lnTo>
                  <a:lnTo>
                    <a:pt x="1416" y="1170"/>
                  </a:lnTo>
                  <a:lnTo>
                    <a:pt x="1422" y="1176"/>
                  </a:lnTo>
                  <a:lnTo>
                    <a:pt x="1416" y="1176"/>
                  </a:lnTo>
                  <a:lnTo>
                    <a:pt x="1416" y="1182"/>
                  </a:lnTo>
                  <a:lnTo>
                    <a:pt x="1410" y="1188"/>
                  </a:lnTo>
                  <a:lnTo>
                    <a:pt x="1404" y="1194"/>
                  </a:lnTo>
                  <a:lnTo>
                    <a:pt x="1404" y="1200"/>
                  </a:lnTo>
                  <a:lnTo>
                    <a:pt x="1404" y="1206"/>
                  </a:lnTo>
                  <a:lnTo>
                    <a:pt x="1398" y="1212"/>
                  </a:lnTo>
                  <a:lnTo>
                    <a:pt x="1398" y="1206"/>
                  </a:lnTo>
                  <a:lnTo>
                    <a:pt x="1392" y="1206"/>
                  </a:lnTo>
                  <a:lnTo>
                    <a:pt x="1386" y="1206"/>
                  </a:lnTo>
                  <a:lnTo>
                    <a:pt x="1380" y="1212"/>
                  </a:lnTo>
                  <a:lnTo>
                    <a:pt x="1374" y="1212"/>
                  </a:lnTo>
                  <a:lnTo>
                    <a:pt x="1368" y="1218"/>
                  </a:lnTo>
                  <a:lnTo>
                    <a:pt x="1362" y="1218"/>
                  </a:lnTo>
                  <a:lnTo>
                    <a:pt x="1362" y="1224"/>
                  </a:lnTo>
                  <a:lnTo>
                    <a:pt x="1356" y="1230"/>
                  </a:lnTo>
                  <a:lnTo>
                    <a:pt x="1350" y="1230"/>
                  </a:lnTo>
                  <a:lnTo>
                    <a:pt x="1344" y="1236"/>
                  </a:lnTo>
                  <a:lnTo>
                    <a:pt x="1338" y="1230"/>
                  </a:lnTo>
                  <a:lnTo>
                    <a:pt x="1332" y="1230"/>
                  </a:lnTo>
                  <a:lnTo>
                    <a:pt x="1326" y="1230"/>
                  </a:lnTo>
                  <a:lnTo>
                    <a:pt x="1320" y="1230"/>
                  </a:lnTo>
                  <a:lnTo>
                    <a:pt x="1314" y="1230"/>
                  </a:lnTo>
                  <a:lnTo>
                    <a:pt x="1296" y="1242"/>
                  </a:lnTo>
                  <a:lnTo>
                    <a:pt x="1296" y="1248"/>
                  </a:lnTo>
                  <a:lnTo>
                    <a:pt x="1290" y="1248"/>
                  </a:lnTo>
                  <a:lnTo>
                    <a:pt x="1290" y="1260"/>
                  </a:lnTo>
                  <a:lnTo>
                    <a:pt x="1278" y="1272"/>
                  </a:lnTo>
                  <a:lnTo>
                    <a:pt x="1278" y="1278"/>
                  </a:lnTo>
                  <a:lnTo>
                    <a:pt x="1278" y="1284"/>
                  </a:lnTo>
                  <a:lnTo>
                    <a:pt x="1278" y="1290"/>
                  </a:lnTo>
                  <a:lnTo>
                    <a:pt x="1284" y="1296"/>
                  </a:lnTo>
                  <a:lnTo>
                    <a:pt x="1302" y="1302"/>
                  </a:lnTo>
                  <a:lnTo>
                    <a:pt x="1308" y="1308"/>
                  </a:lnTo>
                  <a:lnTo>
                    <a:pt x="1308" y="1314"/>
                  </a:lnTo>
                  <a:lnTo>
                    <a:pt x="1302" y="1320"/>
                  </a:lnTo>
                  <a:lnTo>
                    <a:pt x="1278" y="1314"/>
                  </a:lnTo>
                  <a:lnTo>
                    <a:pt x="1266" y="1308"/>
                  </a:lnTo>
                  <a:lnTo>
                    <a:pt x="1260" y="1296"/>
                  </a:lnTo>
                  <a:lnTo>
                    <a:pt x="1236" y="1296"/>
                  </a:lnTo>
                  <a:lnTo>
                    <a:pt x="1224" y="1308"/>
                  </a:lnTo>
                  <a:lnTo>
                    <a:pt x="1218" y="1308"/>
                  </a:lnTo>
                  <a:lnTo>
                    <a:pt x="1218" y="1302"/>
                  </a:lnTo>
                  <a:lnTo>
                    <a:pt x="1212" y="1302"/>
                  </a:lnTo>
                  <a:lnTo>
                    <a:pt x="1206" y="1302"/>
                  </a:lnTo>
                  <a:lnTo>
                    <a:pt x="1170" y="1314"/>
                  </a:lnTo>
                  <a:lnTo>
                    <a:pt x="1134" y="1296"/>
                  </a:lnTo>
                  <a:lnTo>
                    <a:pt x="1122" y="1290"/>
                  </a:lnTo>
                  <a:lnTo>
                    <a:pt x="1104" y="1290"/>
                  </a:lnTo>
                  <a:lnTo>
                    <a:pt x="1098" y="1278"/>
                  </a:lnTo>
                  <a:lnTo>
                    <a:pt x="1092" y="1242"/>
                  </a:lnTo>
                  <a:lnTo>
                    <a:pt x="1086" y="1242"/>
                  </a:lnTo>
                  <a:lnTo>
                    <a:pt x="1086" y="1248"/>
                  </a:lnTo>
                  <a:lnTo>
                    <a:pt x="1086" y="1254"/>
                  </a:lnTo>
                  <a:lnTo>
                    <a:pt x="1080" y="1254"/>
                  </a:lnTo>
                  <a:lnTo>
                    <a:pt x="1080" y="1260"/>
                  </a:lnTo>
                  <a:lnTo>
                    <a:pt x="1074" y="1260"/>
                  </a:lnTo>
                  <a:lnTo>
                    <a:pt x="1068" y="1236"/>
                  </a:lnTo>
                  <a:lnTo>
                    <a:pt x="1068" y="1206"/>
                  </a:lnTo>
                  <a:lnTo>
                    <a:pt x="1080" y="1194"/>
                  </a:lnTo>
                  <a:lnTo>
                    <a:pt x="1086" y="1194"/>
                  </a:lnTo>
                  <a:lnTo>
                    <a:pt x="1092" y="1200"/>
                  </a:lnTo>
                  <a:lnTo>
                    <a:pt x="1098" y="1206"/>
                  </a:lnTo>
                  <a:lnTo>
                    <a:pt x="1104" y="1200"/>
                  </a:lnTo>
                  <a:lnTo>
                    <a:pt x="1104" y="1194"/>
                  </a:lnTo>
                  <a:lnTo>
                    <a:pt x="1110" y="1194"/>
                  </a:lnTo>
                  <a:lnTo>
                    <a:pt x="1110" y="1188"/>
                  </a:lnTo>
                  <a:lnTo>
                    <a:pt x="1116" y="1182"/>
                  </a:lnTo>
                  <a:lnTo>
                    <a:pt x="1110" y="1182"/>
                  </a:lnTo>
                  <a:lnTo>
                    <a:pt x="1110" y="1170"/>
                  </a:lnTo>
                  <a:lnTo>
                    <a:pt x="1110" y="1158"/>
                  </a:lnTo>
                  <a:lnTo>
                    <a:pt x="1110" y="1152"/>
                  </a:lnTo>
                  <a:lnTo>
                    <a:pt x="1104" y="1146"/>
                  </a:lnTo>
                  <a:lnTo>
                    <a:pt x="1098" y="1140"/>
                  </a:lnTo>
                  <a:lnTo>
                    <a:pt x="1098" y="1134"/>
                  </a:lnTo>
                  <a:lnTo>
                    <a:pt x="1098" y="1128"/>
                  </a:lnTo>
                  <a:lnTo>
                    <a:pt x="1092" y="1128"/>
                  </a:lnTo>
                  <a:lnTo>
                    <a:pt x="1092" y="1122"/>
                  </a:lnTo>
                  <a:lnTo>
                    <a:pt x="1092" y="1116"/>
                  </a:lnTo>
                  <a:lnTo>
                    <a:pt x="1092" y="1110"/>
                  </a:lnTo>
                  <a:lnTo>
                    <a:pt x="1056" y="1122"/>
                  </a:lnTo>
                  <a:lnTo>
                    <a:pt x="1038" y="1128"/>
                  </a:lnTo>
                  <a:lnTo>
                    <a:pt x="1032" y="1128"/>
                  </a:lnTo>
                  <a:lnTo>
                    <a:pt x="1026" y="1128"/>
                  </a:lnTo>
                  <a:lnTo>
                    <a:pt x="1020" y="1128"/>
                  </a:lnTo>
                  <a:lnTo>
                    <a:pt x="1014" y="1128"/>
                  </a:lnTo>
                  <a:lnTo>
                    <a:pt x="1014" y="1122"/>
                  </a:lnTo>
                  <a:lnTo>
                    <a:pt x="1008" y="1122"/>
                  </a:lnTo>
                  <a:lnTo>
                    <a:pt x="1002" y="1128"/>
                  </a:lnTo>
                  <a:lnTo>
                    <a:pt x="1002" y="1134"/>
                  </a:lnTo>
                  <a:lnTo>
                    <a:pt x="990" y="1134"/>
                  </a:lnTo>
                  <a:lnTo>
                    <a:pt x="990" y="1140"/>
                  </a:lnTo>
                  <a:lnTo>
                    <a:pt x="984" y="1140"/>
                  </a:lnTo>
                  <a:lnTo>
                    <a:pt x="978" y="1146"/>
                  </a:lnTo>
                  <a:lnTo>
                    <a:pt x="972" y="1140"/>
                  </a:lnTo>
                  <a:lnTo>
                    <a:pt x="966" y="1140"/>
                  </a:lnTo>
                  <a:lnTo>
                    <a:pt x="954" y="1140"/>
                  </a:lnTo>
                  <a:lnTo>
                    <a:pt x="954" y="1134"/>
                  </a:lnTo>
                  <a:lnTo>
                    <a:pt x="948" y="1134"/>
                  </a:lnTo>
                  <a:lnTo>
                    <a:pt x="942" y="1134"/>
                  </a:lnTo>
                  <a:lnTo>
                    <a:pt x="936" y="1134"/>
                  </a:lnTo>
                  <a:lnTo>
                    <a:pt x="930" y="1134"/>
                  </a:lnTo>
                  <a:lnTo>
                    <a:pt x="924" y="1134"/>
                  </a:lnTo>
                  <a:lnTo>
                    <a:pt x="918" y="1134"/>
                  </a:lnTo>
                  <a:lnTo>
                    <a:pt x="918" y="1128"/>
                  </a:lnTo>
                  <a:lnTo>
                    <a:pt x="918" y="1104"/>
                  </a:lnTo>
                  <a:lnTo>
                    <a:pt x="906" y="1104"/>
                  </a:lnTo>
                  <a:lnTo>
                    <a:pt x="900" y="1098"/>
                  </a:lnTo>
                  <a:lnTo>
                    <a:pt x="900" y="1092"/>
                  </a:lnTo>
                  <a:lnTo>
                    <a:pt x="900" y="1086"/>
                  </a:lnTo>
                  <a:lnTo>
                    <a:pt x="900" y="1080"/>
                  </a:lnTo>
                  <a:lnTo>
                    <a:pt x="894" y="1080"/>
                  </a:lnTo>
                  <a:lnTo>
                    <a:pt x="858" y="1074"/>
                  </a:lnTo>
                  <a:lnTo>
                    <a:pt x="852" y="1080"/>
                  </a:lnTo>
                  <a:lnTo>
                    <a:pt x="846" y="1086"/>
                  </a:lnTo>
                  <a:lnTo>
                    <a:pt x="840" y="1086"/>
                  </a:lnTo>
                  <a:lnTo>
                    <a:pt x="840" y="1092"/>
                  </a:lnTo>
                  <a:lnTo>
                    <a:pt x="834" y="1092"/>
                  </a:lnTo>
                  <a:lnTo>
                    <a:pt x="828" y="1098"/>
                  </a:lnTo>
                  <a:lnTo>
                    <a:pt x="822" y="1098"/>
                  </a:lnTo>
                  <a:lnTo>
                    <a:pt x="762" y="1074"/>
                  </a:lnTo>
                  <a:lnTo>
                    <a:pt x="756" y="1068"/>
                  </a:lnTo>
                  <a:lnTo>
                    <a:pt x="750" y="1068"/>
                  </a:lnTo>
                  <a:lnTo>
                    <a:pt x="744" y="1062"/>
                  </a:lnTo>
                  <a:lnTo>
                    <a:pt x="744" y="1068"/>
                  </a:lnTo>
                  <a:lnTo>
                    <a:pt x="744" y="1074"/>
                  </a:lnTo>
                  <a:lnTo>
                    <a:pt x="738" y="1074"/>
                  </a:lnTo>
                  <a:lnTo>
                    <a:pt x="738" y="1068"/>
                  </a:lnTo>
                  <a:lnTo>
                    <a:pt x="732" y="1068"/>
                  </a:lnTo>
                  <a:lnTo>
                    <a:pt x="726" y="1068"/>
                  </a:lnTo>
                  <a:lnTo>
                    <a:pt x="726" y="1074"/>
                  </a:lnTo>
                  <a:lnTo>
                    <a:pt x="720" y="1074"/>
                  </a:lnTo>
                  <a:lnTo>
                    <a:pt x="684" y="1068"/>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19516" name="Freeform 41"/>
            <p:cNvSpPr>
              <a:spLocks/>
            </p:cNvSpPr>
            <p:nvPr/>
          </p:nvSpPr>
          <p:spPr bwMode="gray">
            <a:xfrm>
              <a:off x="5875303" y="1312244"/>
              <a:ext cx="1558207" cy="1901152"/>
            </a:xfrm>
            <a:custGeom>
              <a:avLst/>
              <a:gdLst>
                <a:gd name="T0" fmla="*/ 76659 w 1992"/>
                <a:gd name="T1" fmla="*/ 130613 h 2358"/>
                <a:gd name="T2" fmla="*/ 72748 w 1992"/>
                <a:gd name="T3" fmla="*/ 138676 h 2358"/>
                <a:gd name="T4" fmla="*/ 64143 w 1992"/>
                <a:gd name="T5" fmla="*/ 144320 h 2358"/>
                <a:gd name="T6" fmla="*/ 54756 w 1992"/>
                <a:gd name="T7" fmla="*/ 140289 h 2358"/>
                <a:gd name="T8" fmla="*/ 48498 w 1992"/>
                <a:gd name="T9" fmla="*/ 146739 h 2358"/>
                <a:gd name="T10" fmla="*/ 35200 w 1992"/>
                <a:gd name="T11" fmla="*/ 152382 h 2358"/>
                <a:gd name="T12" fmla="*/ 18774 w 1992"/>
                <a:gd name="T13" fmla="*/ 165282 h 2358"/>
                <a:gd name="T14" fmla="*/ 13298 w 1992"/>
                <a:gd name="T15" fmla="*/ 164476 h 2358"/>
                <a:gd name="T16" fmla="*/ 5476 w 1992"/>
                <a:gd name="T17" fmla="*/ 158832 h 2358"/>
                <a:gd name="T18" fmla="*/ 782 w 1992"/>
                <a:gd name="T19" fmla="*/ 153995 h 2358"/>
                <a:gd name="T20" fmla="*/ 3129 w 1992"/>
                <a:gd name="T21" fmla="*/ 141095 h 2358"/>
                <a:gd name="T22" fmla="*/ 5476 w 1992"/>
                <a:gd name="T23" fmla="*/ 138676 h 2358"/>
                <a:gd name="T24" fmla="*/ 8605 w 1992"/>
                <a:gd name="T25" fmla="*/ 135451 h 2358"/>
                <a:gd name="T26" fmla="*/ 3911 w 1992"/>
                <a:gd name="T27" fmla="*/ 128195 h 2358"/>
                <a:gd name="T28" fmla="*/ 7822 w 1992"/>
                <a:gd name="T29" fmla="*/ 125776 h 2358"/>
                <a:gd name="T30" fmla="*/ 11733 w 1992"/>
                <a:gd name="T31" fmla="*/ 124970 h 2358"/>
                <a:gd name="T32" fmla="*/ 18774 w 1992"/>
                <a:gd name="T33" fmla="*/ 120132 h 2358"/>
                <a:gd name="T34" fmla="*/ 29725 w 1992"/>
                <a:gd name="T35" fmla="*/ 102395 h 2358"/>
                <a:gd name="T36" fmla="*/ 29725 w 1992"/>
                <a:gd name="T37" fmla="*/ 86269 h 2358"/>
                <a:gd name="T38" fmla="*/ 35200 w 1992"/>
                <a:gd name="T39" fmla="*/ 53213 h 2358"/>
                <a:gd name="T40" fmla="*/ 36765 w 1992"/>
                <a:gd name="T41" fmla="*/ 29025 h 2358"/>
                <a:gd name="T42" fmla="*/ 39894 w 1992"/>
                <a:gd name="T43" fmla="*/ 28219 h 2358"/>
                <a:gd name="T44" fmla="*/ 43023 w 1992"/>
                <a:gd name="T45" fmla="*/ 24188 h 2358"/>
                <a:gd name="T46" fmla="*/ 43805 w 1992"/>
                <a:gd name="T47" fmla="*/ 21769 h 2358"/>
                <a:gd name="T48" fmla="*/ 46934 w 1992"/>
                <a:gd name="T49" fmla="*/ 18544 h 2358"/>
                <a:gd name="T50" fmla="*/ 49281 w 1992"/>
                <a:gd name="T51" fmla="*/ 18544 h 2358"/>
                <a:gd name="T52" fmla="*/ 54756 w 1992"/>
                <a:gd name="T53" fmla="*/ 14513 h 2358"/>
                <a:gd name="T54" fmla="*/ 55539 w 1992"/>
                <a:gd name="T55" fmla="*/ 12094 h 2358"/>
                <a:gd name="T56" fmla="*/ 56321 w 1992"/>
                <a:gd name="T57" fmla="*/ 10481 h 2358"/>
                <a:gd name="T58" fmla="*/ 60232 w 1992"/>
                <a:gd name="T59" fmla="*/ 9675 h 2358"/>
                <a:gd name="T60" fmla="*/ 64925 w 1992"/>
                <a:gd name="T61" fmla="*/ 8063 h 2358"/>
                <a:gd name="T62" fmla="*/ 68054 w 1992"/>
                <a:gd name="T63" fmla="*/ 8063 h 2358"/>
                <a:gd name="T64" fmla="*/ 69619 w 1992"/>
                <a:gd name="T65" fmla="*/ 8063 h 2358"/>
                <a:gd name="T66" fmla="*/ 72748 w 1992"/>
                <a:gd name="T67" fmla="*/ 6450 h 2358"/>
                <a:gd name="T68" fmla="*/ 74312 w 1992"/>
                <a:gd name="T69" fmla="*/ 3225 h 2358"/>
                <a:gd name="T70" fmla="*/ 77441 w 1992"/>
                <a:gd name="T71" fmla="*/ 0 h 2358"/>
                <a:gd name="T72" fmla="*/ 86828 w 1992"/>
                <a:gd name="T73" fmla="*/ 0 h 2358"/>
                <a:gd name="T74" fmla="*/ 94650 w 1992"/>
                <a:gd name="T75" fmla="*/ 7256 h 2358"/>
                <a:gd name="T76" fmla="*/ 100126 w 1992"/>
                <a:gd name="T77" fmla="*/ 15319 h 2358"/>
                <a:gd name="T78" fmla="*/ 107948 w 1992"/>
                <a:gd name="T79" fmla="*/ 26606 h 2358"/>
                <a:gd name="T80" fmla="*/ 111077 w 1992"/>
                <a:gd name="T81" fmla="*/ 37894 h 2358"/>
                <a:gd name="T82" fmla="*/ 113424 w 1992"/>
                <a:gd name="T83" fmla="*/ 49988 h 2358"/>
                <a:gd name="T84" fmla="*/ 113424 w 1992"/>
                <a:gd name="T85" fmla="*/ 56438 h 2358"/>
                <a:gd name="T86" fmla="*/ 114988 w 1992"/>
                <a:gd name="T87" fmla="*/ 60469 h 2358"/>
                <a:gd name="T88" fmla="*/ 119682 w 1992"/>
                <a:gd name="T89" fmla="*/ 60469 h 2358"/>
                <a:gd name="T90" fmla="*/ 125157 w 1992"/>
                <a:gd name="T91" fmla="*/ 61275 h 2358"/>
                <a:gd name="T92" fmla="*/ 128286 w 1992"/>
                <a:gd name="T93" fmla="*/ 63694 h 2358"/>
                <a:gd name="T94" fmla="*/ 131415 w 1992"/>
                <a:gd name="T95" fmla="*/ 66919 h 2358"/>
                <a:gd name="T96" fmla="*/ 134544 w 1992"/>
                <a:gd name="T97" fmla="*/ 69338 h 2358"/>
                <a:gd name="T98" fmla="*/ 132980 w 1992"/>
                <a:gd name="T99" fmla="*/ 74982 h 2358"/>
                <a:gd name="T100" fmla="*/ 132980 w 1992"/>
                <a:gd name="T101" fmla="*/ 79819 h 2358"/>
                <a:gd name="T102" fmla="*/ 132197 w 1992"/>
                <a:gd name="T103" fmla="*/ 85463 h 2358"/>
                <a:gd name="T104" fmla="*/ 129851 w 1992"/>
                <a:gd name="T105" fmla="*/ 91107 h 2358"/>
                <a:gd name="T106" fmla="*/ 132980 w 1992"/>
                <a:gd name="T107" fmla="*/ 98363 h 2358"/>
                <a:gd name="T108" fmla="*/ 124375 w 1992"/>
                <a:gd name="T109" fmla="*/ 103201 h 2358"/>
                <a:gd name="T110" fmla="*/ 115770 w 1992"/>
                <a:gd name="T111" fmla="*/ 108038 h 2358"/>
                <a:gd name="T112" fmla="*/ 108730 w 1992"/>
                <a:gd name="T113" fmla="*/ 109651 h 2358"/>
                <a:gd name="T114" fmla="*/ 103255 w 1992"/>
                <a:gd name="T115" fmla="*/ 111263 h 2358"/>
                <a:gd name="T116" fmla="*/ 100126 w 1992"/>
                <a:gd name="T117" fmla="*/ 116907 h 2358"/>
                <a:gd name="T118" fmla="*/ 96997 w 1992"/>
                <a:gd name="T119" fmla="*/ 120938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92"/>
                <a:gd name="T181" fmla="*/ 0 h 2358"/>
                <a:gd name="T182" fmla="*/ 1992 w 1992"/>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92" h="2358">
                  <a:moveTo>
                    <a:pt x="1356" y="1782"/>
                  </a:moveTo>
                  <a:lnTo>
                    <a:pt x="1350" y="1788"/>
                  </a:lnTo>
                  <a:lnTo>
                    <a:pt x="1266" y="1788"/>
                  </a:lnTo>
                  <a:lnTo>
                    <a:pt x="1260" y="1800"/>
                  </a:lnTo>
                  <a:lnTo>
                    <a:pt x="1242" y="1806"/>
                  </a:lnTo>
                  <a:lnTo>
                    <a:pt x="1218" y="1812"/>
                  </a:lnTo>
                  <a:lnTo>
                    <a:pt x="1182" y="1812"/>
                  </a:lnTo>
                  <a:lnTo>
                    <a:pt x="1158" y="1806"/>
                  </a:lnTo>
                  <a:lnTo>
                    <a:pt x="1134" y="1800"/>
                  </a:lnTo>
                  <a:lnTo>
                    <a:pt x="1134" y="1806"/>
                  </a:lnTo>
                  <a:lnTo>
                    <a:pt x="1134" y="1830"/>
                  </a:lnTo>
                  <a:lnTo>
                    <a:pt x="1128" y="1842"/>
                  </a:lnTo>
                  <a:lnTo>
                    <a:pt x="1128" y="1854"/>
                  </a:lnTo>
                  <a:lnTo>
                    <a:pt x="1128" y="1860"/>
                  </a:lnTo>
                  <a:lnTo>
                    <a:pt x="1128" y="1866"/>
                  </a:lnTo>
                  <a:lnTo>
                    <a:pt x="1128" y="1872"/>
                  </a:lnTo>
                  <a:lnTo>
                    <a:pt x="1128" y="1884"/>
                  </a:lnTo>
                  <a:lnTo>
                    <a:pt x="1128" y="1890"/>
                  </a:lnTo>
                  <a:lnTo>
                    <a:pt x="1128" y="1896"/>
                  </a:lnTo>
                  <a:lnTo>
                    <a:pt x="1122" y="1902"/>
                  </a:lnTo>
                  <a:lnTo>
                    <a:pt x="1122" y="1920"/>
                  </a:lnTo>
                  <a:lnTo>
                    <a:pt x="1116" y="1920"/>
                  </a:lnTo>
                  <a:lnTo>
                    <a:pt x="1110" y="1926"/>
                  </a:lnTo>
                  <a:lnTo>
                    <a:pt x="1110" y="1932"/>
                  </a:lnTo>
                  <a:lnTo>
                    <a:pt x="1104" y="1938"/>
                  </a:lnTo>
                  <a:lnTo>
                    <a:pt x="1086" y="1962"/>
                  </a:lnTo>
                  <a:lnTo>
                    <a:pt x="1074" y="1974"/>
                  </a:lnTo>
                  <a:lnTo>
                    <a:pt x="1074" y="1980"/>
                  </a:lnTo>
                  <a:lnTo>
                    <a:pt x="1068" y="1986"/>
                  </a:lnTo>
                  <a:lnTo>
                    <a:pt x="1062" y="1998"/>
                  </a:lnTo>
                  <a:lnTo>
                    <a:pt x="1062" y="2004"/>
                  </a:lnTo>
                  <a:lnTo>
                    <a:pt x="1068" y="2004"/>
                  </a:lnTo>
                  <a:lnTo>
                    <a:pt x="1056" y="2034"/>
                  </a:lnTo>
                  <a:lnTo>
                    <a:pt x="1050" y="2076"/>
                  </a:lnTo>
                  <a:lnTo>
                    <a:pt x="1056" y="2100"/>
                  </a:lnTo>
                  <a:lnTo>
                    <a:pt x="1038" y="2106"/>
                  </a:lnTo>
                  <a:lnTo>
                    <a:pt x="1002" y="2106"/>
                  </a:lnTo>
                  <a:lnTo>
                    <a:pt x="978" y="2094"/>
                  </a:lnTo>
                  <a:lnTo>
                    <a:pt x="972" y="2082"/>
                  </a:lnTo>
                  <a:lnTo>
                    <a:pt x="966" y="2070"/>
                  </a:lnTo>
                  <a:lnTo>
                    <a:pt x="954" y="2064"/>
                  </a:lnTo>
                  <a:lnTo>
                    <a:pt x="942" y="2058"/>
                  </a:lnTo>
                  <a:lnTo>
                    <a:pt x="936" y="2058"/>
                  </a:lnTo>
                  <a:lnTo>
                    <a:pt x="918" y="2046"/>
                  </a:lnTo>
                  <a:lnTo>
                    <a:pt x="906" y="2028"/>
                  </a:lnTo>
                  <a:lnTo>
                    <a:pt x="900" y="2022"/>
                  </a:lnTo>
                  <a:lnTo>
                    <a:pt x="894" y="2022"/>
                  </a:lnTo>
                  <a:lnTo>
                    <a:pt x="882" y="2022"/>
                  </a:lnTo>
                  <a:lnTo>
                    <a:pt x="870" y="2016"/>
                  </a:lnTo>
                  <a:lnTo>
                    <a:pt x="864" y="2016"/>
                  </a:lnTo>
                  <a:lnTo>
                    <a:pt x="852" y="2010"/>
                  </a:lnTo>
                  <a:lnTo>
                    <a:pt x="846" y="2004"/>
                  </a:lnTo>
                  <a:lnTo>
                    <a:pt x="840" y="2004"/>
                  </a:lnTo>
                  <a:lnTo>
                    <a:pt x="828" y="1998"/>
                  </a:lnTo>
                  <a:lnTo>
                    <a:pt x="816" y="1998"/>
                  </a:lnTo>
                  <a:lnTo>
                    <a:pt x="810" y="1998"/>
                  </a:lnTo>
                  <a:lnTo>
                    <a:pt x="804" y="1998"/>
                  </a:lnTo>
                  <a:lnTo>
                    <a:pt x="798" y="1998"/>
                  </a:lnTo>
                  <a:lnTo>
                    <a:pt x="792" y="2004"/>
                  </a:lnTo>
                  <a:lnTo>
                    <a:pt x="786" y="2010"/>
                  </a:lnTo>
                  <a:lnTo>
                    <a:pt x="762" y="2010"/>
                  </a:lnTo>
                  <a:lnTo>
                    <a:pt x="756" y="2010"/>
                  </a:lnTo>
                  <a:lnTo>
                    <a:pt x="744" y="2022"/>
                  </a:lnTo>
                  <a:lnTo>
                    <a:pt x="738" y="2034"/>
                  </a:lnTo>
                  <a:lnTo>
                    <a:pt x="732" y="2040"/>
                  </a:lnTo>
                  <a:lnTo>
                    <a:pt x="732" y="2046"/>
                  </a:lnTo>
                  <a:lnTo>
                    <a:pt x="726" y="2058"/>
                  </a:lnTo>
                  <a:lnTo>
                    <a:pt x="720" y="2064"/>
                  </a:lnTo>
                  <a:lnTo>
                    <a:pt x="714" y="2070"/>
                  </a:lnTo>
                  <a:lnTo>
                    <a:pt x="708" y="2088"/>
                  </a:lnTo>
                  <a:lnTo>
                    <a:pt x="702" y="2100"/>
                  </a:lnTo>
                  <a:lnTo>
                    <a:pt x="690" y="2100"/>
                  </a:lnTo>
                  <a:lnTo>
                    <a:pt x="684" y="2094"/>
                  </a:lnTo>
                  <a:lnTo>
                    <a:pt x="666" y="2100"/>
                  </a:lnTo>
                  <a:lnTo>
                    <a:pt x="636" y="2106"/>
                  </a:lnTo>
                  <a:lnTo>
                    <a:pt x="636" y="2112"/>
                  </a:lnTo>
                  <a:lnTo>
                    <a:pt x="636" y="2118"/>
                  </a:lnTo>
                  <a:lnTo>
                    <a:pt x="636" y="2124"/>
                  </a:lnTo>
                  <a:lnTo>
                    <a:pt x="630" y="2124"/>
                  </a:lnTo>
                  <a:lnTo>
                    <a:pt x="630" y="2148"/>
                  </a:lnTo>
                  <a:lnTo>
                    <a:pt x="612" y="2160"/>
                  </a:lnTo>
                  <a:lnTo>
                    <a:pt x="576" y="2172"/>
                  </a:lnTo>
                  <a:lnTo>
                    <a:pt x="546" y="2172"/>
                  </a:lnTo>
                  <a:lnTo>
                    <a:pt x="516" y="2172"/>
                  </a:lnTo>
                  <a:lnTo>
                    <a:pt x="486" y="2172"/>
                  </a:lnTo>
                  <a:lnTo>
                    <a:pt x="462" y="2172"/>
                  </a:lnTo>
                  <a:lnTo>
                    <a:pt x="444" y="2196"/>
                  </a:lnTo>
                  <a:lnTo>
                    <a:pt x="432" y="2232"/>
                  </a:lnTo>
                  <a:lnTo>
                    <a:pt x="408" y="2238"/>
                  </a:lnTo>
                  <a:lnTo>
                    <a:pt x="390" y="2256"/>
                  </a:lnTo>
                  <a:lnTo>
                    <a:pt x="372" y="2274"/>
                  </a:lnTo>
                  <a:lnTo>
                    <a:pt x="360" y="2274"/>
                  </a:lnTo>
                  <a:lnTo>
                    <a:pt x="336" y="2328"/>
                  </a:lnTo>
                  <a:lnTo>
                    <a:pt x="324" y="2340"/>
                  </a:lnTo>
                  <a:lnTo>
                    <a:pt x="300" y="2346"/>
                  </a:lnTo>
                  <a:lnTo>
                    <a:pt x="294" y="2352"/>
                  </a:lnTo>
                  <a:lnTo>
                    <a:pt x="288" y="2352"/>
                  </a:lnTo>
                  <a:lnTo>
                    <a:pt x="282" y="2352"/>
                  </a:lnTo>
                  <a:lnTo>
                    <a:pt x="276" y="2352"/>
                  </a:lnTo>
                  <a:lnTo>
                    <a:pt x="270" y="2352"/>
                  </a:lnTo>
                  <a:lnTo>
                    <a:pt x="270" y="2346"/>
                  </a:lnTo>
                  <a:lnTo>
                    <a:pt x="264" y="2346"/>
                  </a:lnTo>
                  <a:lnTo>
                    <a:pt x="258" y="2352"/>
                  </a:lnTo>
                  <a:lnTo>
                    <a:pt x="252" y="2352"/>
                  </a:lnTo>
                  <a:lnTo>
                    <a:pt x="240" y="2352"/>
                  </a:lnTo>
                  <a:lnTo>
                    <a:pt x="228" y="2352"/>
                  </a:lnTo>
                  <a:lnTo>
                    <a:pt x="222" y="2352"/>
                  </a:lnTo>
                  <a:lnTo>
                    <a:pt x="216" y="2358"/>
                  </a:lnTo>
                  <a:lnTo>
                    <a:pt x="216" y="2352"/>
                  </a:lnTo>
                  <a:lnTo>
                    <a:pt x="210" y="2346"/>
                  </a:lnTo>
                  <a:lnTo>
                    <a:pt x="204" y="2346"/>
                  </a:lnTo>
                  <a:lnTo>
                    <a:pt x="198" y="2340"/>
                  </a:lnTo>
                  <a:lnTo>
                    <a:pt x="192" y="2340"/>
                  </a:lnTo>
                  <a:lnTo>
                    <a:pt x="186" y="2340"/>
                  </a:lnTo>
                  <a:lnTo>
                    <a:pt x="180" y="2340"/>
                  </a:lnTo>
                  <a:lnTo>
                    <a:pt x="174" y="2340"/>
                  </a:lnTo>
                  <a:lnTo>
                    <a:pt x="162" y="2328"/>
                  </a:lnTo>
                  <a:lnTo>
                    <a:pt x="156" y="2322"/>
                  </a:lnTo>
                  <a:lnTo>
                    <a:pt x="156" y="2316"/>
                  </a:lnTo>
                  <a:lnTo>
                    <a:pt x="156" y="2310"/>
                  </a:lnTo>
                  <a:lnTo>
                    <a:pt x="132" y="2286"/>
                  </a:lnTo>
                  <a:lnTo>
                    <a:pt x="120" y="2280"/>
                  </a:lnTo>
                  <a:lnTo>
                    <a:pt x="96" y="2274"/>
                  </a:lnTo>
                  <a:lnTo>
                    <a:pt x="84" y="2268"/>
                  </a:lnTo>
                  <a:lnTo>
                    <a:pt x="78" y="2268"/>
                  </a:lnTo>
                  <a:lnTo>
                    <a:pt x="78" y="2262"/>
                  </a:lnTo>
                  <a:lnTo>
                    <a:pt x="78" y="2256"/>
                  </a:lnTo>
                  <a:lnTo>
                    <a:pt x="78" y="2250"/>
                  </a:lnTo>
                  <a:lnTo>
                    <a:pt x="72" y="2250"/>
                  </a:lnTo>
                  <a:lnTo>
                    <a:pt x="66" y="2250"/>
                  </a:lnTo>
                  <a:lnTo>
                    <a:pt x="60" y="2250"/>
                  </a:lnTo>
                  <a:lnTo>
                    <a:pt x="48" y="2244"/>
                  </a:lnTo>
                  <a:lnTo>
                    <a:pt x="36" y="2238"/>
                  </a:lnTo>
                  <a:lnTo>
                    <a:pt x="36" y="2226"/>
                  </a:lnTo>
                  <a:lnTo>
                    <a:pt x="30" y="2226"/>
                  </a:lnTo>
                  <a:lnTo>
                    <a:pt x="30" y="2220"/>
                  </a:lnTo>
                  <a:lnTo>
                    <a:pt x="24" y="2208"/>
                  </a:lnTo>
                  <a:lnTo>
                    <a:pt x="18" y="2202"/>
                  </a:lnTo>
                  <a:lnTo>
                    <a:pt x="18" y="2196"/>
                  </a:lnTo>
                  <a:lnTo>
                    <a:pt x="12" y="2190"/>
                  </a:lnTo>
                  <a:lnTo>
                    <a:pt x="0" y="2190"/>
                  </a:lnTo>
                  <a:lnTo>
                    <a:pt x="6" y="2184"/>
                  </a:lnTo>
                  <a:lnTo>
                    <a:pt x="12" y="2178"/>
                  </a:lnTo>
                  <a:lnTo>
                    <a:pt x="18" y="2172"/>
                  </a:lnTo>
                  <a:lnTo>
                    <a:pt x="24" y="2166"/>
                  </a:lnTo>
                  <a:lnTo>
                    <a:pt x="30" y="2166"/>
                  </a:lnTo>
                  <a:lnTo>
                    <a:pt x="24" y="2160"/>
                  </a:lnTo>
                  <a:lnTo>
                    <a:pt x="30" y="2160"/>
                  </a:lnTo>
                  <a:lnTo>
                    <a:pt x="36" y="2154"/>
                  </a:lnTo>
                  <a:lnTo>
                    <a:pt x="36" y="2136"/>
                  </a:lnTo>
                  <a:lnTo>
                    <a:pt x="36" y="2118"/>
                  </a:lnTo>
                  <a:lnTo>
                    <a:pt x="48" y="2058"/>
                  </a:lnTo>
                  <a:lnTo>
                    <a:pt x="48" y="2022"/>
                  </a:lnTo>
                  <a:lnTo>
                    <a:pt x="48" y="2016"/>
                  </a:lnTo>
                  <a:lnTo>
                    <a:pt x="48" y="2010"/>
                  </a:lnTo>
                  <a:lnTo>
                    <a:pt x="48" y="2004"/>
                  </a:lnTo>
                  <a:lnTo>
                    <a:pt x="42" y="2004"/>
                  </a:lnTo>
                  <a:lnTo>
                    <a:pt x="42" y="1998"/>
                  </a:lnTo>
                  <a:lnTo>
                    <a:pt x="36" y="1992"/>
                  </a:lnTo>
                  <a:lnTo>
                    <a:pt x="42" y="1992"/>
                  </a:lnTo>
                  <a:lnTo>
                    <a:pt x="42" y="1986"/>
                  </a:lnTo>
                  <a:lnTo>
                    <a:pt x="48" y="1986"/>
                  </a:lnTo>
                  <a:lnTo>
                    <a:pt x="54" y="1986"/>
                  </a:lnTo>
                  <a:lnTo>
                    <a:pt x="60" y="1986"/>
                  </a:lnTo>
                  <a:lnTo>
                    <a:pt x="66" y="1980"/>
                  </a:lnTo>
                  <a:lnTo>
                    <a:pt x="72" y="1974"/>
                  </a:lnTo>
                  <a:lnTo>
                    <a:pt x="78" y="1974"/>
                  </a:lnTo>
                  <a:lnTo>
                    <a:pt x="84" y="1974"/>
                  </a:lnTo>
                  <a:lnTo>
                    <a:pt x="90" y="1974"/>
                  </a:lnTo>
                  <a:lnTo>
                    <a:pt x="96" y="1974"/>
                  </a:lnTo>
                  <a:lnTo>
                    <a:pt x="96" y="1968"/>
                  </a:lnTo>
                  <a:lnTo>
                    <a:pt x="102" y="1968"/>
                  </a:lnTo>
                  <a:lnTo>
                    <a:pt x="102" y="1962"/>
                  </a:lnTo>
                  <a:lnTo>
                    <a:pt x="108" y="1962"/>
                  </a:lnTo>
                  <a:lnTo>
                    <a:pt x="114" y="1956"/>
                  </a:lnTo>
                  <a:lnTo>
                    <a:pt x="120" y="1956"/>
                  </a:lnTo>
                  <a:lnTo>
                    <a:pt x="126" y="1950"/>
                  </a:lnTo>
                  <a:lnTo>
                    <a:pt x="132" y="1950"/>
                  </a:lnTo>
                  <a:lnTo>
                    <a:pt x="132" y="1944"/>
                  </a:lnTo>
                  <a:lnTo>
                    <a:pt x="126" y="1944"/>
                  </a:lnTo>
                  <a:lnTo>
                    <a:pt x="126" y="1938"/>
                  </a:lnTo>
                  <a:lnTo>
                    <a:pt x="126" y="1932"/>
                  </a:lnTo>
                  <a:lnTo>
                    <a:pt x="126" y="1926"/>
                  </a:lnTo>
                  <a:lnTo>
                    <a:pt x="114" y="1914"/>
                  </a:lnTo>
                  <a:lnTo>
                    <a:pt x="114" y="1896"/>
                  </a:lnTo>
                  <a:lnTo>
                    <a:pt x="108" y="1884"/>
                  </a:lnTo>
                  <a:lnTo>
                    <a:pt x="102" y="1872"/>
                  </a:lnTo>
                  <a:lnTo>
                    <a:pt x="96" y="1866"/>
                  </a:lnTo>
                  <a:lnTo>
                    <a:pt x="96" y="1860"/>
                  </a:lnTo>
                  <a:lnTo>
                    <a:pt x="90" y="1860"/>
                  </a:lnTo>
                  <a:lnTo>
                    <a:pt x="90" y="1854"/>
                  </a:lnTo>
                  <a:lnTo>
                    <a:pt x="84" y="1848"/>
                  </a:lnTo>
                  <a:lnTo>
                    <a:pt x="78" y="1842"/>
                  </a:lnTo>
                  <a:lnTo>
                    <a:pt x="72" y="1836"/>
                  </a:lnTo>
                  <a:lnTo>
                    <a:pt x="66" y="1830"/>
                  </a:lnTo>
                  <a:lnTo>
                    <a:pt x="60" y="1824"/>
                  </a:lnTo>
                  <a:lnTo>
                    <a:pt x="54" y="1824"/>
                  </a:lnTo>
                  <a:lnTo>
                    <a:pt x="48" y="1824"/>
                  </a:lnTo>
                  <a:lnTo>
                    <a:pt x="42" y="1818"/>
                  </a:lnTo>
                  <a:lnTo>
                    <a:pt x="54" y="1818"/>
                  </a:lnTo>
                  <a:lnTo>
                    <a:pt x="60" y="1812"/>
                  </a:lnTo>
                  <a:lnTo>
                    <a:pt x="66" y="1812"/>
                  </a:lnTo>
                  <a:lnTo>
                    <a:pt x="72" y="1812"/>
                  </a:lnTo>
                  <a:lnTo>
                    <a:pt x="78" y="1812"/>
                  </a:lnTo>
                  <a:lnTo>
                    <a:pt x="84" y="1812"/>
                  </a:lnTo>
                  <a:lnTo>
                    <a:pt x="90" y="1806"/>
                  </a:lnTo>
                  <a:lnTo>
                    <a:pt x="96" y="1800"/>
                  </a:lnTo>
                  <a:lnTo>
                    <a:pt x="102" y="1806"/>
                  </a:lnTo>
                  <a:lnTo>
                    <a:pt x="108" y="1800"/>
                  </a:lnTo>
                  <a:lnTo>
                    <a:pt x="114" y="1794"/>
                  </a:lnTo>
                  <a:lnTo>
                    <a:pt x="120" y="1794"/>
                  </a:lnTo>
                  <a:lnTo>
                    <a:pt x="114" y="1794"/>
                  </a:lnTo>
                  <a:lnTo>
                    <a:pt x="120" y="1794"/>
                  </a:lnTo>
                  <a:lnTo>
                    <a:pt x="126" y="1788"/>
                  </a:lnTo>
                  <a:lnTo>
                    <a:pt x="126" y="1794"/>
                  </a:lnTo>
                  <a:lnTo>
                    <a:pt x="132" y="1794"/>
                  </a:lnTo>
                  <a:lnTo>
                    <a:pt x="132" y="1788"/>
                  </a:lnTo>
                  <a:lnTo>
                    <a:pt x="138" y="1788"/>
                  </a:lnTo>
                  <a:lnTo>
                    <a:pt x="138" y="1782"/>
                  </a:lnTo>
                  <a:lnTo>
                    <a:pt x="144" y="1782"/>
                  </a:lnTo>
                  <a:lnTo>
                    <a:pt x="150" y="1776"/>
                  </a:lnTo>
                  <a:lnTo>
                    <a:pt x="156" y="1782"/>
                  </a:lnTo>
                  <a:lnTo>
                    <a:pt x="162" y="1776"/>
                  </a:lnTo>
                  <a:lnTo>
                    <a:pt x="168" y="1776"/>
                  </a:lnTo>
                  <a:lnTo>
                    <a:pt x="180" y="1776"/>
                  </a:lnTo>
                  <a:lnTo>
                    <a:pt x="186" y="1776"/>
                  </a:lnTo>
                  <a:lnTo>
                    <a:pt x="186" y="1782"/>
                  </a:lnTo>
                  <a:lnTo>
                    <a:pt x="192" y="1776"/>
                  </a:lnTo>
                  <a:lnTo>
                    <a:pt x="198" y="1776"/>
                  </a:lnTo>
                  <a:lnTo>
                    <a:pt x="204" y="1770"/>
                  </a:lnTo>
                  <a:lnTo>
                    <a:pt x="204" y="1764"/>
                  </a:lnTo>
                  <a:lnTo>
                    <a:pt x="210" y="1764"/>
                  </a:lnTo>
                  <a:lnTo>
                    <a:pt x="216" y="1764"/>
                  </a:lnTo>
                  <a:lnTo>
                    <a:pt x="216" y="1758"/>
                  </a:lnTo>
                  <a:lnTo>
                    <a:pt x="222" y="1758"/>
                  </a:lnTo>
                  <a:lnTo>
                    <a:pt x="228" y="1758"/>
                  </a:lnTo>
                  <a:lnTo>
                    <a:pt x="258" y="1746"/>
                  </a:lnTo>
                  <a:lnTo>
                    <a:pt x="282" y="1716"/>
                  </a:lnTo>
                  <a:lnTo>
                    <a:pt x="300" y="1698"/>
                  </a:lnTo>
                  <a:lnTo>
                    <a:pt x="312" y="1698"/>
                  </a:lnTo>
                  <a:lnTo>
                    <a:pt x="336" y="1698"/>
                  </a:lnTo>
                  <a:lnTo>
                    <a:pt x="360" y="1698"/>
                  </a:lnTo>
                  <a:lnTo>
                    <a:pt x="372" y="1692"/>
                  </a:lnTo>
                  <a:lnTo>
                    <a:pt x="384" y="1692"/>
                  </a:lnTo>
                  <a:lnTo>
                    <a:pt x="360" y="1668"/>
                  </a:lnTo>
                  <a:lnTo>
                    <a:pt x="348" y="1626"/>
                  </a:lnTo>
                  <a:lnTo>
                    <a:pt x="354" y="1578"/>
                  </a:lnTo>
                  <a:lnTo>
                    <a:pt x="354" y="1572"/>
                  </a:lnTo>
                  <a:lnTo>
                    <a:pt x="360" y="1572"/>
                  </a:lnTo>
                  <a:lnTo>
                    <a:pt x="396" y="1530"/>
                  </a:lnTo>
                  <a:lnTo>
                    <a:pt x="408" y="1482"/>
                  </a:lnTo>
                  <a:lnTo>
                    <a:pt x="438" y="1458"/>
                  </a:lnTo>
                  <a:lnTo>
                    <a:pt x="468" y="1422"/>
                  </a:lnTo>
                  <a:lnTo>
                    <a:pt x="480" y="1410"/>
                  </a:lnTo>
                  <a:lnTo>
                    <a:pt x="474" y="1386"/>
                  </a:lnTo>
                  <a:lnTo>
                    <a:pt x="456" y="1356"/>
                  </a:lnTo>
                  <a:lnTo>
                    <a:pt x="438" y="1350"/>
                  </a:lnTo>
                  <a:lnTo>
                    <a:pt x="420" y="1350"/>
                  </a:lnTo>
                  <a:lnTo>
                    <a:pt x="402" y="1350"/>
                  </a:lnTo>
                  <a:lnTo>
                    <a:pt x="390" y="1344"/>
                  </a:lnTo>
                  <a:lnTo>
                    <a:pt x="390" y="1332"/>
                  </a:lnTo>
                  <a:lnTo>
                    <a:pt x="402" y="1296"/>
                  </a:lnTo>
                  <a:lnTo>
                    <a:pt x="414" y="1260"/>
                  </a:lnTo>
                  <a:lnTo>
                    <a:pt x="426" y="1248"/>
                  </a:lnTo>
                  <a:lnTo>
                    <a:pt x="438" y="1242"/>
                  </a:lnTo>
                  <a:lnTo>
                    <a:pt x="432" y="1230"/>
                  </a:lnTo>
                  <a:lnTo>
                    <a:pt x="432" y="1224"/>
                  </a:lnTo>
                  <a:lnTo>
                    <a:pt x="426" y="1218"/>
                  </a:lnTo>
                  <a:lnTo>
                    <a:pt x="426" y="1206"/>
                  </a:lnTo>
                  <a:lnTo>
                    <a:pt x="426" y="1200"/>
                  </a:lnTo>
                  <a:lnTo>
                    <a:pt x="432" y="1194"/>
                  </a:lnTo>
                  <a:lnTo>
                    <a:pt x="426" y="1188"/>
                  </a:lnTo>
                  <a:lnTo>
                    <a:pt x="432" y="1104"/>
                  </a:lnTo>
                  <a:lnTo>
                    <a:pt x="438" y="1086"/>
                  </a:lnTo>
                  <a:lnTo>
                    <a:pt x="462" y="972"/>
                  </a:lnTo>
                  <a:lnTo>
                    <a:pt x="456" y="900"/>
                  </a:lnTo>
                  <a:lnTo>
                    <a:pt x="444" y="846"/>
                  </a:lnTo>
                  <a:lnTo>
                    <a:pt x="456" y="810"/>
                  </a:lnTo>
                  <a:lnTo>
                    <a:pt x="492" y="786"/>
                  </a:lnTo>
                  <a:lnTo>
                    <a:pt x="522" y="762"/>
                  </a:lnTo>
                  <a:lnTo>
                    <a:pt x="546" y="732"/>
                  </a:lnTo>
                  <a:lnTo>
                    <a:pt x="570" y="696"/>
                  </a:lnTo>
                  <a:lnTo>
                    <a:pt x="582" y="654"/>
                  </a:lnTo>
                  <a:lnTo>
                    <a:pt x="564" y="642"/>
                  </a:lnTo>
                  <a:lnTo>
                    <a:pt x="522" y="588"/>
                  </a:lnTo>
                  <a:lnTo>
                    <a:pt x="516" y="546"/>
                  </a:lnTo>
                  <a:lnTo>
                    <a:pt x="510" y="474"/>
                  </a:lnTo>
                  <a:lnTo>
                    <a:pt x="510" y="450"/>
                  </a:lnTo>
                  <a:lnTo>
                    <a:pt x="510" y="444"/>
                  </a:lnTo>
                  <a:lnTo>
                    <a:pt x="522" y="438"/>
                  </a:lnTo>
                  <a:lnTo>
                    <a:pt x="522" y="432"/>
                  </a:lnTo>
                  <a:lnTo>
                    <a:pt x="528" y="426"/>
                  </a:lnTo>
                  <a:lnTo>
                    <a:pt x="534" y="420"/>
                  </a:lnTo>
                  <a:lnTo>
                    <a:pt x="540" y="414"/>
                  </a:lnTo>
                  <a:lnTo>
                    <a:pt x="540" y="408"/>
                  </a:lnTo>
                  <a:lnTo>
                    <a:pt x="534" y="408"/>
                  </a:lnTo>
                  <a:lnTo>
                    <a:pt x="540" y="408"/>
                  </a:lnTo>
                  <a:lnTo>
                    <a:pt x="546" y="408"/>
                  </a:lnTo>
                  <a:lnTo>
                    <a:pt x="558" y="414"/>
                  </a:lnTo>
                  <a:lnTo>
                    <a:pt x="564" y="414"/>
                  </a:lnTo>
                  <a:lnTo>
                    <a:pt x="570" y="414"/>
                  </a:lnTo>
                  <a:lnTo>
                    <a:pt x="582" y="414"/>
                  </a:lnTo>
                  <a:lnTo>
                    <a:pt x="582" y="420"/>
                  </a:lnTo>
                  <a:lnTo>
                    <a:pt x="588" y="414"/>
                  </a:lnTo>
                  <a:lnTo>
                    <a:pt x="582" y="408"/>
                  </a:lnTo>
                  <a:lnTo>
                    <a:pt x="588" y="402"/>
                  </a:lnTo>
                  <a:lnTo>
                    <a:pt x="594" y="402"/>
                  </a:lnTo>
                  <a:lnTo>
                    <a:pt x="594" y="396"/>
                  </a:lnTo>
                  <a:lnTo>
                    <a:pt x="594" y="390"/>
                  </a:lnTo>
                  <a:lnTo>
                    <a:pt x="594" y="384"/>
                  </a:lnTo>
                  <a:lnTo>
                    <a:pt x="594" y="378"/>
                  </a:lnTo>
                  <a:lnTo>
                    <a:pt x="600" y="366"/>
                  </a:lnTo>
                  <a:lnTo>
                    <a:pt x="606" y="366"/>
                  </a:lnTo>
                  <a:lnTo>
                    <a:pt x="612" y="360"/>
                  </a:lnTo>
                  <a:lnTo>
                    <a:pt x="612" y="366"/>
                  </a:lnTo>
                  <a:lnTo>
                    <a:pt x="618" y="366"/>
                  </a:lnTo>
                  <a:lnTo>
                    <a:pt x="624" y="366"/>
                  </a:lnTo>
                  <a:lnTo>
                    <a:pt x="630" y="360"/>
                  </a:lnTo>
                  <a:lnTo>
                    <a:pt x="636" y="354"/>
                  </a:lnTo>
                  <a:lnTo>
                    <a:pt x="630" y="354"/>
                  </a:lnTo>
                  <a:lnTo>
                    <a:pt x="630" y="348"/>
                  </a:lnTo>
                  <a:lnTo>
                    <a:pt x="630" y="342"/>
                  </a:lnTo>
                  <a:lnTo>
                    <a:pt x="636" y="342"/>
                  </a:lnTo>
                  <a:lnTo>
                    <a:pt x="642" y="336"/>
                  </a:lnTo>
                  <a:lnTo>
                    <a:pt x="636" y="330"/>
                  </a:lnTo>
                  <a:lnTo>
                    <a:pt x="630" y="336"/>
                  </a:lnTo>
                  <a:lnTo>
                    <a:pt x="624" y="336"/>
                  </a:lnTo>
                  <a:lnTo>
                    <a:pt x="624" y="330"/>
                  </a:lnTo>
                  <a:lnTo>
                    <a:pt x="624" y="324"/>
                  </a:lnTo>
                  <a:lnTo>
                    <a:pt x="618" y="324"/>
                  </a:lnTo>
                  <a:lnTo>
                    <a:pt x="624" y="324"/>
                  </a:lnTo>
                  <a:lnTo>
                    <a:pt x="630" y="330"/>
                  </a:lnTo>
                  <a:lnTo>
                    <a:pt x="630" y="318"/>
                  </a:lnTo>
                  <a:lnTo>
                    <a:pt x="636" y="318"/>
                  </a:lnTo>
                  <a:lnTo>
                    <a:pt x="642" y="312"/>
                  </a:lnTo>
                  <a:lnTo>
                    <a:pt x="642" y="306"/>
                  </a:lnTo>
                  <a:lnTo>
                    <a:pt x="648" y="300"/>
                  </a:lnTo>
                  <a:lnTo>
                    <a:pt x="648" y="294"/>
                  </a:lnTo>
                  <a:lnTo>
                    <a:pt x="648" y="288"/>
                  </a:lnTo>
                  <a:lnTo>
                    <a:pt x="648" y="282"/>
                  </a:lnTo>
                  <a:lnTo>
                    <a:pt x="654" y="288"/>
                  </a:lnTo>
                  <a:lnTo>
                    <a:pt x="654" y="282"/>
                  </a:lnTo>
                  <a:lnTo>
                    <a:pt x="660" y="282"/>
                  </a:lnTo>
                  <a:lnTo>
                    <a:pt x="666" y="282"/>
                  </a:lnTo>
                  <a:lnTo>
                    <a:pt x="672" y="282"/>
                  </a:lnTo>
                  <a:lnTo>
                    <a:pt x="678" y="282"/>
                  </a:lnTo>
                  <a:lnTo>
                    <a:pt x="684" y="276"/>
                  </a:lnTo>
                  <a:lnTo>
                    <a:pt x="690" y="270"/>
                  </a:lnTo>
                  <a:lnTo>
                    <a:pt x="690" y="264"/>
                  </a:lnTo>
                  <a:lnTo>
                    <a:pt x="690" y="270"/>
                  </a:lnTo>
                  <a:lnTo>
                    <a:pt x="690" y="276"/>
                  </a:lnTo>
                  <a:lnTo>
                    <a:pt x="696" y="276"/>
                  </a:lnTo>
                  <a:lnTo>
                    <a:pt x="702" y="276"/>
                  </a:lnTo>
                  <a:lnTo>
                    <a:pt x="702" y="282"/>
                  </a:lnTo>
                  <a:lnTo>
                    <a:pt x="708" y="282"/>
                  </a:lnTo>
                  <a:lnTo>
                    <a:pt x="720" y="270"/>
                  </a:lnTo>
                  <a:lnTo>
                    <a:pt x="720" y="264"/>
                  </a:lnTo>
                  <a:lnTo>
                    <a:pt x="720" y="258"/>
                  </a:lnTo>
                  <a:lnTo>
                    <a:pt x="726" y="258"/>
                  </a:lnTo>
                  <a:lnTo>
                    <a:pt x="732" y="258"/>
                  </a:lnTo>
                  <a:lnTo>
                    <a:pt x="732" y="264"/>
                  </a:lnTo>
                  <a:lnTo>
                    <a:pt x="738" y="264"/>
                  </a:lnTo>
                  <a:lnTo>
                    <a:pt x="738" y="258"/>
                  </a:lnTo>
                  <a:lnTo>
                    <a:pt x="732" y="258"/>
                  </a:lnTo>
                  <a:lnTo>
                    <a:pt x="732" y="252"/>
                  </a:lnTo>
                  <a:lnTo>
                    <a:pt x="744" y="252"/>
                  </a:lnTo>
                  <a:lnTo>
                    <a:pt x="750" y="252"/>
                  </a:lnTo>
                  <a:lnTo>
                    <a:pt x="750" y="246"/>
                  </a:lnTo>
                  <a:lnTo>
                    <a:pt x="750" y="240"/>
                  </a:lnTo>
                  <a:lnTo>
                    <a:pt x="762" y="234"/>
                  </a:lnTo>
                  <a:lnTo>
                    <a:pt x="768" y="234"/>
                  </a:lnTo>
                  <a:lnTo>
                    <a:pt x="774" y="234"/>
                  </a:lnTo>
                  <a:lnTo>
                    <a:pt x="780" y="228"/>
                  </a:lnTo>
                  <a:lnTo>
                    <a:pt x="786" y="222"/>
                  </a:lnTo>
                  <a:lnTo>
                    <a:pt x="786" y="216"/>
                  </a:lnTo>
                  <a:lnTo>
                    <a:pt x="792" y="216"/>
                  </a:lnTo>
                  <a:lnTo>
                    <a:pt x="792" y="210"/>
                  </a:lnTo>
                  <a:lnTo>
                    <a:pt x="804" y="204"/>
                  </a:lnTo>
                  <a:lnTo>
                    <a:pt x="804" y="198"/>
                  </a:lnTo>
                  <a:lnTo>
                    <a:pt x="804" y="204"/>
                  </a:lnTo>
                  <a:lnTo>
                    <a:pt x="810" y="204"/>
                  </a:lnTo>
                  <a:lnTo>
                    <a:pt x="810" y="198"/>
                  </a:lnTo>
                  <a:lnTo>
                    <a:pt x="810" y="192"/>
                  </a:lnTo>
                  <a:lnTo>
                    <a:pt x="798" y="186"/>
                  </a:lnTo>
                  <a:lnTo>
                    <a:pt x="810" y="186"/>
                  </a:lnTo>
                  <a:lnTo>
                    <a:pt x="810" y="180"/>
                  </a:lnTo>
                  <a:lnTo>
                    <a:pt x="810" y="186"/>
                  </a:lnTo>
                  <a:lnTo>
                    <a:pt x="816" y="186"/>
                  </a:lnTo>
                  <a:lnTo>
                    <a:pt x="816" y="180"/>
                  </a:lnTo>
                  <a:lnTo>
                    <a:pt x="810" y="180"/>
                  </a:lnTo>
                  <a:lnTo>
                    <a:pt x="816" y="174"/>
                  </a:lnTo>
                  <a:lnTo>
                    <a:pt x="822" y="174"/>
                  </a:lnTo>
                  <a:lnTo>
                    <a:pt x="822" y="180"/>
                  </a:lnTo>
                  <a:lnTo>
                    <a:pt x="828" y="180"/>
                  </a:lnTo>
                  <a:lnTo>
                    <a:pt x="828" y="174"/>
                  </a:lnTo>
                  <a:lnTo>
                    <a:pt x="822" y="168"/>
                  </a:lnTo>
                  <a:lnTo>
                    <a:pt x="828" y="168"/>
                  </a:lnTo>
                  <a:lnTo>
                    <a:pt x="828" y="162"/>
                  </a:lnTo>
                  <a:lnTo>
                    <a:pt x="828" y="156"/>
                  </a:lnTo>
                  <a:lnTo>
                    <a:pt x="822" y="156"/>
                  </a:lnTo>
                  <a:lnTo>
                    <a:pt x="828" y="156"/>
                  </a:lnTo>
                  <a:lnTo>
                    <a:pt x="828" y="150"/>
                  </a:lnTo>
                  <a:lnTo>
                    <a:pt x="834" y="150"/>
                  </a:lnTo>
                  <a:lnTo>
                    <a:pt x="840" y="156"/>
                  </a:lnTo>
                  <a:lnTo>
                    <a:pt x="840" y="150"/>
                  </a:lnTo>
                  <a:lnTo>
                    <a:pt x="834" y="150"/>
                  </a:lnTo>
                  <a:lnTo>
                    <a:pt x="834" y="144"/>
                  </a:lnTo>
                  <a:lnTo>
                    <a:pt x="840" y="138"/>
                  </a:lnTo>
                  <a:lnTo>
                    <a:pt x="846" y="144"/>
                  </a:lnTo>
                  <a:lnTo>
                    <a:pt x="846" y="150"/>
                  </a:lnTo>
                  <a:lnTo>
                    <a:pt x="852" y="150"/>
                  </a:lnTo>
                  <a:lnTo>
                    <a:pt x="858" y="150"/>
                  </a:lnTo>
                  <a:lnTo>
                    <a:pt x="870" y="150"/>
                  </a:lnTo>
                  <a:lnTo>
                    <a:pt x="870" y="144"/>
                  </a:lnTo>
                  <a:lnTo>
                    <a:pt x="876" y="138"/>
                  </a:lnTo>
                  <a:lnTo>
                    <a:pt x="882" y="138"/>
                  </a:lnTo>
                  <a:lnTo>
                    <a:pt x="888" y="132"/>
                  </a:lnTo>
                  <a:lnTo>
                    <a:pt x="888" y="138"/>
                  </a:lnTo>
                  <a:lnTo>
                    <a:pt x="894" y="138"/>
                  </a:lnTo>
                  <a:lnTo>
                    <a:pt x="894" y="132"/>
                  </a:lnTo>
                  <a:lnTo>
                    <a:pt x="900" y="126"/>
                  </a:lnTo>
                  <a:lnTo>
                    <a:pt x="900" y="132"/>
                  </a:lnTo>
                  <a:lnTo>
                    <a:pt x="906" y="132"/>
                  </a:lnTo>
                  <a:lnTo>
                    <a:pt x="912" y="132"/>
                  </a:lnTo>
                  <a:lnTo>
                    <a:pt x="918" y="126"/>
                  </a:lnTo>
                  <a:lnTo>
                    <a:pt x="918" y="132"/>
                  </a:lnTo>
                  <a:lnTo>
                    <a:pt x="924" y="132"/>
                  </a:lnTo>
                  <a:lnTo>
                    <a:pt x="924" y="126"/>
                  </a:lnTo>
                  <a:lnTo>
                    <a:pt x="936" y="120"/>
                  </a:lnTo>
                  <a:lnTo>
                    <a:pt x="942" y="120"/>
                  </a:lnTo>
                  <a:lnTo>
                    <a:pt x="948" y="120"/>
                  </a:lnTo>
                  <a:lnTo>
                    <a:pt x="948" y="114"/>
                  </a:lnTo>
                  <a:lnTo>
                    <a:pt x="948" y="108"/>
                  </a:lnTo>
                  <a:lnTo>
                    <a:pt x="954" y="114"/>
                  </a:lnTo>
                  <a:lnTo>
                    <a:pt x="960" y="108"/>
                  </a:lnTo>
                  <a:lnTo>
                    <a:pt x="966" y="108"/>
                  </a:lnTo>
                  <a:lnTo>
                    <a:pt x="972" y="108"/>
                  </a:lnTo>
                  <a:lnTo>
                    <a:pt x="966" y="114"/>
                  </a:lnTo>
                  <a:lnTo>
                    <a:pt x="960" y="114"/>
                  </a:lnTo>
                  <a:lnTo>
                    <a:pt x="960" y="120"/>
                  </a:lnTo>
                  <a:lnTo>
                    <a:pt x="966" y="126"/>
                  </a:lnTo>
                  <a:lnTo>
                    <a:pt x="972" y="126"/>
                  </a:lnTo>
                  <a:lnTo>
                    <a:pt x="978" y="126"/>
                  </a:lnTo>
                  <a:lnTo>
                    <a:pt x="984" y="120"/>
                  </a:lnTo>
                  <a:lnTo>
                    <a:pt x="984" y="114"/>
                  </a:lnTo>
                  <a:lnTo>
                    <a:pt x="996" y="126"/>
                  </a:lnTo>
                  <a:lnTo>
                    <a:pt x="996" y="120"/>
                  </a:lnTo>
                  <a:lnTo>
                    <a:pt x="1002" y="120"/>
                  </a:lnTo>
                  <a:lnTo>
                    <a:pt x="996" y="114"/>
                  </a:lnTo>
                  <a:lnTo>
                    <a:pt x="1002" y="114"/>
                  </a:lnTo>
                  <a:lnTo>
                    <a:pt x="1008" y="114"/>
                  </a:lnTo>
                  <a:lnTo>
                    <a:pt x="1008" y="108"/>
                  </a:lnTo>
                  <a:lnTo>
                    <a:pt x="1014" y="108"/>
                  </a:lnTo>
                  <a:lnTo>
                    <a:pt x="1008" y="114"/>
                  </a:lnTo>
                  <a:lnTo>
                    <a:pt x="1008" y="120"/>
                  </a:lnTo>
                  <a:lnTo>
                    <a:pt x="1008" y="126"/>
                  </a:lnTo>
                  <a:lnTo>
                    <a:pt x="1014" y="126"/>
                  </a:lnTo>
                  <a:lnTo>
                    <a:pt x="1014" y="132"/>
                  </a:lnTo>
                  <a:lnTo>
                    <a:pt x="1020" y="132"/>
                  </a:lnTo>
                  <a:lnTo>
                    <a:pt x="1020" y="126"/>
                  </a:lnTo>
                  <a:lnTo>
                    <a:pt x="1020" y="120"/>
                  </a:lnTo>
                  <a:lnTo>
                    <a:pt x="1032" y="120"/>
                  </a:lnTo>
                  <a:lnTo>
                    <a:pt x="1038" y="120"/>
                  </a:lnTo>
                  <a:lnTo>
                    <a:pt x="1038" y="126"/>
                  </a:lnTo>
                  <a:lnTo>
                    <a:pt x="1044" y="132"/>
                  </a:lnTo>
                  <a:lnTo>
                    <a:pt x="1044" y="126"/>
                  </a:lnTo>
                  <a:lnTo>
                    <a:pt x="1050" y="120"/>
                  </a:lnTo>
                  <a:lnTo>
                    <a:pt x="1050" y="114"/>
                  </a:lnTo>
                  <a:lnTo>
                    <a:pt x="1056" y="108"/>
                  </a:lnTo>
                  <a:lnTo>
                    <a:pt x="1056" y="102"/>
                  </a:lnTo>
                  <a:lnTo>
                    <a:pt x="1056" y="108"/>
                  </a:lnTo>
                  <a:lnTo>
                    <a:pt x="1056" y="102"/>
                  </a:lnTo>
                  <a:lnTo>
                    <a:pt x="1068" y="102"/>
                  </a:lnTo>
                  <a:lnTo>
                    <a:pt x="1074" y="96"/>
                  </a:lnTo>
                  <a:lnTo>
                    <a:pt x="1074" y="90"/>
                  </a:lnTo>
                  <a:lnTo>
                    <a:pt x="1068" y="90"/>
                  </a:lnTo>
                  <a:lnTo>
                    <a:pt x="1068" y="84"/>
                  </a:lnTo>
                  <a:lnTo>
                    <a:pt x="1080" y="84"/>
                  </a:lnTo>
                  <a:lnTo>
                    <a:pt x="1086" y="78"/>
                  </a:lnTo>
                  <a:lnTo>
                    <a:pt x="1086" y="72"/>
                  </a:lnTo>
                  <a:lnTo>
                    <a:pt x="1080" y="78"/>
                  </a:lnTo>
                  <a:lnTo>
                    <a:pt x="1080" y="72"/>
                  </a:lnTo>
                  <a:lnTo>
                    <a:pt x="1080" y="66"/>
                  </a:lnTo>
                  <a:lnTo>
                    <a:pt x="1074" y="66"/>
                  </a:lnTo>
                  <a:lnTo>
                    <a:pt x="1080" y="66"/>
                  </a:lnTo>
                  <a:lnTo>
                    <a:pt x="1080" y="60"/>
                  </a:lnTo>
                  <a:lnTo>
                    <a:pt x="1086" y="60"/>
                  </a:lnTo>
                  <a:lnTo>
                    <a:pt x="1086" y="54"/>
                  </a:lnTo>
                  <a:lnTo>
                    <a:pt x="1092" y="54"/>
                  </a:lnTo>
                  <a:lnTo>
                    <a:pt x="1092" y="48"/>
                  </a:lnTo>
                  <a:lnTo>
                    <a:pt x="1092" y="42"/>
                  </a:lnTo>
                  <a:lnTo>
                    <a:pt x="1098" y="42"/>
                  </a:lnTo>
                  <a:lnTo>
                    <a:pt x="1104" y="36"/>
                  </a:lnTo>
                  <a:lnTo>
                    <a:pt x="1110" y="36"/>
                  </a:lnTo>
                  <a:lnTo>
                    <a:pt x="1110" y="30"/>
                  </a:lnTo>
                  <a:lnTo>
                    <a:pt x="1110" y="24"/>
                  </a:lnTo>
                  <a:lnTo>
                    <a:pt x="1116" y="24"/>
                  </a:lnTo>
                  <a:lnTo>
                    <a:pt x="1116" y="18"/>
                  </a:lnTo>
                  <a:lnTo>
                    <a:pt x="1122" y="18"/>
                  </a:lnTo>
                  <a:lnTo>
                    <a:pt x="1128" y="18"/>
                  </a:lnTo>
                  <a:lnTo>
                    <a:pt x="1134" y="12"/>
                  </a:lnTo>
                  <a:lnTo>
                    <a:pt x="1134" y="6"/>
                  </a:lnTo>
                  <a:lnTo>
                    <a:pt x="1140" y="6"/>
                  </a:lnTo>
                  <a:lnTo>
                    <a:pt x="1146" y="0"/>
                  </a:lnTo>
                  <a:lnTo>
                    <a:pt x="1152" y="0"/>
                  </a:lnTo>
                  <a:lnTo>
                    <a:pt x="1158" y="0"/>
                  </a:lnTo>
                  <a:lnTo>
                    <a:pt x="1158" y="6"/>
                  </a:lnTo>
                  <a:lnTo>
                    <a:pt x="1170" y="0"/>
                  </a:lnTo>
                  <a:lnTo>
                    <a:pt x="1176" y="6"/>
                  </a:lnTo>
                  <a:lnTo>
                    <a:pt x="1182" y="6"/>
                  </a:lnTo>
                  <a:lnTo>
                    <a:pt x="1194" y="6"/>
                  </a:lnTo>
                  <a:lnTo>
                    <a:pt x="1200" y="6"/>
                  </a:lnTo>
                  <a:lnTo>
                    <a:pt x="1212" y="0"/>
                  </a:lnTo>
                  <a:lnTo>
                    <a:pt x="1212" y="6"/>
                  </a:lnTo>
                  <a:lnTo>
                    <a:pt x="1218" y="6"/>
                  </a:lnTo>
                  <a:lnTo>
                    <a:pt x="1266" y="6"/>
                  </a:lnTo>
                  <a:lnTo>
                    <a:pt x="1272" y="0"/>
                  </a:lnTo>
                  <a:lnTo>
                    <a:pt x="1278" y="6"/>
                  </a:lnTo>
                  <a:lnTo>
                    <a:pt x="1290" y="6"/>
                  </a:lnTo>
                  <a:lnTo>
                    <a:pt x="1296" y="6"/>
                  </a:lnTo>
                  <a:lnTo>
                    <a:pt x="1308" y="6"/>
                  </a:lnTo>
                  <a:lnTo>
                    <a:pt x="1314" y="6"/>
                  </a:lnTo>
                  <a:lnTo>
                    <a:pt x="1320" y="6"/>
                  </a:lnTo>
                  <a:lnTo>
                    <a:pt x="1326" y="12"/>
                  </a:lnTo>
                  <a:lnTo>
                    <a:pt x="1338" y="30"/>
                  </a:lnTo>
                  <a:lnTo>
                    <a:pt x="1344" y="36"/>
                  </a:lnTo>
                  <a:lnTo>
                    <a:pt x="1356" y="48"/>
                  </a:lnTo>
                  <a:lnTo>
                    <a:pt x="1362" y="60"/>
                  </a:lnTo>
                  <a:lnTo>
                    <a:pt x="1368" y="66"/>
                  </a:lnTo>
                  <a:lnTo>
                    <a:pt x="1374" y="72"/>
                  </a:lnTo>
                  <a:lnTo>
                    <a:pt x="1374" y="78"/>
                  </a:lnTo>
                  <a:lnTo>
                    <a:pt x="1398" y="108"/>
                  </a:lnTo>
                  <a:lnTo>
                    <a:pt x="1398" y="114"/>
                  </a:lnTo>
                  <a:lnTo>
                    <a:pt x="1404" y="114"/>
                  </a:lnTo>
                  <a:lnTo>
                    <a:pt x="1404" y="120"/>
                  </a:lnTo>
                  <a:lnTo>
                    <a:pt x="1410" y="132"/>
                  </a:lnTo>
                  <a:lnTo>
                    <a:pt x="1416" y="132"/>
                  </a:lnTo>
                  <a:lnTo>
                    <a:pt x="1416" y="138"/>
                  </a:lnTo>
                  <a:lnTo>
                    <a:pt x="1422" y="144"/>
                  </a:lnTo>
                  <a:lnTo>
                    <a:pt x="1428" y="150"/>
                  </a:lnTo>
                  <a:lnTo>
                    <a:pt x="1428" y="156"/>
                  </a:lnTo>
                  <a:lnTo>
                    <a:pt x="1458" y="192"/>
                  </a:lnTo>
                  <a:lnTo>
                    <a:pt x="1458" y="198"/>
                  </a:lnTo>
                  <a:lnTo>
                    <a:pt x="1464" y="204"/>
                  </a:lnTo>
                  <a:lnTo>
                    <a:pt x="1470" y="210"/>
                  </a:lnTo>
                  <a:lnTo>
                    <a:pt x="1476" y="216"/>
                  </a:lnTo>
                  <a:lnTo>
                    <a:pt x="1482" y="228"/>
                  </a:lnTo>
                  <a:lnTo>
                    <a:pt x="1488" y="234"/>
                  </a:lnTo>
                  <a:lnTo>
                    <a:pt x="1512" y="270"/>
                  </a:lnTo>
                  <a:lnTo>
                    <a:pt x="1512" y="276"/>
                  </a:lnTo>
                  <a:lnTo>
                    <a:pt x="1530" y="300"/>
                  </a:lnTo>
                  <a:lnTo>
                    <a:pt x="1536" y="306"/>
                  </a:lnTo>
                  <a:lnTo>
                    <a:pt x="1542" y="312"/>
                  </a:lnTo>
                  <a:lnTo>
                    <a:pt x="1542" y="318"/>
                  </a:lnTo>
                  <a:lnTo>
                    <a:pt x="1560" y="336"/>
                  </a:lnTo>
                  <a:lnTo>
                    <a:pt x="1566" y="348"/>
                  </a:lnTo>
                  <a:lnTo>
                    <a:pt x="1572" y="354"/>
                  </a:lnTo>
                  <a:lnTo>
                    <a:pt x="1578" y="360"/>
                  </a:lnTo>
                  <a:lnTo>
                    <a:pt x="1584" y="378"/>
                  </a:lnTo>
                  <a:lnTo>
                    <a:pt x="1590" y="378"/>
                  </a:lnTo>
                  <a:lnTo>
                    <a:pt x="1596" y="390"/>
                  </a:lnTo>
                  <a:lnTo>
                    <a:pt x="1602" y="396"/>
                  </a:lnTo>
                  <a:lnTo>
                    <a:pt x="1608" y="408"/>
                  </a:lnTo>
                  <a:lnTo>
                    <a:pt x="1614" y="408"/>
                  </a:lnTo>
                  <a:lnTo>
                    <a:pt x="1614" y="432"/>
                  </a:lnTo>
                  <a:lnTo>
                    <a:pt x="1620" y="438"/>
                  </a:lnTo>
                  <a:lnTo>
                    <a:pt x="1620" y="450"/>
                  </a:lnTo>
                  <a:lnTo>
                    <a:pt x="1620" y="462"/>
                  </a:lnTo>
                  <a:lnTo>
                    <a:pt x="1626" y="474"/>
                  </a:lnTo>
                  <a:lnTo>
                    <a:pt x="1626" y="480"/>
                  </a:lnTo>
                  <a:lnTo>
                    <a:pt x="1626" y="486"/>
                  </a:lnTo>
                  <a:lnTo>
                    <a:pt x="1632" y="522"/>
                  </a:lnTo>
                  <a:lnTo>
                    <a:pt x="1632" y="528"/>
                  </a:lnTo>
                  <a:lnTo>
                    <a:pt x="1632" y="534"/>
                  </a:lnTo>
                  <a:lnTo>
                    <a:pt x="1638" y="540"/>
                  </a:lnTo>
                  <a:lnTo>
                    <a:pt x="1638" y="558"/>
                  </a:lnTo>
                  <a:lnTo>
                    <a:pt x="1638" y="570"/>
                  </a:lnTo>
                  <a:lnTo>
                    <a:pt x="1644" y="582"/>
                  </a:lnTo>
                  <a:lnTo>
                    <a:pt x="1650" y="618"/>
                  </a:lnTo>
                  <a:lnTo>
                    <a:pt x="1650" y="624"/>
                  </a:lnTo>
                  <a:lnTo>
                    <a:pt x="1650" y="636"/>
                  </a:lnTo>
                  <a:lnTo>
                    <a:pt x="1656" y="642"/>
                  </a:lnTo>
                  <a:lnTo>
                    <a:pt x="1656" y="648"/>
                  </a:lnTo>
                  <a:lnTo>
                    <a:pt x="1656" y="654"/>
                  </a:lnTo>
                  <a:lnTo>
                    <a:pt x="1656" y="660"/>
                  </a:lnTo>
                  <a:lnTo>
                    <a:pt x="1662" y="696"/>
                  </a:lnTo>
                  <a:lnTo>
                    <a:pt x="1668" y="708"/>
                  </a:lnTo>
                  <a:lnTo>
                    <a:pt x="1668" y="714"/>
                  </a:lnTo>
                  <a:lnTo>
                    <a:pt x="1668" y="732"/>
                  </a:lnTo>
                  <a:lnTo>
                    <a:pt x="1668" y="744"/>
                  </a:lnTo>
                  <a:lnTo>
                    <a:pt x="1674" y="756"/>
                  </a:lnTo>
                  <a:lnTo>
                    <a:pt x="1680" y="762"/>
                  </a:lnTo>
                  <a:lnTo>
                    <a:pt x="1680" y="768"/>
                  </a:lnTo>
                  <a:lnTo>
                    <a:pt x="1680" y="774"/>
                  </a:lnTo>
                  <a:lnTo>
                    <a:pt x="1680" y="780"/>
                  </a:lnTo>
                  <a:lnTo>
                    <a:pt x="1674" y="786"/>
                  </a:lnTo>
                  <a:lnTo>
                    <a:pt x="1668" y="792"/>
                  </a:lnTo>
                  <a:lnTo>
                    <a:pt x="1668" y="798"/>
                  </a:lnTo>
                  <a:lnTo>
                    <a:pt x="1668" y="804"/>
                  </a:lnTo>
                  <a:lnTo>
                    <a:pt x="1674" y="804"/>
                  </a:lnTo>
                  <a:lnTo>
                    <a:pt x="1668" y="810"/>
                  </a:lnTo>
                  <a:lnTo>
                    <a:pt x="1674" y="810"/>
                  </a:lnTo>
                  <a:lnTo>
                    <a:pt x="1680" y="810"/>
                  </a:lnTo>
                  <a:lnTo>
                    <a:pt x="1680" y="816"/>
                  </a:lnTo>
                  <a:lnTo>
                    <a:pt x="1680" y="822"/>
                  </a:lnTo>
                  <a:lnTo>
                    <a:pt x="1674" y="822"/>
                  </a:lnTo>
                  <a:lnTo>
                    <a:pt x="1674" y="828"/>
                  </a:lnTo>
                  <a:lnTo>
                    <a:pt x="1668" y="828"/>
                  </a:lnTo>
                  <a:lnTo>
                    <a:pt x="1674" y="834"/>
                  </a:lnTo>
                  <a:lnTo>
                    <a:pt x="1668" y="834"/>
                  </a:lnTo>
                  <a:lnTo>
                    <a:pt x="1668" y="840"/>
                  </a:lnTo>
                  <a:lnTo>
                    <a:pt x="1674" y="840"/>
                  </a:lnTo>
                  <a:lnTo>
                    <a:pt x="1686" y="852"/>
                  </a:lnTo>
                  <a:lnTo>
                    <a:pt x="1692" y="858"/>
                  </a:lnTo>
                  <a:lnTo>
                    <a:pt x="1698" y="858"/>
                  </a:lnTo>
                  <a:lnTo>
                    <a:pt x="1698" y="864"/>
                  </a:lnTo>
                  <a:lnTo>
                    <a:pt x="1698" y="870"/>
                  </a:lnTo>
                  <a:lnTo>
                    <a:pt x="1704" y="864"/>
                  </a:lnTo>
                  <a:lnTo>
                    <a:pt x="1716" y="864"/>
                  </a:lnTo>
                  <a:lnTo>
                    <a:pt x="1722" y="864"/>
                  </a:lnTo>
                  <a:lnTo>
                    <a:pt x="1728" y="864"/>
                  </a:lnTo>
                  <a:lnTo>
                    <a:pt x="1734" y="864"/>
                  </a:lnTo>
                  <a:lnTo>
                    <a:pt x="1740" y="864"/>
                  </a:lnTo>
                  <a:lnTo>
                    <a:pt x="1746" y="876"/>
                  </a:lnTo>
                  <a:lnTo>
                    <a:pt x="1746" y="870"/>
                  </a:lnTo>
                  <a:lnTo>
                    <a:pt x="1740" y="864"/>
                  </a:lnTo>
                  <a:lnTo>
                    <a:pt x="1746" y="864"/>
                  </a:lnTo>
                  <a:lnTo>
                    <a:pt x="1752" y="870"/>
                  </a:lnTo>
                  <a:lnTo>
                    <a:pt x="1758" y="864"/>
                  </a:lnTo>
                  <a:lnTo>
                    <a:pt x="1764" y="864"/>
                  </a:lnTo>
                  <a:lnTo>
                    <a:pt x="1770" y="858"/>
                  </a:lnTo>
                  <a:lnTo>
                    <a:pt x="1782" y="864"/>
                  </a:lnTo>
                  <a:lnTo>
                    <a:pt x="1782" y="870"/>
                  </a:lnTo>
                  <a:lnTo>
                    <a:pt x="1788" y="864"/>
                  </a:lnTo>
                  <a:lnTo>
                    <a:pt x="1794" y="864"/>
                  </a:lnTo>
                  <a:lnTo>
                    <a:pt x="1800" y="870"/>
                  </a:lnTo>
                  <a:lnTo>
                    <a:pt x="1818" y="864"/>
                  </a:lnTo>
                  <a:lnTo>
                    <a:pt x="1824" y="870"/>
                  </a:lnTo>
                  <a:lnTo>
                    <a:pt x="1830" y="864"/>
                  </a:lnTo>
                  <a:lnTo>
                    <a:pt x="1836" y="864"/>
                  </a:lnTo>
                  <a:lnTo>
                    <a:pt x="1842" y="870"/>
                  </a:lnTo>
                  <a:lnTo>
                    <a:pt x="1842" y="876"/>
                  </a:lnTo>
                  <a:lnTo>
                    <a:pt x="1848" y="876"/>
                  </a:lnTo>
                  <a:lnTo>
                    <a:pt x="1848" y="870"/>
                  </a:lnTo>
                  <a:lnTo>
                    <a:pt x="1854" y="870"/>
                  </a:lnTo>
                  <a:lnTo>
                    <a:pt x="1860" y="870"/>
                  </a:lnTo>
                  <a:lnTo>
                    <a:pt x="1860" y="876"/>
                  </a:lnTo>
                  <a:lnTo>
                    <a:pt x="1866" y="876"/>
                  </a:lnTo>
                  <a:lnTo>
                    <a:pt x="1866" y="882"/>
                  </a:lnTo>
                  <a:lnTo>
                    <a:pt x="1872" y="882"/>
                  </a:lnTo>
                  <a:lnTo>
                    <a:pt x="1878" y="888"/>
                  </a:lnTo>
                  <a:lnTo>
                    <a:pt x="1890" y="888"/>
                  </a:lnTo>
                  <a:lnTo>
                    <a:pt x="1890" y="894"/>
                  </a:lnTo>
                  <a:lnTo>
                    <a:pt x="1890" y="900"/>
                  </a:lnTo>
                  <a:lnTo>
                    <a:pt x="1884" y="900"/>
                  </a:lnTo>
                  <a:lnTo>
                    <a:pt x="1884" y="906"/>
                  </a:lnTo>
                  <a:lnTo>
                    <a:pt x="1884" y="912"/>
                  </a:lnTo>
                  <a:lnTo>
                    <a:pt x="1890" y="912"/>
                  </a:lnTo>
                  <a:lnTo>
                    <a:pt x="1896" y="912"/>
                  </a:lnTo>
                  <a:lnTo>
                    <a:pt x="1902" y="912"/>
                  </a:lnTo>
                  <a:lnTo>
                    <a:pt x="1908" y="918"/>
                  </a:lnTo>
                  <a:lnTo>
                    <a:pt x="1908" y="924"/>
                  </a:lnTo>
                  <a:lnTo>
                    <a:pt x="1908" y="930"/>
                  </a:lnTo>
                  <a:lnTo>
                    <a:pt x="1908" y="936"/>
                  </a:lnTo>
                  <a:lnTo>
                    <a:pt x="1914" y="936"/>
                  </a:lnTo>
                  <a:lnTo>
                    <a:pt x="1914" y="942"/>
                  </a:lnTo>
                  <a:lnTo>
                    <a:pt x="1908" y="948"/>
                  </a:lnTo>
                  <a:lnTo>
                    <a:pt x="1914" y="948"/>
                  </a:lnTo>
                  <a:lnTo>
                    <a:pt x="1920" y="954"/>
                  </a:lnTo>
                  <a:lnTo>
                    <a:pt x="1926" y="954"/>
                  </a:lnTo>
                  <a:lnTo>
                    <a:pt x="1932" y="954"/>
                  </a:lnTo>
                  <a:lnTo>
                    <a:pt x="1938" y="954"/>
                  </a:lnTo>
                  <a:lnTo>
                    <a:pt x="1938" y="960"/>
                  </a:lnTo>
                  <a:lnTo>
                    <a:pt x="1944" y="966"/>
                  </a:lnTo>
                  <a:lnTo>
                    <a:pt x="1944" y="972"/>
                  </a:lnTo>
                  <a:lnTo>
                    <a:pt x="1944" y="978"/>
                  </a:lnTo>
                  <a:lnTo>
                    <a:pt x="1950" y="978"/>
                  </a:lnTo>
                  <a:lnTo>
                    <a:pt x="1950" y="984"/>
                  </a:lnTo>
                  <a:lnTo>
                    <a:pt x="1956" y="984"/>
                  </a:lnTo>
                  <a:lnTo>
                    <a:pt x="1962" y="984"/>
                  </a:lnTo>
                  <a:lnTo>
                    <a:pt x="1962" y="978"/>
                  </a:lnTo>
                  <a:lnTo>
                    <a:pt x="1968" y="978"/>
                  </a:lnTo>
                  <a:lnTo>
                    <a:pt x="1974" y="978"/>
                  </a:lnTo>
                  <a:lnTo>
                    <a:pt x="1980" y="972"/>
                  </a:lnTo>
                  <a:lnTo>
                    <a:pt x="1980" y="978"/>
                  </a:lnTo>
                  <a:lnTo>
                    <a:pt x="1980" y="984"/>
                  </a:lnTo>
                  <a:lnTo>
                    <a:pt x="1986" y="984"/>
                  </a:lnTo>
                  <a:lnTo>
                    <a:pt x="1992" y="990"/>
                  </a:lnTo>
                  <a:lnTo>
                    <a:pt x="1992" y="996"/>
                  </a:lnTo>
                  <a:lnTo>
                    <a:pt x="1992" y="1002"/>
                  </a:lnTo>
                  <a:lnTo>
                    <a:pt x="1974" y="1008"/>
                  </a:lnTo>
                  <a:lnTo>
                    <a:pt x="1974" y="1014"/>
                  </a:lnTo>
                  <a:lnTo>
                    <a:pt x="1974" y="1020"/>
                  </a:lnTo>
                  <a:lnTo>
                    <a:pt x="1974" y="1026"/>
                  </a:lnTo>
                  <a:lnTo>
                    <a:pt x="1968" y="1038"/>
                  </a:lnTo>
                  <a:lnTo>
                    <a:pt x="1968" y="1044"/>
                  </a:lnTo>
                  <a:lnTo>
                    <a:pt x="1974" y="1056"/>
                  </a:lnTo>
                  <a:lnTo>
                    <a:pt x="1968" y="1062"/>
                  </a:lnTo>
                  <a:lnTo>
                    <a:pt x="1962" y="1062"/>
                  </a:lnTo>
                  <a:lnTo>
                    <a:pt x="1956" y="1068"/>
                  </a:lnTo>
                  <a:lnTo>
                    <a:pt x="1956" y="1074"/>
                  </a:lnTo>
                  <a:lnTo>
                    <a:pt x="1956" y="1080"/>
                  </a:lnTo>
                  <a:lnTo>
                    <a:pt x="1956" y="1086"/>
                  </a:lnTo>
                  <a:lnTo>
                    <a:pt x="1956" y="1092"/>
                  </a:lnTo>
                  <a:lnTo>
                    <a:pt x="1962" y="1092"/>
                  </a:lnTo>
                  <a:lnTo>
                    <a:pt x="1962" y="1104"/>
                  </a:lnTo>
                  <a:lnTo>
                    <a:pt x="1968" y="1110"/>
                  </a:lnTo>
                  <a:lnTo>
                    <a:pt x="1968" y="1116"/>
                  </a:lnTo>
                  <a:lnTo>
                    <a:pt x="1974" y="1116"/>
                  </a:lnTo>
                  <a:lnTo>
                    <a:pt x="1974" y="1122"/>
                  </a:lnTo>
                  <a:lnTo>
                    <a:pt x="1980" y="1122"/>
                  </a:lnTo>
                  <a:lnTo>
                    <a:pt x="1974" y="1128"/>
                  </a:lnTo>
                  <a:lnTo>
                    <a:pt x="1968" y="1134"/>
                  </a:lnTo>
                  <a:lnTo>
                    <a:pt x="1962" y="1140"/>
                  </a:lnTo>
                  <a:lnTo>
                    <a:pt x="1962" y="1146"/>
                  </a:lnTo>
                  <a:lnTo>
                    <a:pt x="1968" y="1152"/>
                  </a:lnTo>
                  <a:lnTo>
                    <a:pt x="1968" y="1158"/>
                  </a:lnTo>
                  <a:lnTo>
                    <a:pt x="1962" y="1158"/>
                  </a:lnTo>
                  <a:lnTo>
                    <a:pt x="1962" y="1164"/>
                  </a:lnTo>
                  <a:lnTo>
                    <a:pt x="1956" y="1164"/>
                  </a:lnTo>
                  <a:lnTo>
                    <a:pt x="1956" y="1170"/>
                  </a:lnTo>
                  <a:lnTo>
                    <a:pt x="1944" y="1182"/>
                  </a:lnTo>
                  <a:lnTo>
                    <a:pt x="1944" y="1188"/>
                  </a:lnTo>
                  <a:lnTo>
                    <a:pt x="1950" y="1188"/>
                  </a:lnTo>
                  <a:lnTo>
                    <a:pt x="1944" y="1200"/>
                  </a:lnTo>
                  <a:lnTo>
                    <a:pt x="1944" y="1206"/>
                  </a:lnTo>
                  <a:lnTo>
                    <a:pt x="1944" y="1212"/>
                  </a:lnTo>
                  <a:lnTo>
                    <a:pt x="1944" y="1218"/>
                  </a:lnTo>
                  <a:lnTo>
                    <a:pt x="1944" y="1230"/>
                  </a:lnTo>
                  <a:lnTo>
                    <a:pt x="1944" y="1236"/>
                  </a:lnTo>
                  <a:lnTo>
                    <a:pt x="1944" y="1242"/>
                  </a:lnTo>
                  <a:lnTo>
                    <a:pt x="1938" y="1248"/>
                  </a:lnTo>
                  <a:lnTo>
                    <a:pt x="1938" y="1254"/>
                  </a:lnTo>
                  <a:lnTo>
                    <a:pt x="1932" y="1254"/>
                  </a:lnTo>
                  <a:lnTo>
                    <a:pt x="1926" y="1260"/>
                  </a:lnTo>
                  <a:lnTo>
                    <a:pt x="1920" y="1266"/>
                  </a:lnTo>
                  <a:lnTo>
                    <a:pt x="1914" y="1272"/>
                  </a:lnTo>
                  <a:lnTo>
                    <a:pt x="1908" y="1272"/>
                  </a:lnTo>
                  <a:lnTo>
                    <a:pt x="1908" y="1278"/>
                  </a:lnTo>
                  <a:lnTo>
                    <a:pt x="1914" y="1278"/>
                  </a:lnTo>
                  <a:lnTo>
                    <a:pt x="1914" y="1290"/>
                  </a:lnTo>
                  <a:lnTo>
                    <a:pt x="1920" y="1296"/>
                  </a:lnTo>
                  <a:lnTo>
                    <a:pt x="1938" y="1302"/>
                  </a:lnTo>
                  <a:lnTo>
                    <a:pt x="1944" y="1308"/>
                  </a:lnTo>
                  <a:lnTo>
                    <a:pt x="1950" y="1314"/>
                  </a:lnTo>
                  <a:lnTo>
                    <a:pt x="1956" y="1314"/>
                  </a:lnTo>
                  <a:lnTo>
                    <a:pt x="1962" y="1320"/>
                  </a:lnTo>
                  <a:lnTo>
                    <a:pt x="1962" y="1326"/>
                  </a:lnTo>
                  <a:lnTo>
                    <a:pt x="1968" y="1326"/>
                  </a:lnTo>
                  <a:lnTo>
                    <a:pt x="1968" y="1332"/>
                  </a:lnTo>
                  <a:lnTo>
                    <a:pt x="1968" y="1344"/>
                  </a:lnTo>
                  <a:lnTo>
                    <a:pt x="1968" y="1350"/>
                  </a:lnTo>
                  <a:lnTo>
                    <a:pt x="1968" y="1368"/>
                  </a:lnTo>
                  <a:lnTo>
                    <a:pt x="1962" y="1380"/>
                  </a:lnTo>
                  <a:lnTo>
                    <a:pt x="1968" y="1392"/>
                  </a:lnTo>
                  <a:lnTo>
                    <a:pt x="1962" y="1398"/>
                  </a:lnTo>
                  <a:lnTo>
                    <a:pt x="1956" y="1404"/>
                  </a:lnTo>
                  <a:lnTo>
                    <a:pt x="1950" y="1410"/>
                  </a:lnTo>
                  <a:lnTo>
                    <a:pt x="1944" y="1410"/>
                  </a:lnTo>
                  <a:lnTo>
                    <a:pt x="1932" y="1416"/>
                  </a:lnTo>
                  <a:lnTo>
                    <a:pt x="1926" y="1416"/>
                  </a:lnTo>
                  <a:lnTo>
                    <a:pt x="1896" y="1428"/>
                  </a:lnTo>
                  <a:lnTo>
                    <a:pt x="1884" y="1434"/>
                  </a:lnTo>
                  <a:lnTo>
                    <a:pt x="1878" y="1434"/>
                  </a:lnTo>
                  <a:lnTo>
                    <a:pt x="1866" y="1434"/>
                  </a:lnTo>
                  <a:lnTo>
                    <a:pt x="1854" y="1440"/>
                  </a:lnTo>
                  <a:lnTo>
                    <a:pt x="1848" y="1440"/>
                  </a:lnTo>
                  <a:lnTo>
                    <a:pt x="1842" y="1446"/>
                  </a:lnTo>
                  <a:lnTo>
                    <a:pt x="1842" y="1458"/>
                  </a:lnTo>
                  <a:lnTo>
                    <a:pt x="1836" y="1470"/>
                  </a:lnTo>
                  <a:lnTo>
                    <a:pt x="1830" y="1476"/>
                  </a:lnTo>
                  <a:lnTo>
                    <a:pt x="1824" y="1476"/>
                  </a:lnTo>
                  <a:lnTo>
                    <a:pt x="1806" y="1482"/>
                  </a:lnTo>
                  <a:lnTo>
                    <a:pt x="1800" y="1488"/>
                  </a:lnTo>
                  <a:lnTo>
                    <a:pt x="1794" y="1488"/>
                  </a:lnTo>
                  <a:lnTo>
                    <a:pt x="1788" y="1488"/>
                  </a:lnTo>
                  <a:lnTo>
                    <a:pt x="1776" y="1494"/>
                  </a:lnTo>
                  <a:lnTo>
                    <a:pt x="1764" y="1494"/>
                  </a:lnTo>
                  <a:lnTo>
                    <a:pt x="1758" y="1500"/>
                  </a:lnTo>
                  <a:lnTo>
                    <a:pt x="1746" y="1506"/>
                  </a:lnTo>
                  <a:lnTo>
                    <a:pt x="1728" y="1518"/>
                  </a:lnTo>
                  <a:lnTo>
                    <a:pt x="1716" y="1524"/>
                  </a:lnTo>
                  <a:lnTo>
                    <a:pt x="1710" y="1530"/>
                  </a:lnTo>
                  <a:lnTo>
                    <a:pt x="1704" y="1536"/>
                  </a:lnTo>
                  <a:lnTo>
                    <a:pt x="1698" y="1542"/>
                  </a:lnTo>
                  <a:lnTo>
                    <a:pt x="1692" y="1554"/>
                  </a:lnTo>
                  <a:lnTo>
                    <a:pt x="1686" y="1560"/>
                  </a:lnTo>
                  <a:lnTo>
                    <a:pt x="1680" y="1560"/>
                  </a:lnTo>
                  <a:lnTo>
                    <a:pt x="1674" y="1560"/>
                  </a:lnTo>
                  <a:lnTo>
                    <a:pt x="1656" y="1572"/>
                  </a:lnTo>
                  <a:lnTo>
                    <a:pt x="1650" y="1572"/>
                  </a:lnTo>
                  <a:lnTo>
                    <a:pt x="1644" y="1572"/>
                  </a:lnTo>
                  <a:lnTo>
                    <a:pt x="1638" y="1578"/>
                  </a:lnTo>
                  <a:lnTo>
                    <a:pt x="1632" y="1578"/>
                  </a:lnTo>
                  <a:lnTo>
                    <a:pt x="1626" y="1578"/>
                  </a:lnTo>
                  <a:lnTo>
                    <a:pt x="1620" y="1572"/>
                  </a:lnTo>
                  <a:lnTo>
                    <a:pt x="1614" y="1572"/>
                  </a:lnTo>
                  <a:lnTo>
                    <a:pt x="1608" y="1566"/>
                  </a:lnTo>
                  <a:lnTo>
                    <a:pt x="1602" y="1560"/>
                  </a:lnTo>
                  <a:lnTo>
                    <a:pt x="1596" y="1554"/>
                  </a:lnTo>
                  <a:lnTo>
                    <a:pt x="1590" y="1548"/>
                  </a:lnTo>
                  <a:lnTo>
                    <a:pt x="1578" y="1548"/>
                  </a:lnTo>
                  <a:lnTo>
                    <a:pt x="1572" y="1548"/>
                  </a:lnTo>
                  <a:lnTo>
                    <a:pt x="1566" y="1548"/>
                  </a:lnTo>
                  <a:lnTo>
                    <a:pt x="1554" y="1536"/>
                  </a:lnTo>
                  <a:lnTo>
                    <a:pt x="1548" y="1536"/>
                  </a:lnTo>
                  <a:lnTo>
                    <a:pt x="1542" y="1542"/>
                  </a:lnTo>
                  <a:lnTo>
                    <a:pt x="1536" y="1548"/>
                  </a:lnTo>
                  <a:lnTo>
                    <a:pt x="1536" y="1566"/>
                  </a:lnTo>
                  <a:lnTo>
                    <a:pt x="1530" y="1572"/>
                  </a:lnTo>
                  <a:lnTo>
                    <a:pt x="1524" y="1578"/>
                  </a:lnTo>
                  <a:lnTo>
                    <a:pt x="1518" y="1584"/>
                  </a:lnTo>
                  <a:lnTo>
                    <a:pt x="1512" y="1596"/>
                  </a:lnTo>
                  <a:lnTo>
                    <a:pt x="1506" y="1602"/>
                  </a:lnTo>
                  <a:lnTo>
                    <a:pt x="1506" y="1608"/>
                  </a:lnTo>
                  <a:lnTo>
                    <a:pt x="1506" y="1614"/>
                  </a:lnTo>
                  <a:lnTo>
                    <a:pt x="1500" y="1614"/>
                  </a:lnTo>
                  <a:lnTo>
                    <a:pt x="1500" y="1620"/>
                  </a:lnTo>
                  <a:lnTo>
                    <a:pt x="1500" y="1626"/>
                  </a:lnTo>
                  <a:lnTo>
                    <a:pt x="1494" y="1632"/>
                  </a:lnTo>
                  <a:lnTo>
                    <a:pt x="1488" y="1638"/>
                  </a:lnTo>
                  <a:lnTo>
                    <a:pt x="1482" y="1638"/>
                  </a:lnTo>
                  <a:lnTo>
                    <a:pt x="1482" y="1644"/>
                  </a:lnTo>
                  <a:lnTo>
                    <a:pt x="1482" y="1650"/>
                  </a:lnTo>
                  <a:lnTo>
                    <a:pt x="1482" y="1656"/>
                  </a:lnTo>
                  <a:lnTo>
                    <a:pt x="1476" y="1662"/>
                  </a:lnTo>
                  <a:lnTo>
                    <a:pt x="1470" y="1668"/>
                  </a:lnTo>
                  <a:lnTo>
                    <a:pt x="1464" y="1674"/>
                  </a:lnTo>
                  <a:lnTo>
                    <a:pt x="1464" y="1680"/>
                  </a:lnTo>
                  <a:lnTo>
                    <a:pt x="1458" y="1680"/>
                  </a:lnTo>
                  <a:lnTo>
                    <a:pt x="1452" y="1686"/>
                  </a:lnTo>
                  <a:lnTo>
                    <a:pt x="1446" y="1686"/>
                  </a:lnTo>
                  <a:lnTo>
                    <a:pt x="1440" y="1698"/>
                  </a:lnTo>
                  <a:lnTo>
                    <a:pt x="1440" y="1704"/>
                  </a:lnTo>
                  <a:lnTo>
                    <a:pt x="1434" y="1710"/>
                  </a:lnTo>
                  <a:lnTo>
                    <a:pt x="1434" y="1716"/>
                  </a:lnTo>
                  <a:lnTo>
                    <a:pt x="1428" y="1716"/>
                  </a:lnTo>
                  <a:lnTo>
                    <a:pt x="1428" y="1722"/>
                  </a:lnTo>
                  <a:lnTo>
                    <a:pt x="1428" y="1728"/>
                  </a:lnTo>
                  <a:lnTo>
                    <a:pt x="1422" y="1728"/>
                  </a:lnTo>
                  <a:lnTo>
                    <a:pt x="1422" y="1734"/>
                  </a:lnTo>
                  <a:lnTo>
                    <a:pt x="1416" y="1734"/>
                  </a:lnTo>
                  <a:lnTo>
                    <a:pt x="1410" y="1734"/>
                  </a:lnTo>
                  <a:lnTo>
                    <a:pt x="1392" y="1746"/>
                  </a:lnTo>
                  <a:lnTo>
                    <a:pt x="1386" y="1746"/>
                  </a:lnTo>
                  <a:lnTo>
                    <a:pt x="1368" y="1752"/>
                  </a:lnTo>
                  <a:lnTo>
                    <a:pt x="1362" y="1758"/>
                  </a:lnTo>
                  <a:lnTo>
                    <a:pt x="1362" y="1770"/>
                  </a:lnTo>
                  <a:lnTo>
                    <a:pt x="1356" y="1782"/>
                  </a:lnTo>
                  <a:close/>
                </a:path>
              </a:pathLst>
            </a:custGeom>
            <a:solidFill>
              <a:srgbClr val="FFC000"/>
            </a:solidFill>
            <a:ln w="9525">
              <a:solidFill>
                <a:schemeClr val="bg1"/>
              </a:solidFill>
              <a:round/>
              <a:headEnd/>
              <a:tailEnd/>
            </a:ln>
          </p:spPr>
          <p:txBody>
            <a:bodyPr/>
            <a:lstStyle/>
            <a:p>
              <a:endParaRPr lang="en-GB">
                <a:solidFill>
                  <a:schemeClr val="bg1"/>
                </a:solidFill>
              </a:endParaRPr>
            </a:p>
          </p:txBody>
        </p:sp>
        <p:sp>
          <p:nvSpPr>
            <p:cNvPr id="19517" name="Rectangle 42"/>
            <p:cNvSpPr>
              <a:spLocks noChangeArrowheads="1"/>
            </p:cNvSpPr>
            <p:nvPr/>
          </p:nvSpPr>
          <p:spPr bwMode="gray">
            <a:xfrm>
              <a:off x="1638820" y="4959909"/>
              <a:ext cx="310935" cy="249242"/>
            </a:xfrm>
            <a:prstGeom prst="rect">
              <a:avLst/>
            </a:prstGeom>
            <a:noFill/>
            <a:ln w="9525">
              <a:noFill/>
              <a:miter lim="800000"/>
              <a:headEnd/>
              <a:tailEnd/>
            </a:ln>
          </p:spPr>
          <p:txBody>
            <a:bodyPr lIns="0" tIns="0" rIns="0" bIns="0">
              <a:spAutoFit/>
            </a:bodyPr>
            <a:lstStyle/>
            <a:p>
              <a:r>
                <a:rPr lang="en-US" sz="800" b="1"/>
                <a:t>Lagos</a:t>
              </a:r>
            </a:p>
            <a:p>
              <a:r>
                <a:rPr lang="en-US" sz="800" b="1"/>
                <a:t>     </a:t>
              </a:r>
            </a:p>
          </p:txBody>
        </p:sp>
        <p:sp>
          <p:nvSpPr>
            <p:cNvPr id="19518" name="Rectangle 43"/>
            <p:cNvSpPr>
              <a:spLocks noChangeArrowheads="1"/>
            </p:cNvSpPr>
            <p:nvPr/>
          </p:nvSpPr>
          <p:spPr bwMode="gray">
            <a:xfrm>
              <a:off x="2880944" y="5798601"/>
              <a:ext cx="404568" cy="249242"/>
            </a:xfrm>
            <a:prstGeom prst="rect">
              <a:avLst/>
            </a:prstGeom>
            <a:noFill/>
            <a:ln w="9525">
              <a:noFill/>
              <a:miter lim="800000"/>
              <a:headEnd/>
              <a:tailEnd/>
            </a:ln>
          </p:spPr>
          <p:txBody>
            <a:bodyPr lIns="0" tIns="0" rIns="0" bIns="0" anchor="ctr" anchorCtr="1">
              <a:spAutoFit/>
            </a:bodyPr>
            <a:lstStyle/>
            <a:p>
              <a:r>
                <a:rPr lang="en-US" sz="800" b="1"/>
                <a:t>Bayelsa</a:t>
              </a:r>
            </a:p>
            <a:p>
              <a:r>
                <a:rPr lang="en-US" sz="800" b="1"/>
                <a:t>    </a:t>
              </a:r>
            </a:p>
          </p:txBody>
        </p:sp>
        <p:sp>
          <p:nvSpPr>
            <p:cNvPr id="19519" name="Rectangle 44"/>
            <p:cNvSpPr>
              <a:spLocks noChangeArrowheads="1"/>
            </p:cNvSpPr>
            <p:nvPr/>
          </p:nvSpPr>
          <p:spPr bwMode="gray">
            <a:xfrm>
              <a:off x="3356027" y="5678527"/>
              <a:ext cx="319768" cy="249242"/>
            </a:xfrm>
            <a:prstGeom prst="rect">
              <a:avLst/>
            </a:prstGeom>
            <a:noFill/>
            <a:ln w="9525">
              <a:noFill/>
              <a:miter lim="800000"/>
              <a:headEnd/>
              <a:tailEnd/>
            </a:ln>
          </p:spPr>
          <p:txBody>
            <a:bodyPr lIns="0" tIns="0" rIns="0" bIns="0" anchor="ctr" anchorCtr="1">
              <a:spAutoFit/>
            </a:bodyPr>
            <a:lstStyle/>
            <a:p>
              <a:r>
                <a:rPr lang="en-US" sz="800" b="1"/>
                <a:t>Rivers</a:t>
              </a:r>
            </a:p>
            <a:p>
              <a:r>
                <a:rPr lang="en-US" sz="800" b="1"/>
                <a:t>   </a:t>
              </a:r>
            </a:p>
          </p:txBody>
        </p:sp>
        <p:sp>
          <p:nvSpPr>
            <p:cNvPr id="19520" name="Rectangle 45"/>
            <p:cNvSpPr>
              <a:spLocks noChangeArrowheads="1"/>
            </p:cNvSpPr>
            <p:nvPr/>
          </p:nvSpPr>
          <p:spPr bwMode="gray">
            <a:xfrm>
              <a:off x="3559892" y="5393132"/>
              <a:ext cx="189035" cy="249242"/>
            </a:xfrm>
            <a:prstGeom prst="rect">
              <a:avLst/>
            </a:prstGeom>
            <a:noFill/>
            <a:ln w="9525">
              <a:noFill/>
              <a:miter lim="800000"/>
              <a:headEnd/>
              <a:tailEnd/>
            </a:ln>
          </p:spPr>
          <p:txBody>
            <a:bodyPr lIns="0" tIns="0" rIns="0" bIns="0" anchor="ctr" anchorCtr="1">
              <a:spAutoFit/>
            </a:bodyPr>
            <a:lstStyle/>
            <a:p>
              <a:r>
                <a:rPr lang="en-US" sz="800" b="1"/>
                <a:t>Imo</a:t>
              </a:r>
            </a:p>
            <a:p>
              <a:r>
                <a:rPr lang="en-US" sz="800" b="1"/>
                <a:t> </a:t>
              </a:r>
            </a:p>
          </p:txBody>
        </p:sp>
        <p:sp>
          <p:nvSpPr>
            <p:cNvPr id="19521" name="Rectangle 46"/>
            <p:cNvSpPr>
              <a:spLocks noChangeArrowheads="1"/>
            </p:cNvSpPr>
            <p:nvPr/>
          </p:nvSpPr>
          <p:spPr bwMode="gray">
            <a:xfrm>
              <a:off x="3778709" y="5374985"/>
              <a:ext cx="254401" cy="249242"/>
            </a:xfrm>
            <a:prstGeom prst="rect">
              <a:avLst/>
            </a:prstGeom>
            <a:noFill/>
            <a:ln w="9525">
              <a:noFill/>
              <a:miter lim="800000"/>
              <a:headEnd/>
              <a:tailEnd/>
            </a:ln>
          </p:spPr>
          <p:txBody>
            <a:bodyPr lIns="0" tIns="0" rIns="0" bIns="0" anchor="ctr" anchorCtr="1">
              <a:spAutoFit/>
            </a:bodyPr>
            <a:lstStyle/>
            <a:p>
              <a:r>
                <a:rPr lang="en-US" sz="800" b="1"/>
                <a:t>Abia</a:t>
              </a:r>
            </a:p>
            <a:p>
              <a:r>
                <a:rPr lang="en-US" sz="800" b="1"/>
                <a:t> </a:t>
              </a:r>
            </a:p>
          </p:txBody>
        </p:sp>
        <p:sp>
          <p:nvSpPr>
            <p:cNvPr id="19522" name="Rectangle 47"/>
            <p:cNvSpPr>
              <a:spLocks noChangeArrowheads="1"/>
            </p:cNvSpPr>
            <p:nvPr/>
          </p:nvSpPr>
          <p:spPr bwMode="gray">
            <a:xfrm>
              <a:off x="3870129" y="5696720"/>
              <a:ext cx="272068" cy="372953"/>
            </a:xfrm>
            <a:prstGeom prst="rect">
              <a:avLst/>
            </a:prstGeom>
            <a:noFill/>
            <a:ln w="9525">
              <a:noFill/>
              <a:miter lim="800000"/>
              <a:headEnd/>
              <a:tailEnd/>
            </a:ln>
          </p:spPr>
          <p:txBody>
            <a:bodyPr wrap="none" lIns="0" tIns="0" rIns="0" bIns="0" anchor="ctr" anchorCtr="1">
              <a:spAutoFit/>
            </a:bodyPr>
            <a:lstStyle/>
            <a:p>
              <a:r>
                <a:rPr lang="en-US" sz="800" b="1"/>
                <a:t>Akwa</a:t>
              </a:r>
              <a:br>
                <a:rPr lang="en-US" sz="800" b="1"/>
              </a:br>
              <a:r>
                <a:rPr lang="en-US" sz="800" b="1"/>
                <a:t>Ibom</a:t>
              </a:r>
            </a:p>
            <a:p>
              <a:r>
                <a:rPr lang="en-US" sz="800" b="1"/>
                <a:t> </a:t>
              </a:r>
            </a:p>
          </p:txBody>
        </p:sp>
        <p:sp>
          <p:nvSpPr>
            <p:cNvPr id="19523" name="Rectangle 48"/>
            <p:cNvSpPr>
              <a:spLocks noChangeArrowheads="1"/>
            </p:cNvSpPr>
            <p:nvPr/>
          </p:nvSpPr>
          <p:spPr bwMode="gray">
            <a:xfrm>
              <a:off x="6020172" y="3358329"/>
              <a:ext cx="505269" cy="123111"/>
            </a:xfrm>
            <a:prstGeom prst="rect">
              <a:avLst/>
            </a:prstGeom>
            <a:noFill/>
            <a:ln w="9525">
              <a:noFill/>
              <a:miter lim="800000"/>
              <a:headEnd/>
              <a:tailEnd/>
            </a:ln>
          </p:spPr>
          <p:txBody>
            <a:bodyPr lIns="0" tIns="0" rIns="0" bIns="0" anchor="ctr" anchorCtr="1">
              <a:spAutoFit/>
            </a:bodyPr>
            <a:lstStyle/>
            <a:p>
              <a:r>
                <a:rPr lang="en-US" sz="800" b="1"/>
                <a:t>Adamawa</a:t>
              </a:r>
            </a:p>
          </p:txBody>
        </p:sp>
        <p:sp>
          <p:nvSpPr>
            <p:cNvPr id="19524" name="Rectangle 49"/>
            <p:cNvSpPr>
              <a:spLocks noChangeArrowheads="1"/>
            </p:cNvSpPr>
            <p:nvPr/>
          </p:nvSpPr>
          <p:spPr bwMode="gray">
            <a:xfrm>
              <a:off x="4931901" y="2799810"/>
              <a:ext cx="348035" cy="123111"/>
            </a:xfrm>
            <a:prstGeom prst="rect">
              <a:avLst/>
            </a:prstGeom>
            <a:noFill/>
            <a:ln w="9525">
              <a:noFill/>
              <a:miter lim="800000"/>
              <a:headEnd/>
              <a:tailEnd/>
            </a:ln>
          </p:spPr>
          <p:txBody>
            <a:bodyPr lIns="0" tIns="0" rIns="0" bIns="0" anchor="ctr" anchorCtr="1">
              <a:spAutoFit/>
            </a:bodyPr>
            <a:lstStyle/>
            <a:p>
              <a:r>
                <a:rPr lang="en-US" sz="800" b="1">
                  <a:solidFill>
                    <a:schemeClr val="bg2"/>
                  </a:solidFill>
                </a:rPr>
                <a:t>Bauchi</a:t>
              </a:r>
            </a:p>
          </p:txBody>
        </p:sp>
        <p:sp>
          <p:nvSpPr>
            <p:cNvPr id="19525" name="Rectangle 50"/>
            <p:cNvSpPr>
              <a:spLocks noChangeArrowheads="1"/>
            </p:cNvSpPr>
            <p:nvPr/>
          </p:nvSpPr>
          <p:spPr bwMode="gray">
            <a:xfrm>
              <a:off x="5587336" y="3198232"/>
              <a:ext cx="372768" cy="123111"/>
            </a:xfrm>
            <a:prstGeom prst="rect">
              <a:avLst/>
            </a:prstGeom>
            <a:noFill/>
            <a:ln w="9525">
              <a:noFill/>
              <a:miter lim="800000"/>
              <a:headEnd/>
              <a:tailEnd/>
            </a:ln>
          </p:spPr>
          <p:txBody>
            <a:bodyPr lIns="0" tIns="0" rIns="0" bIns="0" anchor="ctr" anchorCtr="1">
              <a:spAutoFit/>
            </a:bodyPr>
            <a:lstStyle/>
            <a:p>
              <a:r>
                <a:rPr lang="en-US" sz="800" b="1">
                  <a:solidFill>
                    <a:schemeClr val="bg2"/>
                  </a:solidFill>
                </a:rPr>
                <a:t>Gombe</a:t>
              </a:r>
            </a:p>
          </p:txBody>
        </p:sp>
        <p:sp>
          <p:nvSpPr>
            <p:cNvPr id="19526" name="Rectangle 51"/>
            <p:cNvSpPr>
              <a:spLocks noChangeArrowheads="1"/>
            </p:cNvSpPr>
            <p:nvPr/>
          </p:nvSpPr>
          <p:spPr bwMode="gray">
            <a:xfrm>
              <a:off x="3778262" y="2880468"/>
              <a:ext cx="393968" cy="249242"/>
            </a:xfrm>
            <a:prstGeom prst="rect">
              <a:avLst/>
            </a:prstGeom>
            <a:noFill/>
            <a:ln w="9525">
              <a:noFill/>
              <a:miter lim="800000"/>
              <a:headEnd/>
              <a:tailEnd/>
            </a:ln>
          </p:spPr>
          <p:txBody>
            <a:bodyPr lIns="0" tIns="0" rIns="0" bIns="0" anchor="ctr" anchorCtr="1">
              <a:spAutoFit/>
            </a:bodyPr>
            <a:lstStyle/>
            <a:p>
              <a:r>
                <a:rPr lang="en-US" sz="800" b="1"/>
                <a:t>Kaduna</a:t>
              </a:r>
            </a:p>
            <a:p>
              <a:r>
                <a:rPr lang="en-US" sz="800" b="1"/>
                <a:t> </a:t>
              </a:r>
            </a:p>
          </p:txBody>
        </p:sp>
        <p:sp>
          <p:nvSpPr>
            <p:cNvPr id="19527" name="Rectangle 52"/>
            <p:cNvSpPr>
              <a:spLocks noChangeArrowheads="1"/>
            </p:cNvSpPr>
            <p:nvPr/>
          </p:nvSpPr>
          <p:spPr bwMode="gray">
            <a:xfrm>
              <a:off x="3626329" y="3707933"/>
              <a:ext cx="203168" cy="246221"/>
            </a:xfrm>
            <a:prstGeom prst="rect">
              <a:avLst/>
            </a:prstGeom>
            <a:noFill/>
            <a:ln w="9525">
              <a:noFill/>
              <a:miter lim="800000"/>
              <a:headEnd/>
              <a:tailEnd/>
            </a:ln>
          </p:spPr>
          <p:txBody>
            <a:bodyPr lIns="0" tIns="0" rIns="0" bIns="0" anchor="ctr" anchorCtr="1">
              <a:spAutoFit/>
            </a:bodyPr>
            <a:lstStyle/>
            <a:p>
              <a:r>
                <a:rPr lang="en-US" sz="800" b="1"/>
                <a:t>FCT</a:t>
              </a:r>
            </a:p>
            <a:p>
              <a:r>
                <a:rPr lang="en-US" sz="800" b="1"/>
                <a:t> </a:t>
              </a:r>
            </a:p>
          </p:txBody>
        </p:sp>
        <p:sp>
          <p:nvSpPr>
            <p:cNvPr id="19528" name="Rectangle 53"/>
            <p:cNvSpPr>
              <a:spLocks noChangeArrowheads="1"/>
            </p:cNvSpPr>
            <p:nvPr/>
          </p:nvSpPr>
          <p:spPr bwMode="gray">
            <a:xfrm>
              <a:off x="3935496" y="3895629"/>
              <a:ext cx="567103" cy="249242"/>
            </a:xfrm>
            <a:prstGeom prst="rect">
              <a:avLst/>
            </a:prstGeom>
            <a:solidFill>
              <a:srgbClr val="FFC000"/>
            </a:solidFill>
            <a:ln w="9525">
              <a:noFill/>
              <a:miter lim="800000"/>
              <a:headEnd/>
              <a:tailEnd/>
            </a:ln>
          </p:spPr>
          <p:txBody>
            <a:bodyPr lIns="0" tIns="0" rIns="0" bIns="0" anchor="ctr" anchorCtr="1">
              <a:spAutoFit/>
            </a:bodyPr>
            <a:lstStyle/>
            <a:p>
              <a:r>
                <a:rPr lang="en-US" sz="800" b="1"/>
                <a:t>Nassarawa</a:t>
              </a:r>
            </a:p>
            <a:p>
              <a:pPr algn="ctr"/>
              <a:r>
                <a:rPr lang="en-US" sz="800" b="1"/>
                <a:t> </a:t>
              </a:r>
            </a:p>
          </p:txBody>
        </p:sp>
        <p:sp>
          <p:nvSpPr>
            <p:cNvPr id="19529" name="Rectangle 54"/>
            <p:cNvSpPr>
              <a:spLocks noChangeArrowheads="1"/>
            </p:cNvSpPr>
            <p:nvPr/>
          </p:nvSpPr>
          <p:spPr bwMode="gray">
            <a:xfrm>
              <a:off x="4679266" y="3524494"/>
              <a:ext cx="386902" cy="249242"/>
            </a:xfrm>
            <a:prstGeom prst="rect">
              <a:avLst/>
            </a:prstGeom>
            <a:noFill/>
            <a:ln w="9525">
              <a:noFill/>
              <a:miter lim="800000"/>
              <a:headEnd/>
              <a:tailEnd/>
            </a:ln>
          </p:spPr>
          <p:txBody>
            <a:bodyPr lIns="0" tIns="0" rIns="0" bIns="0" anchor="ctr" anchorCtr="1">
              <a:spAutoFit/>
            </a:bodyPr>
            <a:lstStyle/>
            <a:p>
              <a:r>
                <a:rPr lang="en-US" sz="800" b="1"/>
                <a:t>Plateau</a:t>
              </a:r>
            </a:p>
            <a:p>
              <a:r>
                <a:rPr lang="en-US" sz="800" b="1"/>
                <a:t>   </a:t>
              </a:r>
            </a:p>
          </p:txBody>
        </p:sp>
        <p:sp>
          <p:nvSpPr>
            <p:cNvPr id="19530" name="Rectangle 55"/>
            <p:cNvSpPr>
              <a:spLocks noChangeArrowheads="1"/>
            </p:cNvSpPr>
            <p:nvPr/>
          </p:nvSpPr>
          <p:spPr bwMode="gray">
            <a:xfrm>
              <a:off x="5327636" y="4157605"/>
              <a:ext cx="360402" cy="249242"/>
            </a:xfrm>
            <a:prstGeom prst="rect">
              <a:avLst/>
            </a:prstGeom>
            <a:noFill/>
            <a:ln w="9525">
              <a:noFill/>
              <a:miter lim="800000"/>
              <a:headEnd/>
              <a:tailEnd/>
            </a:ln>
          </p:spPr>
          <p:txBody>
            <a:bodyPr lIns="0" tIns="0" rIns="0" bIns="0" anchor="ctr" anchorCtr="1">
              <a:spAutoFit/>
            </a:bodyPr>
            <a:lstStyle/>
            <a:p>
              <a:r>
                <a:rPr lang="en-US" sz="800" b="1"/>
                <a:t>Taraba</a:t>
              </a:r>
            </a:p>
            <a:p>
              <a:r>
                <a:rPr lang="en-US" sz="800" b="1"/>
                <a:t> </a:t>
              </a:r>
            </a:p>
          </p:txBody>
        </p:sp>
        <p:sp>
          <p:nvSpPr>
            <p:cNvPr id="19531" name="Rectangle 56"/>
            <p:cNvSpPr>
              <a:spLocks noChangeArrowheads="1"/>
            </p:cNvSpPr>
            <p:nvPr/>
          </p:nvSpPr>
          <p:spPr bwMode="gray">
            <a:xfrm>
              <a:off x="4317098" y="4566334"/>
              <a:ext cx="330368" cy="123111"/>
            </a:xfrm>
            <a:prstGeom prst="rect">
              <a:avLst/>
            </a:prstGeom>
            <a:noFill/>
            <a:ln w="9525">
              <a:noFill/>
              <a:miter lim="800000"/>
              <a:headEnd/>
              <a:tailEnd/>
            </a:ln>
          </p:spPr>
          <p:txBody>
            <a:bodyPr lIns="0" tIns="0" rIns="0" bIns="0" anchor="ctr" anchorCtr="1">
              <a:spAutoFit/>
            </a:bodyPr>
            <a:lstStyle/>
            <a:p>
              <a:r>
                <a:rPr lang="en-US" sz="800" b="1"/>
                <a:t>Benue</a:t>
              </a:r>
            </a:p>
          </p:txBody>
        </p:sp>
        <p:sp>
          <p:nvSpPr>
            <p:cNvPr id="19532" name="Rectangle 57"/>
            <p:cNvSpPr>
              <a:spLocks noChangeArrowheads="1"/>
            </p:cNvSpPr>
            <p:nvPr/>
          </p:nvSpPr>
          <p:spPr bwMode="gray">
            <a:xfrm>
              <a:off x="4168698" y="5349236"/>
              <a:ext cx="295035" cy="372953"/>
            </a:xfrm>
            <a:prstGeom prst="rect">
              <a:avLst/>
            </a:prstGeom>
            <a:noFill/>
            <a:ln w="9525">
              <a:noFill/>
              <a:miter lim="800000"/>
              <a:headEnd/>
              <a:tailEnd/>
            </a:ln>
          </p:spPr>
          <p:txBody>
            <a:bodyPr lIns="0" tIns="0" rIns="0" bIns="0" anchor="ctr" anchorCtr="1">
              <a:spAutoFit/>
            </a:bodyPr>
            <a:lstStyle/>
            <a:p>
              <a:r>
                <a:rPr lang="en-US" sz="800" b="1"/>
                <a:t>Cross</a:t>
              </a:r>
            </a:p>
            <a:p>
              <a:r>
                <a:rPr lang="en-US" sz="800" b="1"/>
                <a:t>River</a:t>
              </a:r>
            </a:p>
            <a:p>
              <a:r>
                <a:rPr lang="en-US" sz="800" b="1"/>
                <a:t> </a:t>
              </a:r>
            </a:p>
          </p:txBody>
        </p:sp>
        <p:sp>
          <p:nvSpPr>
            <p:cNvPr id="19533" name="Rectangle 58"/>
            <p:cNvSpPr>
              <a:spLocks noChangeArrowheads="1"/>
            </p:cNvSpPr>
            <p:nvPr/>
          </p:nvSpPr>
          <p:spPr bwMode="gray">
            <a:xfrm>
              <a:off x="3665195" y="4830130"/>
              <a:ext cx="330368" cy="123111"/>
            </a:xfrm>
            <a:prstGeom prst="rect">
              <a:avLst/>
            </a:prstGeom>
            <a:noFill/>
            <a:ln w="9525">
              <a:noFill/>
              <a:miter lim="800000"/>
              <a:headEnd/>
              <a:tailEnd/>
            </a:ln>
          </p:spPr>
          <p:txBody>
            <a:bodyPr lIns="0" tIns="0" rIns="0" bIns="0" anchor="ctr" anchorCtr="1">
              <a:spAutoFit/>
            </a:bodyPr>
            <a:lstStyle/>
            <a:p>
              <a:r>
                <a:rPr lang="en-US" sz="800" b="1"/>
                <a:t>Enugu</a:t>
              </a:r>
            </a:p>
          </p:txBody>
        </p:sp>
        <p:sp>
          <p:nvSpPr>
            <p:cNvPr id="19534" name="Rectangle 59"/>
            <p:cNvSpPr>
              <a:spLocks noChangeArrowheads="1"/>
            </p:cNvSpPr>
            <p:nvPr/>
          </p:nvSpPr>
          <p:spPr bwMode="gray">
            <a:xfrm>
              <a:off x="3947863" y="5047235"/>
              <a:ext cx="348035" cy="249242"/>
            </a:xfrm>
            <a:prstGeom prst="rect">
              <a:avLst/>
            </a:prstGeom>
            <a:noFill/>
            <a:ln w="9525">
              <a:noFill/>
              <a:miter lim="800000"/>
              <a:headEnd/>
              <a:tailEnd/>
            </a:ln>
          </p:spPr>
          <p:txBody>
            <a:bodyPr lIns="0" tIns="0" rIns="0" bIns="0" anchor="ctr" anchorCtr="1">
              <a:spAutoFit/>
            </a:bodyPr>
            <a:lstStyle/>
            <a:p>
              <a:r>
                <a:rPr lang="en-US" sz="800" b="1"/>
                <a:t>Ebonyi</a:t>
              </a:r>
            </a:p>
            <a:p>
              <a:r>
                <a:rPr lang="en-US" sz="800" b="1"/>
                <a:t>     </a:t>
              </a:r>
            </a:p>
          </p:txBody>
        </p:sp>
        <p:sp>
          <p:nvSpPr>
            <p:cNvPr id="19535" name="Rectangle 60"/>
            <p:cNvSpPr>
              <a:spLocks noChangeArrowheads="1"/>
            </p:cNvSpPr>
            <p:nvPr/>
          </p:nvSpPr>
          <p:spPr bwMode="gray">
            <a:xfrm>
              <a:off x="3329527" y="5009030"/>
              <a:ext cx="461102" cy="249242"/>
            </a:xfrm>
            <a:prstGeom prst="rect">
              <a:avLst/>
            </a:prstGeom>
            <a:noFill/>
            <a:ln w="9525">
              <a:noFill/>
              <a:miter lim="800000"/>
              <a:headEnd/>
              <a:tailEnd/>
            </a:ln>
          </p:spPr>
          <p:txBody>
            <a:bodyPr lIns="0" tIns="0" rIns="0" bIns="0" anchor="ctr" anchorCtr="1">
              <a:spAutoFit/>
            </a:bodyPr>
            <a:lstStyle/>
            <a:p>
              <a:r>
                <a:rPr lang="en-US" sz="800" b="1"/>
                <a:t>Anambra</a:t>
              </a:r>
            </a:p>
            <a:p>
              <a:r>
                <a:rPr lang="en-US" sz="800" b="1"/>
                <a:t>       </a:t>
              </a:r>
            </a:p>
          </p:txBody>
        </p:sp>
        <p:sp>
          <p:nvSpPr>
            <p:cNvPr id="19536" name="Rectangle 61"/>
            <p:cNvSpPr>
              <a:spLocks noChangeArrowheads="1"/>
            </p:cNvSpPr>
            <p:nvPr/>
          </p:nvSpPr>
          <p:spPr bwMode="gray">
            <a:xfrm>
              <a:off x="3011526" y="5407454"/>
              <a:ext cx="265001" cy="249242"/>
            </a:xfrm>
            <a:prstGeom prst="rect">
              <a:avLst/>
            </a:prstGeom>
            <a:noFill/>
            <a:ln w="9525">
              <a:noFill/>
              <a:miter lim="800000"/>
              <a:headEnd/>
              <a:tailEnd/>
            </a:ln>
          </p:spPr>
          <p:txBody>
            <a:bodyPr lIns="0" tIns="0" rIns="0" bIns="0" anchor="ctr" anchorCtr="1">
              <a:spAutoFit/>
            </a:bodyPr>
            <a:lstStyle/>
            <a:p>
              <a:r>
                <a:rPr lang="en-US" sz="800" b="1"/>
                <a:t>Delta</a:t>
              </a:r>
            </a:p>
            <a:p>
              <a:r>
                <a:rPr lang="en-US" sz="800" b="1"/>
                <a:t> </a:t>
              </a:r>
            </a:p>
          </p:txBody>
        </p:sp>
        <p:sp>
          <p:nvSpPr>
            <p:cNvPr id="19537" name="Rectangle 62"/>
            <p:cNvSpPr>
              <a:spLocks noChangeArrowheads="1"/>
            </p:cNvSpPr>
            <p:nvPr/>
          </p:nvSpPr>
          <p:spPr bwMode="gray">
            <a:xfrm>
              <a:off x="2967359" y="4863487"/>
              <a:ext cx="203168" cy="249242"/>
            </a:xfrm>
            <a:prstGeom prst="rect">
              <a:avLst/>
            </a:prstGeom>
            <a:noFill/>
            <a:ln w="9525">
              <a:noFill/>
              <a:miter lim="800000"/>
              <a:headEnd/>
              <a:tailEnd/>
            </a:ln>
          </p:spPr>
          <p:txBody>
            <a:bodyPr lIns="0" tIns="0" rIns="0" bIns="0" anchor="ctr" anchorCtr="1">
              <a:spAutoFit/>
            </a:bodyPr>
            <a:lstStyle/>
            <a:p>
              <a:r>
                <a:rPr lang="en-US" sz="800" b="1"/>
                <a:t>Edo</a:t>
              </a:r>
            </a:p>
            <a:p>
              <a:r>
                <a:rPr lang="en-US" sz="800" b="1"/>
                <a:t> </a:t>
              </a:r>
            </a:p>
          </p:txBody>
        </p:sp>
        <p:sp>
          <p:nvSpPr>
            <p:cNvPr id="19538" name="Rectangle 63"/>
            <p:cNvSpPr>
              <a:spLocks noChangeArrowheads="1"/>
            </p:cNvSpPr>
            <p:nvPr/>
          </p:nvSpPr>
          <p:spPr bwMode="gray">
            <a:xfrm>
              <a:off x="3340127" y="4299510"/>
              <a:ext cx="227901" cy="249242"/>
            </a:xfrm>
            <a:prstGeom prst="rect">
              <a:avLst/>
            </a:prstGeom>
            <a:noFill/>
            <a:ln w="9525">
              <a:noFill/>
              <a:miter lim="800000"/>
              <a:headEnd/>
              <a:tailEnd/>
            </a:ln>
          </p:spPr>
          <p:txBody>
            <a:bodyPr lIns="0" tIns="0" rIns="0" bIns="0" anchor="ctr" anchorCtr="1">
              <a:spAutoFit/>
            </a:bodyPr>
            <a:lstStyle/>
            <a:p>
              <a:r>
                <a:rPr lang="en-US" sz="800" b="1"/>
                <a:t>Kogi</a:t>
              </a:r>
            </a:p>
            <a:p>
              <a:r>
                <a:rPr lang="en-US" sz="800" b="1"/>
                <a:t>  </a:t>
              </a:r>
            </a:p>
          </p:txBody>
        </p:sp>
        <p:sp>
          <p:nvSpPr>
            <p:cNvPr id="19539" name="Rectangle 64"/>
            <p:cNvSpPr>
              <a:spLocks noChangeArrowheads="1"/>
            </p:cNvSpPr>
            <p:nvPr/>
          </p:nvSpPr>
          <p:spPr bwMode="gray">
            <a:xfrm>
              <a:off x="1810187" y="4075737"/>
              <a:ext cx="208468" cy="249242"/>
            </a:xfrm>
            <a:prstGeom prst="rect">
              <a:avLst/>
            </a:prstGeom>
            <a:noFill/>
            <a:ln w="9525">
              <a:noFill/>
              <a:miter lim="800000"/>
              <a:headEnd/>
              <a:tailEnd/>
            </a:ln>
          </p:spPr>
          <p:txBody>
            <a:bodyPr lIns="0" tIns="0" rIns="0" bIns="0" anchor="ctr" anchorCtr="1">
              <a:spAutoFit/>
            </a:bodyPr>
            <a:lstStyle/>
            <a:p>
              <a:r>
                <a:rPr lang="en-US" sz="800" b="1"/>
                <a:t>Oyo</a:t>
              </a:r>
            </a:p>
            <a:p>
              <a:r>
                <a:rPr lang="en-US" sz="800" b="1"/>
                <a:t> </a:t>
              </a:r>
            </a:p>
          </p:txBody>
        </p:sp>
        <p:sp>
          <p:nvSpPr>
            <p:cNvPr id="19540" name="Rectangle 65"/>
            <p:cNvSpPr>
              <a:spLocks noChangeArrowheads="1"/>
            </p:cNvSpPr>
            <p:nvPr/>
          </p:nvSpPr>
          <p:spPr bwMode="gray">
            <a:xfrm>
              <a:off x="1707720" y="4672463"/>
              <a:ext cx="279135" cy="249242"/>
            </a:xfrm>
            <a:prstGeom prst="rect">
              <a:avLst/>
            </a:prstGeom>
            <a:noFill/>
            <a:ln w="9525">
              <a:noFill/>
              <a:miter lim="800000"/>
              <a:headEnd/>
              <a:tailEnd/>
            </a:ln>
          </p:spPr>
          <p:txBody>
            <a:bodyPr lIns="0" tIns="0" rIns="0" bIns="0" anchor="ctr" anchorCtr="1">
              <a:spAutoFit/>
            </a:bodyPr>
            <a:lstStyle/>
            <a:p>
              <a:r>
                <a:rPr lang="en-US" sz="800" b="1"/>
                <a:t>Ogun</a:t>
              </a:r>
            </a:p>
            <a:p>
              <a:r>
                <a:rPr lang="en-US" sz="800" b="1"/>
                <a:t>   </a:t>
              </a:r>
            </a:p>
          </p:txBody>
        </p:sp>
        <p:sp>
          <p:nvSpPr>
            <p:cNvPr id="19541" name="Rectangle 66"/>
            <p:cNvSpPr>
              <a:spLocks noChangeArrowheads="1"/>
            </p:cNvSpPr>
            <p:nvPr/>
          </p:nvSpPr>
          <p:spPr bwMode="gray">
            <a:xfrm>
              <a:off x="2202389" y="4304967"/>
              <a:ext cx="272068" cy="249242"/>
            </a:xfrm>
            <a:prstGeom prst="rect">
              <a:avLst/>
            </a:prstGeom>
            <a:noFill/>
            <a:ln w="9525">
              <a:noFill/>
              <a:miter lim="800000"/>
              <a:headEnd/>
              <a:tailEnd/>
            </a:ln>
          </p:spPr>
          <p:txBody>
            <a:bodyPr lIns="0" tIns="0" rIns="0" bIns="0" anchor="ctr" anchorCtr="1">
              <a:spAutoFit/>
            </a:bodyPr>
            <a:lstStyle/>
            <a:p>
              <a:r>
                <a:rPr lang="en-US" sz="800" b="1"/>
                <a:t>Osun</a:t>
              </a:r>
            </a:p>
            <a:p>
              <a:r>
                <a:rPr lang="en-US" sz="800" b="1"/>
                <a:t>  </a:t>
              </a:r>
            </a:p>
          </p:txBody>
        </p:sp>
        <p:sp>
          <p:nvSpPr>
            <p:cNvPr id="19542" name="Rectangle 67"/>
            <p:cNvSpPr>
              <a:spLocks noChangeArrowheads="1"/>
            </p:cNvSpPr>
            <p:nvPr/>
          </p:nvSpPr>
          <p:spPr bwMode="gray">
            <a:xfrm>
              <a:off x="2604518" y="4266762"/>
              <a:ext cx="249101" cy="249242"/>
            </a:xfrm>
            <a:prstGeom prst="rect">
              <a:avLst/>
            </a:prstGeom>
            <a:noFill/>
            <a:ln w="9525">
              <a:noFill/>
              <a:miter lim="800000"/>
              <a:headEnd/>
              <a:tailEnd/>
            </a:ln>
          </p:spPr>
          <p:txBody>
            <a:bodyPr lIns="0" tIns="0" rIns="0" bIns="0" anchor="ctr" anchorCtr="1">
              <a:spAutoFit/>
            </a:bodyPr>
            <a:lstStyle/>
            <a:p>
              <a:r>
                <a:rPr lang="en-US" sz="800" b="1"/>
                <a:t>Ekiti</a:t>
              </a:r>
            </a:p>
            <a:p>
              <a:r>
                <a:rPr lang="en-US" sz="800" b="1"/>
                <a:t> </a:t>
              </a:r>
            </a:p>
          </p:txBody>
        </p:sp>
        <p:sp>
          <p:nvSpPr>
            <p:cNvPr id="19543" name="Rectangle 68"/>
            <p:cNvSpPr>
              <a:spLocks noChangeArrowheads="1"/>
            </p:cNvSpPr>
            <p:nvPr/>
          </p:nvSpPr>
          <p:spPr bwMode="gray">
            <a:xfrm>
              <a:off x="2543357" y="4577860"/>
              <a:ext cx="279135" cy="249242"/>
            </a:xfrm>
            <a:prstGeom prst="rect">
              <a:avLst/>
            </a:prstGeom>
            <a:noFill/>
            <a:ln w="9525">
              <a:noFill/>
              <a:miter lim="800000"/>
              <a:headEnd/>
              <a:tailEnd/>
            </a:ln>
          </p:spPr>
          <p:txBody>
            <a:bodyPr lIns="0" tIns="0" rIns="0" bIns="0" anchor="ctr" anchorCtr="1">
              <a:spAutoFit/>
            </a:bodyPr>
            <a:lstStyle/>
            <a:p>
              <a:r>
                <a:rPr lang="en-US" sz="800" b="1"/>
                <a:t>Ondo</a:t>
              </a:r>
            </a:p>
            <a:p>
              <a:r>
                <a:rPr lang="en-US" sz="800" b="1"/>
                <a:t> </a:t>
              </a:r>
            </a:p>
          </p:txBody>
        </p:sp>
        <p:sp>
          <p:nvSpPr>
            <p:cNvPr id="19544" name="Rectangle 69"/>
            <p:cNvSpPr>
              <a:spLocks noChangeArrowheads="1"/>
            </p:cNvSpPr>
            <p:nvPr/>
          </p:nvSpPr>
          <p:spPr bwMode="gray">
            <a:xfrm>
              <a:off x="2283655" y="3779194"/>
              <a:ext cx="321535" cy="249242"/>
            </a:xfrm>
            <a:prstGeom prst="rect">
              <a:avLst/>
            </a:prstGeom>
            <a:noFill/>
            <a:ln w="9525">
              <a:noFill/>
              <a:miter lim="800000"/>
              <a:headEnd/>
              <a:tailEnd/>
            </a:ln>
          </p:spPr>
          <p:txBody>
            <a:bodyPr lIns="0" tIns="0" rIns="0" bIns="0" anchor="ctr" anchorCtr="1">
              <a:spAutoFit/>
            </a:bodyPr>
            <a:lstStyle/>
            <a:p>
              <a:r>
                <a:rPr lang="en-US" sz="800" b="1"/>
                <a:t>Kwara </a:t>
              </a:r>
            </a:p>
            <a:p>
              <a:r>
                <a:rPr lang="en-US" sz="800" b="1"/>
                <a:t>   </a:t>
              </a:r>
            </a:p>
          </p:txBody>
        </p:sp>
        <p:sp>
          <p:nvSpPr>
            <p:cNvPr id="19545" name="Rectangle 70"/>
            <p:cNvSpPr>
              <a:spLocks noChangeArrowheads="1"/>
            </p:cNvSpPr>
            <p:nvPr/>
          </p:nvSpPr>
          <p:spPr bwMode="gray">
            <a:xfrm>
              <a:off x="2771258" y="3225522"/>
              <a:ext cx="270301" cy="123111"/>
            </a:xfrm>
            <a:prstGeom prst="rect">
              <a:avLst/>
            </a:prstGeom>
            <a:noFill/>
            <a:ln w="9525">
              <a:noFill/>
              <a:miter lim="800000"/>
              <a:headEnd/>
              <a:tailEnd/>
            </a:ln>
          </p:spPr>
          <p:txBody>
            <a:bodyPr lIns="0" tIns="0" rIns="0" bIns="0" anchor="ctr" anchorCtr="1">
              <a:spAutoFit/>
            </a:bodyPr>
            <a:lstStyle/>
            <a:p>
              <a:r>
                <a:rPr lang="en-US" sz="800" b="1"/>
                <a:t>Niger</a:t>
              </a:r>
            </a:p>
          </p:txBody>
        </p:sp>
        <p:sp>
          <p:nvSpPr>
            <p:cNvPr id="19546" name="Rectangle 71"/>
            <p:cNvSpPr>
              <a:spLocks noChangeArrowheads="1"/>
            </p:cNvSpPr>
            <p:nvPr/>
          </p:nvSpPr>
          <p:spPr bwMode="gray">
            <a:xfrm>
              <a:off x="2592824" y="1524491"/>
              <a:ext cx="355101" cy="123111"/>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Sokoto</a:t>
              </a:r>
            </a:p>
          </p:txBody>
        </p:sp>
        <p:sp>
          <p:nvSpPr>
            <p:cNvPr id="19547" name="Rectangle 72"/>
            <p:cNvSpPr>
              <a:spLocks noChangeArrowheads="1"/>
            </p:cNvSpPr>
            <p:nvPr/>
          </p:nvSpPr>
          <p:spPr bwMode="gray">
            <a:xfrm>
              <a:off x="1995688" y="2199446"/>
              <a:ext cx="291501" cy="123111"/>
            </a:xfrm>
            <a:prstGeom prst="rect">
              <a:avLst/>
            </a:prstGeom>
            <a:noFill/>
            <a:ln w="9525">
              <a:noFill/>
              <a:miter lim="800000"/>
              <a:headEnd/>
              <a:tailEnd/>
            </a:ln>
          </p:spPr>
          <p:txBody>
            <a:bodyPr lIns="0" tIns="0" rIns="0" bIns="0" anchor="ctr" anchorCtr="1">
              <a:spAutoFit/>
            </a:bodyPr>
            <a:lstStyle/>
            <a:p>
              <a:r>
                <a:rPr lang="en-US" sz="800" b="1"/>
                <a:t>Kebbi</a:t>
              </a:r>
            </a:p>
          </p:txBody>
        </p:sp>
        <p:sp>
          <p:nvSpPr>
            <p:cNvPr id="19548" name="Rectangle 73"/>
            <p:cNvSpPr>
              <a:spLocks noChangeArrowheads="1"/>
            </p:cNvSpPr>
            <p:nvPr/>
          </p:nvSpPr>
          <p:spPr bwMode="gray">
            <a:xfrm>
              <a:off x="3018593" y="2110301"/>
              <a:ext cx="422235" cy="123111"/>
            </a:xfrm>
            <a:prstGeom prst="rect">
              <a:avLst/>
            </a:prstGeom>
            <a:noFill/>
            <a:ln w="9525">
              <a:noFill/>
              <a:miter lim="800000"/>
              <a:headEnd/>
              <a:tailEnd/>
            </a:ln>
          </p:spPr>
          <p:txBody>
            <a:bodyPr lIns="0" tIns="0" rIns="0" bIns="0" anchor="ctr" anchorCtr="1">
              <a:spAutoFit/>
            </a:bodyPr>
            <a:lstStyle/>
            <a:p>
              <a:r>
                <a:rPr lang="en-US" sz="800" b="1">
                  <a:solidFill>
                    <a:schemeClr val="bg2"/>
                  </a:solidFill>
                </a:rPr>
                <a:t>Zamfara</a:t>
              </a:r>
            </a:p>
          </p:txBody>
        </p:sp>
        <p:sp>
          <p:nvSpPr>
            <p:cNvPr id="19549" name="Rectangle 74"/>
            <p:cNvSpPr>
              <a:spLocks noChangeArrowheads="1"/>
            </p:cNvSpPr>
            <p:nvPr/>
          </p:nvSpPr>
          <p:spPr bwMode="gray">
            <a:xfrm>
              <a:off x="3718196" y="1771914"/>
              <a:ext cx="379835" cy="123111"/>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atsina</a:t>
              </a:r>
            </a:p>
          </p:txBody>
        </p:sp>
        <p:sp>
          <p:nvSpPr>
            <p:cNvPr id="19550" name="Rectangle 75"/>
            <p:cNvSpPr>
              <a:spLocks noChangeArrowheads="1"/>
            </p:cNvSpPr>
            <p:nvPr/>
          </p:nvSpPr>
          <p:spPr bwMode="gray">
            <a:xfrm>
              <a:off x="4237597" y="2390471"/>
              <a:ext cx="266768" cy="123111"/>
            </a:xfrm>
            <a:prstGeom prst="rect">
              <a:avLst/>
            </a:prstGeom>
            <a:noFill/>
            <a:ln w="9525">
              <a:noFill/>
              <a:miter lim="800000"/>
              <a:headEnd/>
              <a:tailEnd/>
            </a:ln>
          </p:spPr>
          <p:txBody>
            <a:bodyPr lIns="0" tIns="0" rIns="0" bIns="0" anchor="ctr" anchorCtr="1">
              <a:spAutoFit/>
            </a:bodyPr>
            <a:lstStyle/>
            <a:p>
              <a:r>
                <a:rPr lang="en-US" sz="800" b="1"/>
                <a:t>Kano</a:t>
              </a:r>
            </a:p>
          </p:txBody>
        </p:sp>
        <p:sp>
          <p:nvSpPr>
            <p:cNvPr id="19551" name="Rectangle 76"/>
            <p:cNvSpPr>
              <a:spLocks noChangeArrowheads="1"/>
            </p:cNvSpPr>
            <p:nvPr/>
          </p:nvSpPr>
          <p:spPr bwMode="gray">
            <a:xfrm>
              <a:off x="5672137" y="2010240"/>
              <a:ext cx="266768" cy="123111"/>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Yobe</a:t>
              </a:r>
            </a:p>
          </p:txBody>
        </p:sp>
        <p:sp>
          <p:nvSpPr>
            <p:cNvPr id="19552" name="Rectangle 77"/>
            <p:cNvSpPr>
              <a:spLocks noChangeArrowheads="1"/>
            </p:cNvSpPr>
            <p:nvPr/>
          </p:nvSpPr>
          <p:spPr bwMode="gray">
            <a:xfrm>
              <a:off x="4679266" y="1924733"/>
              <a:ext cx="353335" cy="123111"/>
            </a:xfrm>
            <a:prstGeom prst="rect">
              <a:avLst/>
            </a:prstGeom>
            <a:noFill/>
            <a:ln w="9525">
              <a:noFill/>
              <a:miter lim="800000"/>
              <a:headEnd/>
              <a:tailEnd/>
            </a:ln>
          </p:spPr>
          <p:txBody>
            <a:bodyPr lIns="0" tIns="0" rIns="0" bIns="0" anchor="ctr" anchorCtr="1">
              <a:spAutoFit/>
            </a:bodyPr>
            <a:lstStyle/>
            <a:p>
              <a:r>
                <a:rPr lang="en-US" sz="800" b="1">
                  <a:solidFill>
                    <a:schemeClr val="bg2"/>
                  </a:solidFill>
                </a:rPr>
                <a:t>Jigawa</a:t>
              </a:r>
            </a:p>
          </p:txBody>
        </p:sp>
        <p:sp>
          <p:nvSpPr>
            <p:cNvPr id="19553" name="Rectangle 78"/>
            <p:cNvSpPr>
              <a:spLocks noChangeArrowheads="1"/>
            </p:cNvSpPr>
            <p:nvPr/>
          </p:nvSpPr>
          <p:spPr bwMode="gray">
            <a:xfrm>
              <a:off x="6530741" y="2214000"/>
              <a:ext cx="303868" cy="123111"/>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Borno</a:t>
              </a:r>
            </a:p>
          </p:txBody>
        </p:sp>
      </p:grpSp>
      <p:sp>
        <p:nvSpPr>
          <p:cNvPr id="150" name="RectangleLegend3">
            <a:extLst>
              <a:ext uri="{FF2B5EF4-FFF2-40B4-BE49-F238E27FC236}"/>
            </a:extLst>
          </p:cNvPr>
          <p:cNvSpPr>
            <a:spLocks noChangeArrowheads="1"/>
          </p:cNvSpPr>
          <p:nvPr/>
        </p:nvSpPr>
        <p:spPr bwMode="gray">
          <a:xfrm>
            <a:off x="5957888" y="1128713"/>
            <a:ext cx="263525" cy="244475"/>
          </a:xfrm>
          <a:prstGeom prst="rect">
            <a:avLst/>
          </a:prstGeom>
          <a:solidFill>
            <a:srgbClr val="33CC33"/>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151" name="Legend1">
            <a:extLst>
              <a:ext uri="{FF2B5EF4-FFF2-40B4-BE49-F238E27FC236}"/>
            </a:extLst>
          </p:cNvPr>
          <p:cNvSpPr>
            <a:spLocks noChangeArrowheads="1"/>
          </p:cNvSpPr>
          <p:nvPr>
            <p:custDataLst>
              <p:tags r:id="rId3"/>
            </p:custDataLst>
          </p:nvPr>
        </p:nvSpPr>
        <p:spPr bwMode="gray">
          <a:xfrm>
            <a:off x="6362700" y="1174750"/>
            <a:ext cx="387350" cy="15398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0-25%</a:t>
            </a:r>
          </a:p>
        </p:txBody>
      </p:sp>
      <p:sp>
        <p:nvSpPr>
          <p:cNvPr id="148" name="RectangleLegend1">
            <a:extLst>
              <a:ext uri="{FF2B5EF4-FFF2-40B4-BE49-F238E27FC236}"/>
            </a:extLst>
          </p:cNvPr>
          <p:cNvSpPr>
            <a:spLocks noChangeArrowheads="1"/>
          </p:cNvSpPr>
          <p:nvPr/>
        </p:nvSpPr>
        <p:spPr bwMode="gray">
          <a:xfrm>
            <a:off x="6891338" y="1128713"/>
            <a:ext cx="261937" cy="244475"/>
          </a:xfrm>
          <a:prstGeom prst="rect">
            <a:avLst/>
          </a:prstGeom>
          <a:solidFill>
            <a:srgbClr val="FF9900"/>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149" name="Legend2">
            <a:extLst>
              <a:ext uri="{FF2B5EF4-FFF2-40B4-BE49-F238E27FC236}"/>
            </a:extLst>
          </p:cNvPr>
          <p:cNvSpPr>
            <a:spLocks noChangeArrowheads="1"/>
          </p:cNvSpPr>
          <p:nvPr>
            <p:custDataLst>
              <p:tags r:id="rId4"/>
            </p:custDataLst>
          </p:nvPr>
        </p:nvSpPr>
        <p:spPr bwMode="gray">
          <a:xfrm>
            <a:off x="7294563" y="1174750"/>
            <a:ext cx="441325" cy="15398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25-75%</a:t>
            </a:r>
          </a:p>
        </p:txBody>
      </p:sp>
      <p:sp>
        <p:nvSpPr>
          <p:cNvPr id="146" name="RectangleLegend2">
            <a:extLst>
              <a:ext uri="{FF2B5EF4-FFF2-40B4-BE49-F238E27FC236}"/>
            </a:extLst>
          </p:cNvPr>
          <p:cNvSpPr>
            <a:spLocks noChangeArrowheads="1"/>
          </p:cNvSpPr>
          <p:nvPr/>
        </p:nvSpPr>
        <p:spPr bwMode="gray">
          <a:xfrm>
            <a:off x="7827963" y="1128713"/>
            <a:ext cx="261937" cy="244475"/>
          </a:xfrm>
          <a:prstGeom prst="rect">
            <a:avLst/>
          </a:prstGeom>
          <a:solidFill>
            <a:srgbClr val="CD202C"/>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147" name="Legend2">
            <a:extLst>
              <a:ext uri="{FF2B5EF4-FFF2-40B4-BE49-F238E27FC236}"/>
            </a:extLst>
          </p:cNvPr>
          <p:cNvSpPr>
            <a:spLocks noChangeArrowheads="1"/>
          </p:cNvSpPr>
          <p:nvPr>
            <p:custDataLst>
              <p:tags r:id="rId5"/>
            </p:custDataLst>
          </p:nvPr>
        </p:nvSpPr>
        <p:spPr bwMode="gray">
          <a:xfrm>
            <a:off x="8231188" y="1174750"/>
            <a:ext cx="508000" cy="15398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50-100%</a:t>
            </a:r>
          </a:p>
        </p:txBody>
      </p:sp>
      <p:sp>
        <p:nvSpPr>
          <p:cNvPr id="7" name="TextBox 6">
            <a:extLst>
              <a:ext uri="{FF2B5EF4-FFF2-40B4-BE49-F238E27FC236}"/>
            </a:extLst>
          </p:cNvPr>
          <p:cNvSpPr txBox="1"/>
          <p:nvPr/>
        </p:nvSpPr>
        <p:spPr>
          <a:xfrm>
            <a:off x="136525" y="1825625"/>
            <a:ext cx="1489075" cy="3878263"/>
          </a:xfrm>
          <a:prstGeom prst="rect">
            <a:avLst/>
          </a:prstGeom>
        </p:spPr>
        <p:txBody>
          <a:bodyPr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defRPr/>
            </a:pPr>
            <a:endParaRPr lang="en-GB" dirty="0">
              <a:cs typeface="+mn-cs"/>
            </a:endParaRPr>
          </a:p>
          <a:p>
            <a:pPr marL="285750" indent="-285750">
              <a:buFont typeface="Wingdings" panose="05000000000000000000" pitchFamily="2" charset="2"/>
              <a:buChar char="§"/>
              <a:defRPr/>
            </a:pPr>
            <a:r>
              <a:rPr lang="en-US" dirty="0">
                <a:cs typeface="+mn-cs"/>
              </a:rPr>
              <a:t>The 2015 Nigerian Education Data survey participants were considered literate if they could read </a:t>
            </a:r>
            <a:r>
              <a:rPr lang="en-US" b="1" dirty="0">
                <a:cs typeface="+mn-cs"/>
              </a:rPr>
              <a:t>at least one of three words in English or one of three National languages</a:t>
            </a:r>
            <a:r>
              <a:rPr lang="en-US" dirty="0">
                <a:cs typeface="+mn-cs"/>
              </a:rPr>
              <a:t> on a presented flashcard </a:t>
            </a:r>
            <a:endParaRPr lang="en-GB" dirty="0">
              <a:cs typeface="+mn-cs"/>
            </a:endParaRPr>
          </a:p>
        </p:txBody>
      </p:sp>
      <p:grpSp>
        <p:nvGrpSpPr>
          <p:cNvPr id="6" name="CustomIcon">
            <a:extLst>
              <a:ext uri="{FF2B5EF4-FFF2-40B4-BE49-F238E27FC236}"/>
            </a:extLst>
          </p:cNvPr>
          <p:cNvGrpSpPr>
            <a:grpSpLocks noChangeAspect="1"/>
          </p:cNvGrpSpPr>
          <p:nvPr>
            <p:custDataLst>
              <p:tags r:id="rId6"/>
            </p:custDataLst>
          </p:nvPr>
        </p:nvGrpSpPr>
        <p:grpSpPr>
          <a:xfrm>
            <a:off x="228432" y="1245348"/>
            <a:ext cx="510908" cy="583428"/>
            <a:chOff x="3175" y="3175"/>
            <a:chExt cx="1241426" cy="1417638"/>
          </a:xfrm>
          <a:solidFill>
            <a:srgbClr val="FF9900"/>
          </a:solidFill>
        </p:grpSpPr>
        <p:sp>
          <p:nvSpPr>
            <p:cNvPr id="14" name="Freeform 7">
              <a:extLst>
                <a:ext uri="{FF2B5EF4-FFF2-40B4-BE49-F238E27FC236}"/>
              </a:extLst>
            </p:cNvPr>
            <p:cNvSpPr>
              <a:spLocks/>
            </p:cNvSpPr>
            <p:nvPr/>
          </p:nvSpPr>
          <p:spPr bwMode="auto">
            <a:xfrm>
              <a:off x="593725" y="3175"/>
              <a:ext cx="60325" cy="176213"/>
            </a:xfrm>
            <a:custGeom>
              <a:avLst/>
              <a:gdLst>
                <a:gd name="T0" fmla="*/ 9 w 18"/>
                <a:gd name="T1" fmla="*/ 53 h 53"/>
                <a:gd name="T2" fmla="*/ 0 w 18"/>
                <a:gd name="T3" fmla="*/ 44 h 53"/>
                <a:gd name="T4" fmla="*/ 0 w 18"/>
                <a:gd name="T5" fmla="*/ 9 h 53"/>
                <a:gd name="T6" fmla="*/ 9 w 18"/>
                <a:gd name="T7" fmla="*/ 0 h 53"/>
                <a:gd name="T8" fmla="*/ 18 w 18"/>
                <a:gd name="T9" fmla="*/ 9 h 53"/>
                <a:gd name="T10" fmla="*/ 18 w 18"/>
                <a:gd name="T11" fmla="*/ 44 h 53"/>
                <a:gd name="T12" fmla="*/ 9 w 18"/>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8" h="53">
                  <a:moveTo>
                    <a:pt x="9" y="53"/>
                  </a:moveTo>
                  <a:cubicBezTo>
                    <a:pt x="4" y="53"/>
                    <a:pt x="0" y="49"/>
                    <a:pt x="0" y="44"/>
                  </a:cubicBezTo>
                  <a:cubicBezTo>
                    <a:pt x="0" y="9"/>
                    <a:pt x="0" y="9"/>
                    <a:pt x="0" y="9"/>
                  </a:cubicBezTo>
                  <a:cubicBezTo>
                    <a:pt x="0" y="4"/>
                    <a:pt x="4" y="0"/>
                    <a:pt x="9" y="0"/>
                  </a:cubicBezTo>
                  <a:cubicBezTo>
                    <a:pt x="14" y="0"/>
                    <a:pt x="18" y="4"/>
                    <a:pt x="18" y="9"/>
                  </a:cubicBezTo>
                  <a:cubicBezTo>
                    <a:pt x="18" y="44"/>
                    <a:pt x="18" y="44"/>
                    <a:pt x="18" y="44"/>
                  </a:cubicBezTo>
                  <a:cubicBezTo>
                    <a:pt x="18" y="49"/>
                    <a:pt x="14" y="53"/>
                    <a:pt x="9" y="53"/>
                  </a:cubicBezTo>
                  <a:close/>
                </a:path>
              </a:pathLst>
            </a:custGeom>
            <a:grpFill/>
            <a:ln>
              <a:noFill/>
            </a:ln>
            <a:extLst>
              <a:ext uri="{91240B29-F687-4F45-9708-019B960494DF}"/>
            </a:extLst>
          </p:spPr>
          <p:txBody>
            <a:bodyPr/>
            <a:lstStyle/>
            <a:p>
              <a:pPr>
                <a:defRPr/>
              </a:pPr>
              <a:endParaRPr lang="en-GB">
                <a:latin typeface="Arial" charset="0"/>
                <a:cs typeface="+mn-cs"/>
              </a:endParaRPr>
            </a:p>
          </p:txBody>
        </p:sp>
        <p:sp>
          <p:nvSpPr>
            <p:cNvPr id="15" name="Freeform 8">
              <a:extLst>
                <a:ext uri="{FF2B5EF4-FFF2-40B4-BE49-F238E27FC236}"/>
              </a:extLst>
            </p:cNvPr>
            <p:cNvSpPr>
              <a:spLocks/>
            </p:cNvSpPr>
            <p:nvPr/>
          </p:nvSpPr>
          <p:spPr bwMode="auto">
            <a:xfrm>
              <a:off x="3175" y="503238"/>
              <a:ext cx="173038" cy="60325"/>
            </a:xfrm>
            <a:custGeom>
              <a:avLst/>
              <a:gdLst>
                <a:gd name="T0" fmla="*/ 43 w 52"/>
                <a:gd name="T1" fmla="*/ 18 h 18"/>
                <a:gd name="T2" fmla="*/ 9 w 52"/>
                <a:gd name="T3" fmla="*/ 18 h 18"/>
                <a:gd name="T4" fmla="*/ 0 w 52"/>
                <a:gd name="T5" fmla="*/ 9 h 18"/>
                <a:gd name="T6" fmla="*/ 9 w 52"/>
                <a:gd name="T7" fmla="*/ 0 h 18"/>
                <a:gd name="T8" fmla="*/ 43 w 52"/>
                <a:gd name="T9" fmla="*/ 0 h 18"/>
                <a:gd name="T10" fmla="*/ 52 w 52"/>
                <a:gd name="T11" fmla="*/ 9 h 18"/>
                <a:gd name="T12" fmla="*/ 43 w 52"/>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52" h="18">
                  <a:moveTo>
                    <a:pt x="43" y="18"/>
                  </a:moveTo>
                  <a:cubicBezTo>
                    <a:pt x="9" y="18"/>
                    <a:pt x="9" y="18"/>
                    <a:pt x="9" y="18"/>
                  </a:cubicBezTo>
                  <a:cubicBezTo>
                    <a:pt x="4" y="18"/>
                    <a:pt x="0" y="14"/>
                    <a:pt x="0" y="9"/>
                  </a:cubicBezTo>
                  <a:cubicBezTo>
                    <a:pt x="0" y="4"/>
                    <a:pt x="4" y="0"/>
                    <a:pt x="9" y="0"/>
                  </a:cubicBezTo>
                  <a:cubicBezTo>
                    <a:pt x="43" y="0"/>
                    <a:pt x="43" y="0"/>
                    <a:pt x="43" y="0"/>
                  </a:cubicBezTo>
                  <a:cubicBezTo>
                    <a:pt x="49" y="0"/>
                    <a:pt x="52" y="4"/>
                    <a:pt x="52" y="9"/>
                  </a:cubicBezTo>
                  <a:cubicBezTo>
                    <a:pt x="52" y="14"/>
                    <a:pt x="49" y="18"/>
                    <a:pt x="43" y="18"/>
                  </a:cubicBezTo>
                  <a:close/>
                </a:path>
              </a:pathLst>
            </a:custGeom>
            <a:grpFill/>
            <a:ln>
              <a:noFill/>
            </a:ln>
            <a:extLst>
              <a:ext uri="{91240B29-F687-4F45-9708-019B960494DF}"/>
            </a:extLst>
          </p:spPr>
          <p:txBody>
            <a:bodyPr/>
            <a:lstStyle/>
            <a:p>
              <a:pPr>
                <a:defRPr/>
              </a:pPr>
              <a:endParaRPr lang="en-GB">
                <a:latin typeface="Arial" charset="0"/>
                <a:cs typeface="+mn-cs"/>
              </a:endParaRPr>
            </a:p>
          </p:txBody>
        </p:sp>
        <p:sp>
          <p:nvSpPr>
            <p:cNvPr id="16" name="Freeform 9">
              <a:extLst>
                <a:ext uri="{FF2B5EF4-FFF2-40B4-BE49-F238E27FC236}"/>
              </a:extLst>
            </p:cNvPr>
            <p:cNvSpPr>
              <a:spLocks/>
            </p:cNvSpPr>
            <p:nvPr/>
          </p:nvSpPr>
          <p:spPr bwMode="auto">
            <a:xfrm>
              <a:off x="1071563" y="503238"/>
              <a:ext cx="173038" cy="60325"/>
            </a:xfrm>
            <a:custGeom>
              <a:avLst/>
              <a:gdLst>
                <a:gd name="T0" fmla="*/ 43 w 52"/>
                <a:gd name="T1" fmla="*/ 18 h 18"/>
                <a:gd name="T2" fmla="*/ 9 w 52"/>
                <a:gd name="T3" fmla="*/ 18 h 18"/>
                <a:gd name="T4" fmla="*/ 0 w 52"/>
                <a:gd name="T5" fmla="*/ 9 h 18"/>
                <a:gd name="T6" fmla="*/ 9 w 52"/>
                <a:gd name="T7" fmla="*/ 0 h 18"/>
                <a:gd name="T8" fmla="*/ 43 w 52"/>
                <a:gd name="T9" fmla="*/ 0 h 18"/>
                <a:gd name="T10" fmla="*/ 52 w 52"/>
                <a:gd name="T11" fmla="*/ 9 h 18"/>
                <a:gd name="T12" fmla="*/ 43 w 52"/>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52" h="18">
                  <a:moveTo>
                    <a:pt x="43" y="18"/>
                  </a:moveTo>
                  <a:cubicBezTo>
                    <a:pt x="9" y="18"/>
                    <a:pt x="9" y="18"/>
                    <a:pt x="9" y="18"/>
                  </a:cubicBezTo>
                  <a:cubicBezTo>
                    <a:pt x="4" y="18"/>
                    <a:pt x="0" y="14"/>
                    <a:pt x="0" y="9"/>
                  </a:cubicBezTo>
                  <a:cubicBezTo>
                    <a:pt x="0" y="4"/>
                    <a:pt x="4" y="0"/>
                    <a:pt x="9" y="0"/>
                  </a:cubicBezTo>
                  <a:cubicBezTo>
                    <a:pt x="43" y="0"/>
                    <a:pt x="43" y="0"/>
                    <a:pt x="43" y="0"/>
                  </a:cubicBezTo>
                  <a:cubicBezTo>
                    <a:pt x="49" y="0"/>
                    <a:pt x="52" y="4"/>
                    <a:pt x="52" y="9"/>
                  </a:cubicBezTo>
                  <a:cubicBezTo>
                    <a:pt x="52" y="14"/>
                    <a:pt x="49" y="18"/>
                    <a:pt x="43" y="18"/>
                  </a:cubicBezTo>
                  <a:close/>
                </a:path>
              </a:pathLst>
            </a:custGeom>
            <a:grpFill/>
            <a:ln>
              <a:noFill/>
            </a:ln>
            <a:extLst>
              <a:ext uri="{91240B29-F687-4F45-9708-019B960494DF}"/>
            </a:extLst>
          </p:spPr>
          <p:txBody>
            <a:bodyPr/>
            <a:lstStyle/>
            <a:p>
              <a:pPr>
                <a:defRPr/>
              </a:pPr>
              <a:endParaRPr lang="en-GB">
                <a:latin typeface="Arial" charset="0"/>
                <a:cs typeface="+mn-cs"/>
              </a:endParaRPr>
            </a:p>
          </p:txBody>
        </p:sp>
        <p:sp>
          <p:nvSpPr>
            <p:cNvPr id="17" name="Freeform 10">
              <a:extLst>
                <a:ext uri="{FF2B5EF4-FFF2-40B4-BE49-F238E27FC236}"/>
              </a:extLst>
            </p:cNvPr>
            <p:cNvSpPr>
              <a:spLocks/>
            </p:cNvSpPr>
            <p:nvPr/>
          </p:nvSpPr>
          <p:spPr bwMode="auto">
            <a:xfrm>
              <a:off x="136525" y="152400"/>
              <a:ext cx="146050" cy="146050"/>
            </a:xfrm>
            <a:custGeom>
              <a:avLst/>
              <a:gdLst>
                <a:gd name="T0" fmla="*/ 34 w 44"/>
                <a:gd name="T1" fmla="*/ 44 h 44"/>
                <a:gd name="T2" fmla="*/ 27 w 44"/>
                <a:gd name="T3" fmla="*/ 41 h 44"/>
                <a:gd name="T4" fmla="*/ 3 w 44"/>
                <a:gd name="T5" fmla="*/ 17 h 44"/>
                <a:gd name="T6" fmla="*/ 3 w 44"/>
                <a:gd name="T7" fmla="*/ 4 h 44"/>
                <a:gd name="T8" fmla="*/ 16 w 44"/>
                <a:gd name="T9" fmla="*/ 4 h 44"/>
                <a:gd name="T10" fmla="*/ 40 w 44"/>
                <a:gd name="T11" fmla="*/ 28 h 44"/>
                <a:gd name="T12" fmla="*/ 40 w 44"/>
                <a:gd name="T13" fmla="*/ 41 h 44"/>
                <a:gd name="T14" fmla="*/ 34 w 44"/>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4">
                  <a:moveTo>
                    <a:pt x="34" y="44"/>
                  </a:moveTo>
                  <a:cubicBezTo>
                    <a:pt x="32" y="44"/>
                    <a:pt x="30" y="43"/>
                    <a:pt x="27" y="41"/>
                  </a:cubicBezTo>
                  <a:cubicBezTo>
                    <a:pt x="3" y="17"/>
                    <a:pt x="3" y="17"/>
                    <a:pt x="3" y="17"/>
                  </a:cubicBezTo>
                  <a:cubicBezTo>
                    <a:pt x="0" y="13"/>
                    <a:pt x="0" y="7"/>
                    <a:pt x="3" y="4"/>
                  </a:cubicBezTo>
                  <a:cubicBezTo>
                    <a:pt x="7" y="0"/>
                    <a:pt x="12" y="0"/>
                    <a:pt x="16" y="4"/>
                  </a:cubicBezTo>
                  <a:cubicBezTo>
                    <a:pt x="40" y="28"/>
                    <a:pt x="40" y="28"/>
                    <a:pt x="40" y="28"/>
                  </a:cubicBezTo>
                  <a:cubicBezTo>
                    <a:pt x="44" y="32"/>
                    <a:pt x="44" y="38"/>
                    <a:pt x="40" y="41"/>
                  </a:cubicBezTo>
                  <a:cubicBezTo>
                    <a:pt x="39" y="43"/>
                    <a:pt x="36" y="44"/>
                    <a:pt x="34" y="44"/>
                  </a:cubicBezTo>
                  <a:close/>
                </a:path>
              </a:pathLst>
            </a:custGeom>
            <a:grpFill/>
            <a:ln>
              <a:noFill/>
            </a:ln>
            <a:extLst>
              <a:ext uri="{91240B29-F687-4F45-9708-019B960494DF}"/>
            </a:extLst>
          </p:spPr>
          <p:txBody>
            <a:bodyPr/>
            <a:lstStyle/>
            <a:p>
              <a:pPr>
                <a:defRPr/>
              </a:pPr>
              <a:endParaRPr lang="en-GB">
                <a:latin typeface="Arial" charset="0"/>
                <a:cs typeface="+mn-cs"/>
              </a:endParaRPr>
            </a:p>
          </p:txBody>
        </p:sp>
        <p:sp>
          <p:nvSpPr>
            <p:cNvPr id="18" name="Freeform 11">
              <a:extLst>
                <a:ext uri="{FF2B5EF4-FFF2-40B4-BE49-F238E27FC236}"/>
              </a:extLst>
            </p:cNvPr>
            <p:cNvSpPr>
              <a:spLocks/>
            </p:cNvSpPr>
            <p:nvPr/>
          </p:nvSpPr>
          <p:spPr bwMode="auto">
            <a:xfrm>
              <a:off x="965200" y="152400"/>
              <a:ext cx="149225" cy="146050"/>
            </a:xfrm>
            <a:custGeom>
              <a:avLst/>
              <a:gdLst>
                <a:gd name="T0" fmla="*/ 11 w 45"/>
                <a:gd name="T1" fmla="*/ 44 h 44"/>
                <a:gd name="T2" fmla="*/ 4 w 45"/>
                <a:gd name="T3" fmla="*/ 41 h 44"/>
                <a:gd name="T4" fmla="*/ 4 w 45"/>
                <a:gd name="T5" fmla="*/ 28 h 44"/>
                <a:gd name="T6" fmla="*/ 29 w 45"/>
                <a:gd name="T7" fmla="*/ 4 h 44"/>
                <a:gd name="T8" fmla="*/ 42 w 45"/>
                <a:gd name="T9" fmla="*/ 4 h 44"/>
                <a:gd name="T10" fmla="*/ 42 w 45"/>
                <a:gd name="T11" fmla="*/ 17 h 44"/>
                <a:gd name="T12" fmla="*/ 17 w 45"/>
                <a:gd name="T13" fmla="*/ 41 h 44"/>
                <a:gd name="T14" fmla="*/ 11 w 45"/>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4">
                  <a:moveTo>
                    <a:pt x="11" y="44"/>
                  </a:moveTo>
                  <a:cubicBezTo>
                    <a:pt x="8" y="44"/>
                    <a:pt x="6" y="43"/>
                    <a:pt x="4" y="41"/>
                  </a:cubicBezTo>
                  <a:cubicBezTo>
                    <a:pt x="0" y="38"/>
                    <a:pt x="0" y="32"/>
                    <a:pt x="4" y="28"/>
                  </a:cubicBezTo>
                  <a:cubicBezTo>
                    <a:pt x="29" y="4"/>
                    <a:pt x="29" y="4"/>
                    <a:pt x="29" y="4"/>
                  </a:cubicBezTo>
                  <a:cubicBezTo>
                    <a:pt x="32" y="0"/>
                    <a:pt x="38" y="0"/>
                    <a:pt x="42" y="4"/>
                  </a:cubicBezTo>
                  <a:cubicBezTo>
                    <a:pt x="45" y="7"/>
                    <a:pt x="45" y="13"/>
                    <a:pt x="42" y="17"/>
                  </a:cubicBezTo>
                  <a:cubicBezTo>
                    <a:pt x="17" y="41"/>
                    <a:pt x="17" y="41"/>
                    <a:pt x="17" y="41"/>
                  </a:cubicBezTo>
                  <a:cubicBezTo>
                    <a:pt x="15" y="43"/>
                    <a:pt x="13" y="44"/>
                    <a:pt x="11" y="44"/>
                  </a:cubicBezTo>
                  <a:close/>
                </a:path>
              </a:pathLst>
            </a:custGeom>
            <a:grpFill/>
            <a:ln>
              <a:noFill/>
            </a:ln>
            <a:extLst>
              <a:ext uri="{91240B29-F687-4F45-9708-019B960494DF}"/>
            </a:extLst>
          </p:spPr>
          <p:txBody>
            <a:bodyPr/>
            <a:lstStyle/>
            <a:p>
              <a:pPr>
                <a:defRPr/>
              </a:pPr>
              <a:endParaRPr lang="en-GB">
                <a:latin typeface="Arial" charset="0"/>
                <a:cs typeface="+mn-cs"/>
              </a:endParaRPr>
            </a:p>
          </p:txBody>
        </p:sp>
        <p:sp>
          <p:nvSpPr>
            <p:cNvPr id="19" name="Freeform 12">
              <a:extLst>
                <a:ext uri="{FF2B5EF4-FFF2-40B4-BE49-F238E27FC236}"/>
              </a:extLst>
            </p:cNvPr>
            <p:cNvSpPr>
              <a:spLocks noEditPoints="1"/>
            </p:cNvSpPr>
            <p:nvPr/>
          </p:nvSpPr>
          <p:spPr bwMode="auto">
            <a:xfrm>
              <a:off x="222250" y="238125"/>
              <a:ext cx="790575" cy="960438"/>
            </a:xfrm>
            <a:custGeom>
              <a:avLst/>
              <a:gdLst>
                <a:gd name="T0" fmla="*/ 171 w 238"/>
                <a:gd name="T1" fmla="*/ 290 h 290"/>
                <a:gd name="T2" fmla="*/ 66 w 238"/>
                <a:gd name="T3" fmla="*/ 290 h 290"/>
                <a:gd name="T4" fmla="*/ 57 w 238"/>
                <a:gd name="T5" fmla="*/ 280 h 290"/>
                <a:gd name="T6" fmla="*/ 57 w 238"/>
                <a:gd name="T7" fmla="*/ 219 h 290"/>
                <a:gd name="T8" fmla="*/ 0 w 238"/>
                <a:gd name="T9" fmla="*/ 118 h 290"/>
                <a:gd name="T10" fmla="*/ 119 w 238"/>
                <a:gd name="T11" fmla="*/ 0 h 290"/>
                <a:gd name="T12" fmla="*/ 238 w 238"/>
                <a:gd name="T13" fmla="*/ 118 h 290"/>
                <a:gd name="T14" fmla="*/ 180 w 238"/>
                <a:gd name="T15" fmla="*/ 219 h 290"/>
                <a:gd name="T16" fmla="*/ 180 w 238"/>
                <a:gd name="T17" fmla="*/ 280 h 290"/>
                <a:gd name="T18" fmla="*/ 171 w 238"/>
                <a:gd name="T19" fmla="*/ 290 h 290"/>
                <a:gd name="T20" fmla="*/ 75 w 238"/>
                <a:gd name="T21" fmla="*/ 271 h 290"/>
                <a:gd name="T22" fmla="*/ 162 w 238"/>
                <a:gd name="T23" fmla="*/ 271 h 290"/>
                <a:gd name="T24" fmla="*/ 162 w 238"/>
                <a:gd name="T25" fmla="*/ 214 h 290"/>
                <a:gd name="T26" fmla="*/ 167 w 238"/>
                <a:gd name="T27" fmla="*/ 206 h 290"/>
                <a:gd name="T28" fmla="*/ 219 w 238"/>
                <a:gd name="T29" fmla="*/ 118 h 290"/>
                <a:gd name="T30" fmla="*/ 119 w 238"/>
                <a:gd name="T31" fmla="*/ 18 h 290"/>
                <a:gd name="T32" fmla="*/ 19 w 238"/>
                <a:gd name="T33" fmla="*/ 118 h 290"/>
                <a:gd name="T34" fmla="*/ 71 w 238"/>
                <a:gd name="T35" fmla="*/ 206 h 290"/>
                <a:gd name="T36" fmla="*/ 75 w 238"/>
                <a:gd name="T37" fmla="*/ 214 h 290"/>
                <a:gd name="T38" fmla="*/ 75 w 238"/>
                <a:gd name="T39" fmla="*/ 271 h 290"/>
                <a:gd name="T40" fmla="*/ 75 w 238"/>
                <a:gd name="T41" fmla="*/ 27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8" h="290">
                  <a:moveTo>
                    <a:pt x="171" y="290"/>
                  </a:moveTo>
                  <a:cubicBezTo>
                    <a:pt x="66" y="290"/>
                    <a:pt x="66" y="290"/>
                    <a:pt x="66" y="290"/>
                  </a:cubicBezTo>
                  <a:cubicBezTo>
                    <a:pt x="62" y="290"/>
                    <a:pt x="57" y="286"/>
                    <a:pt x="57" y="280"/>
                  </a:cubicBezTo>
                  <a:cubicBezTo>
                    <a:pt x="57" y="219"/>
                    <a:pt x="57" y="219"/>
                    <a:pt x="57" y="219"/>
                  </a:cubicBezTo>
                  <a:cubicBezTo>
                    <a:pt x="22" y="198"/>
                    <a:pt x="0" y="160"/>
                    <a:pt x="0" y="118"/>
                  </a:cubicBezTo>
                  <a:cubicBezTo>
                    <a:pt x="0" y="53"/>
                    <a:pt x="53" y="0"/>
                    <a:pt x="119" y="0"/>
                  </a:cubicBezTo>
                  <a:cubicBezTo>
                    <a:pt x="184" y="0"/>
                    <a:pt x="238" y="53"/>
                    <a:pt x="238" y="118"/>
                  </a:cubicBezTo>
                  <a:cubicBezTo>
                    <a:pt x="238" y="160"/>
                    <a:pt x="216" y="198"/>
                    <a:pt x="180" y="219"/>
                  </a:cubicBezTo>
                  <a:cubicBezTo>
                    <a:pt x="180" y="280"/>
                    <a:pt x="180" y="280"/>
                    <a:pt x="180" y="280"/>
                  </a:cubicBezTo>
                  <a:cubicBezTo>
                    <a:pt x="180" y="286"/>
                    <a:pt x="176" y="290"/>
                    <a:pt x="171" y="290"/>
                  </a:cubicBezTo>
                  <a:close/>
                  <a:moveTo>
                    <a:pt x="75" y="271"/>
                  </a:moveTo>
                  <a:cubicBezTo>
                    <a:pt x="162" y="271"/>
                    <a:pt x="162" y="271"/>
                    <a:pt x="162" y="271"/>
                  </a:cubicBezTo>
                  <a:cubicBezTo>
                    <a:pt x="162" y="214"/>
                    <a:pt x="162" y="214"/>
                    <a:pt x="162" y="214"/>
                  </a:cubicBezTo>
                  <a:cubicBezTo>
                    <a:pt x="162" y="211"/>
                    <a:pt x="164" y="208"/>
                    <a:pt x="167" y="206"/>
                  </a:cubicBezTo>
                  <a:cubicBezTo>
                    <a:pt x="199" y="188"/>
                    <a:pt x="219" y="155"/>
                    <a:pt x="219" y="118"/>
                  </a:cubicBezTo>
                  <a:cubicBezTo>
                    <a:pt x="219" y="63"/>
                    <a:pt x="174" y="18"/>
                    <a:pt x="119" y="18"/>
                  </a:cubicBezTo>
                  <a:cubicBezTo>
                    <a:pt x="64" y="18"/>
                    <a:pt x="19" y="63"/>
                    <a:pt x="19" y="118"/>
                  </a:cubicBezTo>
                  <a:cubicBezTo>
                    <a:pt x="19" y="155"/>
                    <a:pt x="38" y="188"/>
                    <a:pt x="71" y="206"/>
                  </a:cubicBezTo>
                  <a:cubicBezTo>
                    <a:pt x="74" y="208"/>
                    <a:pt x="75" y="211"/>
                    <a:pt x="75" y="214"/>
                  </a:cubicBezTo>
                  <a:cubicBezTo>
                    <a:pt x="75" y="271"/>
                    <a:pt x="75" y="271"/>
                    <a:pt x="75" y="271"/>
                  </a:cubicBezTo>
                  <a:cubicBezTo>
                    <a:pt x="75" y="271"/>
                    <a:pt x="75" y="271"/>
                    <a:pt x="75" y="271"/>
                  </a:cubicBezTo>
                  <a:close/>
                </a:path>
              </a:pathLst>
            </a:custGeom>
            <a:grpFill/>
            <a:ln>
              <a:noFill/>
            </a:ln>
            <a:extLst>
              <a:ext uri="{91240B29-F687-4F45-9708-019B960494DF}"/>
            </a:extLst>
          </p:spPr>
          <p:txBody>
            <a:bodyPr/>
            <a:lstStyle/>
            <a:p>
              <a:pPr>
                <a:defRPr/>
              </a:pPr>
              <a:endParaRPr lang="en-GB">
                <a:latin typeface="Arial" charset="0"/>
                <a:cs typeface="+mn-cs"/>
              </a:endParaRPr>
            </a:p>
          </p:txBody>
        </p:sp>
        <p:sp>
          <p:nvSpPr>
            <p:cNvPr id="20" name="Freeform 13">
              <a:extLst>
                <a:ext uri="{FF2B5EF4-FFF2-40B4-BE49-F238E27FC236}"/>
              </a:extLst>
            </p:cNvPr>
            <p:cNvSpPr>
              <a:spLocks/>
            </p:cNvSpPr>
            <p:nvPr/>
          </p:nvSpPr>
          <p:spPr bwMode="auto">
            <a:xfrm>
              <a:off x="404813" y="1255713"/>
              <a:ext cx="411163" cy="61913"/>
            </a:xfrm>
            <a:custGeom>
              <a:avLst/>
              <a:gdLst>
                <a:gd name="T0" fmla="*/ 115 w 124"/>
                <a:gd name="T1" fmla="*/ 19 h 19"/>
                <a:gd name="T2" fmla="*/ 9 w 124"/>
                <a:gd name="T3" fmla="*/ 19 h 19"/>
                <a:gd name="T4" fmla="*/ 0 w 124"/>
                <a:gd name="T5" fmla="*/ 10 h 19"/>
                <a:gd name="T6" fmla="*/ 9 w 124"/>
                <a:gd name="T7" fmla="*/ 0 h 19"/>
                <a:gd name="T8" fmla="*/ 115 w 124"/>
                <a:gd name="T9" fmla="*/ 0 h 19"/>
                <a:gd name="T10" fmla="*/ 124 w 124"/>
                <a:gd name="T11" fmla="*/ 10 h 19"/>
                <a:gd name="T12" fmla="*/ 115 w 12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4" h="19">
                  <a:moveTo>
                    <a:pt x="115" y="19"/>
                  </a:moveTo>
                  <a:cubicBezTo>
                    <a:pt x="9" y="19"/>
                    <a:pt x="9" y="19"/>
                    <a:pt x="9" y="19"/>
                  </a:cubicBezTo>
                  <a:cubicBezTo>
                    <a:pt x="4" y="19"/>
                    <a:pt x="0" y="15"/>
                    <a:pt x="0" y="10"/>
                  </a:cubicBezTo>
                  <a:cubicBezTo>
                    <a:pt x="0" y="4"/>
                    <a:pt x="4" y="0"/>
                    <a:pt x="9" y="0"/>
                  </a:cubicBezTo>
                  <a:cubicBezTo>
                    <a:pt x="115" y="0"/>
                    <a:pt x="115" y="0"/>
                    <a:pt x="115" y="0"/>
                  </a:cubicBezTo>
                  <a:cubicBezTo>
                    <a:pt x="119" y="0"/>
                    <a:pt x="124" y="4"/>
                    <a:pt x="124" y="10"/>
                  </a:cubicBezTo>
                  <a:cubicBezTo>
                    <a:pt x="124" y="15"/>
                    <a:pt x="119" y="19"/>
                    <a:pt x="115" y="19"/>
                  </a:cubicBezTo>
                  <a:close/>
                </a:path>
              </a:pathLst>
            </a:custGeom>
            <a:grpFill/>
            <a:ln>
              <a:noFill/>
            </a:ln>
            <a:extLst>
              <a:ext uri="{91240B29-F687-4F45-9708-019B960494DF}"/>
            </a:extLst>
          </p:spPr>
          <p:txBody>
            <a:bodyPr/>
            <a:lstStyle/>
            <a:p>
              <a:pPr>
                <a:defRPr/>
              </a:pPr>
              <a:endParaRPr lang="en-GB">
                <a:latin typeface="Arial" charset="0"/>
                <a:cs typeface="+mn-cs"/>
              </a:endParaRPr>
            </a:p>
          </p:txBody>
        </p:sp>
        <p:sp>
          <p:nvSpPr>
            <p:cNvPr id="21" name="Freeform 14">
              <a:extLst>
                <a:ext uri="{FF2B5EF4-FFF2-40B4-BE49-F238E27FC236}"/>
              </a:extLst>
            </p:cNvPr>
            <p:cNvSpPr>
              <a:spLocks/>
            </p:cNvSpPr>
            <p:nvPr/>
          </p:nvSpPr>
          <p:spPr bwMode="auto">
            <a:xfrm>
              <a:off x="450850" y="1360488"/>
              <a:ext cx="322263" cy="60325"/>
            </a:xfrm>
            <a:custGeom>
              <a:avLst/>
              <a:gdLst>
                <a:gd name="T0" fmla="*/ 87 w 97"/>
                <a:gd name="T1" fmla="*/ 18 h 18"/>
                <a:gd name="T2" fmla="*/ 9 w 97"/>
                <a:gd name="T3" fmla="*/ 18 h 18"/>
                <a:gd name="T4" fmla="*/ 0 w 97"/>
                <a:gd name="T5" fmla="*/ 9 h 18"/>
                <a:gd name="T6" fmla="*/ 9 w 97"/>
                <a:gd name="T7" fmla="*/ 0 h 18"/>
                <a:gd name="T8" fmla="*/ 87 w 97"/>
                <a:gd name="T9" fmla="*/ 0 h 18"/>
                <a:gd name="T10" fmla="*/ 97 w 97"/>
                <a:gd name="T11" fmla="*/ 9 h 18"/>
                <a:gd name="T12" fmla="*/ 87 w 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97" h="18">
                  <a:moveTo>
                    <a:pt x="87" y="18"/>
                  </a:moveTo>
                  <a:cubicBezTo>
                    <a:pt x="9" y="18"/>
                    <a:pt x="9" y="18"/>
                    <a:pt x="9" y="18"/>
                  </a:cubicBezTo>
                  <a:cubicBezTo>
                    <a:pt x="4" y="18"/>
                    <a:pt x="0" y="14"/>
                    <a:pt x="0" y="9"/>
                  </a:cubicBezTo>
                  <a:cubicBezTo>
                    <a:pt x="0" y="4"/>
                    <a:pt x="4" y="0"/>
                    <a:pt x="9" y="0"/>
                  </a:cubicBezTo>
                  <a:cubicBezTo>
                    <a:pt x="87" y="0"/>
                    <a:pt x="87" y="0"/>
                    <a:pt x="87" y="0"/>
                  </a:cubicBezTo>
                  <a:cubicBezTo>
                    <a:pt x="92" y="0"/>
                    <a:pt x="97" y="4"/>
                    <a:pt x="97" y="9"/>
                  </a:cubicBezTo>
                  <a:cubicBezTo>
                    <a:pt x="97" y="14"/>
                    <a:pt x="92" y="18"/>
                    <a:pt x="87" y="18"/>
                  </a:cubicBezTo>
                  <a:close/>
                </a:path>
              </a:pathLst>
            </a:custGeom>
            <a:grpFill/>
            <a:ln>
              <a:noFill/>
            </a:ln>
            <a:extLst>
              <a:ext uri="{91240B29-F687-4F45-9708-019B960494DF}"/>
            </a:extLst>
          </p:spPr>
          <p:txBody>
            <a:bodyPr/>
            <a:lstStyle/>
            <a:p>
              <a:pPr>
                <a:defRPr/>
              </a:pPr>
              <a:endParaRPr lang="en-GB">
                <a:latin typeface="Arial" charset="0"/>
                <a:cs typeface="+mn-cs"/>
              </a:endParaRPr>
            </a:p>
          </p:txBody>
        </p:sp>
      </p:grpSp>
      <p:graphicFrame>
        <p:nvGraphicFramePr>
          <p:cNvPr id="19472" name="Chart 151"/>
          <p:cNvGraphicFramePr>
            <a:graphicFrameLocks/>
          </p:cNvGraphicFramePr>
          <p:nvPr/>
        </p:nvGraphicFramePr>
        <p:xfrm>
          <a:off x="4806950" y="5230813"/>
          <a:ext cx="1611313" cy="1074737"/>
        </p:xfrm>
        <a:graphic>
          <a:graphicData uri="http://schemas.openxmlformats.org/presentationml/2006/ole">
            <p:oleObj spid="_x0000_s19472" r:id="rId10" imgW="1609483" imgH="1072989" progId="Excel.Sheet.8">
              <p:embed/>
            </p:oleObj>
          </a:graphicData>
        </a:graphic>
      </p:graphicFrame>
      <p:graphicFrame>
        <p:nvGraphicFramePr>
          <p:cNvPr id="19473" name="Chart 152"/>
          <p:cNvGraphicFramePr>
            <a:graphicFrameLocks/>
          </p:cNvGraphicFramePr>
          <p:nvPr/>
        </p:nvGraphicFramePr>
        <p:xfrm>
          <a:off x="6134100" y="5230813"/>
          <a:ext cx="1611313" cy="1074737"/>
        </p:xfrm>
        <a:graphic>
          <a:graphicData uri="http://schemas.openxmlformats.org/presentationml/2006/ole">
            <p:oleObj spid="_x0000_s19473" r:id="rId11" imgW="1609483" imgH="1072989" progId="Excel.Sheet.8">
              <p:embed/>
            </p:oleObj>
          </a:graphicData>
        </a:graphic>
      </p:graphicFrame>
      <p:graphicFrame>
        <p:nvGraphicFramePr>
          <p:cNvPr id="19474" name="Chart 153"/>
          <p:cNvGraphicFramePr>
            <a:graphicFrameLocks/>
          </p:cNvGraphicFramePr>
          <p:nvPr/>
        </p:nvGraphicFramePr>
        <p:xfrm>
          <a:off x="7459663" y="5230813"/>
          <a:ext cx="1611312" cy="1074737"/>
        </p:xfrm>
        <a:graphic>
          <a:graphicData uri="http://schemas.openxmlformats.org/presentationml/2006/ole">
            <p:oleObj spid="_x0000_s19474" r:id="rId12" imgW="1609483" imgH="1072989" progId="Excel.Sheet.8">
              <p:embed/>
            </p:oleObj>
          </a:graphicData>
        </a:graphic>
      </p:graphicFrame>
      <p:sp>
        <p:nvSpPr>
          <p:cNvPr id="155" name="TextBox 154">
            <a:extLst>
              <a:ext uri="{FF2B5EF4-FFF2-40B4-BE49-F238E27FC236}"/>
            </a:extLst>
          </p:cNvPr>
          <p:cNvSpPr txBox="1"/>
          <p:nvPr/>
        </p:nvSpPr>
        <p:spPr>
          <a:xfrm>
            <a:off x="5080000" y="5035550"/>
            <a:ext cx="3540125" cy="184150"/>
          </a:xfrm>
          <a:prstGeom prst="rect">
            <a:avLst/>
          </a:prstGeom>
        </p:spPr>
        <p:txBody>
          <a:bodyPr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GB" sz="1200" b="1" dirty="0">
                <a:solidFill>
                  <a:schemeClr val="accent6">
                    <a:lumMod val="75000"/>
                  </a:schemeClr>
                </a:solidFill>
                <a:cs typeface="+mn-cs"/>
              </a:rPr>
              <a:t>Total literacy rates</a:t>
            </a:r>
          </a:p>
        </p:txBody>
      </p:sp>
      <p:sp>
        <p:nvSpPr>
          <p:cNvPr id="156" name="TextBox 155">
            <a:extLst>
              <a:ext uri="{FF2B5EF4-FFF2-40B4-BE49-F238E27FC236}"/>
            </a:extLst>
          </p:cNvPr>
          <p:cNvSpPr txBox="1"/>
          <p:nvPr/>
        </p:nvSpPr>
        <p:spPr>
          <a:xfrm>
            <a:off x="3865563" y="6357938"/>
            <a:ext cx="3540125" cy="185737"/>
          </a:xfrm>
          <a:prstGeom prst="rect">
            <a:avLst/>
          </a:prstGeom>
        </p:spPr>
        <p:txBody>
          <a:bodyPr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GB" sz="1200" b="1" dirty="0">
                <a:solidFill>
                  <a:schemeClr val="accent6">
                    <a:lumMod val="75000"/>
                  </a:schemeClr>
                </a:solidFill>
                <a:cs typeface="+mn-cs"/>
              </a:rPr>
              <a:t>2015</a:t>
            </a:r>
          </a:p>
        </p:txBody>
      </p:sp>
      <p:sp>
        <p:nvSpPr>
          <p:cNvPr id="157" name="TextBox 156">
            <a:extLst>
              <a:ext uri="{FF2B5EF4-FFF2-40B4-BE49-F238E27FC236}"/>
            </a:extLst>
          </p:cNvPr>
          <p:cNvSpPr txBox="1"/>
          <p:nvPr/>
        </p:nvSpPr>
        <p:spPr>
          <a:xfrm>
            <a:off x="5160963" y="6357938"/>
            <a:ext cx="3540125" cy="185737"/>
          </a:xfrm>
          <a:prstGeom prst="rect">
            <a:avLst/>
          </a:prstGeom>
        </p:spPr>
        <p:txBody>
          <a:bodyPr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GB" sz="1200" b="1" dirty="0">
                <a:solidFill>
                  <a:schemeClr val="accent6">
                    <a:lumMod val="75000"/>
                  </a:schemeClr>
                </a:solidFill>
                <a:cs typeface="+mn-cs"/>
              </a:rPr>
              <a:t>2010</a:t>
            </a:r>
          </a:p>
        </p:txBody>
      </p:sp>
      <p:sp>
        <p:nvSpPr>
          <p:cNvPr id="158" name="TextBox 157">
            <a:extLst>
              <a:ext uri="{FF2B5EF4-FFF2-40B4-BE49-F238E27FC236}"/>
            </a:extLst>
          </p:cNvPr>
          <p:cNvSpPr txBox="1"/>
          <p:nvPr/>
        </p:nvSpPr>
        <p:spPr>
          <a:xfrm>
            <a:off x="6557963" y="6357938"/>
            <a:ext cx="3540125" cy="185737"/>
          </a:xfrm>
          <a:prstGeom prst="rect">
            <a:avLst/>
          </a:prstGeom>
        </p:spPr>
        <p:txBody>
          <a:bodyPr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GB" sz="1200" b="1" dirty="0">
                <a:solidFill>
                  <a:schemeClr val="accent6">
                    <a:lumMod val="75000"/>
                  </a:schemeClr>
                </a:solidFill>
                <a:cs typeface="+mn-cs"/>
              </a:rPr>
              <a:t>2004</a:t>
            </a:r>
          </a:p>
        </p:txBody>
      </p:sp>
      <p:sp>
        <p:nvSpPr>
          <p:cNvPr id="112" name="1. On-page tracker">
            <a:extLst>
              <a:ext uri="{FF2B5EF4-FFF2-40B4-BE49-F238E27FC236}"/>
            </a:extLst>
          </p:cNvPr>
          <p:cNvSpPr>
            <a:spLocks noChangeArrowheads="1"/>
          </p:cNvSpPr>
          <p:nvPr/>
        </p:nvSpPr>
        <p:spPr bwMode="gray">
          <a:xfrm>
            <a:off x="119063" y="76200"/>
            <a:ext cx="1138237"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QUALTY OF LEARNING</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142"/>
          <p:cNvGraphicFramePr>
            <a:graphicFrameLocks noChangeAspect="1"/>
          </p:cNvGraphicFramePr>
          <p:nvPr/>
        </p:nvGraphicFramePr>
        <p:xfrm>
          <a:off x="1122363" y="841375"/>
          <a:ext cx="0" cy="1588"/>
        </p:xfrm>
        <a:graphic>
          <a:graphicData uri="http://schemas.openxmlformats.org/presentationml/2006/ole">
            <p:oleObj spid="_x0000_s20482" name="think-cell Slide" r:id="rId8" imgW="360" imgH="360" progId="">
              <p:embed/>
            </p:oleObj>
          </a:graphicData>
        </a:graphic>
      </p:graphicFrame>
      <p:sp>
        <p:nvSpPr>
          <p:cNvPr id="4" name="Rectangle 3" hidden="1">
            <a:extLst>
              <a:ext uri="{FF2B5EF4-FFF2-40B4-BE49-F238E27FC236}"/>
            </a:extLst>
          </p:cNvPr>
          <p:cNvSpPr/>
          <p:nvPr>
            <p:custDataLst>
              <p:tags r:id="rId2"/>
            </p:custDataLst>
          </p:nvPr>
        </p:nvSpPr>
        <p:spPr>
          <a:xfrm>
            <a:off x="1120775" y="839788"/>
            <a:ext cx="119063" cy="11906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GB" sz="2000" dirty="0">
              <a:solidFill>
                <a:schemeClr val="tx1"/>
              </a:solidFill>
              <a:ea typeface="+mj-ea"/>
              <a:cs typeface="+mj-cs"/>
              <a:sym typeface="Arial" panose="020B0604020202020204" pitchFamily="34" charset="0"/>
            </a:endParaRPr>
          </a:p>
        </p:txBody>
      </p:sp>
      <p:sp>
        <p:nvSpPr>
          <p:cNvPr id="20484" name="Title 8"/>
          <p:cNvSpPr>
            <a:spLocks noGrp="1"/>
          </p:cNvSpPr>
          <p:nvPr>
            <p:ph type="title"/>
          </p:nvPr>
        </p:nvSpPr>
        <p:spPr/>
        <p:txBody>
          <a:bodyPr/>
          <a:lstStyle/>
          <a:p>
            <a:pPr>
              <a:tabLst>
                <a:tab pos="84138" algn="l"/>
              </a:tabLst>
            </a:pPr>
            <a:r>
              <a:rPr lang="en-GB" smtClean="0"/>
              <a:t>40% of the labour force (34 million people) were unemployed or underemployed in Q3 2017, and in some states this was over 55%</a:t>
            </a:r>
            <a:endParaRPr lang="en-ZA" smtClean="0"/>
          </a:p>
        </p:txBody>
      </p:sp>
      <p:sp>
        <p:nvSpPr>
          <p:cNvPr id="136"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GB" sz="800" dirty="0">
                <a:solidFill>
                  <a:schemeClr val="accent6"/>
                </a:solidFill>
                <a:latin typeface="+mn-lt"/>
                <a:cs typeface="+mn-cs"/>
              </a:rPr>
              <a:t>SOURCE: National Bureau of Statistics- Labour Force Statistics Vol. 1: Unemployment and Underemployment Report (Q1-Q3 2017) </a:t>
            </a:r>
          </a:p>
        </p:txBody>
      </p:sp>
      <p:sp>
        <p:nvSpPr>
          <p:cNvPr id="106" name="1. On-page tracker">
            <a:extLst>
              <a:ext uri="{FF2B5EF4-FFF2-40B4-BE49-F238E27FC236}"/>
            </a:extLst>
          </p:cNvPr>
          <p:cNvSpPr>
            <a:spLocks noChangeArrowheads="1"/>
          </p:cNvSpPr>
          <p:nvPr/>
        </p:nvSpPr>
        <p:spPr bwMode="gray">
          <a:xfrm>
            <a:off x="119063" y="76200"/>
            <a:ext cx="1628775"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LABOUR FORCE PARTICIPATION</a:t>
            </a:r>
          </a:p>
        </p:txBody>
      </p:sp>
      <p:grpSp>
        <p:nvGrpSpPr>
          <p:cNvPr id="20487" name="Group 53"/>
          <p:cNvGrpSpPr>
            <a:grpSpLocks/>
          </p:cNvGrpSpPr>
          <p:nvPr/>
        </p:nvGrpSpPr>
        <p:grpSpPr bwMode="auto">
          <a:xfrm>
            <a:off x="0" y="1220788"/>
            <a:ext cx="8961438" cy="479425"/>
            <a:chOff x="-1" y="1203325"/>
            <a:chExt cx="8961439" cy="479426"/>
          </a:xfrm>
        </p:grpSpPr>
        <p:sp>
          <p:nvSpPr>
            <p:cNvPr id="56" name="Rectangle 55">
              <a:extLst>
                <a:ext uri="{FF2B5EF4-FFF2-40B4-BE49-F238E27FC236}"/>
              </a:extLst>
            </p:cNvPr>
            <p:cNvSpPr>
              <a:spLocks/>
            </p:cNvSpPr>
            <p:nvPr/>
          </p:nvSpPr>
          <p:spPr>
            <a:xfrm>
              <a:off x="-1" y="1211262"/>
              <a:ext cx="8961439" cy="471489"/>
            </a:xfrm>
            <a:prstGeom prst="rect">
              <a:avLst/>
            </a:prstGeom>
            <a:gradFill flip="none" rotWithShape="1">
              <a:gsLst>
                <a:gs pos="0">
                  <a:schemeClr val="accent6">
                    <a:lumMod val="20000"/>
                    <a:lumOff val="80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chemeClr val="tx1"/>
                </a:solidFill>
              </a:endParaRPr>
            </a:p>
          </p:txBody>
        </p:sp>
        <p:cxnSp>
          <p:nvCxnSpPr>
            <p:cNvPr id="57" name="Straight Connector 56">
              <a:extLst>
                <a:ext uri="{FF2B5EF4-FFF2-40B4-BE49-F238E27FC236}"/>
              </a:extLst>
            </p:cNvPr>
            <p:cNvCxnSpPr/>
            <p:nvPr/>
          </p:nvCxnSpPr>
          <p:spPr bwMode="gray">
            <a:xfrm>
              <a:off x="-1" y="1203325"/>
              <a:ext cx="8961439"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0488" name="Freeform 26"/>
          <p:cNvSpPr>
            <a:spLocks/>
          </p:cNvSpPr>
          <p:nvPr/>
        </p:nvSpPr>
        <p:spPr bwMode="gray">
          <a:xfrm>
            <a:off x="1422400" y="3932238"/>
            <a:ext cx="958850" cy="1069975"/>
          </a:xfrm>
          <a:custGeom>
            <a:avLst/>
            <a:gdLst>
              <a:gd name="T0" fmla="*/ 58538 w 1212"/>
              <a:gd name="T1" fmla="*/ 91162 h 1326"/>
              <a:gd name="T2" fmla="*/ 47464 w 1212"/>
              <a:gd name="T3" fmla="*/ 93582 h 1326"/>
              <a:gd name="T4" fmla="*/ 49046 w 1212"/>
              <a:gd name="T5" fmla="*/ 88742 h 1326"/>
              <a:gd name="T6" fmla="*/ 47464 w 1212"/>
              <a:gd name="T7" fmla="*/ 84708 h 1326"/>
              <a:gd name="T8" fmla="*/ 41135 w 1212"/>
              <a:gd name="T9" fmla="*/ 77447 h 1326"/>
              <a:gd name="T10" fmla="*/ 37180 w 1212"/>
              <a:gd name="T11" fmla="*/ 79061 h 1326"/>
              <a:gd name="T12" fmla="*/ 34807 w 1212"/>
              <a:gd name="T13" fmla="*/ 75027 h 1326"/>
              <a:gd name="T14" fmla="*/ 31642 w 1212"/>
              <a:gd name="T15" fmla="*/ 77447 h 1326"/>
              <a:gd name="T16" fmla="*/ 27687 w 1212"/>
              <a:gd name="T17" fmla="*/ 82288 h 1326"/>
              <a:gd name="T18" fmla="*/ 21359 w 1212"/>
              <a:gd name="T19" fmla="*/ 80674 h 1326"/>
              <a:gd name="T20" fmla="*/ 18194 w 1212"/>
              <a:gd name="T21" fmla="*/ 77447 h 1326"/>
              <a:gd name="T22" fmla="*/ 15821 w 1212"/>
              <a:gd name="T23" fmla="*/ 72607 h 1326"/>
              <a:gd name="T24" fmla="*/ 14239 w 1212"/>
              <a:gd name="T25" fmla="*/ 71800 h 1326"/>
              <a:gd name="T26" fmla="*/ 14239 w 1212"/>
              <a:gd name="T27" fmla="*/ 68573 h 1326"/>
              <a:gd name="T28" fmla="*/ 15030 w 1212"/>
              <a:gd name="T29" fmla="*/ 66960 h 1326"/>
              <a:gd name="T30" fmla="*/ 15030 w 1212"/>
              <a:gd name="T31" fmla="*/ 66153 h 1326"/>
              <a:gd name="T32" fmla="*/ 15821 w 1212"/>
              <a:gd name="T33" fmla="*/ 63733 h 1326"/>
              <a:gd name="T34" fmla="*/ 15030 w 1212"/>
              <a:gd name="T35" fmla="*/ 60506 h 1326"/>
              <a:gd name="T36" fmla="*/ 13448 w 1212"/>
              <a:gd name="T37" fmla="*/ 62119 h 1326"/>
              <a:gd name="T38" fmla="*/ 11075 w 1212"/>
              <a:gd name="T39" fmla="*/ 61312 h 1326"/>
              <a:gd name="T40" fmla="*/ 9493 w 1212"/>
              <a:gd name="T41" fmla="*/ 57279 h 1326"/>
              <a:gd name="T42" fmla="*/ 6328 w 1212"/>
              <a:gd name="T43" fmla="*/ 55665 h 1326"/>
              <a:gd name="T44" fmla="*/ 0 w 1212"/>
              <a:gd name="T45" fmla="*/ 58085 h 1326"/>
              <a:gd name="T46" fmla="*/ 1582 w 1212"/>
              <a:gd name="T47" fmla="*/ 54052 h 1326"/>
              <a:gd name="T48" fmla="*/ 2373 w 1212"/>
              <a:gd name="T49" fmla="*/ 49211 h 1326"/>
              <a:gd name="T50" fmla="*/ 3164 w 1212"/>
              <a:gd name="T51" fmla="*/ 45178 h 1326"/>
              <a:gd name="T52" fmla="*/ 3164 w 1212"/>
              <a:gd name="T53" fmla="*/ 41951 h 1326"/>
              <a:gd name="T54" fmla="*/ 1582 w 1212"/>
              <a:gd name="T55" fmla="*/ 37917 h 1326"/>
              <a:gd name="T56" fmla="*/ 1582 w 1212"/>
              <a:gd name="T57" fmla="*/ 33883 h 1326"/>
              <a:gd name="T58" fmla="*/ 3955 w 1212"/>
              <a:gd name="T59" fmla="*/ 31463 h 1326"/>
              <a:gd name="T60" fmla="*/ 3955 w 1212"/>
              <a:gd name="T61" fmla="*/ 28236 h 1326"/>
              <a:gd name="T62" fmla="*/ 5537 w 1212"/>
              <a:gd name="T63" fmla="*/ 25009 h 1326"/>
              <a:gd name="T64" fmla="*/ 11075 w 1212"/>
              <a:gd name="T65" fmla="*/ 25009 h 1326"/>
              <a:gd name="T66" fmla="*/ 14239 w 1212"/>
              <a:gd name="T67" fmla="*/ 21782 h 1326"/>
              <a:gd name="T68" fmla="*/ 17403 w 1212"/>
              <a:gd name="T69" fmla="*/ 19362 h 1326"/>
              <a:gd name="T70" fmla="*/ 21359 w 1212"/>
              <a:gd name="T71" fmla="*/ 16135 h 1326"/>
              <a:gd name="T72" fmla="*/ 27687 w 1212"/>
              <a:gd name="T73" fmla="*/ 16942 h 1326"/>
              <a:gd name="T74" fmla="*/ 48255 w 1212"/>
              <a:gd name="T75" fmla="*/ 6454 h 1326"/>
              <a:gd name="T76" fmla="*/ 57747 w 1212"/>
              <a:gd name="T77" fmla="*/ 3227 h 1326"/>
              <a:gd name="T78" fmla="*/ 68031 w 1212"/>
              <a:gd name="T79" fmla="*/ 9681 h 1326"/>
              <a:gd name="T80" fmla="*/ 72777 w 1212"/>
              <a:gd name="T81" fmla="*/ 10488 h 1326"/>
              <a:gd name="T82" fmla="*/ 68031 w 1212"/>
              <a:gd name="T83" fmla="*/ 14521 h 1326"/>
              <a:gd name="T84" fmla="*/ 69613 w 1212"/>
              <a:gd name="T85" fmla="*/ 26622 h 1326"/>
              <a:gd name="T86" fmla="*/ 76733 w 1212"/>
              <a:gd name="T87" fmla="*/ 39530 h 1326"/>
              <a:gd name="T88" fmla="*/ 80688 w 1212"/>
              <a:gd name="T89" fmla="*/ 45984 h 1326"/>
              <a:gd name="T90" fmla="*/ 82270 w 1212"/>
              <a:gd name="T91" fmla="*/ 54052 h 1326"/>
              <a:gd name="T92" fmla="*/ 79897 w 1212"/>
              <a:gd name="T93" fmla="*/ 55665 h 1326"/>
              <a:gd name="T94" fmla="*/ 76733 w 1212"/>
              <a:gd name="T95" fmla="*/ 55665 h 1326"/>
              <a:gd name="T96" fmla="*/ 75942 w 1212"/>
              <a:gd name="T97" fmla="*/ 57279 h 1326"/>
              <a:gd name="T98" fmla="*/ 73569 w 1212"/>
              <a:gd name="T99" fmla="*/ 56472 h 1326"/>
              <a:gd name="T100" fmla="*/ 68031 w 1212"/>
              <a:gd name="T101" fmla="*/ 55665 h 1326"/>
              <a:gd name="T102" fmla="*/ 64867 w 1212"/>
              <a:gd name="T103" fmla="*/ 58892 h 1326"/>
              <a:gd name="T104" fmla="*/ 62494 w 1212"/>
              <a:gd name="T105" fmla="*/ 59699 h 1326"/>
              <a:gd name="T106" fmla="*/ 61703 w 1212"/>
              <a:gd name="T107" fmla="*/ 63733 h 1326"/>
              <a:gd name="T108" fmla="*/ 61703 w 1212"/>
              <a:gd name="T109" fmla="*/ 66960 h 1326"/>
              <a:gd name="T110" fmla="*/ 64867 w 1212"/>
              <a:gd name="T111" fmla="*/ 70186 h 1326"/>
              <a:gd name="T112" fmla="*/ 65658 w 1212"/>
              <a:gd name="T113" fmla="*/ 72607 h 1326"/>
              <a:gd name="T114" fmla="*/ 64867 w 1212"/>
              <a:gd name="T115" fmla="*/ 75834 h 1326"/>
              <a:gd name="T116" fmla="*/ 64867 w 1212"/>
              <a:gd name="T117" fmla="*/ 79061 h 1326"/>
              <a:gd name="T118" fmla="*/ 64867 w 1212"/>
              <a:gd name="T119" fmla="*/ 83901 h 1326"/>
              <a:gd name="T120" fmla="*/ 61703 w 1212"/>
              <a:gd name="T121" fmla="*/ 88742 h 13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12"/>
              <a:gd name="T184" fmla="*/ 0 h 1326"/>
              <a:gd name="T185" fmla="*/ 1212 w 1212"/>
              <a:gd name="T186" fmla="*/ 1326 h 132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12" h="1326">
                <a:moveTo>
                  <a:pt x="906" y="1290"/>
                </a:moveTo>
                <a:lnTo>
                  <a:pt x="906" y="1296"/>
                </a:lnTo>
                <a:lnTo>
                  <a:pt x="900" y="1296"/>
                </a:lnTo>
                <a:lnTo>
                  <a:pt x="876" y="1290"/>
                </a:lnTo>
                <a:lnTo>
                  <a:pt x="870" y="1290"/>
                </a:lnTo>
                <a:lnTo>
                  <a:pt x="864" y="1296"/>
                </a:lnTo>
                <a:lnTo>
                  <a:pt x="852" y="1296"/>
                </a:lnTo>
                <a:lnTo>
                  <a:pt x="840" y="1302"/>
                </a:lnTo>
                <a:lnTo>
                  <a:pt x="834" y="1308"/>
                </a:lnTo>
                <a:lnTo>
                  <a:pt x="822" y="1320"/>
                </a:lnTo>
                <a:lnTo>
                  <a:pt x="816" y="1320"/>
                </a:lnTo>
                <a:lnTo>
                  <a:pt x="732" y="1320"/>
                </a:lnTo>
                <a:lnTo>
                  <a:pt x="696" y="1320"/>
                </a:lnTo>
                <a:lnTo>
                  <a:pt x="690" y="1326"/>
                </a:lnTo>
                <a:lnTo>
                  <a:pt x="678" y="1326"/>
                </a:lnTo>
                <a:lnTo>
                  <a:pt x="672" y="1308"/>
                </a:lnTo>
                <a:lnTo>
                  <a:pt x="696" y="1302"/>
                </a:lnTo>
                <a:lnTo>
                  <a:pt x="708" y="1296"/>
                </a:lnTo>
                <a:lnTo>
                  <a:pt x="720" y="1284"/>
                </a:lnTo>
                <a:lnTo>
                  <a:pt x="714" y="1278"/>
                </a:lnTo>
                <a:lnTo>
                  <a:pt x="714" y="1266"/>
                </a:lnTo>
                <a:lnTo>
                  <a:pt x="708" y="1260"/>
                </a:lnTo>
                <a:lnTo>
                  <a:pt x="708" y="1254"/>
                </a:lnTo>
                <a:lnTo>
                  <a:pt x="708" y="1248"/>
                </a:lnTo>
                <a:lnTo>
                  <a:pt x="702" y="1236"/>
                </a:lnTo>
                <a:lnTo>
                  <a:pt x="702" y="1230"/>
                </a:lnTo>
                <a:lnTo>
                  <a:pt x="702" y="1218"/>
                </a:lnTo>
                <a:lnTo>
                  <a:pt x="696" y="1200"/>
                </a:lnTo>
                <a:lnTo>
                  <a:pt x="696" y="1182"/>
                </a:lnTo>
                <a:lnTo>
                  <a:pt x="666" y="1182"/>
                </a:lnTo>
                <a:lnTo>
                  <a:pt x="672" y="1134"/>
                </a:lnTo>
                <a:lnTo>
                  <a:pt x="666" y="1128"/>
                </a:lnTo>
                <a:lnTo>
                  <a:pt x="660" y="1092"/>
                </a:lnTo>
                <a:lnTo>
                  <a:pt x="654" y="1098"/>
                </a:lnTo>
                <a:lnTo>
                  <a:pt x="594" y="1098"/>
                </a:lnTo>
                <a:lnTo>
                  <a:pt x="576" y="1098"/>
                </a:lnTo>
                <a:lnTo>
                  <a:pt x="570" y="1104"/>
                </a:lnTo>
                <a:lnTo>
                  <a:pt x="564" y="1110"/>
                </a:lnTo>
                <a:lnTo>
                  <a:pt x="558" y="1110"/>
                </a:lnTo>
                <a:lnTo>
                  <a:pt x="552" y="1110"/>
                </a:lnTo>
                <a:lnTo>
                  <a:pt x="546" y="1110"/>
                </a:lnTo>
                <a:lnTo>
                  <a:pt x="546" y="1116"/>
                </a:lnTo>
                <a:lnTo>
                  <a:pt x="546" y="1122"/>
                </a:lnTo>
                <a:lnTo>
                  <a:pt x="540" y="1128"/>
                </a:lnTo>
                <a:lnTo>
                  <a:pt x="510" y="1128"/>
                </a:lnTo>
                <a:lnTo>
                  <a:pt x="522" y="1104"/>
                </a:lnTo>
                <a:lnTo>
                  <a:pt x="510" y="1098"/>
                </a:lnTo>
                <a:lnTo>
                  <a:pt x="510" y="1074"/>
                </a:lnTo>
                <a:lnTo>
                  <a:pt x="504" y="1068"/>
                </a:lnTo>
                <a:lnTo>
                  <a:pt x="498" y="1068"/>
                </a:lnTo>
                <a:lnTo>
                  <a:pt x="492" y="1068"/>
                </a:lnTo>
                <a:lnTo>
                  <a:pt x="474" y="1080"/>
                </a:lnTo>
                <a:lnTo>
                  <a:pt x="474" y="1086"/>
                </a:lnTo>
                <a:lnTo>
                  <a:pt x="474" y="1092"/>
                </a:lnTo>
                <a:lnTo>
                  <a:pt x="468" y="1098"/>
                </a:lnTo>
                <a:lnTo>
                  <a:pt x="462" y="1104"/>
                </a:lnTo>
                <a:lnTo>
                  <a:pt x="456" y="1110"/>
                </a:lnTo>
                <a:lnTo>
                  <a:pt x="456" y="1122"/>
                </a:lnTo>
                <a:lnTo>
                  <a:pt x="456" y="1128"/>
                </a:lnTo>
                <a:lnTo>
                  <a:pt x="450" y="1140"/>
                </a:lnTo>
                <a:lnTo>
                  <a:pt x="444" y="1146"/>
                </a:lnTo>
                <a:lnTo>
                  <a:pt x="426" y="1170"/>
                </a:lnTo>
                <a:lnTo>
                  <a:pt x="408" y="1176"/>
                </a:lnTo>
                <a:lnTo>
                  <a:pt x="402" y="1170"/>
                </a:lnTo>
                <a:lnTo>
                  <a:pt x="396" y="1170"/>
                </a:lnTo>
                <a:lnTo>
                  <a:pt x="396" y="1158"/>
                </a:lnTo>
                <a:lnTo>
                  <a:pt x="384" y="1152"/>
                </a:lnTo>
                <a:lnTo>
                  <a:pt x="372" y="1140"/>
                </a:lnTo>
                <a:lnTo>
                  <a:pt x="354" y="1140"/>
                </a:lnTo>
                <a:lnTo>
                  <a:pt x="306" y="1146"/>
                </a:lnTo>
                <a:lnTo>
                  <a:pt x="294" y="1134"/>
                </a:lnTo>
                <a:lnTo>
                  <a:pt x="294" y="1128"/>
                </a:lnTo>
                <a:lnTo>
                  <a:pt x="288" y="1122"/>
                </a:lnTo>
                <a:lnTo>
                  <a:pt x="276" y="1122"/>
                </a:lnTo>
                <a:lnTo>
                  <a:pt x="276" y="1110"/>
                </a:lnTo>
                <a:lnTo>
                  <a:pt x="276" y="1104"/>
                </a:lnTo>
                <a:lnTo>
                  <a:pt x="270" y="1098"/>
                </a:lnTo>
                <a:lnTo>
                  <a:pt x="264" y="1086"/>
                </a:lnTo>
                <a:lnTo>
                  <a:pt x="264" y="1074"/>
                </a:lnTo>
                <a:lnTo>
                  <a:pt x="258" y="1068"/>
                </a:lnTo>
                <a:lnTo>
                  <a:pt x="252" y="1056"/>
                </a:lnTo>
                <a:lnTo>
                  <a:pt x="246" y="1056"/>
                </a:lnTo>
                <a:lnTo>
                  <a:pt x="246" y="1050"/>
                </a:lnTo>
                <a:lnTo>
                  <a:pt x="234" y="1038"/>
                </a:lnTo>
                <a:lnTo>
                  <a:pt x="228" y="1038"/>
                </a:lnTo>
                <a:lnTo>
                  <a:pt x="222" y="1038"/>
                </a:lnTo>
                <a:lnTo>
                  <a:pt x="216" y="1038"/>
                </a:lnTo>
                <a:lnTo>
                  <a:pt x="216" y="1032"/>
                </a:lnTo>
                <a:lnTo>
                  <a:pt x="216" y="1026"/>
                </a:lnTo>
                <a:lnTo>
                  <a:pt x="210" y="1020"/>
                </a:lnTo>
                <a:lnTo>
                  <a:pt x="204" y="1014"/>
                </a:lnTo>
                <a:lnTo>
                  <a:pt x="204" y="1008"/>
                </a:lnTo>
                <a:lnTo>
                  <a:pt x="198" y="1002"/>
                </a:lnTo>
                <a:lnTo>
                  <a:pt x="198" y="996"/>
                </a:lnTo>
                <a:lnTo>
                  <a:pt x="198" y="990"/>
                </a:lnTo>
                <a:lnTo>
                  <a:pt x="204" y="990"/>
                </a:lnTo>
                <a:lnTo>
                  <a:pt x="204" y="984"/>
                </a:lnTo>
                <a:lnTo>
                  <a:pt x="210" y="978"/>
                </a:lnTo>
                <a:lnTo>
                  <a:pt x="210" y="972"/>
                </a:lnTo>
                <a:lnTo>
                  <a:pt x="210" y="966"/>
                </a:lnTo>
                <a:lnTo>
                  <a:pt x="216" y="960"/>
                </a:lnTo>
                <a:lnTo>
                  <a:pt x="216" y="954"/>
                </a:lnTo>
                <a:lnTo>
                  <a:pt x="210" y="954"/>
                </a:lnTo>
                <a:lnTo>
                  <a:pt x="204" y="954"/>
                </a:lnTo>
                <a:lnTo>
                  <a:pt x="216" y="954"/>
                </a:lnTo>
                <a:lnTo>
                  <a:pt x="216" y="948"/>
                </a:lnTo>
                <a:lnTo>
                  <a:pt x="210" y="948"/>
                </a:lnTo>
                <a:lnTo>
                  <a:pt x="210" y="942"/>
                </a:lnTo>
                <a:lnTo>
                  <a:pt x="216" y="942"/>
                </a:lnTo>
                <a:lnTo>
                  <a:pt x="222" y="942"/>
                </a:lnTo>
                <a:lnTo>
                  <a:pt x="222" y="936"/>
                </a:lnTo>
                <a:lnTo>
                  <a:pt x="216" y="936"/>
                </a:lnTo>
                <a:lnTo>
                  <a:pt x="210" y="936"/>
                </a:lnTo>
                <a:lnTo>
                  <a:pt x="210" y="930"/>
                </a:lnTo>
                <a:lnTo>
                  <a:pt x="216" y="930"/>
                </a:lnTo>
                <a:lnTo>
                  <a:pt x="222" y="930"/>
                </a:lnTo>
                <a:lnTo>
                  <a:pt x="222" y="918"/>
                </a:lnTo>
                <a:lnTo>
                  <a:pt x="228" y="912"/>
                </a:lnTo>
                <a:lnTo>
                  <a:pt x="228" y="906"/>
                </a:lnTo>
                <a:lnTo>
                  <a:pt x="222" y="906"/>
                </a:lnTo>
                <a:lnTo>
                  <a:pt x="222" y="900"/>
                </a:lnTo>
                <a:lnTo>
                  <a:pt x="222" y="894"/>
                </a:lnTo>
                <a:lnTo>
                  <a:pt x="222" y="888"/>
                </a:lnTo>
                <a:lnTo>
                  <a:pt x="222" y="882"/>
                </a:lnTo>
                <a:lnTo>
                  <a:pt x="222" y="876"/>
                </a:lnTo>
                <a:lnTo>
                  <a:pt x="222" y="858"/>
                </a:lnTo>
                <a:lnTo>
                  <a:pt x="216" y="858"/>
                </a:lnTo>
                <a:lnTo>
                  <a:pt x="216" y="852"/>
                </a:lnTo>
                <a:lnTo>
                  <a:pt x="210" y="852"/>
                </a:lnTo>
                <a:lnTo>
                  <a:pt x="210" y="840"/>
                </a:lnTo>
                <a:lnTo>
                  <a:pt x="198" y="840"/>
                </a:lnTo>
                <a:lnTo>
                  <a:pt x="198" y="876"/>
                </a:lnTo>
                <a:lnTo>
                  <a:pt x="192" y="882"/>
                </a:lnTo>
                <a:lnTo>
                  <a:pt x="192" y="888"/>
                </a:lnTo>
                <a:lnTo>
                  <a:pt x="180" y="894"/>
                </a:lnTo>
                <a:lnTo>
                  <a:pt x="180" y="906"/>
                </a:lnTo>
                <a:lnTo>
                  <a:pt x="156" y="912"/>
                </a:lnTo>
                <a:lnTo>
                  <a:pt x="156" y="894"/>
                </a:lnTo>
                <a:lnTo>
                  <a:pt x="156" y="882"/>
                </a:lnTo>
                <a:lnTo>
                  <a:pt x="156" y="876"/>
                </a:lnTo>
                <a:lnTo>
                  <a:pt x="150" y="876"/>
                </a:lnTo>
                <a:lnTo>
                  <a:pt x="144" y="876"/>
                </a:lnTo>
                <a:lnTo>
                  <a:pt x="138" y="870"/>
                </a:lnTo>
                <a:lnTo>
                  <a:pt x="132" y="864"/>
                </a:lnTo>
                <a:lnTo>
                  <a:pt x="138" y="840"/>
                </a:lnTo>
                <a:lnTo>
                  <a:pt x="132" y="840"/>
                </a:lnTo>
                <a:lnTo>
                  <a:pt x="138" y="810"/>
                </a:lnTo>
                <a:lnTo>
                  <a:pt x="144" y="804"/>
                </a:lnTo>
                <a:lnTo>
                  <a:pt x="144" y="798"/>
                </a:lnTo>
                <a:lnTo>
                  <a:pt x="156" y="798"/>
                </a:lnTo>
                <a:lnTo>
                  <a:pt x="156" y="792"/>
                </a:lnTo>
                <a:lnTo>
                  <a:pt x="120" y="792"/>
                </a:lnTo>
                <a:lnTo>
                  <a:pt x="108" y="786"/>
                </a:lnTo>
                <a:lnTo>
                  <a:pt x="96" y="786"/>
                </a:lnTo>
                <a:lnTo>
                  <a:pt x="96" y="780"/>
                </a:lnTo>
                <a:lnTo>
                  <a:pt x="78" y="780"/>
                </a:lnTo>
                <a:lnTo>
                  <a:pt x="72" y="804"/>
                </a:lnTo>
                <a:lnTo>
                  <a:pt x="60" y="816"/>
                </a:lnTo>
                <a:lnTo>
                  <a:pt x="36" y="828"/>
                </a:lnTo>
                <a:lnTo>
                  <a:pt x="18" y="840"/>
                </a:lnTo>
                <a:lnTo>
                  <a:pt x="0" y="822"/>
                </a:lnTo>
                <a:lnTo>
                  <a:pt x="6" y="816"/>
                </a:lnTo>
                <a:lnTo>
                  <a:pt x="12" y="804"/>
                </a:lnTo>
                <a:lnTo>
                  <a:pt x="18" y="798"/>
                </a:lnTo>
                <a:lnTo>
                  <a:pt x="18" y="792"/>
                </a:lnTo>
                <a:lnTo>
                  <a:pt x="18" y="786"/>
                </a:lnTo>
                <a:lnTo>
                  <a:pt x="24" y="780"/>
                </a:lnTo>
                <a:lnTo>
                  <a:pt x="24" y="768"/>
                </a:lnTo>
                <a:lnTo>
                  <a:pt x="24" y="762"/>
                </a:lnTo>
                <a:lnTo>
                  <a:pt x="24" y="750"/>
                </a:lnTo>
                <a:lnTo>
                  <a:pt x="36" y="714"/>
                </a:lnTo>
                <a:lnTo>
                  <a:pt x="36" y="708"/>
                </a:lnTo>
                <a:lnTo>
                  <a:pt x="42" y="708"/>
                </a:lnTo>
                <a:lnTo>
                  <a:pt x="42" y="702"/>
                </a:lnTo>
                <a:lnTo>
                  <a:pt x="36" y="696"/>
                </a:lnTo>
                <a:lnTo>
                  <a:pt x="36" y="690"/>
                </a:lnTo>
                <a:lnTo>
                  <a:pt x="42" y="684"/>
                </a:lnTo>
                <a:lnTo>
                  <a:pt x="42" y="672"/>
                </a:lnTo>
                <a:lnTo>
                  <a:pt x="42" y="666"/>
                </a:lnTo>
                <a:lnTo>
                  <a:pt x="42" y="660"/>
                </a:lnTo>
                <a:lnTo>
                  <a:pt x="42" y="654"/>
                </a:lnTo>
                <a:lnTo>
                  <a:pt x="48" y="648"/>
                </a:lnTo>
                <a:lnTo>
                  <a:pt x="54" y="642"/>
                </a:lnTo>
                <a:lnTo>
                  <a:pt x="54" y="630"/>
                </a:lnTo>
                <a:lnTo>
                  <a:pt x="54" y="624"/>
                </a:lnTo>
                <a:lnTo>
                  <a:pt x="54" y="618"/>
                </a:lnTo>
                <a:lnTo>
                  <a:pt x="54" y="612"/>
                </a:lnTo>
                <a:lnTo>
                  <a:pt x="48" y="606"/>
                </a:lnTo>
                <a:lnTo>
                  <a:pt x="48" y="600"/>
                </a:lnTo>
                <a:lnTo>
                  <a:pt x="42" y="600"/>
                </a:lnTo>
                <a:lnTo>
                  <a:pt x="36" y="594"/>
                </a:lnTo>
                <a:lnTo>
                  <a:pt x="36" y="588"/>
                </a:lnTo>
                <a:lnTo>
                  <a:pt x="30" y="582"/>
                </a:lnTo>
                <a:lnTo>
                  <a:pt x="30" y="570"/>
                </a:lnTo>
                <a:lnTo>
                  <a:pt x="18" y="552"/>
                </a:lnTo>
                <a:lnTo>
                  <a:pt x="18" y="546"/>
                </a:lnTo>
                <a:lnTo>
                  <a:pt x="18" y="540"/>
                </a:lnTo>
                <a:lnTo>
                  <a:pt x="18" y="528"/>
                </a:lnTo>
                <a:lnTo>
                  <a:pt x="18" y="522"/>
                </a:lnTo>
                <a:lnTo>
                  <a:pt x="24" y="516"/>
                </a:lnTo>
                <a:lnTo>
                  <a:pt x="30" y="504"/>
                </a:lnTo>
                <a:lnTo>
                  <a:pt x="30" y="492"/>
                </a:lnTo>
                <a:lnTo>
                  <a:pt x="24" y="480"/>
                </a:lnTo>
                <a:lnTo>
                  <a:pt x="30" y="474"/>
                </a:lnTo>
                <a:lnTo>
                  <a:pt x="36" y="474"/>
                </a:lnTo>
                <a:lnTo>
                  <a:pt x="42" y="468"/>
                </a:lnTo>
                <a:lnTo>
                  <a:pt x="48" y="468"/>
                </a:lnTo>
                <a:lnTo>
                  <a:pt x="48" y="462"/>
                </a:lnTo>
                <a:lnTo>
                  <a:pt x="48" y="456"/>
                </a:lnTo>
                <a:lnTo>
                  <a:pt x="54" y="450"/>
                </a:lnTo>
                <a:lnTo>
                  <a:pt x="60" y="438"/>
                </a:lnTo>
                <a:lnTo>
                  <a:pt x="54" y="438"/>
                </a:lnTo>
                <a:lnTo>
                  <a:pt x="54" y="432"/>
                </a:lnTo>
                <a:lnTo>
                  <a:pt x="60" y="426"/>
                </a:lnTo>
                <a:lnTo>
                  <a:pt x="60" y="420"/>
                </a:lnTo>
                <a:lnTo>
                  <a:pt x="60" y="414"/>
                </a:lnTo>
                <a:lnTo>
                  <a:pt x="54" y="408"/>
                </a:lnTo>
                <a:lnTo>
                  <a:pt x="54" y="402"/>
                </a:lnTo>
                <a:lnTo>
                  <a:pt x="60" y="390"/>
                </a:lnTo>
                <a:lnTo>
                  <a:pt x="66" y="390"/>
                </a:lnTo>
                <a:lnTo>
                  <a:pt x="66" y="384"/>
                </a:lnTo>
                <a:lnTo>
                  <a:pt x="72" y="372"/>
                </a:lnTo>
                <a:lnTo>
                  <a:pt x="78" y="366"/>
                </a:lnTo>
                <a:lnTo>
                  <a:pt x="84" y="360"/>
                </a:lnTo>
                <a:lnTo>
                  <a:pt x="102" y="360"/>
                </a:lnTo>
                <a:lnTo>
                  <a:pt x="114" y="360"/>
                </a:lnTo>
                <a:lnTo>
                  <a:pt x="120" y="360"/>
                </a:lnTo>
                <a:lnTo>
                  <a:pt x="132" y="360"/>
                </a:lnTo>
                <a:lnTo>
                  <a:pt x="138" y="360"/>
                </a:lnTo>
                <a:lnTo>
                  <a:pt x="156" y="360"/>
                </a:lnTo>
                <a:lnTo>
                  <a:pt x="162" y="354"/>
                </a:lnTo>
                <a:lnTo>
                  <a:pt x="168" y="354"/>
                </a:lnTo>
                <a:lnTo>
                  <a:pt x="174" y="342"/>
                </a:lnTo>
                <a:lnTo>
                  <a:pt x="180" y="342"/>
                </a:lnTo>
                <a:lnTo>
                  <a:pt x="186" y="336"/>
                </a:lnTo>
                <a:lnTo>
                  <a:pt x="192" y="330"/>
                </a:lnTo>
                <a:lnTo>
                  <a:pt x="204" y="312"/>
                </a:lnTo>
                <a:lnTo>
                  <a:pt x="210" y="312"/>
                </a:lnTo>
                <a:lnTo>
                  <a:pt x="216" y="306"/>
                </a:lnTo>
                <a:lnTo>
                  <a:pt x="216" y="300"/>
                </a:lnTo>
                <a:lnTo>
                  <a:pt x="222" y="288"/>
                </a:lnTo>
                <a:lnTo>
                  <a:pt x="234" y="288"/>
                </a:lnTo>
                <a:lnTo>
                  <a:pt x="240" y="282"/>
                </a:lnTo>
                <a:lnTo>
                  <a:pt x="246" y="282"/>
                </a:lnTo>
                <a:lnTo>
                  <a:pt x="252" y="282"/>
                </a:lnTo>
                <a:lnTo>
                  <a:pt x="264" y="276"/>
                </a:lnTo>
                <a:lnTo>
                  <a:pt x="270" y="270"/>
                </a:lnTo>
                <a:lnTo>
                  <a:pt x="276" y="264"/>
                </a:lnTo>
                <a:lnTo>
                  <a:pt x="282" y="264"/>
                </a:lnTo>
                <a:lnTo>
                  <a:pt x="306" y="240"/>
                </a:lnTo>
                <a:lnTo>
                  <a:pt x="312" y="240"/>
                </a:lnTo>
                <a:lnTo>
                  <a:pt x="318" y="234"/>
                </a:lnTo>
                <a:lnTo>
                  <a:pt x="330" y="234"/>
                </a:lnTo>
                <a:lnTo>
                  <a:pt x="336" y="234"/>
                </a:lnTo>
                <a:lnTo>
                  <a:pt x="336" y="246"/>
                </a:lnTo>
                <a:lnTo>
                  <a:pt x="342" y="246"/>
                </a:lnTo>
                <a:lnTo>
                  <a:pt x="348" y="252"/>
                </a:lnTo>
                <a:lnTo>
                  <a:pt x="372" y="252"/>
                </a:lnTo>
                <a:lnTo>
                  <a:pt x="396" y="246"/>
                </a:lnTo>
                <a:lnTo>
                  <a:pt x="402" y="246"/>
                </a:lnTo>
                <a:lnTo>
                  <a:pt x="414" y="240"/>
                </a:lnTo>
                <a:lnTo>
                  <a:pt x="444" y="216"/>
                </a:lnTo>
                <a:lnTo>
                  <a:pt x="480" y="204"/>
                </a:lnTo>
                <a:lnTo>
                  <a:pt x="600" y="150"/>
                </a:lnTo>
                <a:lnTo>
                  <a:pt x="648" y="126"/>
                </a:lnTo>
                <a:lnTo>
                  <a:pt x="702" y="96"/>
                </a:lnTo>
                <a:lnTo>
                  <a:pt x="708" y="54"/>
                </a:lnTo>
                <a:lnTo>
                  <a:pt x="720" y="24"/>
                </a:lnTo>
                <a:lnTo>
                  <a:pt x="738" y="12"/>
                </a:lnTo>
                <a:lnTo>
                  <a:pt x="768" y="0"/>
                </a:lnTo>
                <a:lnTo>
                  <a:pt x="792" y="6"/>
                </a:lnTo>
                <a:lnTo>
                  <a:pt x="804" y="12"/>
                </a:lnTo>
                <a:lnTo>
                  <a:pt x="834" y="48"/>
                </a:lnTo>
                <a:lnTo>
                  <a:pt x="834" y="60"/>
                </a:lnTo>
                <a:lnTo>
                  <a:pt x="852" y="84"/>
                </a:lnTo>
                <a:lnTo>
                  <a:pt x="864" y="96"/>
                </a:lnTo>
                <a:lnTo>
                  <a:pt x="888" y="102"/>
                </a:lnTo>
                <a:lnTo>
                  <a:pt x="978" y="120"/>
                </a:lnTo>
                <a:lnTo>
                  <a:pt x="984" y="126"/>
                </a:lnTo>
                <a:lnTo>
                  <a:pt x="984" y="132"/>
                </a:lnTo>
                <a:lnTo>
                  <a:pt x="996" y="138"/>
                </a:lnTo>
                <a:lnTo>
                  <a:pt x="1038" y="126"/>
                </a:lnTo>
                <a:lnTo>
                  <a:pt x="1056" y="114"/>
                </a:lnTo>
                <a:lnTo>
                  <a:pt x="1068" y="126"/>
                </a:lnTo>
                <a:lnTo>
                  <a:pt x="1074" y="132"/>
                </a:lnTo>
                <a:lnTo>
                  <a:pt x="1068" y="138"/>
                </a:lnTo>
                <a:lnTo>
                  <a:pt x="1056" y="150"/>
                </a:lnTo>
                <a:lnTo>
                  <a:pt x="1038" y="162"/>
                </a:lnTo>
                <a:lnTo>
                  <a:pt x="1038" y="168"/>
                </a:lnTo>
                <a:lnTo>
                  <a:pt x="1020" y="174"/>
                </a:lnTo>
                <a:lnTo>
                  <a:pt x="1014" y="180"/>
                </a:lnTo>
                <a:lnTo>
                  <a:pt x="1008" y="186"/>
                </a:lnTo>
                <a:lnTo>
                  <a:pt x="1002" y="198"/>
                </a:lnTo>
                <a:lnTo>
                  <a:pt x="984" y="204"/>
                </a:lnTo>
                <a:lnTo>
                  <a:pt x="984" y="246"/>
                </a:lnTo>
                <a:lnTo>
                  <a:pt x="978" y="270"/>
                </a:lnTo>
                <a:lnTo>
                  <a:pt x="990" y="306"/>
                </a:lnTo>
                <a:lnTo>
                  <a:pt x="990" y="324"/>
                </a:lnTo>
                <a:lnTo>
                  <a:pt x="1002" y="336"/>
                </a:lnTo>
                <a:lnTo>
                  <a:pt x="1020" y="372"/>
                </a:lnTo>
                <a:lnTo>
                  <a:pt x="1014" y="378"/>
                </a:lnTo>
                <a:lnTo>
                  <a:pt x="1014" y="384"/>
                </a:lnTo>
                <a:lnTo>
                  <a:pt x="1020" y="384"/>
                </a:lnTo>
                <a:lnTo>
                  <a:pt x="1020" y="396"/>
                </a:lnTo>
                <a:lnTo>
                  <a:pt x="1062" y="468"/>
                </a:lnTo>
                <a:lnTo>
                  <a:pt x="1092" y="522"/>
                </a:lnTo>
                <a:lnTo>
                  <a:pt x="1110" y="546"/>
                </a:lnTo>
                <a:lnTo>
                  <a:pt x="1122" y="564"/>
                </a:lnTo>
                <a:lnTo>
                  <a:pt x="1134" y="576"/>
                </a:lnTo>
                <a:lnTo>
                  <a:pt x="1146" y="582"/>
                </a:lnTo>
                <a:lnTo>
                  <a:pt x="1146" y="588"/>
                </a:lnTo>
                <a:lnTo>
                  <a:pt x="1164" y="600"/>
                </a:lnTo>
                <a:lnTo>
                  <a:pt x="1170" y="612"/>
                </a:lnTo>
                <a:lnTo>
                  <a:pt x="1170" y="624"/>
                </a:lnTo>
                <a:lnTo>
                  <a:pt x="1176" y="654"/>
                </a:lnTo>
                <a:lnTo>
                  <a:pt x="1176" y="666"/>
                </a:lnTo>
                <a:lnTo>
                  <a:pt x="1182" y="684"/>
                </a:lnTo>
                <a:lnTo>
                  <a:pt x="1194" y="696"/>
                </a:lnTo>
                <a:lnTo>
                  <a:pt x="1212" y="696"/>
                </a:lnTo>
                <a:lnTo>
                  <a:pt x="1206" y="762"/>
                </a:lnTo>
                <a:lnTo>
                  <a:pt x="1200" y="768"/>
                </a:lnTo>
                <a:lnTo>
                  <a:pt x="1194" y="768"/>
                </a:lnTo>
                <a:lnTo>
                  <a:pt x="1194" y="774"/>
                </a:lnTo>
                <a:lnTo>
                  <a:pt x="1188" y="774"/>
                </a:lnTo>
                <a:lnTo>
                  <a:pt x="1182" y="780"/>
                </a:lnTo>
                <a:lnTo>
                  <a:pt x="1176" y="780"/>
                </a:lnTo>
                <a:lnTo>
                  <a:pt x="1170" y="780"/>
                </a:lnTo>
                <a:lnTo>
                  <a:pt x="1164" y="786"/>
                </a:lnTo>
                <a:lnTo>
                  <a:pt x="1158" y="786"/>
                </a:lnTo>
                <a:lnTo>
                  <a:pt x="1152" y="786"/>
                </a:lnTo>
                <a:lnTo>
                  <a:pt x="1140" y="786"/>
                </a:lnTo>
                <a:lnTo>
                  <a:pt x="1134" y="786"/>
                </a:lnTo>
                <a:lnTo>
                  <a:pt x="1134" y="780"/>
                </a:lnTo>
                <a:lnTo>
                  <a:pt x="1122" y="780"/>
                </a:lnTo>
                <a:lnTo>
                  <a:pt x="1116" y="786"/>
                </a:lnTo>
                <a:lnTo>
                  <a:pt x="1116" y="792"/>
                </a:lnTo>
                <a:lnTo>
                  <a:pt x="1122" y="804"/>
                </a:lnTo>
                <a:lnTo>
                  <a:pt x="1128" y="804"/>
                </a:lnTo>
                <a:lnTo>
                  <a:pt x="1128" y="816"/>
                </a:lnTo>
                <a:lnTo>
                  <a:pt x="1122" y="822"/>
                </a:lnTo>
                <a:lnTo>
                  <a:pt x="1116" y="816"/>
                </a:lnTo>
                <a:lnTo>
                  <a:pt x="1110" y="816"/>
                </a:lnTo>
                <a:lnTo>
                  <a:pt x="1104" y="816"/>
                </a:lnTo>
                <a:lnTo>
                  <a:pt x="1098" y="816"/>
                </a:lnTo>
                <a:lnTo>
                  <a:pt x="1098" y="822"/>
                </a:lnTo>
                <a:lnTo>
                  <a:pt x="1092" y="834"/>
                </a:lnTo>
                <a:lnTo>
                  <a:pt x="1092" y="840"/>
                </a:lnTo>
                <a:lnTo>
                  <a:pt x="1074" y="840"/>
                </a:lnTo>
                <a:lnTo>
                  <a:pt x="1074" y="828"/>
                </a:lnTo>
                <a:lnTo>
                  <a:pt x="1062" y="804"/>
                </a:lnTo>
                <a:lnTo>
                  <a:pt x="1056" y="792"/>
                </a:lnTo>
                <a:lnTo>
                  <a:pt x="1056" y="786"/>
                </a:lnTo>
                <a:lnTo>
                  <a:pt x="1026" y="780"/>
                </a:lnTo>
                <a:lnTo>
                  <a:pt x="1026" y="768"/>
                </a:lnTo>
                <a:lnTo>
                  <a:pt x="1008" y="768"/>
                </a:lnTo>
                <a:lnTo>
                  <a:pt x="1002" y="780"/>
                </a:lnTo>
                <a:lnTo>
                  <a:pt x="996" y="792"/>
                </a:lnTo>
                <a:lnTo>
                  <a:pt x="978" y="798"/>
                </a:lnTo>
                <a:lnTo>
                  <a:pt x="972" y="810"/>
                </a:lnTo>
                <a:lnTo>
                  <a:pt x="972" y="822"/>
                </a:lnTo>
                <a:lnTo>
                  <a:pt x="978" y="828"/>
                </a:lnTo>
                <a:lnTo>
                  <a:pt x="978" y="834"/>
                </a:lnTo>
                <a:lnTo>
                  <a:pt x="960" y="840"/>
                </a:lnTo>
                <a:lnTo>
                  <a:pt x="936" y="840"/>
                </a:lnTo>
                <a:lnTo>
                  <a:pt x="918" y="846"/>
                </a:lnTo>
                <a:lnTo>
                  <a:pt x="912" y="840"/>
                </a:lnTo>
                <a:lnTo>
                  <a:pt x="912" y="834"/>
                </a:lnTo>
                <a:lnTo>
                  <a:pt x="906" y="834"/>
                </a:lnTo>
                <a:lnTo>
                  <a:pt x="906" y="840"/>
                </a:lnTo>
                <a:lnTo>
                  <a:pt x="900" y="846"/>
                </a:lnTo>
                <a:lnTo>
                  <a:pt x="906" y="852"/>
                </a:lnTo>
                <a:lnTo>
                  <a:pt x="900" y="864"/>
                </a:lnTo>
                <a:lnTo>
                  <a:pt x="900" y="876"/>
                </a:lnTo>
                <a:lnTo>
                  <a:pt x="900" y="882"/>
                </a:lnTo>
                <a:lnTo>
                  <a:pt x="894" y="888"/>
                </a:lnTo>
                <a:lnTo>
                  <a:pt x="900" y="900"/>
                </a:lnTo>
                <a:lnTo>
                  <a:pt x="900" y="906"/>
                </a:lnTo>
                <a:lnTo>
                  <a:pt x="894" y="906"/>
                </a:lnTo>
                <a:lnTo>
                  <a:pt x="894" y="912"/>
                </a:lnTo>
                <a:lnTo>
                  <a:pt x="900" y="918"/>
                </a:lnTo>
                <a:lnTo>
                  <a:pt x="900" y="924"/>
                </a:lnTo>
                <a:lnTo>
                  <a:pt x="900" y="948"/>
                </a:lnTo>
                <a:lnTo>
                  <a:pt x="888" y="948"/>
                </a:lnTo>
                <a:lnTo>
                  <a:pt x="888" y="954"/>
                </a:lnTo>
                <a:lnTo>
                  <a:pt x="894" y="954"/>
                </a:lnTo>
                <a:lnTo>
                  <a:pt x="900" y="960"/>
                </a:lnTo>
                <a:lnTo>
                  <a:pt x="900" y="972"/>
                </a:lnTo>
                <a:lnTo>
                  <a:pt x="906" y="984"/>
                </a:lnTo>
                <a:lnTo>
                  <a:pt x="912" y="984"/>
                </a:lnTo>
                <a:lnTo>
                  <a:pt x="918" y="990"/>
                </a:lnTo>
                <a:lnTo>
                  <a:pt x="936" y="990"/>
                </a:lnTo>
                <a:lnTo>
                  <a:pt x="936" y="996"/>
                </a:lnTo>
                <a:lnTo>
                  <a:pt x="942" y="996"/>
                </a:lnTo>
                <a:lnTo>
                  <a:pt x="942" y="1002"/>
                </a:lnTo>
                <a:lnTo>
                  <a:pt x="942" y="1008"/>
                </a:lnTo>
                <a:lnTo>
                  <a:pt x="948" y="1008"/>
                </a:lnTo>
                <a:lnTo>
                  <a:pt x="948" y="1014"/>
                </a:lnTo>
                <a:lnTo>
                  <a:pt x="948" y="1020"/>
                </a:lnTo>
                <a:lnTo>
                  <a:pt x="954" y="1032"/>
                </a:lnTo>
                <a:lnTo>
                  <a:pt x="948" y="1038"/>
                </a:lnTo>
                <a:lnTo>
                  <a:pt x="954" y="1044"/>
                </a:lnTo>
                <a:lnTo>
                  <a:pt x="954" y="1056"/>
                </a:lnTo>
                <a:lnTo>
                  <a:pt x="960" y="1056"/>
                </a:lnTo>
                <a:lnTo>
                  <a:pt x="960" y="1062"/>
                </a:lnTo>
                <a:lnTo>
                  <a:pt x="954" y="1068"/>
                </a:lnTo>
                <a:lnTo>
                  <a:pt x="948" y="1074"/>
                </a:lnTo>
                <a:lnTo>
                  <a:pt x="948" y="1080"/>
                </a:lnTo>
                <a:lnTo>
                  <a:pt x="948" y="1086"/>
                </a:lnTo>
                <a:lnTo>
                  <a:pt x="942" y="1092"/>
                </a:lnTo>
                <a:lnTo>
                  <a:pt x="942" y="1098"/>
                </a:lnTo>
                <a:lnTo>
                  <a:pt x="942" y="1104"/>
                </a:lnTo>
                <a:lnTo>
                  <a:pt x="942" y="1110"/>
                </a:lnTo>
                <a:lnTo>
                  <a:pt x="936" y="1116"/>
                </a:lnTo>
                <a:lnTo>
                  <a:pt x="936" y="1122"/>
                </a:lnTo>
                <a:lnTo>
                  <a:pt x="936" y="1128"/>
                </a:lnTo>
                <a:lnTo>
                  <a:pt x="936" y="1134"/>
                </a:lnTo>
                <a:lnTo>
                  <a:pt x="942" y="1146"/>
                </a:lnTo>
                <a:lnTo>
                  <a:pt x="936" y="1158"/>
                </a:lnTo>
                <a:lnTo>
                  <a:pt x="936" y="1170"/>
                </a:lnTo>
                <a:lnTo>
                  <a:pt x="936" y="1194"/>
                </a:lnTo>
                <a:lnTo>
                  <a:pt x="930" y="1200"/>
                </a:lnTo>
                <a:lnTo>
                  <a:pt x="930" y="1212"/>
                </a:lnTo>
                <a:lnTo>
                  <a:pt x="918" y="1218"/>
                </a:lnTo>
                <a:lnTo>
                  <a:pt x="918" y="1230"/>
                </a:lnTo>
                <a:lnTo>
                  <a:pt x="906" y="1230"/>
                </a:lnTo>
                <a:lnTo>
                  <a:pt x="900" y="1254"/>
                </a:lnTo>
                <a:lnTo>
                  <a:pt x="900" y="1260"/>
                </a:lnTo>
                <a:lnTo>
                  <a:pt x="900" y="1266"/>
                </a:lnTo>
                <a:lnTo>
                  <a:pt x="900" y="1272"/>
                </a:lnTo>
                <a:lnTo>
                  <a:pt x="900" y="1278"/>
                </a:lnTo>
                <a:lnTo>
                  <a:pt x="900" y="1284"/>
                </a:lnTo>
                <a:lnTo>
                  <a:pt x="906" y="1290"/>
                </a:lnTo>
                <a:close/>
              </a:path>
            </a:pathLst>
          </a:custGeom>
          <a:solidFill>
            <a:srgbClr val="33CC33"/>
          </a:solidFill>
          <a:ln w="9525">
            <a:solidFill>
              <a:schemeClr val="bg1"/>
            </a:solidFill>
            <a:round/>
            <a:headEnd/>
            <a:tailEnd/>
          </a:ln>
        </p:spPr>
        <p:txBody>
          <a:bodyPr/>
          <a:lstStyle/>
          <a:p>
            <a:endParaRPr lang="en-GB"/>
          </a:p>
        </p:txBody>
      </p:sp>
      <p:sp>
        <p:nvSpPr>
          <p:cNvPr id="20489" name="Freeform 5"/>
          <p:cNvSpPr>
            <a:spLocks noEditPoints="1"/>
          </p:cNvSpPr>
          <p:nvPr/>
        </p:nvSpPr>
        <p:spPr bwMode="gray">
          <a:xfrm>
            <a:off x="2779713" y="5883275"/>
            <a:ext cx="615950" cy="574675"/>
          </a:xfrm>
          <a:custGeom>
            <a:avLst/>
            <a:gdLst>
              <a:gd name="T0" fmla="*/ 9386 w 786"/>
              <a:gd name="T1" fmla="*/ 15298 h 714"/>
              <a:gd name="T2" fmla="*/ 17208 w 786"/>
              <a:gd name="T3" fmla="*/ 14493 h 714"/>
              <a:gd name="T4" fmla="*/ 21119 w 786"/>
              <a:gd name="T5" fmla="*/ 13688 h 714"/>
              <a:gd name="T6" fmla="*/ 23466 w 786"/>
              <a:gd name="T7" fmla="*/ 11272 h 714"/>
              <a:gd name="T8" fmla="*/ 28941 w 786"/>
              <a:gd name="T9" fmla="*/ 12883 h 714"/>
              <a:gd name="T10" fmla="*/ 33634 w 786"/>
              <a:gd name="T11" fmla="*/ 10467 h 714"/>
              <a:gd name="T12" fmla="*/ 37545 w 786"/>
              <a:gd name="T13" fmla="*/ 6441 h 714"/>
              <a:gd name="T14" fmla="*/ 43021 w 786"/>
              <a:gd name="T15" fmla="*/ 3221 h 714"/>
              <a:gd name="T16" fmla="*/ 51625 w 786"/>
              <a:gd name="T17" fmla="*/ 0 h 714"/>
              <a:gd name="T18" fmla="*/ 49278 w 786"/>
              <a:gd name="T19" fmla="*/ 9662 h 714"/>
              <a:gd name="T20" fmla="*/ 46149 w 786"/>
              <a:gd name="T21" fmla="*/ 15298 h 714"/>
              <a:gd name="T22" fmla="*/ 44585 w 786"/>
              <a:gd name="T23" fmla="*/ 23350 h 714"/>
              <a:gd name="T24" fmla="*/ 46149 w 786"/>
              <a:gd name="T25" fmla="*/ 28986 h 714"/>
              <a:gd name="T26" fmla="*/ 51625 w 786"/>
              <a:gd name="T27" fmla="*/ 28181 h 714"/>
              <a:gd name="T28" fmla="*/ 50060 w 786"/>
              <a:gd name="T29" fmla="*/ 33012 h 714"/>
              <a:gd name="T30" fmla="*/ 50060 w 786"/>
              <a:gd name="T31" fmla="*/ 38648 h 714"/>
              <a:gd name="T32" fmla="*/ 49278 w 786"/>
              <a:gd name="T33" fmla="*/ 45090 h 714"/>
              <a:gd name="T34" fmla="*/ 46932 w 786"/>
              <a:gd name="T35" fmla="*/ 48310 h 714"/>
              <a:gd name="T36" fmla="*/ 44585 w 786"/>
              <a:gd name="T37" fmla="*/ 46700 h 714"/>
              <a:gd name="T38" fmla="*/ 42238 w 786"/>
              <a:gd name="T39" fmla="*/ 43479 h 714"/>
              <a:gd name="T40" fmla="*/ 41456 w 786"/>
              <a:gd name="T41" fmla="*/ 41064 h 714"/>
              <a:gd name="T42" fmla="*/ 39892 w 786"/>
              <a:gd name="T43" fmla="*/ 42674 h 714"/>
              <a:gd name="T44" fmla="*/ 38327 w 786"/>
              <a:gd name="T45" fmla="*/ 43479 h 714"/>
              <a:gd name="T46" fmla="*/ 36763 w 786"/>
              <a:gd name="T47" fmla="*/ 40259 h 714"/>
              <a:gd name="T48" fmla="*/ 37545 w 786"/>
              <a:gd name="T49" fmla="*/ 43479 h 714"/>
              <a:gd name="T50" fmla="*/ 36763 w 786"/>
              <a:gd name="T51" fmla="*/ 43479 h 714"/>
              <a:gd name="T52" fmla="*/ 35981 w 786"/>
              <a:gd name="T53" fmla="*/ 47505 h 714"/>
              <a:gd name="T54" fmla="*/ 36763 w 786"/>
              <a:gd name="T55" fmla="*/ 49921 h 714"/>
              <a:gd name="T56" fmla="*/ 32852 w 786"/>
              <a:gd name="T57" fmla="*/ 49921 h 714"/>
              <a:gd name="T58" fmla="*/ 30505 w 786"/>
              <a:gd name="T59" fmla="*/ 45895 h 714"/>
              <a:gd name="T60" fmla="*/ 31288 w 786"/>
              <a:gd name="T61" fmla="*/ 43479 h 714"/>
              <a:gd name="T62" fmla="*/ 33634 w 786"/>
              <a:gd name="T63" fmla="*/ 44285 h 714"/>
              <a:gd name="T64" fmla="*/ 31288 w 786"/>
              <a:gd name="T65" fmla="*/ 42674 h 714"/>
              <a:gd name="T66" fmla="*/ 29723 w 786"/>
              <a:gd name="T67" fmla="*/ 45895 h 714"/>
              <a:gd name="T68" fmla="*/ 28941 w 786"/>
              <a:gd name="T69" fmla="*/ 45895 h 714"/>
              <a:gd name="T70" fmla="*/ 28941 w 786"/>
              <a:gd name="T71" fmla="*/ 48310 h 714"/>
              <a:gd name="T72" fmla="*/ 25812 w 786"/>
              <a:gd name="T73" fmla="*/ 45090 h 714"/>
              <a:gd name="T74" fmla="*/ 25030 w 786"/>
              <a:gd name="T75" fmla="*/ 46700 h 714"/>
              <a:gd name="T76" fmla="*/ 20337 w 786"/>
              <a:gd name="T77" fmla="*/ 43479 h 714"/>
              <a:gd name="T78" fmla="*/ 20337 w 786"/>
              <a:gd name="T79" fmla="*/ 43479 h 714"/>
              <a:gd name="T80" fmla="*/ 18773 w 786"/>
              <a:gd name="T81" fmla="*/ 41064 h 714"/>
              <a:gd name="T82" fmla="*/ 17208 w 786"/>
              <a:gd name="T83" fmla="*/ 41064 h 714"/>
              <a:gd name="T84" fmla="*/ 15644 w 786"/>
              <a:gd name="T85" fmla="*/ 40259 h 714"/>
              <a:gd name="T86" fmla="*/ 15644 w 786"/>
              <a:gd name="T87" fmla="*/ 38648 h 714"/>
              <a:gd name="T88" fmla="*/ 14079 w 786"/>
              <a:gd name="T89" fmla="*/ 37843 h 714"/>
              <a:gd name="T90" fmla="*/ 11733 w 786"/>
              <a:gd name="T91" fmla="*/ 36233 h 714"/>
              <a:gd name="T92" fmla="*/ 8604 w 786"/>
              <a:gd name="T93" fmla="*/ 31402 h 714"/>
              <a:gd name="T94" fmla="*/ 9386 w 786"/>
              <a:gd name="T95" fmla="*/ 28986 h 714"/>
              <a:gd name="T96" fmla="*/ 5475 w 786"/>
              <a:gd name="T97" fmla="*/ 26571 h 714"/>
              <a:gd name="T98" fmla="*/ 3911 w 786"/>
              <a:gd name="T99" fmla="*/ 22545 h 714"/>
              <a:gd name="T100" fmla="*/ 5475 w 786"/>
              <a:gd name="T101" fmla="*/ 24155 h 714"/>
              <a:gd name="T102" fmla="*/ 3129 w 786"/>
              <a:gd name="T103" fmla="*/ 19324 h 714"/>
              <a:gd name="T104" fmla="*/ 1564 w 786"/>
              <a:gd name="T105" fmla="*/ 16103 h 714"/>
              <a:gd name="T106" fmla="*/ 0 w 786"/>
              <a:gd name="T107" fmla="*/ 12078 h 714"/>
              <a:gd name="T108" fmla="*/ 3129 w 786"/>
              <a:gd name="T109" fmla="*/ 12883 h 714"/>
              <a:gd name="T110" fmla="*/ 43021 w 786"/>
              <a:gd name="T111" fmla="*/ 48310 h 714"/>
              <a:gd name="T112" fmla="*/ 36763 w 786"/>
              <a:gd name="T113" fmla="*/ 48310 h 714"/>
              <a:gd name="T114" fmla="*/ 39892 w 786"/>
              <a:gd name="T115" fmla="*/ 43479 h 714"/>
              <a:gd name="T116" fmla="*/ 42238 w 786"/>
              <a:gd name="T117" fmla="*/ 45090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6"/>
              <a:gd name="T178" fmla="*/ 0 h 714"/>
              <a:gd name="T179" fmla="*/ 786 w 786"/>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6" h="714">
                <a:moveTo>
                  <a:pt x="54" y="186"/>
                </a:moveTo>
                <a:lnTo>
                  <a:pt x="54" y="192"/>
                </a:lnTo>
                <a:lnTo>
                  <a:pt x="72" y="192"/>
                </a:lnTo>
                <a:lnTo>
                  <a:pt x="78" y="192"/>
                </a:lnTo>
                <a:lnTo>
                  <a:pt x="84" y="192"/>
                </a:lnTo>
                <a:lnTo>
                  <a:pt x="90" y="204"/>
                </a:lnTo>
                <a:lnTo>
                  <a:pt x="102" y="210"/>
                </a:lnTo>
                <a:lnTo>
                  <a:pt x="108" y="210"/>
                </a:lnTo>
                <a:lnTo>
                  <a:pt x="120" y="210"/>
                </a:lnTo>
                <a:lnTo>
                  <a:pt x="126" y="210"/>
                </a:lnTo>
                <a:lnTo>
                  <a:pt x="132" y="210"/>
                </a:lnTo>
                <a:lnTo>
                  <a:pt x="132" y="216"/>
                </a:lnTo>
                <a:lnTo>
                  <a:pt x="138" y="222"/>
                </a:lnTo>
                <a:lnTo>
                  <a:pt x="150" y="222"/>
                </a:lnTo>
                <a:lnTo>
                  <a:pt x="162" y="234"/>
                </a:lnTo>
                <a:lnTo>
                  <a:pt x="168" y="240"/>
                </a:lnTo>
                <a:lnTo>
                  <a:pt x="180" y="240"/>
                </a:lnTo>
                <a:lnTo>
                  <a:pt x="186" y="228"/>
                </a:lnTo>
                <a:lnTo>
                  <a:pt x="210" y="234"/>
                </a:lnTo>
                <a:lnTo>
                  <a:pt x="222" y="228"/>
                </a:lnTo>
                <a:lnTo>
                  <a:pt x="228" y="216"/>
                </a:lnTo>
                <a:lnTo>
                  <a:pt x="234" y="210"/>
                </a:lnTo>
                <a:lnTo>
                  <a:pt x="240" y="216"/>
                </a:lnTo>
                <a:lnTo>
                  <a:pt x="246" y="210"/>
                </a:lnTo>
                <a:lnTo>
                  <a:pt x="252" y="210"/>
                </a:lnTo>
                <a:lnTo>
                  <a:pt x="258" y="210"/>
                </a:lnTo>
                <a:lnTo>
                  <a:pt x="258" y="204"/>
                </a:lnTo>
                <a:lnTo>
                  <a:pt x="264" y="204"/>
                </a:lnTo>
                <a:lnTo>
                  <a:pt x="264" y="192"/>
                </a:lnTo>
                <a:lnTo>
                  <a:pt x="270" y="192"/>
                </a:lnTo>
                <a:lnTo>
                  <a:pt x="276" y="192"/>
                </a:lnTo>
                <a:lnTo>
                  <a:pt x="282" y="192"/>
                </a:lnTo>
                <a:lnTo>
                  <a:pt x="288" y="198"/>
                </a:lnTo>
                <a:lnTo>
                  <a:pt x="294" y="198"/>
                </a:lnTo>
                <a:lnTo>
                  <a:pt x="294" y="192"/>
                </a:lnTo>
                <a:lnTo>
                  <a:pt x="300" y="198"/>
                </a:lnTo>
                <a:lnTo>
                  <a:pt x="300" y="204"/>
                </a:lnTo>
                <a:lnTo>
                  <a:pt x="306" y="204"/>
                </a:lnTo>
                <a:lnTo>
                  <a:pt x="306" y="198"/>
                </a:lnTo>
                <a:lnTo>
                  <a:pt x="312" y="198"/>
                </a:lnTo>
                <a:lnTo>
                  <a:pt x="312" y="204"/>
                </a:lnTo>
                <a:lnTo>
                  <a:pt x="318" y="204"/>
                </a:lnTo>
                <a:lnTo>
                  <a:pt x="318" y="192"/>
                </a:lnTo>
                <a:lnTo>
                  <a:pt x="324" y="186"/>
                </a:lnTo>
                <a:lnTo>
                  <a:pt x="318" y="180"/>
                </a:lnTo>
                <a:lnTo>
                  <a:pt x="324" y="180"/>
                </a:lnTo>
                <a:lnTo>
                  <a:pt x="330" y="186"/>
                </a:lnTo>
                <a:lnTo>
                  <a:pt x="336" y="180"/>
                </a:lnTo>
                <a:lnTo>
                  <a:pt x="342" y="180"/>
                </a:lnTo>
                <a:lnTo>
                  <a:pt x="348" y="174"/>
                </a:lnTo>
                <a:lnTo>
                  <a:pt x="348" y="168"/>
                </a:lnTo>
                <a:lnTo>
                  <a:pt x="348" y="162"/>
                </a:lnTo>
                <a:lnTo>
                  <a:pt x="354" y="156"/>
                </a:lnTo>
                <a:lnTo>
                  <a:pt x="354" y="150"/>
                </a:lnTo>
                <a:lnTo>
                  <a:pt x="354" y="144"/>
                </a:lnTo>
                <a:lnTo>
                  <a:pt x="360" y="144"/>
                </a:lnTo>
                <a:lnTo>
                  <a:pt x="372" y="156"/>
                </a:lnTo>
                <a:lnTo>
                  <a:pt x="372" y="162"/>
                </a:lnTo>
                <a:lnTo>
                  <a:pt x="378" y="162"/>
                </a:lnTo>
                <a:lnTo>
                  <a:pt x="384" y="162"/>
                </a:lnTo>
                <a:lnTo>
                  <a:pt x="396" y="168"/>
                </a:lnTo>
                <a:lnTo>
                  <a:pt x="396" y="174"/>
                </a:lnTo>
                <a:lnTo>
                  <a:pt x="408" y="186"/>
                </a:lnTo>
                <a:lnTo>
                  <a:pt x="414" y="186"/>
                </a:lnTo>
                <a:lnTo>
                  <a:pt x="426" y="186"/>
                </a:lnTo>
                <a:lnTo>
                  <a:pt x="432" y="186"/>
                </a:lnTo>
                <a:lnTo>
                  <a:pt x="438" y="180"/>
                </a:lnTo>
                <a:lnTo>
                  <a:pt x="438" y="168"/>
                </a:lnTo>
                <a:lnTo>
                  <a:pt x="438" y="162"/>
                </a:lnTo>
                <a:lnTo>
                  <a:pt x="444" y="156"/>
                </a:lnTo>
                <a:lnTo>
                  <a:pt x="450" y="156"/>
                </a:lnTo>
                <a:lnTo>
                  <a:pt x="456" y="150"/>
                </a:lnTo>
                <a:lnTo>
                  <a:pt x="462" y="156"/>
                </a:lnTo>
                <a:lnTo>
                  <a:pt x="468" y="162"/>
                </a:lnTo>
                <a:lnTo>
                  <a:pt x="474" y="162"/>
                </a:lnTo>
                <a:lnTo>
                  <a:pt x="486" y="162"/>
                </a:lnTo>
                <a:lnTo>
                  <a:pt x="492" y="156"/>
                </a:lnTo>
                <a:lnTo>
                  <a:pt x="498" y="150"/>
                </a:lnTo>
                <a:lnTo>
                  <a:pt x="504" y="150"/>
                </a:lnTo>
                <a:lnTo>
                  <a:pt x="510" y="144"/>
                </a:lnTo>
                <a:lnTo>
                  <a:pt x="522" y="144"/>
                </a:lnTo>
                <a:lnTo>
                  <a:pt x="528" y="138"/>
                </a:lnTo>
                <a:lnTo>
                  <a:pt x="528" y="132"/>
                </a:lnTo>
                <a:lnTo>
                  <a:pt x="528" y="126"/>
                </a:lnTo>
                <a:lnTo>
                  <a:pt x="522" y="120"/>
                </a:lnTo>
                <a:lnTo>
                  <a:pt x="522" y="114"/>
                </a:lnTo>
                <a:lnTo>
                  <a:pt x="522" y="108"/>
                </a:lnTo>
                <a:lnTo>
                  <a:pt x="522" y="102"/>
                </a:lnTo>
                <a:lnTo>
                  <a:pt x="528" y="102"/>
                </a:lnTo>
                <a:lnTo>
                  <a:pt x="534" y="96"/>
                </a:lnTo>
                <a:lnTo>
                  <a:pt x="552" y="96"/>
                </a:lnTo>
                <a:lnTo>
                  <a:pt x="570" y="102"/>
                </a:lnTo>
                <a:lnTo>
                  <a:pt x="582" y="96"/>
                </a:lnTo>
                <a:lnTo>
                  <a:pt x="582" y="90"/>
                </a:lnTo>
                <a:lnTo>
                  <a:pt x="582" y="78"/>
                </a:lnTo>
                <a:lnTo>
                  <a:pt x="582" y="72"/>
                </a:lnTo>
                <a:lnTo>
                  <a:pt x="582" y="66"/>
                </a:lnTo>
                <a:lnTo>
                  <a:pt x="594" y="60"/>
                </a:lnTo>
                <a:lnTo>
                  <a:pt x="600" y="60"/>
                </a:lnTo>
                <a:lnTo>
                  <a:pt x="606" y="54"/>
                </a:lnTo>
                <a:lnTo>
                  <a:pt x="618" y="48"/>
                </a:lnTo>
                <a:lnTo>
                  <a:pt x="618" y="42"/>
                </a:lnTo>
                <a:lnTo>
                  <a:pt x="624" y="42"/>
                </a:lnTo>
                <a:lnTo>
                  <a:pt x="636" y="48"/>
                </a:lnTo>
                <a:lnTo>
                  <a:pt x="648" y="54"/>
                </a:lnTo>
                <a:lnTo>
                  <a:pt x="660" y="54"/>
                </a:lnTo>
                <a:lnTo>
                  <a:pt x="666" y="60"/>
                </a:lnTo>
                <a:lnTo>
                  <a:pt x="672" y="54"/>
                </a:lnTo>
                <a:lnTo>
                  <a:pt x="684" y="48"/>
                </a:lnTo>
                <a:lnTo>
                  <a:pt x="708" y="42"/>
                </a:lnTo>
                <a:lnTo>
                  <a:pt x="714" y="42"/>
                </a:lnTo>
                <a:lnTo>
                  <a:pt x="720" y="36"/>
                </a:lnTo>
                <a:lnTo>
                  <a:pt x="720" y="30"/>
                </a:lnTo>
                <a:lnTo>
                  <a:pt x="714" y="12"/>
                </a:lnTo>
                <a:lnTo>
                  <a:pt x="708" y="0"/>
                </a:lnTo>
                <a:lnTo>
                  <a:pt x="738" y="6"/>
                </a:lnTo>
                <a:lnTo>
                  <a:pt x="756" y="6"/>
                </a:lnTo>
                <a:lnTo>
                  <a:pt x="762" y="42"/>
                </a:lnTo>
                <a:lnTo>
                  <a:pt x="738" y="72"/>
                </a:lnTo>
                <a:lnTo>
                  <a:pt x="750" y="90"/>
                </a:lnTo>
                <a:lnTo>
                  <a:pt x="762" y="96"/>
                </a:lnTo>
                <a:lnTo>
                  <a:pt x="756" y="102"/>
                </a:lnTo>
                <a:lnTo>
                  <a:pt x="750" y="108"/>
                </a:lnTo>
                <a:lnTo>
                  <a:pt x="750" y="114"/>
                </a:lnTo>
                <a:lnTo>
                  <a:pt x="750" y="120"/>
                </a:lnTo>
                <a:lnTo>
                  <a:pt x="750" y="126"/>
                </a:lnTo>
                <a:lnTo>
                  <a:pt x="750" y="132"/>
                </a:lnTo>
                <a:lnTo>
                  <a:pt x="738" y="132"/>
                </a:lnTo>
                <a:lnTo>
                  <a:pt x="732" y="138"/>
                </a:lnTo>
                <a:lnTo>
                  <a:pt x="726" y="138"/>
                </a:lnTo>
                <a:lnTo>
                  <a:pt x="720" y="144"/>
                </a:lnTo>
                <a:lnTo>
                  <a:pt x="714" y="144"/>
                </a:lnTo>
                <a:lnTo>
                  <a:pt x="714" y="150"/>
                </a:lnTo>
                <a:lnTo>
                  <a:pt x="720" y="156"/>
                </a:lnTo>
                <a:lnTo>
                  <a:pt x="720" y="162"/>
                </a:lnTo>
                <a:lnTo>
                  <a:pt x="714" y="162"/>
                </a:lnTo>
                <a:lnTo>
                  <a:pt x="708" y="168"/>
                </a:lnTo>
                <a:lnTo>
                  <a:pt x="708" y="180"/>
                </a:lnTo>
                <a:lnTo>
                  <a:pt x="708" y="192"/>
                </a:lnTo>
                <a:lnTo>
                  <a:pt x="696" y="198"/>
                </a:lnTo>
                <a:lnTo>
                  <a:pt x="696" y="204"/>
                </a:lnTo>
                <a:lnTo>
                  <a:pt x="684" y="210"/>
                </a:lnTo>
                <a:lnTo>
                  <a:pt x="684" y="216"/>
                </a:lnTo>
                <a:lnTo>
                  <a:pt x="684" y="222"/>
                </a:lnTo>
                <a:lnTo>
                  <a:pt x="678" y="228"/>
                </a:lnTo>
                <a:lnTo>
                  <a:pt x="678" y="234"/>
                </a:lnTo>
                <a:lnTo>
                  <a:pt x="672" y="240"/>
                </a:lnTo>
                <a:lnTo>
                  <a:pt x="672" y="252"/>
                </a:lnTo>
                <a:lnTo>
                  <a:pt x="672" y="258"/>
                </a:lnTo>
                <a:lnTo>
                  <a:pt x="666" y="264"/>
                </a:lnTo>
                <a:lnTo>
                  <a:pt x="678" y="264"/>
                </a:lnTo>
                <a:lnTo>
                  <a:pt x="684" y="276"/>
                </a:lnTo>
                <a:lnTo>
                  <a:pt x="684" y="288"/>
                </a:lnTo>
                <a:lnTo>
                  <a:pt x="672" y="300"/>
                </a:lnTo>
                <a:lnTo>
                  <a:pt x="660" y="318"/>
                </a:lnTo>
                <a:lnTo>
                  <a:pt x="660" y="336"/>
                </a:lnTo>
                <a:lnTo>
                  <a:pt x="654" y="342"/>
                </a:lnTo>
                <a:lnTo>
                  <a:pt x="660" y="354"/>
                </a:lnTo>
                <a:lnTo>
                  <a:pt x="660" y="366"/>
                </a:lnTo>
                <a:lnTo>
                  <a:pt x="666" y="378"/>
                </a:lnTo>
                <a:lnTo>
                  <a:pt x="672" y="390"/>
                </a:lnTo>
                <a:lnTo>
                  <a:pt x="678" y="396"/>
                </a:lnTo>
                <a:lnTo>
                  <a:pt x="684" y="390"/>
                </a:lnTo>
                <a:lnTo>
                  <a:pt x="690" y="390"/>
                </a:lnTo>
                <a:lnTo>
                  <a:pt x="690" y="396"/>
                </a:lnTo>
                <a:lnTo>
                  <a:pt x="684" y="396"/>
                </a:lnTo>
                <a:lnTo>
                  <a:pt x="684" y="402"/>
                </a:lnTo>
                <a:lnTo>
                  <a:pt x="684" y="408"/>
                </a:lnTo>
                <a:lnTo>
                  <a:pt x="678" y="414"/>
                </a:lnTo>
                <a:lnTo>
                  <a:pt x="684" y="414"/>
                </a:lnTo>
                <a:lnTo>
                  <a:pt x="684" y="420"/>
                </a:lnTo>
                <a:lnTo>
                  <a:pt x="684" y="426"/>
                </a:lnTo>
                <a:lnTo>
                  <a:pt x="690" y="420"/>
                </a:lnTo>
                <a:lnTo>
                  <a:pt x="696" y="420"/>
                </a:lnTo>
                <a:lnTo>
                  <a:pt x="696" y="426"/>
                </a:lnTo>
                <a:lnTo>
                  <a:pt x="690" y="426"/>
                </a:lnTo>
                <a:lnTo>
                  <a:pt x="696" y="426"/>
                </a:lnTo>
                <a:lnTo>
                  <a:pt x="708" y="426"/>
                </a:lnTo>
                <a:lnTo>
                  <a:pt x="726" y="414"/>
                </a:lnTo>
                <a:lnTo>
                  <a:pt x="732" y="408"/>
                </a:lnTo>
                <a:lnTo>
                  <a:pt x="744" y="402"/>
                </a:lnTo>
                <a:lnTo>
                  <a:pt x="756" y="402"/>
                </a:lnTo>
                <a:lnTo>
                  <a:pt x="768" y="402"/>
                </a:lnTo>
                <a:lnTo>
                  <a:pt x="786" y="408"/>
                </a:lnTo>
                <a:lnTo>
                  <a:pt x="786" y="414"/>
                </a:lnTo>
                <a:lnTo>
                  <a:pt x="774" y="420"/>
                </a:lnTo>
                <a:lnTo>
                  <a:pt x="774" y="426"/>
                </a:lnTo>
                <a:lnTo>
                  <a:pt x="768" y="432"/>
                </a:lnTo>
                <a:lnTo>
                  <a:pt x="762" y="438"/>
                </a:lnTo>
                <a:lnTo>
                  <a:pt x="756" y="438"/>
                </a:lnTo>
                <a:lnTo>
                  <a:pt x="756" y="444"/>
                </a:lnTo>
                <a:lnTo>
                  <a:pt x="756" y="450"/>
                </a:lnTo>
                <a:lnTo>
                  <a:pt x="762" y="450"/>
                </a:lnTo>
                <a:lnTo>
                  <a:pt x="750" y="456"/>
                </a:lnTo>
                <a:lnTo>
                  <a:pt x="738" y="468"/>
                </a:lnTo>
                <a:lnTo>
                  <a:pt x="726" y="480"/>
                </a:lnTo>
                <a:lnTo>
                  <a:pt x="726" y="486"/>
                </a:lnTo>
                <a:lnTo>
                  <a:pt x="732" y="486"/>
                </a:lnTo>
                <a:lnTo>
                  <a:pt x="732" y="492"/>
                </a:lnTo>
                <a:lnTo>
                  <a:pt x="732" y="504"/>
                </a:lnTo>
                <a:lnTo>
                  <a:pt x="738" y="504"/>
                </a:lnTo>
                <a:lnTo>
                  <a:pt x="744" y="510"/>
                </a:lnTo>
                <a:lnTo>
                  <a:pt x="738" y="522"/>
                </a:lnTo>
                <a:lnTo>
                  <a:pt x="744" y="528"/>
                </a:lnTo>
                <a:lnTo>
                  <a:pt x="756" y="534"/>
                </a:lnTo>
                <a:lnTo>
                  <a:pt x="756" y="540"/>
                </a:lnTo>
                <a:lnTo>
                  <a:pt x="744" y="552"/>
                </a:lnTo>
                <a:lnTo>
                  <a:pt x="738" y="552"/>
                </a:lnTo>
                <a:lnTo>
                  <a:pt x="738" y="558"/>
                </a:lnTo>
                <a:lnTo>
                  <a:pt x="744" y="558"/>
                </a:lnTo>
                <a:lnTo>
                  <a:pt x="744" y="564"/>
                </a:lnTo>
                <a:lnTo>
                  <a:pt x="750" y="564"/>
                </a:lnTo>
                <a:lnTo>
                  <a:pt x="744" y="576"/>
                </a:lnTo>
                <a:lnTo>
                  <a:pt x="738" y="588"/>
                </a:lnTo>
                <a:lnTo>
                  <a:pt x="738" y="594"/>
                </a:lnTo>
                <a:lnTo>
                  <a:pt x="738" y="600"/>
                </a:lnTo>
                <a:lnTo>
                  <a:pt x="738" y="606"/>
                </a:lnTo>
                <a:lnTo>
                  <a:pt x="732" y="612"/>
                </a:lnTo>
                <a:lnTo>
                  <a:pt x="726" y="624"/>
                </a:lnTo>
                <a:lnTo>
                  <a:pt x="726" y="636"/>
                </a:lnTo>
                <a:lnTo>
                  <a:pt x="726" y="648"/>
                </a:lnTo>
                <a:lnTo>
                  <a:pt x="738" y="654"/>
                </a:lnTo>
                <a:lnTo>
                  <a:pt x="750" y="660"/>
                </a:lnTo>
                <a:lnTo>
                  <a:pt x="750" y="666"/>
                </a:lnTo>
                <a:lnTo>
                  <a:pt x="750" y="678"/>
                </a:lnTo>
                <a:lnTo>
                  <a:pt x="744" y="678"/>
                </a:lnTo>
                <a:lnTo>
                  <a:pt x="738" y="684"/>
                </a:lnTo>
                <a:lnTo>
                  <a:pt x="732" y="684"/>
                </a:lnTo>
                <a:lnTo>
                  <a:pt x="720" y="678"/>
                </a:lnTo>
                <a:lnTo>
                  <a:pt x="714" y="684"/>
                </a:lnTo>
                <a:lnTo>
                  <a:pt x="708" y="684"/>
                </a:lnTo>
                <a:lnTo>
                  <a:pt x="702" y="684"/>
                </a:lnTo>
                <a:lnTo>
                  <a:pt x="696" y="684"/>
                </a:lnTo>
                <a:lnTo>
                  <a:pt x="690" y="690"/>
                </a:lnTo>
                <a:lnTo>
                  <a:pt x="690" y="684"/>
                </a:lnTo>
                <a:lnTo>
                  <a:pt x="690" y="690"/>
                </a:lnTo>
                <a:lnTo>
                  <a:pt x="684" y="690"/>
                </a:lnTo>
                <a:lnTo>
                  <a:pt x="684" y="684"/>
                </a:lnTo>
                <a:lnTo>
                  <a:pt x="678" y="684"/>
                </a:lnTo>
                <a:lnTo>
                  <a:pt x="672" y="678"/>
                </a:lnTo>
                <a:lnTo>
                  <a:pt x="672" y="672"/>
                </a:lnTo>
                <a:lnTo>
                  <a:pt x="678" y="672"/>
                </a:lnTo>
                <a:lnTo>
                  <a:pt x="672" y="672"/>
                </a:lnTo>
                <a:lnTo>
                  <a:pt x="666" y="672"/>
                </a:lnTo>
                <a:lnTo>
                  <a:pt x="660" y="672"/>
                </a:lnTo>
                <a:lnTo>
                  <a:pt x="654" y="672"/>
                </a:lnTo>
                <a:lnTo>
                  <a:pt x="654" y="666"/>
                </a:lnTo>
                <a:lnTo>
                  <a:pt x="648" y="666"/>
                </a:lnTo>
                <a:lnTo>
                  <a:pt x="642" y="660"/>
                </a:lnTo>
                <a:lnTo>
                  <a:pt x="642" y="654"/>
                </a:lnTo>
                <a:lnTo>
                  <a:pt x="642" y="648"/>
                </a:lnTo>
                <a:lnTo>
                  <a:pt x="636" y="648"/>
                </a:lnTo>
                <a:lnTo>
                  <a:pt x="630" y="648"/>
                </a:lnTo>
                <a:lnTo>
                  <a:pt x="624" y="648"/>
                </a:lnTo>
                <a:lnTo>
                  <a:pt x="624" y="642"/>
                </a:lnTo>
                <a:lnTo>
                  <a:pt x="618" y="636"/>
                </a:lnTo>
                <a:lnTo>
                  <a:pt x="624" y="636"/>
                </a:lnTo>
                <a:lnTo>
                  <a:pt x="624" y="630"/>
                </a:lnTo>
                <a:lnTo>
                  <a:pt x="618" y="630"/>
                </a:lnTo>
                <a:lnTo>
                  <a:pt x="618" y="624"/>
                </a:lnTo>
                <a:lnTo>
                  <a:pt x="618" y="618"/>
                </a:lnTo>
                <a:lnTo>
                  <a:pt x="618" y="612"/>
                </a:lnTo>
                <a:lnTo>
                  <a:pt x="618" y="606"/>
                </a:lnTo>
                <a:lnTo>
                  <a:pt x="624" y="606"/>
                </a:lnTo>
                <a:lnTo>
                  <a:pt x="624" y="600"/>
                </a:lnTo>
                <a:lnTo>
                  <a:pt x="618" y="600"/>
                </a:lnTo>
                <a:lnTo>
                  <a:pt x="618" y="594"/>
                </a:lnTo>
                <a:lnTo>
                  <a:pt x="618" y="588"/>
                </a:lnTo>
                <a:lnTo>
                  <a:pt x="618" y="582"/>
                </a:lnTo>
                <a:lnTo>
                  <a:pt x="612" y="582"/>
                </a:lnTo>
                <a:lnTo>
                  <a:pt x="606" y="582"/>
                </a:lnTo>
                <a:lnTo>
                  <a:pt x="612" y="582"/>
                </a:lnTo>
                <a:lnTo>
                  <a:pt x="612" y="588"/>
                </a:lnTo>
                <a:lnTo>
                  <a:pt x="612" y="594"/>
                </a:lnTo>
                <a:lnTo>
                  <a:pt x="618" y="594"/>
                </a:lnTo>
                <a:lnTo>
                  <a:pt x="618" y="600"/>
                </a:lnTo>
                <a:lnTo>
                  <a:pt x="618" y="606"/>
                </a:lnTo>
                <a:lnTo>
                  <a:pt x="618" y="612"/>
                </a:lnTo>
                <a:lnTo>
                  <a:pt x="612" y="612"/>
                </a:lnTo>
                <a:lnTo>
                  <a:pt x="612" y="618"/>
                </a:lnTo>
                <a:lnTo>
                  <a:pt x="606" y="612"/>
                </a:lnTo>
                <a:lnTo>
                  <a:pt x="600" y="612"/>
                </a:lnTo>
                <a:lnTo>
                  <a:pt x="594" y="612"/>
                </a:lnTo>
                <a:lnTo>
                  <a:pt x="588" y="606"/>
                </a:lnTo>
                <a:lnTo>
                  <a:pt x="588" y="612"/>
                </a:lnTo>
                <a:lnTo>
                  <a:pt x="594" y="612"/>
                </a:lnTo>
                <a:lnTo>
                  <a:pt x="594" y="618"/>
                </a:lnTo>
                <a:lnTo>
                  <a:pt x="588" y="618"/>
                </a:lnTo>
                <a:lnTo>
                  <a:pt x="588" y="624"/>
                </a:lnTo>
                <a:lnTo>
                  <a:pt x="582" y="624"/>
                </a:lnTo>
                <a:lnTo>
                  <a:pt x="582" y="630"/>
                </a:lnTo>
                <a:lnTo>
                  <a:pt x="576" y="630"/>
                </a:lnTo>
                <a:lnTo>
                  <a:pt x="576" y="636"/>
                </a:lnTo>
                <a:lnTo>
                  <a:pt x="570" y="636"/>
                </a:lnTo>
                <a:lnTo>
                  <a:pt x="570" y="642"/>
                </a:lnTo>
                <a:lnTo>
                  <a:pt x="564" y="642"/>
                </a:lnTo>
                <a:lnTo>
                  <a:pt x="564" y="636"/>
                </a:lnTo>
                <a:lnTo>
                  <a:pt x="564" y="630"/>
                </a:lnTo>
                <a:lnTo>
                  <a:pt x="564" y="624"/>
                </a:lnTo>
                <a:lnTo>
                  <a:pt x="564" y="618"/>
                </a:lnTo>
                <a:lnTo>
                  <a:pt x="570" y="612"/>
                </a:lnTo>
                <a:lnTo>
                  <a:pt x="564" y="606"/>
                </a:lnTo>
                <a:lnTo>
                  <a:pt x="564" y="600"/>
                </a:lnTo>
                <a:lnTo>
                  <a:pt x="564" y="594"/>
                </a:lnTo>
                <a:lnTo>
                  <a:pt x="558" y="594"/>
                </a:lnTo>
                <a:lnTo>
                  <a:pt x="558" y="588"/>
                </a:lnTo>
                <a:lnTo>
                  <a:pt x="552" y="582"/>
                </a:lnTo>
                <a:lnTo>
                  <a:pt x="552" y="576"/>
                </a:lnTo>
                <a:lnTo>
                  <a:pt x="552" y="570"/>
                </a:lnTo>
                <a:lnTo>
                  <a:pt x="552" y="564"/>
                </a:lnTo>
                <a:lnTo>
                  <a:pt x="546" y="564"/>
                </a:lnTo>
                <a:lnTo>
                  <a:pt x="546" y="570"/>
                </a:lnTo>
                <a:lnTo>
                  <a:pt x="546" y="576"/>
                </a:lnTo>
                <a:lnTo>
                  <a:pt x="546" y="582"/>
                </a:lnTo>
                <a:lnTo>
                  <a:pt x="552" y="582"/>
                </a:lnTo>
                <a:lnTo>
                  <a:pt x="552" y="588"/>
                </a:lnTo>
                <a:lnTo>
                  <a:pt x="558" y="588"/>
                </a:lnTo>
                <a:lnTo>
                  <a:pt x="558" y="594"/>
                </a:lnTo>
                <a:lnTo>
                  <a:pt x="558" y="600"/>
                </a:lnTo>
                <a:lnTo>
                  <a:pt x="558" y="606"/>
                </a:lnTo>
                <a:lnTo>
                  <a:pt x="552" y="612"/>
                </a:lnTo>
                <a:lnTo>
                  <a:pt x="558" y="612"/>
                </a:lnTo>
                <a:lnTo>
                  <a:pt x="558" y="618"/>
                </a:lnTo>
                <a:lnTo>
                  <a:pt x="558" y="624"/>
                </a:lnTo>
                <a:lnTo>
                  <a:pt x="558" y="630"/>
                </a:lnTo>
                <a:lnTo>
                  <a:pt x="552" y="630"/>
                </a:lnTo>
                <a:lnTo>
                  <a:pt x="552" y="624"/>
                </a:lnTo>
                <a:lnTo>
                  <a:pt x="546" y="624"/>
                </a:lnTo>
                <a:lnTo>
                  <a:pt x="546" y="618"/>
                </a:lnTo>
                <a:lnTo>
                  <a:pt x="546" y="612"/>
                </a:lnTo>
                <a:lnTo>
                  <a:pt x="540" y="612"/>
                </a:lnTo>
                <a:lnTo>
                  <a:pt x="534" y="612"/>
                </a:lnTo>
                <a:lnTo>
                  <a:pt x="528" y="612"/>
                </a:lnTo>
                <a:lnTo>
                  <a:pt x="522" y="606"/>
                </a:lnTo>
                <a:lnTo>
                  <a:pt x="522" y="612"/>
                </a:lnTo>
                <a:lnTo>
                  <a:pt x="528" y="618"/>
                </a:lnTo>
                <a:lnTo>
                  <a:pt x="534" y="618"/>
                </a:lnTo>
                <a:lnTo>
                  <a:pt x="540" y="618"/>
                </a:lnTo>
                <a:lnTo>
                  <a:pt x="540" y="624"/>
                </a:lnTo>
                <a:lnTo>
                  <a:pt x="546" y="624"/>
                </a:lnTo>
                <a:lnTo>
                  <a:pt x="546" y="630"/>
                </a:lnTo>
                <a:lnTo>
                  <a:pt x="552" y="630"/>
                </a:lnTo>
                <a:lnTo>
                  <a:pt x="552" y="636"/>
                </a:lnTo>
                <a:lnTo>
                  <a:pt x="546" y="642"/>
                </a:lnTo>
                <a:lnTo>
                  <a:pt x="546" y="648"/>
                </a:lnTo>
                <a:lnTo>
                  <a:pt x="540" y="648"/>
                </a:lnTo>
                <a:lnTo>
                  <a:pt x="540" y="654"/>
                </a:lnTo>
                <a:lnTo>
                  <a:pt x="540" y="660"/>
                </a:lnTo>
                <a:lnTo>
                  <a:pt x="534" y="666"/>
                </a:lnTo>
                <a:lnTo>
                  <a:pt x="534" y="672"/>
                </a:lnTo>
                <a:lnTo>
                  <a:pt x="534" y="678"/>
                </a:lnTo>
                <a:lnTo>
                  <a:pt x="534" y="684"/>
                </a:lnTo>
                <a:lnTo>
                  <a:pt x="534" y="678"/>
                </a:lnTo>
                <a:lnTo>
                  <a:pt x="528" y="678"/>
                </a:lnTo>
                <a:lnTo>
                  <a:pt x="528" y="684"/>
                </a:lnTo>
                <a:lnTo>
                  <a:pt x="522" y="690"/>
                </a:lnTo>
                <a:lnTo>
                  <a:pt x="528" y="690"/>
                </a:lnTo>
                <a:lnTo>
                  <a:pt x="528" y="684"/>
                </a:lnTo>
                <a:lnTo>
                  <a:pt x="534" y="684"/>
                </a:lnTo>
                <a:lnTo>
                  <a:pt x="534" y="690"/>
                </a:lnTo>
                <a:lnTo>
                  <a:pt x="534" y="696"/>
                </a:lnTo>
                <a:lnTo>
                  <a:pt x="540" y="696"/>
                </a:lnTo>
                <a:lnTo>
                  <a:pt x="540" y="702"/>
                </a:lnTo>
                <a:lnTo>
                  <a:pt x="540" y="708"/>
                </a:lnTo>
                <a:lnTo>
                  <a:pt x="534" y="708"/>
                </a:lnTo>
                <a:lnTo>
                  <a:pt x="528" y="708"/>
                </a:lnTo>
                <a:lnTo>
                  <a:pt x="522" y="708"/>
                </a:lnTo>
                <a:lnTo>
                  <a:pt x="516" y="708"/>
                </a:lnTo>
                <a:lnTo>
                  <a:pt x="510" y="708"/>
                </a:lnTo>
                <a:lnTo>
                  <a:pt x="504" y="708"/>
                </a:lnTo>
                <a:lnTo>
                  <a:pt x="498" y="708"/>
                </a:lnTo>
                <a:lnTo>
                  <a:pt x="492" y="708"/>
                </a:lnTo>
                <a:lnTo>
                  <a:pt x="486" y="714"/>
                </a:lnTo>
                <a:lnTo>
                  <a:pt x="480" y="708"/>
                </a:lnTo>
                <a:lnTo>
                  <a:pt x="474" y="708"/>
                </a:lnTo>
                <a:lnTo>
                  <a:pt x="480" y="708"/>
                </a:lnTo>
                <a:lnTo>
                  <a:pt x="480" y="714"/>
                </a:lnTo>
                <a:lnTo>
                  <a:pt x="474" y="714"/>
                </a:lnTo>
                <a:lnTo>
                  <a:pt x="468" y="714"/>
                </a:lnTo>
                <a:lnTo>
                  <a:pt x="456" y="714"/>
                </a:lnTo>
                <a:lnTo>
                  <a:pt x="450" y="714"/>
                </a:lnTo>
                <a:lnTo>
                  <a:pt x="450" y="708"/>
                </a:lnTo>
                <a:lnTo>
                  <a:pt x="450" y="702"/>
                </a:lnTo>
                <a:lnTo>
                  <a:pt x="450" y="696"/>
                </a:lnTo>
                <a:lnTo>
                  <a:pt x="450" y="690"/>
                </a:lnTo>
                <a:lnTo>
                  <a:pt x="450" y="684"/>
                </a:lnTo>
                <a:lnTo>
                  <a:pt x="450" y="678"/>
                </a:lnTo>
                <a:lnTo>
                  <a:pt x="450" y="672"/>
                </a:lnTo>
                <a:lnTo>
                  <a:pt x="450" y="666"/>
                </a:lnTo>
                <a:lnTo>
                  <a:pt x="456" y="660"/>
                </a:lnTo>
                <a:lnTo>
                  <a:pt x="462" y="660"/>
                </a:lnTo>
                <a:lnTo>
                  <a:pt x="462" y="654"/>
                </a:lnTo>
                <a:lnTo>
                  <a:pt x="456" y="654"/>
                </a:lnTo>
                <a:lnTo>
                  <a:pt x="456" y="660"/>
                </a:lnTo>
                <a:lnTo>
                  <a:pt x="450" y="654"/>
                </a:lnTo>
                <a:lnTo>
                  <a:pt x="450" y="648"/>
                </a:lnTo>
                <a:lnTo>
                  <a:pt x="444" y="648"/>
                </a:lnTo>
                <a:lnTo>
                  <a:pt x="444" y="642"/>
                </a:lnTo>
                <a:lnTo>
                  <a:pt x="444" y="636"/>
                </a:lnTo>
                <a:lnTo>
                  <a:pt x="450" y="636"/>
                </a:lnTo>
                <a:lnTo>
                  <a:pt x="450" y="630"/>
                </a:lnTo>
                <a:lnTo>
                  <a:pt x="456" y="630"/>
                </a:lnTo>
                <a:lnTo>
                  <a:pt x="462" y="630"/>
                </a:lnTo>
                <a:lnTo>
                  <a:pt x="462" y="624"/>
                </a:lnTo>
                <a:lnTo>
                  <a:pt x="468" y="624"/>
                </a:lnTo>
                <a:lnTo>
                  <a:pt x="474" y="624"/>
                </a:lnTo>
                <a:lnTo>
                  <a:pt x="474" y="618"/>
                </a:lnTo>
                <a:lnTo>
                  <a:pt x="480" y="618"/>
                </a:lnTo>
                <a:lnTo>
                  <a:pt x="486" y="618"/>
                </a:lnTo>
                <a:lnTo>
                  <a:pt x="486" y="624"/>
                </a:lnTo>
                <a:lnTo>
                  <a:pt x="486" y="636"/>
                </a:lnTo>
                <a:lnTo>
                  <a:pt x="486" y="642"/>
                </a:lnTo>
                <a:lnTo>
                  <a:pt x="486" y="648"/>
                </a:lnTo>
                <a:lnTo>
                  <a:pt x="492" y="648"/>
                </a:lnTo>
                <a:lnTo>
                  <a:pt x="492" y="642"/>
                </a:lnTo>
                <a:lnTo>
                  <a:pt x="498" y="636"/>
                </a:lnTo>
                <a:lnTo>
                  <a:pt x="492" y="636"/>
                </a:lnTo>
                <a:lnTo>
                  <a:pt x="492" y="630"/>
                </a:lnTo>
                <a:lnTo>
                  <a:pt x="492" y="624"/>
                </a:lnTo>
                <a:lnTo>
                  <a:pt x="486" y="624"/>
                </a:lnTo>
                <a:lnTo>
                  <a:pt x="486" y="618"/>
                </a:lnTo>
                <a:lnTo>
                  <a:pt x="486" y="612"/>
                </a:lnTo>
                <a:lnTo>
                  <a:pt x="486" y="606"/>
                </a:lnTo>
                <a:lnTo>
                  <a:pt x="480" y="606"/>
                </a:lnTo>
                <a:lnTo>
                  <a:pt x="480" y="612"/>
                </a:lnTo>
                <a:lnTo>
                  <a:pt x="474" y="618"/>
                </a:lnTo>
                <a:lnTo>
                  <a:pt x="468" y="618"/>
                </a:lnTo>
                <a:lnTo>
                  <a:pt x="462" y="618"/>
                </a:lnTo>
                <a:lnTo>
                  <a:pt x="462" y="612"/>
                </a:lnTo>
                <a:lnTo>
                  <a:pt x="456" y="612"/>
                </a:lnTo>
                <a:lnTo>
                  <a:pt x="456" y="618"/>
                </a:lnTo>
                <a:lnTo>
                  <a:pt x="462" y="618"/>
                </a:lnTo>
                <a:lnTo>
                  <a:pt x="462" y="624"/>
                </a:lnTo>
                <a:lnTo>
                  <a:pt x="456" y="624"/>
                </a:lnTo>
                <a:lnTo>
                  <a:pt x="450" y="630"/>
                </a:lnTo>
                <a:lnTo>
                  <a:pt x="444" y="630"/>
                </a:lnTo>
                <a:lnTo>
                  <a:pt x="444" y="636"/>
                </a:lnTo>
                <a:lnTo>
                  <a:pt x="444" y="642"/>
                </a:lnTo>
                <a:lnTo>
                  <a:pt x="444" y="654"/>
                </a:lnTo>
                <a:lnTo>
                  <a:pt x="444" y="660"/>
                </a:lnTo>
                <a:lnTo>
                  <a:pt x="438" y="660"/>
                </a:lnTo>
                <a:lnTo>
                  <a:pt x="432" y="660"/>
                </a:lnTo>
                <a:lnTo>
                  <a:pt x="432" y="654"/>
                </a:lnTo>
                <a:lnTo>
                  <a:pt x="438" y="654"/>
                </a:lnTo>
                <a:lnTo>
                  <a:pt x="438" y="648"/>
                </a:lnTo>
                <a:lnTo>
                  <a:pt x="432" y="642"/>
                </a:lnTo>
                <a:lnTo>
                  <a:pt x="432" y="636"/>
                </a:lnTo>
                <a:lnTo>
                  <a:pt x="432" y="630"/>
                </a:lnTo>
                <a:lnTo>
                  <a:pt x="432" y="636"/>
                </a:lnTo>
                <a:lnTo>
                  <a:pt x="432" y="642"/>
                </a:lnTo>
                <a:lnTo>
                  <a:pt x="432" y="648"/>
                </a:lnTo>
                <a:lnTo>
                  <a:pt x="432" y="654"/>
                </a:lnTo>
                <a:lnTo>
                  <a:pt x="432" y="648"/>
                </a:lnTo>
                <a:lnTo>
                  <a:pt x="426" y="648"/>
                </a:lnTo>
                <a:lnTo>
                  <a:pt x="426" y="654"/>
                </a:lnTo>
                <a:lnTo>
                  <a:pt x="426" y="660"/>
                </a:lnTo>
                <a:lnTo>
                  <a:pt x="432" y="666"/>
                </a:lnTo>
                <a:lnTo>
                  <a:pt x="432" y="672"/>
                </a:lnTo>
                <a:lnTo>
                  <a:pt x="438" y="672"/>
                </a:lnTo>
                <a:lnTo>
                  <a:pt x="438" y="678"/>
                </a:lnTo>
                <a:lnTo>
                  <a:pt x="444" y="678"/>
                </a:lnTo>
                <a:lnTo>
                  <a:pt x="444" y="684"/>
                </a:lnTo>
                <a:lnTo>
                  <a:pt x="438" y="690"/>
                </a:lnTo>
                <a:lnTo>
                  <a:pt x="438" y="696"/>
                </a:lnTo>
                <a:lnTo>
                  <a:pt x="438" y="702"/>
                </a:lnTo>
                <a:lnTo>
                  <a:pt x="432" y="702"/>
                </a:lnTo>
                <a:lnTo>
                  <a:pt x="426" y="702"/>
                </a:lnTo>
                <a:lnTo>
                  <a:pt x="426" y="696"/>
                </a:lnTo>
                <a:lnTo>
                  <a:pt x="414" y="696"/>
                </a:lnTo>
                <a:lnTo>
                  <a:pt x="402" y="696"/>
                </a:lnTo>
                <a:lnTo>
                  <a:pt x="402" y="690"/>
                </a:lnTo>
                <a:lnTo>
                  <a:pt x="396" y="690"/>
                </a:lnTo>
                <a:lnTo>
                  <a:pt x="390" y="690"/>
                </a:lnTo>
                <a:lnTo>
                  <a:pt x="384" y="690"/>
                </a:lnTo>
                <a:lnTo>
                  <a:pt x="384" y="684"/>
                </a:lnTo>
                <a:lnTo>
                  <a:pt x="384" y="678"/>
                </a:lnTo>
                <a:lnTo>
                  <a:pt x="384" y="672"/>
                </a:lnTo>
                <a:lnTo>
                  <a:pt x="390" y="666"/>
                </a:lnTo>
                <a:lnTo>
                  <a:pt x="390" y="660"/>
                </a:lnTo>
                <a:lnTo>
                  <a:pt x="390" y="654"/>
                </a:lnTo>
                <a:lnTo>
                  <a:pt x="384" y="648"/>
                </a:lnTo>
                <a:lnTo>
                  <a:pt x="384" y="642"/>
                </a:lnTo>
                <a:lnTo>
                  <a:pt x="378" y="636"/>
                </a:lnTo>
                <a:lnTo>
                  <a:pt x="378" y="642"/>
                </a:lnTo>
                <a:lnTo>
                  <a:pt x="378" y="648"/>
                </a:lnTo>
                <a:lnTo>
                  <a:pt x="372" y="648"/>
                </a:lnTo>
                <a:lnTo>
                  <a:pt x="378" y="654"/>
                </a:lnTo>
                <a:lnTo>
                  <a:pt x="378" y="660"/>
                </a:lnTo>
                <a:lnTo>
                  <a:pt x="378" y="666"/>
                </a:lnTo>
                <a:lnTo>
                  <a:pt x="372" y="672"/>
                </a:lnTo>
                <a:lnTo>
                  <a:pt x="378" y="672"/>
                </a:lnTo>
                <a:lnTo>
                  <a:pt x="378" y="678"/>
                </a:lnTo>
                <a:lnTo>
                  <a:pt x="372" y="678"/>
                </a:lnTo>
                <a:lnTo>
                  <a:pt x="372" y="672"/>
                </a:lnTo>
                <a:lnTo>
                  <a:pt x="366" y="672"/>
                </a:lnTo>
                <a:lnTo>
                  <a:pt x="354" y="666"/>
                </a:lnTo>
                <a:lnTo>
                  <a:pt x="354" y="660"/>
                </a:lnTo>
                <a:lnTo>
                  <a:pt x="342" y="654"/>
                </a:lnTo>
                <a:lnTo>
                  <a:pt x="336" y="654"/>
                </a:lnTo>
                <a:lnTo>
                  <a:pt x="330" y="654"/>
                </a:lnTo>
                <a:lnTo>
                  <a:pt x="324" y="648"/>
                </a:lnTo>
                <a:lnTo>
                  <a:pt x="318" y="648"/>
                </a:lnTo>
                <a:lnTo>
                  <a:pt x="318" y="642"/>
                </a:lnTo>
                <a:lnTo>
                  <a:pt x="312" y="642"/>
                </a:lnTo>
                <a:lnTo>
                  <a:pt x="306" y="636"/>
                </a:lnTo>
                <a:lnTo>
                  <a:pt x="300" y="636"/>
                </a:lnTo>
                <a:lnTo>
                  <a:pt x="300" y="630"/>
                </a:lnTo>
                <a:lnTo>
                  <a:pt x="300" y="624"/>
                </a:lnTo>
                <a:lnTo>
                  <a:pt x="306" y="624"/>
                </a:lnTo>
                <a:lnTo>
                  <a:pt x="300" y="624"/>
                </a:lnTo>
                <a:lnTo>
                  <a:pt x="300" y="618"/>
                </a:lnTo>
                <a:lnTo>
                  <a:pt x="306" y="612"/>
                </a:lnTo>
                <a:lnTo>
                  <a:pt x="300" y="612"/>
                </a:lnTo>
                <a:lnTo>
                  <a:pt x="300" y="606"/>
                </a:lnTo>
                <a:lnTo>
                  <a:pt x="300" y="612"/>
                </a:lnTo>
                <a:lnTo>
                  <a:pt x="294" y="612"/>
                </a:lnTo>
                <a:lnTo>
                  <a:pt x="288" y="618"/>
                </a:lnTo>
                <a:lnTo>
                  <a:pt x="288" y="612"/>
                </a:lnTo>
                <a:lnTo>
                  <a:pt x="288" y="618"/>
                </a:lnTo>
                <a:lnTo>
                  <a:pt x="294" y="618"/>
                </a:lnTo>
                <a:lnTo>
                  <a:pt x="300" y="624"/>
                </a:lnTo>
                <a:lnTo>
                  <a:pt x="294" y="624"/>
                </a:lnTo>
                <a:lnTo>
                  <a:pt x="288" y="624"/>
                </a:lnTo>
                <a:lnTo>
                  <a:pt x="282" y="618"/>
                </a:lnTo>
                <a:lnTo>
                  <a:pt x="282" y="612"/>
                </a:lnTo>
                <a:lnTo>
                  <a:pt x="276" y="612"/>
                </a:lnTo>
                <a:lnTo>
                  <a:pt x="264" y="606"/>
                </a:lnTo>
                <a:lnTo>
                  <a:pt x="264" y="600"/>
                </a:lnTo>
                <a:lnTo>
                  <a:pt x="270" y="600"/>
                </a:lnTo>
                <a:lnTo>
                  <a:pt x="270" y="594"/>
                </a:lnTo>
                <a:lnTo>
                  <a:pt x="276" y="594"/>
                </a:lnTo>
                <a:lnTo>
                  <a:pt x="282" y="594"/>
                </a:lnTo>
                <a:lnTo>
                  <a:pt x="276" y="594"/>
                </a:lnTo>
                <a:lnTo>
                  <a:pt x="282" y="594"/>
                </a:lnTo>
                <a:lnTo>
                  <a:pt x="282" y="588"/>
                </a:lnTo>
                <a:lnTo>
                  <a:pt x="276" y="588"/>
                </a:lnTo>
                <a:lnTo>
                  <a:pt x="276" y="594"/>
                </a:lnTo>
                <a:lnTo>
                  <a:pt x="270" y="594"/>
                </a:lnTo>
                <a:lnTo>
                  <a:pt x="264" y="600"/>
                </a:lnTo>
                <a:lnTo>
                  <a:pt x="264" y="594"/>
                </a:lnTo>
                <a:lnTo>
                  <a:pt x="270" y="594"/>
                </a:lnTo>
                <a:lnTo>
                  <a:pt x="270" y="588"/>
                </a:lnTo>
                <a:lnTo>
                  <a:pt x="264" y="594"/>
                </a:lnTo>
                <a:lnTo>
                  <a:pt x="258" y="594"/>
                </a:lnTo>
                <a:lnTo>
                  <a:pt x="258" y="588"/>
                </a:lnTo>
                <a:lnTo>
                  <a:pt x="252" y="588"/>
                </a:lnTo>
                <a:lnTo>
                  <a:pt x="246" y="588"/>
                </a:lnTo>
                <a:lnTo>
                  <a:pt x="246" y="582"/>
                </a:lnTo>
                <a:lnTo>
                  <a:pt x="240" y="582"/>
                </a:lnTo>
                <a:lnTo>
                  <a:pt x="240" y="588"/>
                </a:lnTo>
                <a:lnTo>
                  <a:pt x="246" y="588"/>
                </a:lnTo>
                <a:lnTo>
                  <a:pt x="252" y="588"/>
                </a:lnTo>
                <a:lnTo>
                  <a:pt x="252" y="594"/>
                </a:lnTo>
                <a:lnTo>
                  <a:pt x="258" y="594"/>
                </a:lnTo>
                <a:lnTo>
                  <a:pt x="252" y="594"/>
                </a:lnTo>
                <a:lnTo>
                  <a:pt x="246" y="594"/>
                </a:lnTo>
                <a:lnTo>
                  <a:pt x="246" y="588"/>
                </a:lnTo>
                <a:lnTo>
                  <a:pt x="240" y="588"/>
                </a:lnTo>
                <a:lnTo>
                  <a:pt x="234" y="582"/>
                </a:lnTo>
                <a:lnTo>
                  <a:pt x="228" y="576"/>
                </a:lnTo>
                <a:lnTo>
                  <a:pt x="222" y="570"/>
                </a:lnTo>
                <a:lnTo>
                  <a:pt x="222" y="564"/>
                </a:lnTo>
                <a:lnTo>
                  <a:pt x="222" y="570"/>
                </a:lnTo>
                <a:lnTo>
                  <a:pt x="228" y="570"/>
                </a:lnTo>
                <a:lnTo>
                  <a:pt x="222" y="570"/>
                </a:lnTo>
                <a:lnTo>
                  <a:pt x="222" y="564"/>
                </a:lnTo>
                <a:lnTo>
                  <a:pt x="228" y="564"/>
                </a:lnTo>
                <a:lnTo>
                  <a:pt x="234" y="564"/>
                </a:lnTo>
                <a:lnTo>
                  <a:pt x="234" y="558"/>
                </a:lnTo>
                <a:lnTo>
                  <a:pt x="240" y="558"/>
                </a:lnTo>
                <a:lnTo>
                  <a:pt x="234" y="558"/>
                </a:lnTo>
                <a:lnTo>
                  <a:pt x="228" y="558"/>
                </a:lnTo>
                <a:lnTo>
                  <a:pt x="222" y="558"/>
                </a:lnTo>
                <a:lnTo>
                  <a:pt x="228" y="558"/>
                </a:lnTo>
                <a:lnTo>
                  <a:pt x="228" y="564"/>
                </a:lnTo>
                <a:lnTo>
                  <a:pt x="222" y="564"/>
                </a:lnTo>
                <a:lnTo>
                  <a:pt x="222" y="558"/>
                </a:lnTo>
                <a:lnTo>
                  <a:pt x="216" y="558"/>
                </a:lnTo>
                <a:lnTo>
                  <a:pt x="210" y="558"/>
                </a:lnTo>
                <a:lnTo>
                  <a:pt x="210" y="552"/>
                </a:lnTo>
                <a:lnTo>
                  <a:pt x="204" y="546"/>
                </a:lnTo>
                <a:lnTo>
                  <a:pt x="204" y="540"/>
                </a:lnTo>
                <a:lnTo>
                  <a:pt x="210" y="540"/>
                </a:lnTo>
                <a:lnTo>
                  <a:pt x="210" y="546"/>
                </a:lnTo>
                <a:lnTo>
                  <a:pt x="210" y="540"/>
                </a:lnTo>
                <a:lnTo>
                  <a:pt x="210" y="534"/>
                </a:lnTo>
                <a:lnTo>
                  <a:pt x="210" y="528"/>
                </a:lnTo>
                <a:lnTo>
                  <a:pt x="204" y="528"/>
                </a:lnTo>
                <a:lnTo>
                  <a:pt x="210" y="534"/>
                </a:lnTo>
                <a:lnTo>
                  <a:pt x="210" y="540"/>
                </a:lnTo>
                <a:lnTo>
                  <a:pt x="204" y="540"/>
                </a:lnTo>
                <a:lnTo>
                  <a:pt x="198" y="540"/>
                </a:lnTo>
                <a:lnTo>
                  <a:pt x="192" y="540"/>
                </a:lnTo>
                <a:lnTo>
                  <a:pt x="186" y="540"/>
                </a:lnTo>
                <a:lnTo>
                  <a:pt x="186" y="534"/>
                </a:lnTo>
                <a:lnTo>
                  <a:pt x="186" y="528"/>
                </a:lnTo>
                <a:lnTo>
                  <a:pt x="180" y="528"/>
                </a:lnTo>
                <a:lnTo>
                  <a:pt x="174" y="516"/>
                </a:lnTo>
                <a:lnTo>
                  <a:pt x="168" y="510"/>
                </a:lnTo>
                <a:lnTo>
                  <a:pt x="162" y="504"/>
                </a:lnTo>
                <a:lnTo>
                  <a:pt x="156" y="498"/>
                </a:lnTo>
                <a:lnTo>
                  <a:pt x="156" y="492"/>
                </a:lnTo>
                <a:lnTo>
                  <a:pt x="150" y="486"/>
                </a:lnTo>
                <a:lnTo>
                  <a:pt x="144" y="480"/>
                </a:lnTo>
                <a:lnTo>
                  <a:pt x="144" y="474"/>
                </a:lnTo>
                <a:lnTo>
                  <a:pt x="138" y="474"/>
                </a:lnTo>
                <a:lnTo>
                  <a:pt x="138" y="468"/>
                </a:lnTo>
                <a:lnTo>
                  <a:pt x="132" y="462"/>
                </a:lnTo>
                <a:lnTo>
                  <a:pt x="132" y="456"/>
                </a:lnTo>
                <a:lnTo>
                  <a:pt x="126" y="450"/>
                </a:lnTo>
                <a:lnTo>
                  <a:pt x="126" y="444"/>
                </a:lnTo>
                <a:lnTo>
                  <a:pt x="114" y="438"/>
                </a:lnTo>
                <a:lnTo>
                  <a:pt x="114" y="432"/>
                </a:lnTo>
                <a:lnTo>
                  <a:pt x="114" y="426"/>
                </a:lnTo>
                <a:lnTo>
                  <a:pt x="114" y="432"/>
                </a:lnTo>
                <a:lnTo>
                  <a:pt x="120" y="432"/>
                </a:lnTo>
                <a:lnTo>
                  <a:pt x="120" y="438"/>
                </a:lnTo>
                <a:lnTo>
                  <a:pt x="120" y="444"/>
                </a:lnTo>
                <a:lnTo>
                  <a:pt x="126" y="444"/>
                </a:lnTo>
                <a:lnTo>
                  <a:pt x="126" y="438"/>
                </a:lnTo>
                <a:lnTo>
                  <a:pt x="120" y="438"/>
                </a:lnTo>
                <a:lnTo>
                  <a:pt x="126" y="432"/>
                </a:lnTo>
                <a:lnTo>
                  <a:pt x="126" y="426"/>
                </a:lnTo>
                <a:lnTo>
                  <a:pt x="132" y="420"/>
                </a:lnTo>
                <a:lnTo>
                  <a:pt x="126" y="426"/>
                </a:lnTo>
                <a:lnTo>
                  <a:pt x="120" y="420"/>
                </a:lnTo>
                <a:lnTo>
                  <a:pt x="114" y="420"/>
                </a:lnTo>
                <a:lnTo>
                  <a:pt x="114" y="414"/>
                </a:lnTo>
                <a:lnTo>
                  <a:pt x="108" y="414"/>
                </a:lnTo>
                <a:lnTo>
                  <a:pt x="102" y="414"/>
                </a:lnTo>
                <a:lnTo>
                  <a:pt x="102" y="408"/>
                </a:lnTo>
                <a:lnTo>
                  <a:pt x="96" y="402"/>
                </a:lnTo>
                <a:lnTo>
                  <a:pt x="96" y="396"/>
                </a:lnTo>
                <a:lnTo>
                  <a:pt x="96" y="390"/>
                </a:lnTo>
                <a:lnTo>
                  <a:pt x="90" y="390"/>
                </a:lnTo>
                <a:lnTo>
                  <a:pt x="90" y="384"/>
                </a:lnTo>
                <a:lnTo>
                  <a:pt x="84" y="378"/>
                </a:lnTo>
                <a:lnTo>
                  <a:pt x="84" y="372"/>
                </a:lnTo>
                <a:lnTo>
                  <a:pt x="78" y="372"/>
                </a:lnTo>
                <a:lnTo>
                  <a:pt x="78" y="366"/>
                </a:lnTo>
                <a:lnTo>
                  <a:pt x="78" y="360"/>
                </a:lnTo>
                <a:lnTo>
                  <a:pt x="72" y="354"/>
                </a:lnTo>
                <a:lnTo>
                  <a:pt x="66" y="354"/>
                </a:lnTo>
                <a:lnTo>
                  <a:pt x="66" y="348"/>
                </a:lnTo>
                <a:lnTo>
                  <a:pt x="66" y="342"/>
                </a:lnTo>
                <a:lnTo>
                  <a:pt x="60" y="342"/>
                </a:lnTo>
                <a:lnTo>
                  <a:pt x="60" y="336"/>
                </a:lnTo>
                <a:lnTo>
                  <a:pt x="60" y="330"/>
                </a:lnTo>
                <a:lnTo>
                  <a:pt x="54" y="330"/>
                </a:lnTo>
                <a:lnTo>
                  <a:pt x="60" y="324"/>
                </a:lnTo>
                <a:lnTo>
                  <a:pt x="60" y="330"/>
                </a:lnTo>
                <a:lnTo>
                  <a:pt x="66" y="336"/>
                </a:lnTo>
                <a:lnTo>
                  <a:pt x="66" y="342"/>
                </a:lnTo>
                <a:lnTo>
                  <a:pt x="72" y="348"/>
                </a:lnTo>
                <a:lnTo>
                  <a:pt x="78" y="354"/>
                </a:lnTo>
                <a:lnTo>
                  <a:pt x="84" y="360"/>
                </a:lnTo>
                <a:lnTo>
                  <a:pt x="90" y="366"/>
                </a:lnTo>
                <a:lnTo>
                  <a:pt x="96" y="366"/>
                </a:lnTo>
                <a:lnTo>
                  <a:pt x="90" y="360"/>
                </a:lnTo>
                <a:lnTo>
                  <a:pt x="84" y="360"/>
                </a:lnTo>
                <a:lnTo>
                  <a:pt x="84" y="354"/>
                </a:lnTo>
                <a:lnTo>
                  <a:pt x="78" y="348"/>
                </a:lnTo>
                <a:lnTo>
                  <a:pt x="78" y="342"/>
                </a:lnTo>
                <a:lnTo>
                  <a:pt x="72" y="342"/>
                </a:lnTo>
                <a:lnTo>
                  <a:pt x="72" y="336"/>
                </a:lnTo>
                <a:lnTo>
                  <a:pt x="66" y="330"/>
                </a:lnTo>
                <a:lnTo>
                  <a:pt x="66" y="324"/>
                </a:lnTo>
                <a:lnTo>
                  <a:pt x="60" y="318"/>
                </a:lnTo>
                <a:lnTo>
                  <a:pt x="60" y="312"/>
                </a:lnTo>
                <a:lnTo>
                  <a:pt x="54" y="306"/>
                </a:lnTo>
                <a:lnTo>
                  <a:pt x="54" y="300"/>
                </a:lnTo>
                <a:lnTo>
                  <a:pt x="54" y="294"/>
                </a:lnTo>
                <a:lnTo>
                  <a:pt x="48" y="288"/>
                </a:lnTo>
                <a:lnTo>
                  <a:pt x="48" y="294"/>
                </a:lnTo>
                <a:lnTo>
                  <a:pt x="48" y="288"/>
                </a:lnTo>
                <a:lnTo>
                  <a:pt x="48" y="282"/>
                </a:lnTo>
                <a:lnTo>
                  <a:pt x="48" y="276"/>
                </a:lnTo>
                <a:lnTo>
                  <a:pt x="42" y="276"/>
                </a:lnTo>
                <a:lnTo>
                  <a:pt x="42" y="270"/>
                </a:lnTo>
                <a:lnTo>
                  <a:pt x="42" y="264"/>
                </a:lnTo>
                <a:lnTo>
                  <a:pt x="36" y="258"/>
                </a:lnTo>
                <a:lnTo>
                  <a:pt x="36" y="252"/>
                </a:lnTo>
                <a:lnTo>
                  <a:pt x="36" y="246"/>
                </a:lnTo>
                <a:lnTo>
                  <a:pt x="30" y="240"/>
                </a:lnTo>
                <a:lnTo>
                  <a:pt x="36" y="240"/>
                </a:lnTo>
                <a:lnTo>
                  <a:pt x="30" y="240"/>
                </a:lnTo>
                <a:lnTo>
                  <a:pt x="30" y="234"/>
                </a:lnTo>
                <a:lnTo>
                  <a:pt x="30" y="228"/>
                </a:lnTo>
                <a:lnTo>
                  <a:pt x="24" y="228"/>
                </a:lnTo>
                <a:lnTo>
                  <a:pt x="24" y="222"/>
                </a:lnTo>
                <a:lnTo>
                  <a:pt x="24" y="216"/>
                </a:lnTo>
                <a:lnTo>
                  <a:pt x="18" y="216"/>
                </a:lnTo>
                <a:lnTo>
                  <a:pt x="18" y="210"/>
                </a:lnTo>
                <a:lnTo>
                  <a:pt x="18" y="204"/>
                </a:lnTo>
                <a:lnTo>
                  <a:pt x="12" y="198"/>
                </a:lnTo>
                <a:lnTo>
                  <a:pt x="12" y="192"/>
                </a:lnTo>
                <a:lnTo>
                  <a:pt x="6" y="192"/>
                </a:lnTo>
                <a:lnTo>
                  <a:pt x="6" y="186"/>
                </a:lnTo>
                <a:lnTo>
                  <a:pt x="6" y="180"/>
                </a:lnTo>
                <a:lnTo>
                  <a:pt x="0" y="180"/>
                </a:lnTo>
                <a:lnTo>
                  <a:pt x="0" y="174"/>
                </a:lnTo>
                <a:lnTo>
                  <a:pt x="0" y="168"/>
                </a:lnTo>
                <a:lnTo>
                  <a:pt x="6" y="168"/>
                </a:lnTo>
                <a:lnTo>
                  <a:pt x="12" y="162"/>
                </a:lnTo>
                <a:lnTo>
                  <a:pt x="12" y="168"/>
                </a:lnTo>
                <a:lnTo>
                  <a:pt x="18" y="168"/>
                </a:lnTo>
                <a:lnTo>
                  <a:pt x="24" y="168"/>
                </a:lnTo>
                <a:lnTo>
                  <a:pt x="24" y="162"/>
                </a:lnTo>
                <a:lnTo>
                  <a:pt x="30" y="162"/>
                </a:lnTo>
                <a:lnTo>
                  <a:pt x="36" y="162"/>
                </a:lnTo>
                <a:lnTo>
                  <a:pt x="36" y="168"/>
                </a:lnTo>
                <a:lnTo>
                  <a:pt x="42" y="168"/>
                </a:lnTo>
                <a:lnTo>
                  <a:pt x="42" y="174"/>
                </a:lnTo>
                <a:lnTo>
                  <a:pt x="48" y="180"/>
                </a:lnTo>
                <a:lnTo>
                  <a:pt x="48" y="186"/>
                </a:lnTo>
                <a:lnTo>
                  <a:pt x="54" y="186"/>
                </a:lnTo>
                <a:close/>
                <a:moveTo>
                  <a:pt x="642" y="660"/>
                </a:moveTo>
                <a:lnTo>
                  <a:pt x="642" y="666"/>
                </a:lnTo>
                <a:lnTo>
                  <a:pt x="648" y="666"/>
                </a:lnTo>
                <a:lnTo>
                  <a:pt x="648" y="672"/>
                </a:lnTo>
                <a:lnTo>
                  <a:pt x="648" y="678"/>
                </a:lnTo>
                <a:lnTo>
                  <a:pt x="654" y="678"/>
                </a:lnTo>
                <a:lnTo>
                  <a:pt x="654" y="684"/>
                </a:lnTo>
                <a:lnTo>
                  <a:pt x="660" y="684"/>
                </a:lnTo>
                <a:lnTo>
                  <a:pt x="660" y="690"/>
                </a:lnTo>
                <a:lnTo>
                  <a:pt x="654" y="690"/>
                </a:lnTo>
                <a:lnTo>
                  <a:pt x="648" y="690"/>
                </a:lnTo>
                <a:lnTo>
                  <a:pt x="636" y="696"/>
                </a:lnTo>
                <a:lnTo>
                  <a:pt x="630" y="696"/>
                </a:lnTo>
                <a:lnTo>
                  <a:pt x="624" y="696"/>
                </a:lnTo>
                <a:lnTo>
                  <a:pt x="618" y="696"/>
                </a:lnTo>
                <a:lnTo>
                  <a:pt x="612" y="696"/>
                </a:lnTo>
                <a:lnTo>
                  <a:pt x="594" y="696"/>
                </a:lnTo>
                <a:lnTo>
                  <a:pt x="588" y="696"/>
                </a:lnTo>
                <a:lnTo>
                  <a:pt x="582" y="696"/>
                </a:lnTo>
                <a:lnTo>
                  <a:pt x="570" y="702"/>
                </a:lnTo>
                <a:lnTo>
                  <a:pt x="564" y="702"/>
                </a:lnTo>
                <a:lnTo>
                  <a:pt x="558" y="702"/>
                </a:lnTo>
                <a:lnTo>
                  <a:pt x="552" y="702"/>
                </a:lnTo>
                <a:lnTo>
                  <a:pt x="552" y="696"/>
                </a:lnTo>
                <a:lnTo>
                  <a:pt x="546" y="696"/>
                </a:lnTo>
                <a:lnTo>
                  <a:pt x="546" y="690"/>
                </a:lnTo>
                <a:lnTo>
                  <a:pt x="552" y="684"/>
                </a:lnTo>
                <a:lnTo>
                  <a:pt x="552" y="678"/>
                </a:lnTo>
                <a:lnTo>
                  <a:pt x="558" y="672"/>
                </a:lnTo>
                <a:lnTo>
                  <a:pt x="558" y="666"/>
                </a:lnTo>
                <a:lnTo>
                  <a:pt x="564" y="666"/>
                </a:lnTo>
                <a:lnTo>
                  <a:pt x="570" y="666"/>
                </a:lnTo>
                <a:lnTo>
                  <a:pt x="570" y="654"/>
                </a:lnTo>
                <a:lnTo>
                  <a:pt x="570" y="648"/>
                </a:lnTo>
                <a:lnTo>
                  <a:pt x="582" y="642"/>
                </a:lnTo>
                <a:lnTo>
                  <a:pt x="582" y="636"/>
                </a:lnTo>
                <a:lnTo>
                  <a:pt x="588" y="636"/>
                </a:lnTo>
                <a:lnTo>
                  <a:pt x="588" y="630"/>
                </a:lnTo>
                <a:lnTo>
                  <a:pt x="594" y="624"/>
                </a:lnTo>
                <a:lnTo>
                  <a:pt x="594" y="618"/>
                </a:lnTo>
                <a:lnTo>
                  <a:pt x="600" y="618"/>
                </a:lnTo>
                <a:lnTo>
                  <a:pt x="600" y="612"/>
                </a:lnTo>
                <a:lnTo>
                  <a:pt x="606" y="612"/>
                </a:lnTo>
                <a:lnTo>
                  <a:pt x="606" y="618"/>
                </a:lnTo>
                <a:lnTo>
                  <a:pt x="612" y="618"/>
                </a:lnTo>
                <a:lnTo>
                  <a:pt x="618" y="618"/>
                </a:lnTo>
                <a:lnTo>
                  <a:pt x="618" y="624"/>
                </a:lnTo>
                <a:lnTo>
                  <a:pt x="618" y="630"/>
                </a:lnTo>
                <a:lnTo>
                  <a:pt x="624" y="630"/>
                </a:lnTo>
                <a:lnTo>
                  <a:pt x="618" y="636"/>
                </a:lnTo>
                <a:lnTo>
                  <a:pt x="618" y="642"/>
                </a:lnTo>
                <a:lnTo>
                  <a:pt x="618" y="648"/>
                </a:lnTo>
                <a:lnTo>
                  <a:pt x="624" y="648"/>
                </a:lnTo>
                <a:lnTo>
                  <a:pt x="630" y="648"/>
                </a:lnTo>
                <a:lnTo>
                  <a:pt x="636" y="654"/>
                </a:lnTo>
                <a:lnTo>
                  <a:pt x="642" y="654"/>
                </a:lnTo>
                <a:lnTo>
                  <a:pt x="642" y="660"/>
                </a:lnTo>
                <a:close/>
              </a:path>
            </a:pathLst>
          </a:custGeom>
          <a:solidFill>
            <a:srgbClr val="CD202C"/>
          </a:solidFill>
          <a:ln w="9525">
            <a:solidFill>
              <a:schemeClr val="bg1"/>
            </a:solidFill>
            <a:round/>
            <a:headEnd/>
            <a:tailEnd/>
          </a:ln>
        </p:spPr>
        <p:txBody>
          <a:bodyPr/>
          <a:lstStyle/>
          <a:p>
            <a:endParaRPr lang="en-GB"/>
          </a:p>
        </p:txBody>
      </p:sp>
      <p:sp>
        <p:nvSpPr>
          <p:cNvPr id="20490" name="Freeform 6"/>
          <p:cNvSpPr>
            <a:spLocks noEditPoints="1"/>
          </p:cNvSpPr>
          <p:nvPr/>
        </p:nvSpPr>
        <p:spPr bwMode="gray">
          <a:xfrm>
            <a:off x="3292475" y="5707063"/>
            <a:ext cx="596900" cy="727075"/>
          </a:xfrm>
          <a:custGeom>
            <a:avLst/>
            <a:gdLst>
              <a:gd name="T0" fmla="*/ 7053 w 762"/>
              <a:gd name="T1" fmla="*/ 46897 h 900"/>
              <a:gd name="T2" fmla="*/ 3135 w 762"/>
              <a:gd name="T3" fmla="*/ 45280 h 900"/>
              <a:gd name="T4" fmla="*/ 0 w 762"/>
              <a:gd name="T5" fmla="*/ 39620 h 900"/>
              <a:gd name="T6" fmla="*/ 3135 w 762"/>
              <a:gd name="T7" fmla="*/ 29109 h 900"/>
              <a:gd name="T8" fmla="*/ 6269 w 762"/>
              <a:gd name="T9" fmla="*/ 22640 h 900"/>
              <a:gd name="T10" fmla="*/ 5485 w 762"/>
              <a:gd name="T11" fmla="*/ 10511 h 900"/>
              <a:gd name="T12" fmla="*/ 11755 w 762"/>
              <a:gd name="T13" fmla="*/ 0 h 900"/>
              <a:gd name="T14" fmla="*/ 12538 w 762"/>
              <a:gd name="T15" fmla="*/ 10511 h 900"/>
              <a:gd name="T16" fmla="*/ 24293 w 762"/>
              <a:gd name="T17" fmla="*/ 22640 h 900"/>
              <a:gd name="T18" fmla="*/ 38398 w 762"/>
              <a:gd name="T19" fmla="*/ 26683 h 900"/>
              <a:gd name="T20" fmla="*/ 32913 w 762"/>
              <a:gd name="T21" fmla="*/ 38811 h 900"/>
              <a:gd name="T22" fmla="*/ 39966 w 762"/>
              <a:gd name="T23" fmla="*/ 38811 h 900"/>
              <a:gd name="T24" fmla="*/ 47802 w 762"/>
              <a:gd name="T25" fmla="*/ 41237 h 900"/>
              <a:gd name="T26" fmla="*/ 49369 w 762"/>
              <a:gd name="T27" fmla="*/ 48514 h 900"/>
              <a:gd name="T28" fmla="*/ 49369 w 762"/>
              <a:gd name="T29" fmla="*/ 53366 h 900"/>
              <a:gd name="T30" fmla="*/ 50937 w 762"/>
              <a:gd name="T31" fmla="*/ 55791 h 900"/>
              <a:gd name="T32" fmla="*/ 51720 w 762"/>
              <a:gd name="T33" fmla="*/ 58217 h 900"/>
              <a:gd name="T34" fmla="*/ 43884 w 762"/>
              <a:gd name="T35" fmla="*/ 59026 h 900"/>
              <a:gd name="T36" fmla="*/ 43100 w 762"/>
              <a:gd name="T37" fmla="*/ 55791 h 900"/>
              <a:gd name="T38" fmla="*/ 44668 w 762"/>
              <a:gd name="T39" fmla="*/ 54174 h 900"/>
              <a:gd name="T40" fmla="*/ 43100 w 762"/>
              <a:gd name="T41" fmla="*/ 52557 h 900"/>
              <a:gd name="T42" fmla="*/ 41533 w 762"/>
              <a:gd name="T43" fmla="*/ 54983 h 900"/>
              <a:gd name="T44" fmla="*/ 38398 w 762"/>
              <a:gd name="T45" fmla="*/ 54983 h 900"/>
              <a:gd name="T46" fmla="*/ 34480 w 762"/>
              <a:gd name="T47" fmla="*/ 50940 h 900"/>
              <a:gd name="T48" fmla="*/ 31346 w 762"/>
              <a:gd name="T49" fmla="*/ 47706 h 900"/>
              <a:gd name="T50" fmla="*/ 29778 w 762"/>
              <a:gd name="T51" fmla="*/ 46088 h 900"/>
              <a:gd name="T52" fmla="*/ 33697 w 762"/>
              <a:gd name="T53" fmla="*/ 50131 h 900"/>
              <a:gd name="T54" fmla="*/ 33697 w 762"/>
              <a:gd name="T55" fmla="*/ 53366 h 900"/>
              <a:gd name="T56" fmla="*/ 32129 w 762"/>
              <a:gd name="T57" fmla="*/ 57408 h 900"/>
              <a:gd name="T58" fmla="*/ 28995 w 762"/>
              <a:gd name="T59" fmla="*/ 55791 h 900"/>
              <a:gd name="T60" fmla="*/ 27427 w 762"/>
              <a:gd name="T61" fmla="*/ 51748 h 900"/>
              <a:gd name="T62" fmla="*/ 24293 w 762"/>
              <a:gd name="T63" fmla="*/ 46088 h 900"/>
              <a:gd name="T64" fmla="*/ 23509 w 762"/>
              <a:gd name="T65" fmla="*/ 50131 h 900"/>
              <a:gd name="T66" fmla="*/ 22726 w 762"/>
              <a:gd name="T67" fmla="*/ 49323 h 900"/>
              <a:gd name="T68" fmla="*/ 24293 w 762"/>
              <a:gd name="T69" fmla="*/ 53366 h 900"/>
              <a:gd name="T70" fmla="*/ 25860 w 762"/>
              <a:gd name="T71" fmla="*/ 58217 h 900"/>
              <a:gd name="T72" fmla="*/ 25077 w 762"/>
              <a:gd name="T73" fmla="*/ 61451 h 900"/>
              <a:gd name="T74" fmla="*/ 21942 w 762"/>
              <a:gd name="T75" fmla="*/ 60643 h 900"/>
              <a:gd name="T76" fmla="*/ 18807 w 762"/>
              <a:gd name="T77" fmla="*/ 55791 h 900"/>
              <a:gd name="T78" fmla="*/ 18807 w 762"/>
              <a:gd name="T79" fmla="*/ 50131 h 900"/>
              <a:gd name="T80" fmla="*/ 18024 w 762"/>
              <a:gd name="T81" fmla="*/ 50131 h 900"/>
              <a:gd name="T82" fmla="*/ 18024 w 762"/>
              <a:gd name="T83" fmla="*/ 54983 h 900"/>
              <a:gd name="T84" fmla="*/ 19591 w 762"/>
              <a:gd name="T85" fmla="*/ 62260 h 900"/>
              <a:gd name="T86" fmla="*/ 13322 w 762"/>
              <a:gd name="T87" fmla="*/ 59834 h 900"/>
              <a:gd name="T88" fmla="*/ 13322 w 762"/>
              <a:gd name="T89" fmla="*/ 54174 h 900"/>
              <a:gd name="T90" fmla="*/ 12538 w 762"/>
              <a:gd name="T91" fmla="*/ 54174 h 900"/>
              <a:gd name="T92" fmla="*/ 11755 w 762"/>
              <a:gd name="T93" fmla="*/ 57408 h 900"/>
              <a:gd name="T94" fmla="*/ 9404 w 762"/>
              <a:gd name="T95" fmla="*/ 54983 h 900"/>
              <a:gd name="T96" fmla="*/ 11755 w 762"/>
              <a:gd name="T97" fmla="*/ 58217 h 900"/>
              <a:gd name="T98" fmla="*/ 13322 w 762"/>
              <a:gd name="T99" fmla="*/ 62260 h 900"/>
              <a:gd name="T100" fmla="*/ 8620 w 762"/>
              <a:gd name="T101" fmla="*/ 62260 h 900"/>
              <a:gd name="T102" fmla="*/ 7836 w 762"/>
              <a:gd name="T103" fmla="*/ 55791 h 900"/>
              <a:gd name="T104" fmla="*/ 8620 w 762"/>
              <a:gd name="T105" fmla="*/ 58217 h 900"/>
              <a:gd name="T106" fmla="*/ 7053 w 762"/>
              <a:gd name="T107" fmla="*/ 63068 h 900"/>
              <a:gd name="T108" fmla="*/ 33697 w 762"/>
              <a:gd name="T109" fmla="*/ 57408 h 900"/>
              <a:gd name="T110" fmla="*/ 39966 w 762"/>
              <a:gd name="T111" fmla="*/ 55791 h 900"/>
              <a:gd name="T112" fmla="*/ 33697 w 762"/>
              <a:gd name="T113" fmla="*/ 61451 h 900"/>
              <a:gd name="T114" fmla="*/ 28211 w 762"/>
              <a:gd name="T115" fmla="*/ 52557 h 900"/>
              <a:gd name="T116" fmla="*/ 29778 w 762"/>
              <a:gd name="T117" fmla="*/ 58217 h 900"/>
              <a:gd name="T118" fmla="*/ 26644 w 762"/>
              <a:gd name="T119" fmla="*/ 55791 h 900"/>
              <a:gd name="T120" fmla="*/ 22726 w 762"/>
              <a:gd name="T121" fmla="*/ 51748 h 900"/>
              <a:gd name="T122" fmla="*/ 25077 w 762"/>
              <a:gd name="T123" fmla="*/ 53366 h 9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900"/>
              <a:gd name="T188" fmla="*/ 762 w 762"/>
              <a:gd name="T189" fmla="*/ 900 h 9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900">
                <a:moveTo>
                  <a:pt x="90" y="768"/>
                </a:moveTo>
                <a:lnTo>
                  <a:pt x="102" y="756"/>
                </a:lnTo>
                <a:lnTo>
                  <a:pt x="102" y="750"/>
                </a:lnTo>
                <a:lnTo>
                  <a:pt x="90" y="744"/>
                </a:lnTo>
                <a:lnTo>
                  <a:pt x="84" y="738"/>
                </a:lnTo>
                <a:lnTo>
                  <a:pt x="90" y="726"/>
                </a:lnTo>
                <a:lnTo>
                  <a:pt x="84" y="720"/>
                </a:lnTo>
                <a:lnTo>
                  <a:pt x="78" y="720"/>
                </a:lnTo>
                <a:lnTo>
                  <a:pt x="78" y="708"/>
                </a:lnTo>
                <a:lnTo>
                  <a:pt x="78" y="702"/>
                </a:lnTo>
                <a:lnTo>
                  <a:pt x="72" y="702"/>
                </a:lnTo>
                <a:lnTo>
                  <a:pt x="72" y="696"/>
                </a:lnTo>
                <a:lnTo>
                  <a:pt x="84" y="684"/>
                </a:lnTo>
                <a:lnTo>
                  <a:pt x="96" y="672"/>
                </a:lnTo>
                <a:lnTo>
                  <a:pt x="108" y="666"/>
                </a:lnTo>
                <a:lnTo>
                  <a:pt x="102" y="666"/>
                </a:lnTo>
                <a:lnTo>
                  <a:pt x="102" y="660"/>
                </a:lnTo>
                <a:lnTo>
                  <a:pt x="102" y="654"/>
                </a:lnTo>
                <a:lnTo>
                  <a:pt x="108" y="654"/>
                </a:lnTo>
                <a:lnTo>
                  <a:pt x="114" y="648"/>
                </a:lnTo>
                <a:lnTo>
                  <a:pt x="120" y="642"/>
                </a:lnTo>
                <a:lnTo>
                  <a:pt x="120" y="636"/>
                </a:lnTo>
                <a:lnTo>
                  <a:pt x="132" y="630"/>
                </a:lnTo>
                <a:lnTo>
                  <a:pt x="132" y="624"/>
                </a:lnTo>
                <a:lnTo>
                  <a:pt x="114" y="618"/>
                </a:lnTo>
                <a:lnTo>
                  <a:pt x="102" y="618"/>
                </a:lnTo>
                <a:lnTo>
                  <a:pt x="90" y="618"/>
                </a:lnTo>
                <a:lnTo>
                  <a:pt x="78" y="624"/>
                </a:lnTo>
                <a:lnTo>
                  <a:pt x="72" y="630"/>
                </a:lnTo>
                <a:lnTo>
                  <a:pt x="54" y="642"/>
                </a:lnTo>
                <a:lnTo>
                  <a:pt x="42" y="642"/>
                </a:lnTo>
                <a:lnTo>
                  <a:pt x="36" y="642"/>
                </a:lnTo>
                <a:lnTo>
                  <a:pt x="42" y="642"/>
                </a:lnTo>
                <a:lnTo>
                  <a:pt x="42" y="636"/>
                </a:lnTo>
                <a:lnTo>
                  <a:pt x="36" y="636"/>
                </a:lnTo>
                <a:lnTo>
                  <a:pt x="30" y="642"/>
                </a:lnTo>
                <a:lnTo>
                  <a:pt x="30" y="636"/>
                </a:lnTo>
                <a:lnTo>
                  <a:pt x="30" y="630"/>
                </a:lnTo>
                <a:lnTo>
                  <a:pt x="24" y="630"/>
                </a:lnTo>
                <a:lnTo>
                  <a:pt x="30" y="624"/>
                </a:lnTo>
                <a:lnTo>
                  <a:pt x="30" y="618"/>
                </a:lnTo>
                <a:lnTo>
                  <a:pt x="30" y="612"/>
                </a:lnTo>
                <a:lnTo>
                  <a:pt x="36" y="612"/>
                </a:lnTo>
                <a:lnTo>
                  <a:pt x="36" y="606"/>
                </a:lnTo>
                <a:lnTo>
                  <a:pt x="30" y="606"/>
                </a:lnTo>
                <a:lnTo>
                  <a:pt x="24" y="612"/>
                </a:lnTo>
                <a:lnTo>
                  <a:pt x="18" y="606"/>
                </a:lnTo>
                <a:lnTo>
                  <a:pt x="12" y="594"/>
                </a:lnTo>
                <a:lnTo>
                  <a:pt x="6" y="582"/>
                </a:lnTo>
                <a:lnTo>
                  <a:pt x="6" y="570"/>
                </a:lnTo>
                <a:lnTo>
                  <a:pt x="0" y="558"/>
                </a:lnTo>
                <a:lnTo>
                  <a:pt x="6" y="552"/>
                </a:lnTo>
                <a:lnTo>
                  <a:pt x="6" y="534"/>
                </a:lnTo>
                <a:lnTo>
                  <a:pt x="18" y="516"/>
                </a:lnTo>
                <a:lnTo>
                  <a:pt x="30" y="504"/>
                </a:lnTo>
                <a:lnTo>
                  <a:pt x="30" y="492"/>
                </a:lnTo>
                <a:lnTo>
                  <a:pt x="24" y="480"/>
                </a:lnTo>
                <a:lnTo>
                  <a:pt x="12" y="480"/>
                </a:lnTo>
                <a:lnTo>
                  <a:pt x="18" y="474"/>
                </a:lnTo>
                <a:lnTo>
                  <a:pt x="18" y="468"/>
                </a:lnTo>
                <a:lnTo>
                  <a:pt x="18" y="456"/>
                </a:lnTo>
                <a:lnTo>
                  <a:pt x="24" y="450"/>
                </a:lnTo>
                <a:lnTo>
                  <a:pt x="24" y="444"/>
                </a:lnTo>
                <a:lnTo>
                  <a:pt x="30" y="438"/>
                </a:lnTo>
                <a:lnTo>
                  <a:pt x="30" y="432"/>
                </a:lnTo>
                <a:lnTo>
                  <a:pt x="30" y="426"/>
                </a:lnTo>
                <a:lnTo>
                  <a:pt x="42" y="420"/>
                </a:lnTo>
                <a:lnTo>
                  <a:pt x="42" y="414"/>
                </a:lnTo>
                <a:lnTo>
                  <a:pt x="54" y="408"/>
                </a:lnTo>
                <a:lnTo>
                  <a:pt x="54" y="396"/>
                </a:lnTo>
                <a:lnTo>
                  <a:pt x="54" y="384"/>
                </a:lnTo>
                <a:lnTo>
                  <a:pt x="60" y="378"/>
                </a:lnTo>
                <a:lnTo>
                  <a:pt x="66" y="378"/>
                </a:lnTo>
                <a:lnTo>
                  <a:pt x="66" y="372"/>
                </a:lnTo>
                <a:lnTo>
                  <a:pt x="60" y="366"/>
                </a:lnTo>
                <a:lnTo>
                  <a:pt x="60" y="360"/>
                </a:lnTo>
                <a:lnTo>
                  <a:pt x="66" y="360"/>
                </a:lnTo>
                <a:lnTo>
                  <a:pt x="72" y="354"/>
                </a:lnTo>
                <a:lnTo>
                  <a:pt x="78" y="354"/>
                </a:lnTo>
                <a:lnTo>
                  <a:pt x="84" y="348"/>
                </a:lnTo>
                <a:lnTo>
                  <a:pt x="96" y="348"/>
                </a:lnTo>
                <a:lnTo>
                  <a:pt x="96" y="342"/>
                </a:lnTo>
                <a:lnTo>
                  <a:pt x="96" y="336"/>
                </a:lnTo>
                <a:lnTo>
                  <a:pt x="96" y="330"/>
                </a:lnTo>
                <a:lnTo>
                  <a:pt x="96" y="324"/>
                </a:lnTo>
                <a:lnTo>
                  <a:pt x="102" y="318"/>
                </a:lnTo>
                <a:lnTo>
                  <a:pt x="108" y="312"/>
                </a:lnTo>
                <a:lnTo>
                  <a:pt x="96" y="306"/>
                </a:lnTo>
                <a:lnTo>
                  <a:pt x="84" y="288"/>
                </a:lnTo>
                <a:lnTo>
                  <a:pt x="108" y="258"/>
                </a:lnTo>
                <a:lnTo>
                  <a:pt x="102" y="222"/>
                </a:lnTo>
                <a:lnTo>
                  <a:pt x="84" y="222"/>
                </a:lnTo>
                <a:lnTo>
                  <a:pt x="54" y="216"/>
                </a:lnTo>
                <a:lnTo>
                  <a:pt x="54" y="204"/>
                </a:lnTo>
                <a:lnTo>
                  <a:pt x="54" y="198"/>
                </a:lnTo>
                <a:lnTo>
                  <a:pt x="60" y="192"/>
                </a:lnTo>
                <a:lnTo>
                  <a:pt x="72" y="192"/>
                </a:lnTo>
                <a:lnTo>
                  <a:pt x="84" y="186"/>
                </a:lnTo>
                <a:lnTo>
                  <a:pt x="90" y="186"/>
                </a:lnTo>
                <a:lnTo>
                  <a:pt x="90" y="174"/>
                </a:lnTo>
                <a:lnTo>
                  <a:pt x="84" y="162"/>
                </a:lnTo>
                <a:lnTo>
                  <a:pt x="84" y="150"/>
                </a:lnTo>
                <a:lnTo>
                  <a:pt x="84" y="126"/>
                </a:lnTo>
                <a:lnTo>
                  <a:pt x="84" y="114"/>
                </a:lnTo>
                <a:lnTo>
                  <a:pt x="90" y="102"/>
                </a:lnTo>
                <a:lnTo>
                  <a:pt x="96" y="96"/>
                </a:lnTo>
                <a:lnTo>
                  <a:pt x="108" y="96"/>
                </a:lnTo>
                <a:lnTo>
                  <a:pt x="120" y="90"/>
                </a:lnTo>
                <a:lnTo>
                  <a:pt x="126" y="78"/>
                </a:lnTo>
                <a:lnTo>
                  <a:pt x="138" y="66"/>
                </a:lnTo>
                <a:lnTo>
                  <a:pt x="138" y="48"/>
                </a:lnTo>
                <a:lnTo>
                  <a:pt x="138" y="42"/>
                </a:lnTo>
                <a:lnTo>
                  <a:pt x="126" y="30"/>
                </a:lnTo>
                <a:lnTo>
                  <a:pt x="120" y="18"/>
                </a:lnTo>
                <a:lnTo>
                  <a:pt x="132" y="12"/>
                </a:lnTo>
                <a:lnTo>
                  <a:pt x="144" y="0"/>
                </a:lnTo>
                <a:lnTo>
                  <a:pt x="150" y="6"/>
                </a:lnTo>
                <a:lnTo>
                  <a:pt x="162" y="6"/>
                </a:lnTo>
                <a:lnTo>
                  <a:pt x="174" y="6"/>
                </a:lnTo>
                <a:lnTo>
                  <a:pt x="168" y="54"/>
                </a:lnTo>
                <a:lnTo>
                  <a:pt x="162" y="48"/>
                </a:lnTo>
                <a:lnTo>
                  <a:pt x="156" y="48"/>
                </a:lnTo>
                <a:lnTo>
                  <a:pt x="156" y="54"/>
                </a:lnTo>
                <a:lnTo>
                  <a:pt x="162" y="54"/>
                </a:lnTo>
                <a:lnTo>
                  <a:pt x="162" y="60"/>
                </a:lnTo>
                <a:lnTo>
                  <a:pt x="168" y="60"/>
                </a:lnTo>
                <a:lnTo>
                  <a:pt x="174" y="60"/>
                </a:lnTo>
                <a:lnTo>
                  <a:pt x="168" y="66"/>
                </a:lnTo>
                <a:lnTo>
                  <a:pt x="174" y="66"/>
                </a:lnTo>
                <a:lnTo>
                  <a:pt x="174" y="72"/>
                </a:lnTo>
                <a:lnTo>
                  <a:pt x="174" y="78"/>
                </a:lnTo>
                <a:lnTo>
                  <a:pt x="168" y="72"/>
                </a:lnTo>
                <a:lnTo>
                  <a:pt x="156" y="150"/>
                </a:lnTo>
                <a:lnTo>
                  <a:pt x="168" y="144"/>
                </a:lnTo>
                <a:lnTo>
                  <a:pt x="180" y="150"/>
                </a:lnTo>
                <a:lnTo>
                  <a:pt x="186" y="150"/>
                </a:lnTo>
                <a:lnTo>
                  <a:pt x="186" y="144"/>
                </a:lnTo>
                <a:lnTo>
                  <a:pt x="192" y="150"/>
                </a:lnTo>
                <a:lnTo>
                  <a:pt x="222" y="150"/>
                </a:lnTo>
                <a:lnTo>
                  <a:pt x="222" y="168"/>
                </a:lnTo>
                <a:lnTo>
                  <a:pt x="222" y="186"/>
                </a:lnTo>
                <a:lnTo>
                  <a:pt x="234" y="198"/>
                </a:lnTo>
                <a:lnTo>
                  <a:pt x="234" y="234"/>
                </a:lnTo>
                <a:lnTo>
                  <a:pt x="228" y="270"/>
                </a:lnTo>
                <a:lnTo>
                  <a:pt x="246" y="282"/>
                </a:lnTo>
                <a:lnTo>
                  <a:pt x="258" y="294"/>
                </a:lnTo>
                <a:lnTo>
                  <a:pt x="270" y="300"/>
                </a:lnTo>
                <a:lnTo>
                  <a:pt x="294" y="300"/>
                </a:lnTo>
                <a:lnTo>
                  <a:pt x="288" y="306"/>
                </a:lnTo>
                <a:lnTo>
                  <a:pt x="300" y="312"/>
                </a:lnTo>
                <a:lnTo>
                  <a:pt x="306" y="318"/>
                </a:lnTo>
                <a:lnTo>
                  <a:pt x="324" y="324"/>
                </a:lnTo>
                <a:lnTo>
                  <a:pt x="354" y="318"/>
                </a:lnTo>
                <a:lnTo>
                  <a:pt x="354" y="312"/>
                </a:lnTo>
                <a:lnTo>
                  <a:pt x="366" y="312"/>
                </a:lnTo>
                <a:lnTo>
                  <a:pt x="384" y="312"/>
                </a:lnTo>
                <a:lnTo>
                  <a:pt x="390" y="306"/>
                </a:lnTo>
                <a:lnTo>
                  <a:pt x="396" y="306"/>
                </a:lnTo>
                <a:lnTo>
                  <a:pt x="408" y="306"/>
                </a:lnTo>
                <a:lnTo>
                  <a:pt x="426" y="312"/>
                </a:lnTo>
                <a:lnTo>
                  <a:pt x="456" y="324"/>
                </a:lnTo>
                <a:lnTo>
                  <a:pt x="504" y="330"/>
                </a:lnTo>
                <a:lnTo>
                  <a:pt x="510" y="336"/>
                </a:lnTo>
                <a:lnTo>
                  <a:pt x="534" y="336"/>
                </a:lnTo>
                <a:lnTo>
                  <a:pt x="540" y="336"/>
                </a:lnTo>
                <a:lnTo>
                  <a:pt x="546" y="324"/>
                </a:lnTo>
                <a:lnTo>
                  <a:pt x="558" y="330"/>
                </a:lnTo>
                <a:lnTo>
                  <a:pt x="564" y="330"/>
                </a:lnTo>
                <a:lnTo>
                  <a:pt x="570" y="354"/>
                </a:lnTo>
                <a:lnTo>
                  <a:pt x="564" y="378"/>
                </a:lnTo>
                <a:lnTo>
                  <a:pt x="558" y="396"/>
                </a:lnTo>
                <a:lnTo>
                  <a:pt x="546" y="414"/>
                </a:lnTo>
                <a:lnTo>
                  <a:pt x="546" y="438"/>
                </a:lnTo>
                <a:lnTo>
                  <a:pt x="540" y="456"/>
                </a:lnTo>
                <a:lnTo>
                  <a:pt x="540" y="474"/>
                </a:lnTo>
                <a:lnTo>
                  <a:pt x="528" y="480"/>
                </a:lnTo>
                <a:lnTo>
                  <a:pt x="522" y="492"/>
                </a:lnTo>
                <a:lnTo>
                  <a:pt x="504" y="498"/>
                </a:lnTo>
                <a:lnTo>
                  <a:pt x="498" y="498"/>
                </a:lnTo>
                <a:lnTo>
                  <a:pt x="492" y="504"/>
                </a:lnTo>
                <a:lnTo>
                  <a:pt x="486" y="510"/>
                </a:lnTo>
                <a:lnTo>
                  <a:pt x="480" y="510"/>
                </a:lnTo>
                <a:lnTo>
                  <a:pt x="480" y="516"/>
                </a:lnTo>
                <a:lnTo>
                  <a:pt x="474" y="522"/>
                </a:lnTo>
                <a:lnTo>
                  <a:pt x="474" y="528"/>
                </a:lnTo>
                <a:lnTo>
                  <a:pt x="474" y="534"/>
                </a:lnTo>
                <a:lnTo>
                  <a:pt x="480" y="540"/>
                </a:lnTo>
                <a:lnTo>
                  <a:pt x="492" y="540"/>
                </a:lnTo>
                <a:lnTo>
                  <a:pt x="498" y="546"/>
                </a:lnTo>
                <a:lnTo>
                  <a:pt x="504" y="552"/>
                </a:lnTo>
                <a:lnTo>
                  <a:pt x="510" y="552"/>
                </a:lnTo>
                <a:lnTo>
                  <a:pt x="516" y="558"/>
                </a:lnTo>
                <a:lnTo>
                  <a:pt x="528" y="558"/>
                </a:lnTo>
                <a:lnTo>
                  <a:pt x="534" y="552"/>
                </a:lnTo>
                <a:lnTo>
                  <a:pt x="540" y="552"/>
                </a:lnTo>
                <a:lnTo>
                  <a:pt x="546" y="552"/>
                </a:lnTo>
                <a:lnTo>
                  <a:pt x="558" y="546"/>
                </a:lnTo>
                <a:lnTo>
                  <a:pt x="564" y="540"/>
                </a:lnTo>
                <a:lnTo>
                  <a:pt x="564" y="546"/>
                </a:lnTo>
                <a:lnTo>
                  <a:pt x="570" y="546"/>
                </a:lnTo>
                <a:lnTo>
                  <a:pt x="570" y="540"/>
                </a:lnTo>
                <a:lnTo>
                  <a:pt x="570" y="546"/>
                </a:lnTo>
                <a:lnTo>
                  <a:pt x="576" y="546"/>
                </a:lnTo>
                <a:lnTo>
                  <a:pt x="582" y="546"/>
                </a:lnTo>
                <a:lnTo>
                  <a:pt x="588" y="540"/>
                </a:lnTo>
                <a:lnTo>
                  <a:pt x="594" y="546"/>
                </a:lnTo>
                <a:lnTo>
                  <a:pt x="606" y="546"/>
                </a:lnTo>
                <a:lnTo>
                  <a:pt x="612" y="546"/>
                </a:lnTo>
                <a:lnTo>
                  <a:pt x="612" y="552"/>
                </a:lnTo>
                <a:lnTo>
                  <a:pt x="618" y="552"/>
                </a:lnTo>
                <a:lnTo>
                  <a:pt x="624" y="552"/>
                </a:lnTo>
                <a:lnTo>
                  <a:pt x="630" y="552"/>
                </a:lnTo>
                <a:lnTo>
                  <a:pt x="648" y="546"/>
                </a:lnTo>
                <a:lnTo>
                  <a:pt x="654" y="546"/>
                </a:lnTo>
                <a:lnTo>
                  <a:pt x="654" y="552"/>
                </a:lnTo>
                <a:lnTo>
                  <a:pt x="660" y="558"/>
                </a:lnTo>
                <a:lnTo>
                  <a:pt x="666" y="564"/>
                </a:lnTo>
                <a:lnTo>
                  <a:pt x="672" y="564"/>
                </a:lnTo>
                <a:lnTo>
                  <a:pt x="678" y="564"/>
                </a:lnTo>
                <a:lnTo>
                  <a:pt x="696" y="576"/>
                </a:lnTo>
                <a:lnTo>
                  <a:pt x="696" y="582"/>
                </a:lnTo>
                <a:lnTo>
                  <a:pt x="708" y="588"/>
                </a:lnTo>
                <a:lnTo>
                  <a:pt x="708" y="594"/>
                </a:lnTo>
                <a:lnTo>
                  <a:pt x="720" y="606"/>
                </a:lnTo>
                <a:lnTo>
                  <a:pt x="720" y="618"/>
                </a:lnTo>
                <a:lnTo>
                  <a:pt x="720" y="624"/>
                </a:lnTo>
                <a:lnTo>
                  <a:pt x="726" y="630"/>
                </a:lnTo>
                <a:lnTo>
                  <a:pt x="732" y="636"/>
                </a:lnTo>
                <a:lnTo>
                  <a:pt x="732" y="642"/>
                </a:lnTo>
                <a:lnTo>
                  <a:pt x="732" y="648"/>
                </a:lnTo>
                <a:lnTo>
                  <a:pt x="726" y="654"/>
                </a:lnTo>
                <a:lnTo>
                  <a:pt x="720" y="660"/>
                </a:lnTo>
                <a:lnTo>
                  <a:pt x="714" y="666"/>
                </a:lnTo>
                <a:lnTo>
                  <a:pt x="714" y="672"/>
                </a:lnTo>
                <a:lnTo>
                  <a:pt x="714" y="678"/>
                </a:lnTo>
                <a:lnTo>
                  <a:pt x="720" y="678"/>
                </a:lnTo>
                <a:lnTo>
                  <a:pt x="720" y="684"/>
                </a:lnTo>
                <a:lnTo>
                  <a:pt x="714" y="690"/>
                </a:lnTo>
                <a:lnTo>
                  <a:pt x="714" y="696"/>
                </a:lnTo>
                <a:lnTo>
                  <a:pt x="714" y="702"/>
                </a:lnTo>
                <a:lnTo>
                  <a:pt x="714" y="708"/>
                </a:lnTo>
                <a:lnTo>
                  <a:pt x="720" y="708"/>
                </a:lnTo>
                <a:lnTo>
                  <a:pt x="720" y="720"/>
                </a:lnTo>
                <a:lnTo>
                  <a:pt x="720" y="726"/>
                </a:lnTo>
                <a:lnTo>
                  <a:pt x="726" y="726"/>
                </a:lnTo>
                <a:lnTo>
                  <a:pt x="726" y="732"/>
                </a:lnTo>
                <a:lnTo>
                  <a:pt x="732" y="732"/>
                </a:lnTo>
                <a:lnTo>
                  <a:pt x="732" y="738"/>
                </a:lnTo>
                <a:lnTo>
                  <a:pt x="726" y="738"/>
                </a:lnTo>
                <a:lnTo>
                  <a:pt x="720" y="738"/>
                </a:lnTo>
                <a:lnTo>
                  <a:pt x="720" y="744"/>
                </a:lnTo>
                <a:lnTo>
                  <a:pt x="720" y="750"/>
                </a:lnTo>
                <a:lnTo>
                  <a:pt x="714" y="750"/>
                </a:lnTo>
                <a:lnTo>
                  <a:pt x="714" y="756"/>
                </a:lnTo>
                <a:lnTo>
                  <a:pt x="720" y="756"/>
                </a:lnTo>
                <a:lnTo>
                  <a:pt x="714" y="762"/>
                </a:lnTo>
                <a:lnTo>
                  <a:pt x="720" y="762"/>
                </a:lnTo>
                <a:lnTo>
                  <a:pt x="726" y="768"/>
                </a:lnTo>
                <a:lnTo>
                  <a:pt x="726" y="774"/>
                </a:lnTo>
                <a:lnTo>
                  <a:pt x="732" y="774"/>
                </a:lnTo>
                <a:lnTo>
                  <a:pt x="732" y="780"/>
                </a:lnTo>
                <a:lnTo>
                  <a:pt x="726" y="780"/>
                </a:lnTo>
                <a:lnTo>
                  <a:pt x="726" y="786"/>
                </a:lnTo>
                <a:lnTo>
                  <a:pt x="720" y="786"/>
                </a:lnTo>
                <a:lnTo>
                  <a:pt x="726" y="786"/>
                </a:lnTo>
                <a:lnTo>
                  <a:pt x="732" y="780"/>
                </a:lnTo>
                <a:lnTo>
                  <a:pt x="738" y="780"/>
                </a:lnTo>
                <a:lnTo>
                  <a:pt x="744" y="780"/>
                </a:lnTo>
                <a:lnTo>
                  <a:pt x="744" y="786"/>
                </a:lnTo>
                <a:lnTo>
                  <a:pt x="750" y="786"/>
                </a:lnTo>
                <a:lnTo>
                  <a:pt x="744" y="786"/>
                </a:lnTo>
                <a:lnTo>
                  <a:pt x="744" y="792"/>
                </a:lnTo>
                <a:lnTo>
                  <a:pt x="744" y="786"/>
                </a:lnTo>
                <a:lnTo>
                  <a:pt x="738" y="792"/>
                </a:lnTo>
                <a:lnTo>
                  <a:pt x="744" y="792"/>
                </a:lnTo>
                <a:lnTo>
                  <a:pt x="750" y="792"/>
                </a:lnTo>
                <a:lnTo>
                  <a:pt x="750" y="786"/>
                </a:lnTo>
                <a:lnTo>
                  <a:pt x="756" y="786"/>
                </a:lnTo>
                <a:lnTo>
                  <a:pt x="756" y="792"/>
                </a:lnTo>
                <a:lnTo>
                  <a:pt x="762" y="792"/>
                </a:lnTo>
                <a:lnTo>
                  <a:pt x="756" y="798"/>
                </a:lnTo>
                <a:lnTo>
                  <a:pt x="756" y="804"/>
                </a:lnTo>
                <a:lnTo>
                  <a:pt x="756" y="810"/>
                </a:lnTo>
                <a:lnTo>
                  <a:pt x="750" y="810"/>
                </a:lnTo>
                <a:lnTo>
                  <a:pt x="756" y="810"/>
                </a:lnTo>
                <a:lnTo>
                  <a:pt x="756" y="804"/>
                </a:lnTo>
                <a:lnTo>
                  <a:pt x="756" y="810"/>
                </a:lnTo>
                <a:lnTo>
                  <a:pt x="756" y="816"/>
                </a:lnTo>
                <a:lnTo>
                  <a:pt x="750" y="816"/>
                </a:lnTo>
                <a:lnTo>
                  <a:pt x="738" y="810"/>
                </a:lnTo>
                <a:lnTo>
                  <a:pt x="732" y="810"/>
                </a:lnTo>
                <a:lnTo>
                  <a:pt x="732" y="816"/>
                </a:lnTo>
                <a:lnTo>
                  <a:pt x="726" y="810"/>
                </a:lnTo>
                <a:lnTo>
                  <a:pt x="714" y="816"/>
                </a:lnTo>
                <a:lnTo>
                  <a:pt x="708" y="816"/>
                </a:lnTo>
                <a:lnTo>
                  <a:pt x="702" y="816"/>
                </a:lnTo>
                <a:lnTo>
                  <a:pt x="696" y="816"/>
                </a:lnTo>
                <a:lnTo>
                  <a:pt x="690" y="822"/>
                </a:lnTo>
                <a:lnTo>
                  <a:pt x="684" y="822"/>
                </a:lnTo>
                <a:lnTo>
                  <a:pt x="678" y="822"/>
                </a:lnTo>
                <a:lnTo>
                  <a:pt x="672" y="822"/>
                </a:lnTo>
                <a:lnTo>
                  <a:pt x="666" y="822"/>
                </a:lnTo>
                <a:lnTo>
                  <a:pt x="666" y="828"/>
                </a:lnTo>
                <a:lnTo>
                  <a:pt x="654" y="828"/>
                </a:lnTo>
                <a:lnTo>
                  <a:pt x="648" y="828"/>
                </a:lnTo>
                <a:lnTo>
                  <a:pt x="642" y="828"/>
                </a:lnTo>
                <a:lnTo>
                  <a:pt x="630" y="828"/>
                </a:lnTo>
                <a:lnTo>
                  <a:pt x="624" y="822"/>
                </a:lnTo>
                <a:lnTo>
                  <a:pt x="618" y="822"/>
                </a:lnTo>
                <a:lnTo>
                  <a:pt x="612" y="822"/>
                </a:lnTo>
                <a:lnTo>
                  <a:pt x="606" y="822"/>
                </a:lnTo>
                <a:lnTo>
                  <a:pt x="600" y="822"/>
                </a:lnTo>
                <a:lnTo>
                  <a:pt x="594" y="822"/>
                </a:lnTo>
                <a:lnTo>
                  <a:pt x="594" y="816"/>
                </a:lnTo>
                <a:lnTo>
                  <a:pt x="594" y="810"/>
                </a:lnTo>
                <a:lnTo>
                  <a:pt x="600" y="804"/>
                </a:lnTo>
                <a:lnTo>
                  <a:pt x="600" y="798"/>
                </a:lnTo>
                <a:lnTo>
                  <a:pt x="600" y="792"/>
                </a:lnTo>
                <a:lnTo>
                  <a:pt x="606" y="792"/>
                </a:lnTo>
                <a:lnTo>
                  <a:pt x="612" y="792"/>
                </a:lnTo>
                <a:lnTo>
                  <a:pt x="612" y="786"/>
                </a:lnTo>
                <a:lnTo>
                  <a:pt x="618" y="786"/>
                </a:lnTo>
                <a:lnTo>
                  <a:pt x="624" y="786"/>
                </a:lnTo>
                <a:lnTo>
                  <a:pt x="624" y="780"/>
                </a:lnTo>
                <a:lnTo>
                  <a:pt x="630" y="780"/>
                </a:lnTo>
                <a:lnTo>
                  <a:pt x="630" y="774"/>
                </a:lnTo>
                <a:lnTo>
                  <a:pt x="636" y="774"/>
                </a:lnTo>
                <a:lnTo>
                  <a:pt x="642" y="780"/>
                </a:lnTo>
                <a:lnTo>
                  <a:pt x="642" y="786"/>
                </a:lnTo>
                <a:lnTo>
                  <a:pt x="642" y="792"/>
                </a:lnTo>
                <a:lnTo>
                  <a:pt x="648" y="792"/>
                </a:lnTo>
                <a:lnTo>
                  <a:pt x="648" y="786"/>
                </a:lnTo>
                <a:lnTo>
                  <a:pt x="642" y="786"/>
                </a:lnTo>
                <a:lnTo>
                  <a:pt x="642" y="780"/>
                </a:lnTo>
                <a:lnTo>
                  <a:pt x="642" y="774"/>
                </a:lnTo>
                <a:lnTo>
                  <a:pt x="648" y="768"/>
                </a:lnTo>
                <a:lnTo>
                  <a:pt x="642" y="768"/>
                </a:lnTo>
                <a:lnTo>
                  <a:pt x="648" y="768"/>
                </a:lnTo>
                <a:lnTo>
                  <a:pt x="648" y="762"/>
                </a:lnTo>
                <a:lnTo>
                  <a:pt x="654" y="762"/>
                </a:lnTo>
                <a:lnTo>
                  <a:pt x="660" y="762"/>
                </a:lnTo>
                <a:lnTo>
                  <a:pt x="654" y="762"/>
                </a:lnTo>
                <a:lnTo>
                  <a:pt x="660" y="762"/>
                </a:lnTo>
                <a:lnTo>
                  <a:pt x="666" y="762"/>
                </a:lnTo>
                <a:lnTo>
                  <a:pt x="672" y="756"/>
                </a:lnTo>
                <a:lnTo>
                  <a:pt x="666" y="756"/>
                </a:lnTo>
                <a:lnTo>
                  <a:pt x="660" y="756"/>
                </a:lnTo>
                <a:lnTo>
                  <a:pt x="660" y="750"/>
                </a:lnTo>
                <a:lnTo>
                  <a:pt x="654" y="750"/>
                </a:lnTo>
                <a:lnTo>
                  <a:pt x="648" y="750"/>
                </a:lnTo>
                <a:lnTo>
                  <a:pt x="648" y="756"/>
                </a:lnTo>
                <a:lnTo>
                  <a:pt x="642" y="756"/>
                </a:lnTo>
                <a:lnTo>
                  <a:pt x="642" y="750"/>
                </a:lnTo>
                <a:lnTo>
                  <a:pt x="642" y="744"/>
                </a:lnTo>
                <a:lnTo>
                  <a:pt x="642" y="750"/>
                </a:lnTo>
                <a:lnTo>
                  <a:pt x="636" y="750"/>
                </a:lnTo>
                <a:lnTo>
                  <a:pt x="636" y="744"/>
                </a:lnTo>
                <a:lnTo>
                  <a:pt x="630" y="744"/>
                </a:lnTo>
                <a:lnTo>
                  <a:pt x="630" y="738"/>
                </a:lnTo>
                <a:lnTo>
                  <a:pt x="630" y="744"/>
                </a:lnTo>
                <a:lnTo>
                  <a:pt x="630" y="750"/>
                </a:lnTo>
                <a:lnTo>
                  <a:pt x="636" y="750"/>
                </a:lnTo>
                <a:lnTo>
                  <a:pt x="636" y="756"/>
                </a:lnTo>
                <a:lnTo>
                  <a:pt x="630" y="756"/>
                </a:lnTo>
                <a:lnTo>
                  <a:pt x="636" y="762"/>
                </a:lnTo>
                <a:lnTo>
                  <a:pt x="630" y="762"/>
                </a:lnTo>
                <a:lnTo>
                  <a:pt x="624" y="762"/>
                </a:lnTo>
                <a:lnTo>
                  <a:pt x="624" y="774"/>
                </a:lnTo>
                <a:lnTo>
                  <a:pt x="624" y="780"/>
                </a:lnTo>
                <a:lnTo>
                  <a:pt x="624" y="786"/>
                </a:lnTo>
                <a:lnTo>
                  <a:pt x="618" y="786"/>
                </a:lnTo>
                <a:lnTo>
                  <a:pt x="618" y="780"/>
                </a:lnTo>
                <a:lnTo>
                  <a:pt x="618" y="786"/>
                </a:lnTo>
                <a:lnTo>
                  <a:pt x="612" y="780"/>
                </a:lnTo>
                <a:lnTo>
                  <a:pt x="612" y="774"/>
                </a:lnTo>
                <a:lnTo>
                  <a:pt x="612" y="780"/>
                </a:lnTo>
                <a:lnTo>
                  <a:pt x="606" y="780"/>
                </a:lnTo>
                <a:lnTo>
                  <a:pt x="600" y="780"/>
                </a:lnTo>
                <a:lnTo>
                  <a:pt x="600" y="774"/>
                </a:lnTo>
                <a:lnTo>
                  <a:pt x="594" y="768"/>
                </a:lnTo>
                <a:lnTo>
                  <a:pt x="594" y="762"/>
                </a:lnTo>
                <a:lnTo>
                  <a:pt x="594" y="756"/>
                </a:lnTo>
                <a:lnTo>
                  <a:pt x="594" y="762"/>
                </a:lnTo>
                <a:lnTo>
                  <a:pt x="594" y="768"/>
                </a:lnTo>
                <a:lnTo>
                  <a:pt x="594" y="774"/>
                </a:lnTo>
                <a:lnTo>
                  <a:pt x="594" y="780"/>
                </a:lnTo>
                <a:lnTo>
                  <a:pt x="588" y="780"/>
                </a:lnTo>
                <a:lnTo>
                  <a:pt x="582" y="780"/>
                </a:lnTo>
                <a:lnTo>
                  <a:pt x="576" y="780"/>
                </a:lnTo>
                <a:lnTo>
                  <a:pt x="570" y="780"/>
                </a:lnTo>
                <a:lnTo>
                  <a:pt x="564" y="780"/>
                </a:lnTo>
                <a:lnTo>
                  <a:pt x="564" y="786"/>
                </a:lnTo>
                <a:lnTo>
                  <a:pt x="558" y="786"/>
                </a:lnTo>
                <a:lnTo>
                  <a:pt x="552" y="786"/>
                </a:lnTo>
                <a:lnTo>
                  <a:pt x="552" y="780"/>
                </a:lnTo>
                <a:lnTo>
                  <a:pt x="552" y="774"/>
                </a:lnTo>
                <a:lnTo>
                  <a:pt x="552" y="768"/>
                </a:lnTo>
                <a:lnTo>
                  <a:pt x="546" y="768"/>
                </a:lnTo>
                <a:lnTo>
                  <a:pt x="540" y="762"/>
                </a:lnTo>
                <a:lnTo>
                  <a:pt x="540" y="756"/>
                </a:lnTo>
                <a:lnTo>
                  <a:pt x="534" y="756"/>
                </a:lnTo>
                <a:lnTo>
                  <a:pt x="534" y="750"/>
                </a:lnTo>
                <a:lnTo>
                  <a:pt x="534" y="744"/>
                </a:lnTo>
                <a:lnTo>
                  <a:pt x="528" y="738"/>
                </a:lnTo>
                <a:lnTo>
                  <a:pt x="522" y="738"/>
                </a:lnTo>
                <a:lnTo>
                  <a:pt x="522" y="732"/>
                </a:lnTo>
                <a:lnTo>
                  <a:pt x="510" y="726"/>
                </a:lnTo>
                <a:lnTo>
                  <a:pt x="510" y="720"/>
                </a:lnTo>
                <a:lnTo>
                  <a:pt x="504" y="720"/>
                </a:lnTo>
                <a:lnTo>
                  <a:pt x="504" y="714"/>
                </a:lnTo>
                <a:lnTo>
                  <a:pt x="504" y="708"/>
                </a:lnTo>
                <a:lnTo>
                  <a:pt x="498" y="708"/>
                </a:lnTo>
                <a:lnTo>
                  <a:pt x="498" y="702"/>
                </a:lnTo>
                <a:lnTo>
                  <a:pt x="498" y="696"/>
                </a:lnTo>
                <a:lnTo>
                  <a:pt x="492" y="690"/>
                </a:lnTo>
                <a:lnTo>
                  <a:pt x="492" y="684"/>
                </a:lnTo>
                <a:lnTo>
                  <a:pt x="486" y="684"/>
                </a:lnTo>
                <a:lnTo>
                  <a:pt x="486" y="690"/>
                </a:lnTo>
                <a:lnTo>
                  <a:pt x="480" y="684"/>
                </a:lnTo>
                <a:lnTo>
                  <a:pt x="480" y="678"/>
                </a:lnTo>
                <a:lnTo>
                  <a:pt x="474" y="678"/>
                </a:lnTo>
                <a:lnTo>
                  <a:pt x="468" y="678"/>
                </a:lnTo>
                <a:lnTo>
                  <a:pt x="462" y="678"/>
                </a:lnTo>
                <a:lnTo>
                  <a:pt x="462" y="672"/>
                </a:lnTo>
                <a:lnTo>
                  <a:pt x="456" y="672"/>
                </a:lnTo>
                <a:lnTo>
                  <a:pt x="450" y="672"/>
                </a:lnTo>
                <a:lnTo>
                  <a:pt x="450" y="666"/>
                </a:lnTo>
                <a:lnTo>
                  <a:pt x="444" y="666"/>
                </a:lnTo>
                <a:lnTo>
                  <a:pt x="438" y="660"/>
                </a:lnTo>
                <a:lnTo>
                  <a:pt x="438" y="648"/>
                </a:lnTo>
                <a:lnTo>
                  <a:pt x="438" y="642"/>
                </a:lnTo>
                <a:lnTo>
                  <a:pt x="438" y="636"/>
                </a:lnTo>
                <a:lnTo>
                  <a:pt x="432" y="636"/>
                </a:lnTo>
                <a:lnTo>
                  <a:pt x="432" y="630"/>
                </a:lnTo>
                <a:lnTo>
                  <a:pt x="432" y="636"/>
                </a:lnTo>
                <a:lnTo>
                  <a:pt x="426" y="636"/>
                </a:lnTo>
                <a:lnTo>
                  <a:pt x="420" y="636"/>
                </a:lnTo>
                <a:lnTo>
                  <a:pt x="420" y="642"/>
                </a:lnTo>
                <a:lnTo>
                  <a:pt x="426" y="642"/>
                </a:lnTo>
                <a:lnTo>
                  <a:pt x="432" y="642"/>
                </a:lnTo>
                <a:lnTo>
                  <a:pt x="432" y="648"/>
                </a:lnTo>
                <a:lnTo>
                  <a:pt x="432" y="654"/>
                </a:lnTo>
                <a:lnTo>
                  <a:pt x="432" y="660"/>
                </a:lnTo>
                <a:lnTo>
                  <a:pt x="432" y="666"/>
                </a:lnTo>
                <a:lnTo>
                  <a:pt x="438" y="666"/>
                </a:lnTo>
                <a:lnTo>
                  <a:pt x="438" y="672"/>
                </a:lnTo>
                <a:lnTo>
                  <a:pt x="444" y="672"/>
                </a:lnTo>
                <a:lnTo>
                  <a:pt x="444" y="678"/>
                </a:lnTo>
                <a:lnTo>
                  <a:pt x="450" y="678"/>
                </a:lnTo>
                <a:lnTo>
                  <a:pt x="456" y="678"/>
                </a:lnTo>
                <a:lnTo>
                  <a:pt x="456" y="684"/>
                </a:lnTo>
                <a:lnTo>
                  <a:pt x="462" y="684"/>
                </a:lnTo>
                <a:lnTo>
                  <a:pt x="468" y="684"/>
                </a:lnTo>
                <a:lnTo>
                  <a:pt x="468" y="690"/>
                </a:lnTo>
                <a:lnTo>
                  <a:pt x="474" y="690"/>
                </a:lnTo>
                <a:lnTo>
                  <a:pt x="480" y="690"/>
                </a:lnTo>
                <a:lnTo>
                  <a:pt x="480" y="696"/>
                </a:lnTo>
                <a:lnTo>
                  <a:pt x="486" y="702"/>
                </a:lnTo>
                <a:lnTo>
                  <a:pt x="486" y="708"/>
                </a:lnTo>
                <a:lnTo>
                  <a:pt x="492" y="714"/>
                </a:lnTo>
                <a:lnTo>
                  <a:pt x="492" y="720"/>
                </a:lnTo>
                <a:lnTo>
                  <a:pt x="492" y="726"/>
                </a:lnTo>
                <a:lnTo>
                  <a:pt x="498" y="732"/>
                </a:lnTo>
                <a:lnTo>
                  <a:pt x="492" y="738"/>
                </a:lnTo>
                <a:lnTo>
                  <a:pt x="492" y="744"/>
                </a:lnTo>
                <a:lnTo>
                  <a:pt x="492" y="750"/>
                </a:lnTo>
                <a:lnTo>
                  <a:pt x="486" y="750"/>
                </a:lnTo>
                <a:lnTo>
                  <a:pt x="480" y="750"/>
                </a:lnTo>
                <a:lnTo>
                  <a:pt x="480" y="744"/>
                </a:lnTo>
                <a:lnTo>
                  <a:pt x="474" y="744"/>
                </a:lnTo>
                <a:lnTo>
                  <a:pt x="474" y="738"/>
                </a:lnTo>
                <a:lnTo>
                  <a:pt x="468" y="738"/>
                </a:lnTo>
                <a:lnTo>
                  <a:pt x="468" y="744"/>
                </a:lnTo>
                <a:lnTo>
                  <a:pt x="474" y="750"/>
                </a:lnTo>
                <a:lnTo>
                  <a:pt x="480" y="756"/>
                </a:lnTo>
                <a:lnTo>
                  <a:pt x="486" y="756"/>
                </a:lnTo>
                <a:lnTo>
                  <a:pt x="492" y="762"/>
                </a:lnTo>
                <a:lnTo>
                  <a:pt x="498" y="768"/>
                </a:lnTo>
                <a:lnTo>
                  <a:pt x="492" y="774"/>
                </a:lnTo>
                <a:lnTo>
                  <a:pt x="492" y="780"/>
                </a:lnTo>
                <a:lnTo>
                  <a:pt x="498" y="780"/>
                </a:lnTo>
                <a:lnTo>
                  <a:pt x="492" y="786"/>
                </a:lnTo>
                <a:lnTo>
                  <a:pt x="492" y="792"/>
                </a:lnTo>
                <a:lnTo>
                  <a:pt x="492" y="798"/>
                </a:lnTo>
                <a:lnTo>
                  <a:pt x="486" y="804"/>
                </a:lnTo>
                <a:lnTo>
                  <a:pt x="480" y="804"/>
                </a:lnTo>
                <a:lnTo>
                  <a:pt x="480" y="810"/>
                </a:lnTo>
                <a:lnTo>
                  <a:pt x="480" y="804"/>
                </a:lnTo>
                <a:lnTo>
                  <a:pt x="474" y="804"/>
                </a:lnTo>
                <a:lnTo>
                  <a:pt x="474" y="798"/>
                </a:lnTo>
                <a:lnTo>
                  <a:pt x="474" y="804"/>
                </a:lnTo>
                <a:lnTo>
                  <a:pt x="468" y="804"/>
                </a:lnTo>
                <a:lnTo>
                  <a:pt x="468" y="810"/>
                </a:lnTo>
                <a:lnTo>
                  <a:pt x="462" y="810"/>
                </a:lnTo>
                <a:lnTo>
                  <a:pt x="456" y="810"/>
                </a:lnTo>
                <a:lnTo>
                  <a:pt x="450" y="810"/>
                </a:lnTo>
                <a:lnTo>
                  <a:pt x="450" y="816"/>
                </a:lnTo>
                <a:lnTo>
                  <a:pt x="456" y="816"/>
                </a:lnTo>
                <a:lnTo>
                  <a:pt x="456" y="822"/>
                </a:lnTo>
                <a:lnTo>
                  <a:pt x="450" y="822"/>
                </a:lnTo>
                <a:lnTo>
                  <a:pt x="450" y="816"/>
                </a:lnTo>
                <a:lnTo>
                  <a:pt x="444" y="816"/>
                </a:lnTo>
                <a:lnTo>
                  <a:pt x="438" y="810"/>
                </a:lnTo>
                <a:lnTo>
                  <a:pt x="432" y="810"/>
                </a:lnTo>
                <a:lnTo>
                  <a:pt x="426" y="804"/>
                </a:lnTo>
                <a:lnTo>
                  <a:pt x="426" y="798"/>
                </a:lnTo>
                <a:lnTo>
                  <a:pt x="420" y="798"/>
                </a:lnTo>
                <a:lnTo>
                  <a:pt x="426" y="798"/>
                </a:lnTo>
                <a:lnTo>
                  <a:pt x="426" y="792"/>
                </a:lnTo>
                <a:lnTo>
                  <a:pt x="426" y="786"/>
                </a:lnTo>
                <a:lnTo>
                  <a:pt x="432" y="786"/>
                </a:lnTo>
                <a:lnTo>
                  <a:pt x="432" y="780"/>
                </a:lnTo>
                <a:lnTo>
                  <a:pt x="426" y="774"/>
                </a:lnTo>
                <a:lnTo>
                  <a:pt x="420" y="768"/>
                </a:lnTo>
                <a:lnTo>
                  <a:pt x="420" y="762"/>
                </a:lnTo>
                <a:lnTo>
                  <a:pt x="420" y="756"/>
                </a:lnTo>
                <a:lnTo>
                  <a:pt x="420" y="750"/>
                </a:lnTo>
                <a:lnTo>
                  <a:pt x="414" y="750"/>
                </a:lnTo>
                <a:lnTo>
                  <a:pt x="420" y="750"/>
                </a:lnTo>
                <a:lnTo>
                  <a:pt x="420" y="744"/>
                </a:lnTo>
                <a:lnTo>
                  <a:pt x="414" y="744"/>
                </a:lnTo>
                <a:lnTo>
                  <a:pt x="414" y="738"/>
                </a:lnTo>
                <a:lnTo>
                  <a:pt x="414" y="732"/>
                </a:lnTo>
                <a:lnTo>
                  <a:pt x="408" y="732"/>
                </a:lnTo>
                <a:lnTo>
                  <a:pt x="408" y="726"/>
                </a:lnTo>
                <a:lnTo>
                  <a:pt x="402" y="726"/>
                </a:lnTo>
                <a:lnTo>
                  <a:pt x="396" y="726"/>
                </a:lnTo>
                <a:lnTo>
                  <a:pt x="390" y="726"/>
                </a:lnTo>
                <a:lnTo>
                  <a:pt x="390" y="720"/>
                </a:lnTo>
                <a:lnTo>
                  <a:pt x="390" y="714"/>
                </a:lnTo>
                <a:lnTo>
                  <a:pt x="384" y="708"/>
                </a:lnTo>
                <a:lnTo>
                  <a:pt x="384" y="702"/>
                </a:lnTo>
                <a:lnTo>
                  <a:pt x="378" y="702"/>
                </a:lnTo>
                <a:lnTo>
                  <a:pt x="378" y="696"/>
                </a:lnTo>
                <a:lnTo>
                  <a:pt x="378" y="690"/>
                </a:lnTo>
                <a:lnTo>
                  <a:pt x="372" y="684"/>
                </a:lnTo>
                <a:lnTo>
                  <a:pt x="372" y="678"/>
                </a:lnTo>
                <a:lnTo>
                  <a:pt x="372" y="672"/>
                </a:lnTo>
                <a:lnTo>
                  <a:pt x="366" y="672"/>
                </a:lnTo>
                <a:lnTo>
                  <a:pt x="366" y="666"/>
                </a:lnTo>
                <a:lnTo>
                  <a:pt x="366" y="660"/>
                </a:lnTo>
                <a:lnTo>
                  <a:pt x="366" y="654"/>
                </a:lnTo>
                <a:lnTo>
                  <a:pt x="360" y="648"/>
                </a:lnTo>
                <a:lnTo>
                  <a:pt x="360" y="654"/>
                </a:lnTo>
                <a:lnTo>
                  <a:pt x="360" y="660"/>
                </a:lnTo>
                <a:lnTo>
                  <a:pt x="360" y="666"/>
                </a:lnTo>
                <a:lnTo>
                  <a:pt x="360" y="672"/>
                </a:lnTo>
                <a:lnTo>
                  <a:pt x="360" y="678"/>
                </a:lnTo>
                <a:lnTo>
                  <a:pt x="366" y="678"/>
                </a:lnTo>
                <a:lnTo>
                  <a:pt x="366" y="684"/>
                </a:lnTo>
                <a:lnTo>
                  <a:pt x="366" y="690"/>
                </a:lnTo>
                <a:lnTo>
                  <a:pt x="372" y="696"/>
                </a:lnTo>
                <a:lnTo>
                  <a:pt x="372" y="702"/>
                </a:lnTo>
                <a:lnTo>
                  <a:pt x="372" y="708"/>
                </a:lnTo>
                <a:lnTo>
                  <a:pt x="372" y="714"/>
                </a:lnTo>
                <a:lnTo>
                  <a:pt x="366" y="714"/>
                </a:lnTo>
                <a:lnTo>
                  <a:pt x="360" y="714"/>
                </a:lnTo>
                <a:lnTo>
                  <a:pt x="354" y="714"/>
                </a:lnTo>
                <a:lnTo>
                  <a:pt x="348" y="714"/>
                </a:lnTo>
                <a:lnTo>
                  <a:pt x="348" y="708"/>
                </a:lnTo>
                <a:lnTo>
                  <a:pt x="342" y="708"/>
                </a:lnTo>
                <a:lnTo>
                  <a:pt x="342" y="702"/>
                </a:lnTo>
                <a:lnTo>
                  <a:pt x="342" y="696"/>
                </a:lnTo>
                <a:lnTo>
                  <a:pt x="336" y="696"/>
                </a:lnTo>
                <a:lnTo>
                  <a:pt x="336" y="690"/>
                </a:lnTo>
                <a:lnTo>
                  <a:pt x="336" y="684"/>
                </a:lnTo>
                <a:lnTo>
                  <a:pt x="330" y="684"/>
                </a:lnTo>
                <a:lnTo>
                  <a:pt x="330" y="678"/>
                </a:lnTo>
                <a:lnTo>
                  <a:pt x="324" y="672"/>
                </a:lnTo>
                <a:lnTo>
                  <a:pt x="324" y="666"/>
                </a:lnTo>
                <a:lnTo>
                  <a:pt x="318" y="666"/>
                </a:lnTo>
                <a:lnTo>
                  <a:pt x="318" y="672"/>
                </a:lnTo>
                <a:lnTo>
                  <a:pt x="324" y="672"/>
                </a:lnTo>
                <a:lnTo>
                  <a:pt x="324" y="678"/>
                </a:lnTo>
                <a:lnTo>
                  <a:pt x="324" y="684"/>
                </a:lnTo>
                <a:lnTo>
                  <a:pt x="330" y="684"/>
                </a:lnTo>
                <a:lnTo>
                  <a:pt x="330" y="690"/>
                </a:lnTo>
                <a:lnTo>
                  <a:pt x="330" y="696"/>
                </a:lnTo>
                <a:lnTo>
                  <a:pt x="336" y="702"/>
                </a:lnTo>
                <a:lnTo>
                  <a:pt x="342" y="708"/>
                </a:lnTo>
                <a:lnTo>
                  <a:pt x="342" y="714"/>
                </a:lnTo>
                <a:lnTo>
                  <a:pt x="348" y="720"/>
                </a:lnTo>
                <a:lnTo>
                  <a:pt x="342" y="720"/>
                </a:lnTo>
                <a:lnTo>
                  <a:pt x="336" y="720"/>
                </a:lnTo>
                <a:lnTo>
                  <a:pt x="330" y="720"/>
                </a:lnTo>
                <a:lnTo>
                  <a:pt x="330" y="726"/>
                </a:lnTo>
                <a:lnTo>
                  <a:pt x="336" y="726"/>
                </a:lnTo>
                <a:lnTo>
                  <a:pt x="330" y="732"/>
                </a:lnTo>
                <a:lnTo>
                  <a:pt x="330" y="738"/>
                </a:lnTo>
                <a:lnTo>
                  <a:pt x="330" y="744"/>
                </a:lnTo>
                <a:lnTo>
                  <a:pt x="336" y="744"/>
                </a:lnTo>
                <a:lnTo>
                  <a:pt x="342" y="744"/>
                </a:lnTo>
                <a:lnTo>
                  <a:pt x="348" y="744"/>
                </a:lnTo>
                <a:lnTo>
                  <a:pt x="348" y="750"/>
                </a:lnTo>
                <a:lnTo>
                  <a:pt x="354" y="750"/>
                </a:lnTo>
                <a:lnTo>
                  <a:pt x="360" y="756"/>
                </a:lnTo>
                <a:lnTo>
                  <a:pt x="360" y="762"/>
                </a:lnTo>
                <a:lnTo>
                  <a:pt x="366" y="762"/>
                </a:lnTo>
                <a:lnTo>
                  <a:pt x="366" y="768"/>
                </a:lnTo>
                <a:lnTo>
                  <a:pt x="366" y="774"/>
                </a:lnTo>
                <a:lnTo>
                  <a:pt x="366" y="780"/>
                </a:lnTo>
                <a:lnTo>
                  <a:pt x="366" y="786"/>
                </a:lnTo>
                <a:lnTo>
                  <a:pt x="366" y="780"/>
                </a:lnTo>
                <a:lnTo>
                  <a:pt x="366" y="786"/>
                </a:lnTo>
                <a:lnTo>
                  <a:pt x="372" y="792"/>
                </a:lnTo>
                <a:lnTo>
                  <a:pt x="372" y="798"/>
                </a:lnTo>
                <a:lnTo>
                  <a:pt x="372" y="804"/>
                </a:lnTo>
                <a:lnTo>
                  <a:pt x="378" y="804"/>
                </a:lnTo>
                <a:lnTo>
                  <a:pt x="378" y="810"/>
                </a:lnTo>
                <a:lnTo>
                  <a:pt x="378" y="816"/>
                </a:lnTo>
                <a:lnTo>
                  <a:pt x="372" y="816"/>
                </a:lnTo>
                <a:lnTo>
                  <a:pt x="378" y="816"/>
                </a:lnTo>
                <a:lnTo>
                  <a:pt x="378" y="822"/>
                </a:lnTo>
                <a:lnTo>
                  <a:pt x="378" y="828"/>
                </a:lnTo>
                <a:lnTo>
                  <a:pt x="378" y="834"/>
                </a:lnTo>
                <a:lnTo>
                  <a:pt x="384" y="834"/>
                </a:lnTo>
                <a:lnTo>
                  <a:pt x="384" y="840"/>
                </a:lnTo>
                <a:lnTo>
                  <a:pt x="390" y="840"/>
                </a:lnTo>
                <a:lnTo>
                  <a:pt x="390" y="846"/>
                </a:lnTo>
                <a:lnTo>
                  <a:pt x="396" y="846"/>
                </a:lnTo>
                <a:lnTo>
                  <a:pt x="396" y="852"/>
                </a:lnTo>
                <a:lnTo>
                  <a:pt x="396" y="858"/>
                </a:lnTo>
                <a:lnTo>
                  <a:pt x="396" y="852"/>
                </a:lnTo>
                <a:lnTo>
                  <a:pt x="396" y="858"/>
                </a:lnTo>
                <a:lnTo>
                  <a:pt x="390" y="864"/>
                </a:lnTo>
                <a:lnTo>
                  <a:pt x="384" y="864"/>
                </a:lnTo>
                <a:lnTo>
                  <a:pt x="384" y="870"/>
                </a:lnTo>
                <a:lnTo>
                  <a:pt x="378" y="864"/>
                </a:lnTo>
                <a:lnTo>
                  <a:pt x="372" y="864"/>
                </a:lnTo>
                <a:lnTo>
                  <a:pt x="366" y="858"/>
                </a:lnTo>
                <a:lnTo>
                  <a:pt x="366" y="852"/>
                </a:lnTo>
                <a:lnTo>
                  <a:pt x="360" y="852"/>
                </a:lnTo>
                <a:lnTo>
                  <a:pt x="360" y="858"/>
                </a:lnTo>
                <a:lnTo>
                  <a:pt x="366" y="858"/>
                </a:lnTo>
                <a:lnTo>
                  <a:pt x="366" y="864"/>
                </a:lnTo>
                <a:lnTo>
                  <a:pt x="360" y="864"/>
                </a:lnTo>
                <a:lnTo>
                  <a:pt x="354" y="864"/>
                </a:lnTo>
                <a:lnTo>
                  <a:pt x="354" y="870"/>
                </a:lnTo>
                <a:lnTo>
                  <a:pt x="354" y="864"/>
                </a:lnTo>
                <a:lnTo>
                  <a:pt x="348" y="864"/>
                </a:lnTo>
                <a:lnTo>
                  <a:pt x="342" y="864"/>
                </a:lnTo>
                <a:lnTo>
                  <a:pt x="342" y="858"/>
                </a:lnTo>
                <a:lnTo>
                  <a:pt x="336" y="858"/>
                </a:lnTo>
                <a:lnTo>
                  <a:pt x="330" y="858"/>
                </a:lnTo>
                <a:lnTo>
                  <a:pt x="324" y="858"/>
                </a:lnTo>
                <a:lnTo>
                  <a:pt x="318" y="858"/>
                </a:lnTo>
                <a:lnTo>
                  <a:pt x="312" y="852"/>
                </a:lnTo>
                <a:lnTo>
                  <a:pt x="306" y="852"/>
                </a:lnTo>
                <a:lnTo>
                  <a:pt x="300" y="852"/>
                </a:lnTo>
                <a:lnTo>
                  <a:pt x="294" y="852"/>
                </a:lnTo>
                <a:lnTo>
                  <a:pt x="294" y="846"/>
                </a:lnTo>
                <a:lnTo>
                  <a:pt x="288" y="840"/>
                </a:lnTo>
                <a:lnTo>
                  <a:pt x="288" y="828"/>
                </a:lnTo>
                <a:lnTo>
                  <a:pt x="288" y="822"/>
                </a:lnTo>
                <a:lnTo>
                  <a:pt x="282" y="822"/>
                </a:lnTo>
                <a:lnTo>
                  <a:pt x="288" y="822"/>
                </a:lnTo>
                <a:lnTo>
                  <a:pt x="282" y="822"/>
                </a:lnTo>
                <a:lnTo>
                  <a:pt x="282" y="816"/>
                </a:lnTo>
                <a:lnTo>
                  <a:pt x="282" y="810"/>
                </a:lnTo>
                <a:lnTo>
                  <a:pt x="276" y="810"/>
                </a:lnTo>
                <a:lnTo>
                  <a:pt x="276" y="804"/>
                </a:lnTo>
                <a:lnTo>
                  <a:pt x="276" y="798"/>
                </a:lnTo>
                <a:lnTo>
                  <a:pt x="276" y="792"/>
                </a:lnTo>
                <a:lnTo>
                  <a:pt x="270" y="786"/>
                </a:lnTo>
                <a:lnTo>
                  <a:pt x="270" y="780"/>
                </a:lnTo>
                <a:lnTo>
                  <a:pt x="270" y="774"/>
                </a:lnTo>
                <a:lnTo>
                  <a:pt x="264" y="768"/>
                </a:lnTo>
                <a:lnTo>
                  <a:pt x="264" y="762"/>
                </a:lnTo>
                <a:lnTo>
                  <a:pt x="264" y="756"/>
                </a:lnTo>
                <a:lnTo>
                  <a:pt x="264" y="750"/>
                </a:lnTo>
                <a:lnTo>
                  <a:pt x="264" y="744"/>
                </a:lnTo>
                <a:lnTo>
                  <a:pt x="264" y="738"/>
                </a:lnTo>
                <a:lnTo>
                  <a:pt x="264" y="732"/>
                </a:lnTo>
                <a:lnTo>
                  <a:pt x="270" y="732"/>
                </a:lnTo>
                <a:lnTo>
                  <a:pt x="276" y="726"/>
                </a:lnTo>
                <a:lnTo>
                  <a:pt x="276" y="720"/>
                </a:lnTo>
                <a:lnTo>
                  <a:pt x="282" y="720"/>
                </a:lnTo>
                <a:lnTo>
                  <a:pt x="282" y="714"/>
                </a:lnTo>
                <a:lnTo>
                  <a:pt x="282" y="708"/>
                </a:lnTo>
                <a:lnTo>
                  <a:pt x="276" y="708"/>
                </a:lnTo>
                <a:lnTo>
                  <a:pt x="276" y="702"/>
                </a:lnTo>
                <a:lnTo>
                  <a:pt x="270" y="702"/>
                </a:lnTo>
                <a:lnTo>
                  <a:pt x="270" y="696"/>
                </a:lnTo>
                <a:lnTo>
                  <a:pt x="264" y="690"/>
                </a:lnTo>
                <a:lnTo>
                  <a:pt x="258" y="690"/>
                </a:lnTo>
                <a:lnTo>
                  <a:pt x="258" y="684"/>
                </a:lnTo>
                <a:lnTo>
                  <a:pt x="252" y="684"/>
                </a:lnTo>
                <a:lnTo>
                  <a:pt x="252" y="678"/>
                </a:lnTo>
                <a:lnTo>
                  <a:pt x="246" y="678"/>
                </a:lnTo>
                <a:lnTo>
                  <a:pt x="240" y="678"/>
                </a:lnTo>
                <a:lnTo>
                  <a:pt x="240" y="684"/>
                </a:lnTo>
                <a:lnTo>
                  <a:pt x="246" y="684"/>
                </a:lnTo>
                <a:lnTo>
                  <a:pt x="252" y="690"/>
                </a:lnTo>
                <a:lnTo>
                  <a:pt x="258" y="690"/>
                </a:lnTo>
                <a:lnTo>
                  <a:pt x="258" y="696"/>
                </a:lnTo>
                <a:lnTo>
                  <a:pt x="258" y="702"/>
                </a:lnTo>
                <a:lnTo>
                  <a:pt x="264" y="702"/>
                </a:lnTo>
                <a:lnTo>
                  <a:pt x="270" y="708"/>
                </a:lnTo>
                <a:lnTo>
                  <a:pt x="270" y="714"/>
                </a:lnTo>
                <a:lnTo>
                  <a:pt x="270" y="720"/>
                </a:lnTo>
                <a:lnTo>
                  <a:pt x="276" y="720"/>
                </a:lnTo>
                <a:lnTo>
                  <a:pt x="270" y="720"/>
                </a:lnTo>
                <a:lnTo>
                  <a:pt x="270" y="726"/>
                </a:lnTo>
                <a:lnTo>
                  <a:pt x="264" y="726"/>
                </a:lnTo>
                <a:lnTo>
                  <a:pt x="264" y="732"/>
                </a:lnTo>
                <a:lnTo>
                  <a:pt x="258" y="732"/>
                </a:lnTo>
                <a:lnTo>
                  <a:pt x="252" y="738"/>
                </a:lnTo>
                <a:lnTo>
                  <a:pt x="252" y="744"/>
                </a:lnTo>
                <a:lnTo>
                  <a:pt x="252" y="750"/>
                </a:lnTo>
                <a:lnTo>
                  <a:pt x="252" y="756"/>
                </a:lnTo>
                <a:lnTo>
                  <a:pt x="258" y="762"/>
                </a:lnTo>
                <a:lnTo>
                  <a:pt x="258" y="768"/>
                </a:lnTo>
                <a:lnTo>
                  <a:pt x="258" y="774"/>
                </a:lnTo>
                <a:lnTo>
                  <a:pt x="258" y="780"/>
                </a:lnTo>
                <a:lnTo>
                  <a:pt x="264" y="786"/>
                </a:lnTo>
                <a:lnTo>
                  <a:pt x="264" y="792"/>
                </a:lnTo>
                <a:lnTo>
                  <a:pt x="264" y="798"/>
                </a:lnTo>
                <a:lnTo>
                  <a:pt x="270" y="810"/>
                </a:lnTo>
                <a:lnTo>
                  <a:pt x="270" y="816"/>
                </a:lnTo>
                <a:lnTo>
                  <a:pt x="270" y="822"/>
                </a:lnTo>
                <a:lnTo>
                  <a:pt x="276" y="822"/>
                </a:lnTo>
                <a:lnTo>
                  <a:pt x="276" y="828"/>
                </a:lnTo>
                <a:lnTo>
                  <a:pt x="276" y="834"/>
                </a:lnTo>
                <a:lnTo>
                  <a:pt x="276" y="840"/>
                </a:lnTo>
                <a:lnTo>
                  <a:pt x="276" y="846"/>
                </a:lnTo>
                <a:lnTo>
                  <a:pt x="282" y="852"/>
                </a:lnTo>
                <a:lnTo>
                  <a:pt x="282" y="858"/>
                </a:lnTo>
                <a:lnTo>
                  <a:pt x="294" y="864"/>
                </a:lnTo>
                <a:lnTo>
                  <a:pt x="300" y="870"/>
                </a:lnTo>
                <a:lnTo>
                  <a:pt x="300" y="876"/>
                </a:lnTo>
                <a:lnTo>
                  <a:pt x="288" y="876"/>
                </a:lnTo>
                <a:lnTo>
                  <a:pt x="282" y="876"/>
                </a:lnTo>
                <a:lnTo>
                  <a:pt x="276" y="876"/>
                </a:lnTo>
                <a:lnTo>
                  <a:pt x="264" y="876"/>
                </a:lnTo>
                <a:lnTo>
                  <a:pt x="258" y="876"/>
                </a:lnTo>
                <a:lnTo>
                  <a:pt x="252" y="882"/>
                </a:lnTo>
                <a:lnTo>
                  <a:pt x="246" y="882"/>
                </a:lnTo>
                <a:lnTo>
                  <a:pt x="240" y="882"/>
                </a:lnTo>
                <a:lnTo>
                  <a:pt x="234" y="882"/>
                </a:lnTo>
                <a:lnTo>
                  <a:pt x="222" y="882"/>
                </a:lnTo>
                <a:lnTo>
                  <a:pt x="216" y="882"/>
                </a:lnTo>
                <a:lnTo>
                  <a:pt x="210" y="882"/>
                </a:lnTo>
                <a:lnTo>
                  <a:pt x="204" y="882"/>
                </a:lnTo>
                <a:lnTo>
                  <a:pt x="204" y="876"/>
                </a:lnTo>
                <a:lnTo>
                  <a:pt x="198" y="876"/>
                </a:lnTo>
                <a:lnTo>
                  <a:pt x="198" y="870"/>
                </a:lnTo>
                <a:lnTo>
                  <a:pt x="198" y="852"/>
                </a:lnTo>
                <a:lnTo>
                  <a:pt x="198" y="846"/>
                </a:lnTo>
                <a:lnTo>
                  <a:pt x="204" y="846"/>
                </a:lnTo>
                <a:lnTo>
                  <a:pt x="198" y="840"/>
                </a:lnTo>
                <a:lnTo>
                  <a:pt x="198" y="834"/>
                </a:lnTo>
                <a:lnTo>
                  <a:pt x="198" y="828"/>
                </a:lnTo>
                <a:lnTo>
                  <a:pt x="198" y="822"/>
                </a:lnTo>
                <a:lnTo>
                  <a:pt x="198" y="816"/>
                </a:lnTo>
                <a:lnTo>
                  <a:pt x="198" y="810"/>
                </a:lnTo>
                <a:lnTo>
                  <a:pt x="192" y="810"/>
                </a:lnTo>
                <a:lnTo>
                  <a:pt x="192" y="804"/>
                </a:lnTo>
                <a:lnTo>
                  <a:pt x="192" y="798"/>
                </a:lnTo>
                <a:lnTo>
                  <a:pt x="186" y="786"/>
                </a:lnTo>
                <a:lnTo>
                  <a:pt x="192" y="786"/>
                </a:lnTo>
                <a:lnTo>
                  <a:pt x="192" y="780"/>
                </a:lnTo>
                <a:lnTo>
                  <a:pt x="192" y="774"/>
                </a:lnTo>
                <a:lnTo>
                  <a:pt x="192" y="768"/>
                </a:lnTo>
                <a:lnTo>
                  <a:pt x="198" y="768"/>
                </a:lnTo>
                <a:lnTo>
                  <a:pt x="198" y="762"/>
                </a:lnTo>
                <a:lnTo>
                  <a:pt x="198" y="756"/>
                </a:lnTo>
                <a:lnTo>
                  <a:pt x="204" y="756"/>
                </a:lnTo>
                <a:lnTo>
                  <a:pt x="204" y="750"/>
                </a:lnTo>
                <a:lnTo>
                  <a:pt x="210" y="744"/>
                </a:lnTo>
                <a:lnTo>
                  <a:pt x="210" y="738"/>
                </a:lnTo>
                <a:lnTo>
                  <a:pt x="210" y="732"/>
                </a:lnTo>
                <a:lnTo>
                  <a:pt x="210" y="726"/>
                </a:lnTo>
                <a:lnTo>
                  <a:pt x="210" y="720"/>
                </a:lnTo>
                <a:lnTo>
                  <a:pt x="204" y="714"/>
                </a:lnTo>
                <a:lnTo>
                  <a:pt x="204" y="720"/>
                </a:lnTo>
                <a:lnTo>
                  <a:pt x="204" y="732"/>
                </a:lnTo>
                <a:lnTo>
                  <a:pt x="204" y="738"/>
                </a:lnTo>
                <a:lnTo>
                  <a:pt x="198" y="738"/>
                </a:lnTo>
                <a:lnTo>
                  <a:pt x="198" y="744"/>
                </a:lnTo>
                <a:lnTo>
                  <a:pt x="198" y="750"/>
                </a:lnTo>
                <a:lnTo>
                  <a:pt x="192" y="756"/>
                </a:lnTo>
                <a:lnTo>
                  <a:pt x="186" y="762"/>
                </a:lnTo>
                <a:lnTo>
                  <a:pt x="186" y="768"/>
                </a:lnTo>
                <a:lnTo>
                  <a:pt x="186" y="774"/>
                </a:lnTo>
                <a:lnTo>
                  <a:pt x="186" y="780"/>
                </a:lnTo>
                <a:lnTo>
                  <a:pt x="186" y="786"/>
                </a:lnTo>
                <a:lnTo>
                  <a:pt x="186" y="792"/>
                </a:lnTo>
                <a:lnTo>
                  <a:pt x="186" y="798"/>
                </a:lnTo>
                <a:lnTo>
                  <a:pt x="186" y="804"/>
                </a:lnTo>
                <a:lnTo>
                  <a:pt x="186" y="810"/>
                </a:lnTo>
                <a:lnTo>
                  <a:pt x="192" y="816"/>
                </a:lnTo>
                <a:lnTo>
                  <a:pt x="192" y="828"/>
                </a:lnTo>
                <a:lnTo>
                  <a:pt x="192" y="834"/>
                </a:lnTo>
                <a:lnTo>
                  <a:pt x="186" y="834"/>
                </a:lnTo>
                <a:lnTo>
                  <a:pt x="186" y="828"/>
                </a:lnTo>
                <a:lnTo>
                  <a:pt x="180" y="822"/>
                </a:lnTo>
                <a:lnTo>
                  <a:pt x="180" y="816"/>
                </a:lnTo>
                <a:lnTo>
                  <a:pt x="180" y="810"/>
                </a:lnTo>
                <a:lnTo>
                  <a:pt x="174" y="810"/>
                </a:lnTo>
                <a:lnTo>
                  <a:pt x="174" y="804"/>
                </a:lnTo>
                <a:lnTo>
                  <a:pt x="174" y="798"/>
                </a:lnTo>
                <a:lnTo>
                  <a:pt x="174" y="792"/>
                </a:lnTo>
                <a:lnTo>
                  <a:pt x="168" y="786"/>
                </a:lnTo>
                <a:lnTo>
                  <a:pt x="168" y="780"/>
                </a:lnTo>
                <a:lnTo>
                  <a:pt x="162" y="780"/>
                </a:lnTo>
                <a:lnTo>
                  <a:pt x="168" y="774"/>
                </a:lnTo>
                <a:lnTo>
                  <a:pt x="168" y="768"/>
                </a:lnTo>
                <a:lnTo>
                  <a:pt x="174" y="768"/>
                </a:lnTo>
                <a:lnTo>
                  <a:pt x="168" y="768"/>
                </a:lnTo>
                <a:lnTo>
                  <a:pt x="162" y="774"/>
                </a:lnTo>
                <a:lnTo>
                  <a:pt x="162" y="780"/>
                </a:lnTo>
                <a:lnTo>
                  <a:pt x="156" y="780"/>
                </a:lnTo>
                <a:lnTo>
                  <a:pt x="150" y="780"/>
                </a:lnTo>
                <a:lnTo>
                  <a:pt x="150" y="774"/>
                </a:lnTo>
                <a:lnTo>
                  <a:pt x="144" y="774"/>
                </a:lnTo>
                <a:lnTo>
                  <a:pt x="144" y="768"/>
                </a:lnTo>
                <a:lnTo>
                  <a:pt x="144" y="762"/>
                </a:lnTo>
                <a:lnTo>
                  <a:pt x="138" y="756"/>
                </a:lnTo>
                <a:lnTo>
                  <a:pt x="132" y="756"/>
                </a:lnTo>
                <a:lnTo>
                  <a:pt x="138" y="756"/>
                </a:lnTo>
                <a:lnTo>
                  <a:pt x="138" y="762"/>
                </a:lnTo>
                <a:lnTo>
                  <a:pt x="138" y="768"/>
                </a:lnTo>
                <a:lnTo>
                  <a:pt x="144" y="768"/>
                </a:lnTo>
                <a:lnTo>
                  <a:pt x="144" y="774"/>
                </a:lnTo>
                <a:lnTo>
                  <a:pt x="150" y="780"/>
                </a:lnTo>
                <a:lnTo>
                  <a:pt x="156" y="780"/>
                </a:lnTo>
                <a:lnTo>
                  <a:pt x="156" y="786"/>
                </a:lnTo>
                <a:lnTo>
                  <a:pt x="162" y="786"/>
                </a:lnTo>
                <a:lnTo>
                  <a:pt x="168" y="792"/>
                </a:lnTo>
                <a:lnTo>
                  <a:pt x="168" y="798"/>
                </a:lnTo>
                <a:lnTo>
                  <a:pt x="168" y="804"/>
                </a:lnTo>
                <a:lnTo>
                  <a:pt x="174" y="810"/>
                </a:lnTo>
                <a:lnTo>
                  <a:pt x="174" y="816"/>
                </a:lnTo>
                <a:lnTo>
                  <a:pt x="174" y="822"/>
                </a:lnTo>
                <a:lnTo>
                  <a:pt x="168" y="822"/>
                </a:lnTo>
                <a:lnTo>
                  <a:pt x="174" y="822"/>
                </a:lnTo>
                <a:lnTo>
                  <a:pt x="168" y="822"/>
                </a:lnTo>
                <a:lnTo>
                  <a:pt x="168" y="828"/>
                </a:lnTo>
                <a:lnTo>
                  <a:pt x="168" y="834"/>
                </a:lnTo>
                <a:lnTo>
                  <a:pt x="174" y="840"/>
                </a:lnTo>
                <a:lnTo>
                  <a:pt x="180" y="840"/>
                </a:lnTo>
                <a:lnTo>
                  <a:pt x="180" y="846"/>
                </a:lnTo>
                <a:lnTo>
                  <a:pt x="186" y="846"/>
                </a:lnTo>
                <a:lnTo>
                  <a:pt x="186" y="852"/>
                </a:lnTo>
                <a:lnTo>
                  <a:pt x="186" y="858"/>
                </a:lnTo>
                <a:lnTo>
                  <a:pt x="186" y="864"/>
                </a:lnTo>
                <a:lnTo>
                  <a:pt x="192" y="864"/>
                </a:lnTo>
                <a:lnTo>
                  <a:pt x="192" y="870"/>
                </a:lnTo>
                <a:lnTo>
                  <a:pt x="192" y="876"/>
                </a:lnTo>
                <a:lnTo>
                  <a:pt x="192" y="882"/>
                </a:lnTo>
                <a:lnTo>
                  <a:pt x="192" y="888"/>
                </a:lnTo>
                <a:lnTo>
                  <a:pt x="186" y="888"/>
                </a:lnTo>
                <a:lnTo>
                  <a:pt x="180" y="888"/>
                </a:lnTo>
                <a:lnTo>
                  <a:pt x="174" y="888"/>
                </a:lnTo>
                <a:lnTo>
                  <a:pt x="168" y="894"/>
                </a:lnTo>
                <a:lnTo>
                  <a:pt x="162" y="894"/>
                </a:lnTo>
                <a:lnTo>
                  <a:pt x="156" y="894"/>
                </a:lnTo>
                <a:lnTo>
                  <a:pt x="150" y="894"/>
                </a:lnTo>
                <a:lnTo>
                  <a:pt x="144" y="894"/>
                </a:lnTo>
                <a:lnTo>
                  <a:pt x="144" y="900"/>
                </a:lnTo>
                <a:lnTo>
                  <a:pt x="138" y="894"/>
                </a:lnTo>
                <a:lnTo>
                  <a:pt x="138" y="900"/>
                </a:lnTo>
                <a:lnTo>
                  <a:pt x="132" y="894"/>
                </a:lnTo>
                <a:lnTo>
                  <a:pt x="132" y="888"/>
                </a:lnTo>
                <a:lnTo>
                  <a:pt x="126" y="888"/>
                </a:lnTo>
                <a:lnTo>
                  <a:pt x="126" y="882"/>
                </a:lnTo>
                <a:lnTo>
                  <a:pt x="126" y="876"/>
                </a:lnTo>
                <a:lnTo>
                  <a:pt x="120" y="876"/>
                </a:lnTo>
                <a:lnTo>
                  <a:pt x="126" y="870"/>
                </a:lnTo>
                <a:lnTo>
                  <a:pt x="126" y="864"/>
                </a:lnTo>
                <a:lnTo>
                  <a:pt x="126" y="858"/>
                </a:lnTo>
                <a:lnTo>
                  <a:pt x="126" y="852"/>
                </a:lnTo>
                <a:lnTo>
                  <a:pt x="126" y="846"/>
                </a:lnTo>
                <a:lnTo>
                  <a:pt x="126" y="840"/>
                </a:lnTo>
                <a:lnTo>
                  <a:pt x="126" y="828"/>
                </a:lnTo>
                <a:lnTo>
                  <a:pt x="126" y="822"/>
                </a:lnTo>
                <a:lnTo>
                  <a:pt x="126" y="816"/>
                </a:lnTo>
                <a:lnTo>
                  <a:pt x="126" y="810"/>
                </a:lnTo>
                <a:lnTo>
                  <a:pt x="126" y="804"/>
                </a:lnTo>
                <a:lnTo>
                  <a:pt x="126" y="798"/>
                </a:lnTo>
                <a:lnTo>
                  <a:pt x="120" y="798"/>
                </a:lnTo>
                <a:lnTo>
                  <a:pt x="120" y="792"/>
                </a:lnTo>
                <a:lnTo>
                  <a:pt x="114" y="792"/>
                </a:lnTo>
                <a:lnTo>
                  <a:pt x="114" y="786"/>
                </a:lnTo>
                <a:lnTo>
                  <a:pt x="108" y="786"/>
                </a:lnTo>
                <a:lnTo>
                  <a:pt x="108" y="780"/>
                </a:lnTo>
                <a:lnTo>
                  <a:pt x="102" y="780"/>
                </a:lnTo>
                <a:lnTo>
                  <a:pt x="96" y="780"/>
                </a:lnTo>
                <a:lnTo>
                  <a:pt x="96" y="774"/>
                </a:lnTo>
                <a:lnTo>
                  <a:pt x="90" y="774"/>
                </a:lnTo>
                <a:lnTo>
                  <a:pt x="90" y="768"/>
                </a:lnTo>
                <a:close/>
                <a:moveTo>
                  <a:pt x="96" y="780"/>
                </a:moveTo>
                <a:lnTo>
                  <a:pt x="102" y="780"/>
                </a:lnTo>
                <a:lnTo>
                  <a:pt x="102" y="786"/>
                </a:lnTo>
                <a:lnTo>
                  <a:pt x="108" y="786"/>
                </a:lnTo>
                <a:lnTo>
                  <a:pt x="114" y="792"/>
                </a:lnTo>
                <a:lnTo>
                  <a:pt x="120" y="798"/>
                </a:lnTo>
                <a:lnTo>
                  <a:pt x="120" y="804"/>
                </a:lnTo>
                <a:lnTo>
                  <a:pt x="126" y="810"/>
                </a:lnTo>
                <a:lnTo>
                  <a:pt x="126" y="816"/>
                </a:lnTo>
                <a:lnTo>
                  <a:pt x="126" y="822"/>
                </a:lnTo>
                <a:lnTo>
                  <a:pt x="120" y="828"/>
                </a:lnTo>
                <a:lnTo>
                  <a:pt x="120" y="840"/>
                </a:lnTo>
                <a:lnTo>
                  <a:pt x="120" y="852"/>
                </a:lnTo>
                <a:lnTo>
                  <a:pt x="120" y="858"/>
                </a:lnTo>
                <a:lnTo>
                  <a:pt x="120" y="864"/>
                </a:lnTo>
                <a:lnTo>
                  <a:pt x="120" y="870"/>
                </a:lnTo>
                <a:lnTo>
                  <a:pt x="114" y="870"/>
                </a:lnTo>
                <a:lnTo>
                  <a:pt x="108" y="870"/>
                </a:lnTo>
                <a:lnTo>
                  <a:pt x="108" y="876"/>
                </a:lnTo>
                <a:lnTo>
                  <a:pt x="114" y="876"/>
                </a:lnTo>
                <a:lnTo>
                  <a:pt x="120" y="876"/>
                </a:lnTo>
                <a:lnTo>
                  <a:pt x="120" y="882"/>
                </a:lnTo>
                <a:lnTo>
                  <a:pt x="114" y="888"/>
                </a:lnTo>
                <a:lnTo>
                  <a:pt x="120" y="888"/>
                </a:lnTo>
                <a:lnTo>
                  <a:pt x="120" y="894"/>
                </a:lnTo>
                <a:lnTo>
                  <a:pt x="114" y="894"/>
                </a:lnTo>
                <a:lnTo>
                  <a:pt x="108" y="894"/>
                </a:lnTo>
                <a:lnTo>
                  <a:pt x="96" y="894"/>
                </a:lnTo>
                <a:lnTo>
                  <a:pt x="96" y="882"/>
                </a:lnTo>
                <a:lnTo>
                  <a:pt x="96" y="876"/>
                </a:lnTo>
                <a:lnTo>
                  <a:pt x="84" y="870"/>
                </a:lnTo>
                <a:lnTo>
                  <a:pt x="72" y="864"/>
                </a:lnTo>
                <a:lnTo>
                  <a:pt x="72" y="852"/>
                </a:lnTo>
                <a:lnTo>
                  <a:pt x="72" y="840"/>
                </a:lnTo>
                <a:lnTo>
                  <a:pt x="78" y="828"/>
                </a:lnTo>
                <a:lnTo>
                  <a:pt x="84" y="822"/>
                </a:lnTo>
                <a:lnTo>
                  <a:pt x="84" y="816"/>
                </a:lnTo>
                <a:lnTo>
                  <a:pt x="84" y="810"/>
                </a:lnTo>
                <a:lnTo>
                  <a:pt x="84" y="804"/>
                </a:lnTo>
                <a:lnTo>
                  <a:pt x="90" y="792"/>
                </a:lnTo>
                <a:lnTo>
                  <a:pt x="96" y="780"/>
                </a:lnTo>
                <a:close/>
                <a:moveTo>
                  <a:pt x="492" y="810"/>
                </a:moveTo>
                <a:lnTo>
                  <a:pt x="498" y="810"/>
                </a:lnTo>
                <a:lnTo>
                  <a:pt x="498" y="804"/>
                </a:lnTo>
                <a:lnTo>
                  <a:pt x="504" y="804"/>
                </a:lnTo>
                <a:lnTo>
                  <a:pt x="504" y="798"/>
                </a:lnTo>
                <a:lnTo>
                  <a:pt x="510" y="792"/>
                </a:lnTo>
                <a:lnTo>
                  <a:pt x="516" y="786"/>
                </a:lnTo>
                <a:lnTo>
                  <a:pt x="522" y="780"/>
                </a:lnTo>
                <a:lnTo>
                  <a:pt x="522" y="774"/>
                </a:lnTo>
                <a:lnTo>
                  <a:pt x="528" y="768"/>
                </a:lnTo>
                <a:lnTo>
                  <a:pt x="528" y="762"/>
                </a:lnTo>
                <a:lnTo>
                  <a:pt x="534" y="762"/>
                </a:lnTo>
                <a:lnTo>
                  <a:pt x="540" y="768"/>
                </a:lnTo>
                <a:lnTo>
                  <a:pt x="546" y="774"/>
                </a:lnTo>
                <a:lnTo>
                  <a:pt x="546" y="780"/>
                </a:lnTo>
                <a:lnTo>
                  <a:pt x="552" y="786"/>
                </a:lnTo>
                <a:lnTo>
                  <a:pt x="558" y="786"/>
                </a:lnTo>
                <a:lnTo>
                  <a:pt x="564" y="786"/>
                </a:lnTo>
                <a:lnTo>
                  <a:pt x="576" y="786"/>
                </a:lnTo>
                <a:lnTo>
                  <a:pt x="582" y="786"/>
                </a:lnTo>
                <a:lnTo>
                  <a:pt x="588" y="786"/>
                </a:lnTo>
                <a:lnTo>
                  <a:pt x="594" y="786"/>
                </a:lnTo>
                <a:lnTo>
                  <a:pt x="588" y="792"/>
                </a:lnTo>
                <a:lnTo>
                  <a:pt x="588" y="798"/>
                </a:lnTo>
                <a:lnTo>
                  <a:pt x="582" y="804"/>
                </a:lnTo>
                <a:lnTo>
                  <a:pt x="582" y="810"/>
                </a:lnTo>
                <a:lnTo>
                  <a:pt x="582" y="822"/>
                </a:lnTo>
                <a:lnTo>
                  <a:pt x="588" y="828"/>
                </a:lnTo>
                <a:lnTo>
                  <a:pt x="588" y="834"/>
                </a:lnTo>
                <a:lnTo>
                  <a:pt x="582" y="840"/>
                </a:lnTo>
                <a:lnTo>
                  <a:pt x="570" y="840"/>
                </a:lnTo>
                <a:lnTo>
                  <a:pt x="558" y="846"/>
                </a:lnTo>
                <a:lnTo>
                  <a:pt x="552" y="846"/>
                </a:lnTo>
                <a:lnTo>
                  <a:pt x="534" y="852"/>
                </a:lnTo>
                <a:lnTo>
                  <a:pt x="522" y="858"/>
                </a:lnTo>
                <a:lnTo>
                  <a:pt x="510" y="858"/>
                </a:lnTo>
                <a:lnTo>
                  <a:pt x="498" y="864"/>
                </a:lnTo>
                <a:lnTo>
                  <a:pt x="474" y="864"/>
                </a:lnTo>
                <a:lnTo>
                  <a:pt x="468" y="858"/>
                </a:lnTo>
                <a:lnTo>
                  <a:pt x="468" y="852"/>
                </a:lnTo>
                <a:lnTo>
                  <a:pt x="468" y="846"/>
                </a:lnTo>
                <a:lnTo>
                  <a:pt x="474" y="840"/>
                </a:lnTo>
                <a:lnTo>
                  <a:pt x="474" y="834"/>
                </a:lnTo>
                <a:lnTo>
                  <a:pt x="480" y="828"/>
                </a:lnTo>
                <a:lnTo>
                  <a:pt x="492" y="822"/>
                </a:lnTo>
                <a:lnTo>
                  <a:pt x="492" y="810"/>
                </a:lnTo>
                <a:close/>
                <a:moveTo>
                  <a:pt x="384" y="720"/>
                </a:moveTo>
                <a:lnTo>
                  <a:pt x="384" y="726"/>
                </a:lnTo>
                <a:lnTo>
                  <a:pt x="390" y="726"/>
                </a:lnTo>
                <a:lnTo>
                  <a:pt x="396" y="726"/>
                </a:lnTo>
                <a:lnTo>
                  <a:pt x="402" y="732"/>
                </a:lnTo>
                <a:lnTo>
                  <a:pt x="408" y="732"/>
                </a:lnTo>
                <a:lnTo>
                  <a:pt x="414" y="732"/>
                </a:lnTo>
                <a:lnTo>
                  <a:pt x="414" y="738"/>
                </a:lnTo>
                <a:lnTo>
                  <a:pt x="414" y="744"/>
                </a:lnTo>
                <a:lnTo>
                  <a:pt x="414" y="750"/>
                </a:lnTo>
                <a:lnTo>
                  <a:pt x="414" y="756"/>
                </a:lnTo>
                <a:lnTo>
                  <a:pt x="414" y="762"/>
                </a:lnTo>
                <a:lnTo>
                  <a:pt x="420" y="768"/>
                </a:lnTo>
                <a:lnTo>
                  <a:pt x="420" y="774"/>
                </a:lnTo>
                <a:lnTo>
                  <a:pt x="426" y="780"/>
                </a:lnTo>
                <a:lnTo>
                  <a:pt x="426" y="786"/>
                </a:lnTo>
                <a:lnTo>
                  <a:pt x="420" y="786"/>
                </a:lnTo>
                <a:lnTo>
                  <a:pt x="420" y="792"/>
                </a:lnTo>
                <a:lnTo>
                  <a:pt x="420" y="798"/>
                </a:lnTo>
                <a:lnTo>
                  <a:pt x="420" y="804"/>
                </a:lnTo>
                <a:lnTo>
                  <a:pt x="426" y="804"/>
                </a:lnTo>
                <a:lnTo>
                  <a:pt x="426" y="810"/>
                </a:lnTo>
                <a:lnTo>
                  <a:pt x="426" y="816"/>
                </a:lnTo>
                <a:lnTo>
                  <a:pt x="432" y="816"/>
                </a:lnTo>
                <a:lnTo>
                  <a:pt x="438" y="816"/>
                </a:lnTo>
                <a:lnTo>
                  <a:pt x="438" y="822"/>
                </a:lnTo>
                <a:lnTo>
                  <a:pt x="432" y="822"/>
                </a:lnTo>
                <a:lnTo>
                  <a:pt x="426" y="828"/>
                </a:lnTo>
                <a:lnTo>
                  <a:pt x="420" y="828"/>
                </a:lnTo>
                <a:lnTo>
                  <a:pt x="414" y="828"/>
                </a:lnTo>
                <a:lnTo>
                  <a:pt x="408" y="828"/>
                </a:lnTo>
                <a:lnTo>
                  <a:pt x="402" y="828"/>
                </a:lnTo>
                <a:lnTo>
                  <a:pt x="402" y="822"/>
                </a:lnTo>
                <a:lnTo>
                  <a:pt x="396" y="822"/>
                </a:lnTo>
                <a:lnTo>
                  <a:pt x="402" y="822"/>
                </a:lnTo>
                <a:lnTo>
                  <a:pt x="402" y="816"/>
                </a:lnTo>
                <a:lnTo>
                  <a:pt x="396" y="816"/>
                </a:lnTo>
                <a:lnTo>
                  <a:pt x="396" y="810"/>
                </a:lnTo>
                <a:lnTo>
                  <a:pt x="396" y="804"/>
                </a:lnTo>
                <a:lnTo>
                  <a:pt x="390" y="798"/>
                </a:lnTo>
                <a:lnTo>
                  <a:pt x="390" y="792"/>
                </a:lnTo>
                <a:lnTo>
                  <a:pt x="390" y="786"/>
                </a:lnTo>
                <a:lnTo>
                  <a:pt x="390" y="780"/>
                </a:lnTo>
                <a:lnTo>
                  <a:pt x="390" y="774"/>
                </a:lnTo>
                <a:lnTo>
                  <a:pt x="390" y="768"/>
                </a:lnTo>
                <a:lnTo>
                  <a:pt x="390" y="762"/>
                </a:lnTo>
                <a:lnTo>
                  <a:pt x="384" y="756"/>
                </a:lnTo>
                <a:lnTo>
                  <a:pt x="384" y="750"/>
                </a:lnTo>
                <a:lnTo>
                  <a:pt x="384" y="744"/>
                </a:lnTo>
                <a:lnTo>
                  <a:pt x="378" y="744"/>
                </a:lnTo>
                <a:lnTo>
                  <a:pt x="384" y="744"/>
                </a:lnTo>
                <a:lnTo>
                  <a:pt x="384" y="738"/>
                </a:lnTo>
                <a:lnTo>
                  <a:pt x="378" y="738"/>
                </a:lnTo>
                <a:lnTo>
                  <a:pt x="378" y="732"/>
                </a:lnTo>
                <a:lnTo>
                  <a:pt x="378" y="726"/>
                </a:lnTo>
                <a:lnTo>
                  <a:pt x="378" y="720"/>
                </a:lnTo>
                <a:lnTo>
                  <a:pt x="384" y="720"/>
                </a:lnTo>
                <a:close/>
                <a:moveTo>
                  <a:pt x="330" y="738"/>
                </a:moveTo>
                <a:lnTo>
                  <a:pt x="336" y="732"/>
                </a:lnTo>
                <a:lnTo>
                  <a:pt x="336" y="726"/>
                </a:lnTo>
                <a:lnTo>
                  <a:pt x="342" y="720"/>
                </a:lnTo>
                <a:lnTo>
                  <a:pt x="348" y="720"/>
                </a:lnTo>
                <a:lnTo>
                  <a:pt x="360" y="720"/>
                </a:lnTo>
                <a:lnTo>
                  <a:pt x="366" y="726"/>
                </a:lnTo>
                <a:lnTo>
                  <a:pt x="372" y="732"/>
                </a:lnTo>
                <a:lnTo>
                  <a:pt x="372" y="738"/>
                </a:lnTo>
                <a:lnTo>
                  <a:pt x="366" y="750"/>
                </a:lnTo>
                <a:lnTo>
                  <a:pt x="372" y="756"/>
                </a:lnTo>
                <a:lnTo>
                  <a:pt x="372" y="762"/>
                </a:lnTo>
                <a:lnTo>
                  <a:pt x="372" y="768"/>
                </a:lnTo>
                <a:lnTo>
                  <a:pt x="372" y="774"/>
                </a:lnTo>
                <a:lnTo>
                  <a:pt x="372" y="780"/>
                </a:lnTo>
                <a:lnTo>
                  <a:pt x="372" y="774"/>
                </a:lnTo>
                <a:lnTo>
                  <a:pt x="366" y="768"/>
                </a:lnTo>
                <a:lnTo>
                  <a:pt x="366" y="762"/>
                </a:lnTo>
                <a:lnTo>
                  <a:pt x="366" y="756"/>
                </a:lnTo>
                <a:lnTo>
                  <a:pt x="360" y="756"/>
                </a:lnTo>
                <a:lnTo>
                  <a:pt x="360" y="750"/>
                </a:lnTo>
                <a:lnTo>
                  <a:pt x="354" y="750"/>
                </a:lnTo>
                <a:lnTo>
                  <a:pt x="348" y="744"/>
                </a:lnTo>
                <a:lnTo>
                  <a:pt x="342" y="744"/>
                </a:lnTo>
                <a:lnTo>
                  <a:pt x="336" y="744"/>
                </a:lnTo>
                <a:lnTo>
                  <a:pt x="330" y="738"/>
                </a:lnTo>
                <a:close/>
              </a:path>
            </a:pathLst>
          </a:custGeom>
          <a:solidFill>
            <a:srgbClr val="CD202C"/>
          </a:solidFill>
          <a:ln w="9525">
            <a:solidFill>
              <a:schemeClr val="bg1"/>
            </a:solidFill>
            <a:round/>
            <a:headEnd/>
            <a:tailEnd/>
          </a:ln>
        </p:spPr>
        <p:txBody>
          <a:bodyPr/>
          <a:lstStyle/>
          <a:p>
            <a:endParaRPr lang="en-GB"/>
          </a:p>
        </p:txBody>
      </p:sp>
      <p:sp>
        <p:nvSpPr>
          <p:cNvPr id="20491" name="Freeform 7"/>
          <p:cNvSpPr>
            <a:spLocks/>
          </p:cNvSpPr>
          <p:nvPr/>
        </p:nvSpPr>
        <p:spPr bwMode="gray">
          <a:xfrm>
            <a:off x="3414713" y="5602288"/>
            <a:ext cx="393700" cy="377825"/>
          </a:xfrm>
          <a:custGeom>
            <a:avLst/>
            <a:gdLst>
              <a:gd name="T0" fmla="*/ 25796 w 504"/>
              <a:gd name="T1" fmla="*/ 32992 h 468"/>
              <a:gd name="T2" fmla="*/ 20324 w 504"/>
              <a:gd name="T3" fmla="*/ 31383 h 468"/>
              <a:gd name="T4" fmla="*/ 16415 w 504"/>
              <a:gd name="T5" fmla="*/ 30578 h 468"/>
              <a:gd name="T6" fmla="*/ 14070 w 504"/>
              <a:gd name="T7" fmla="*/ 30578 h 468"/>
              <a:gd name="T8" fmla="*/ 11725 w 504"/>
              <a:gd name="T9" fmla="*/ 31383 h 468"/>
              <a:gd name="T10" fmla="*/ 9380 w 504"/>
              <a:gd name="T11" fmla="*/ 30578 h 468"/>
              <a:gd name="T12" fmla="*/ 7035 w 504"/>
              <a:gd name="T13" fmla="*/ 29773 h 468"/>
              <a:gd name="T14" fmla="*/ 5472 w 504"/>
              <a:gd name="T15" fmla="*/ 25750 h 468"/>
              <a:gd name="T16" fmla="*/ 4690 w 504"/>
              <a:gd name="T17" fmla="*/ 20922 h 468"/>
              <a:gd name="T18" fmla="*/ 2345 w 504"/>
              <a:gd name="T19" fmla="*/ 19312 h 468"/>
              <a:gd name="T20" fmla="*/ 782 w 504"/>
              <a:gd name="T21" fmla="*/ 19312 h 468"/>
              <a:gd name="T22" fmla="*/ 1563 w 504"/>
              <a:gd name="T23" fmla="*/ 14484 h 468"/>
              <a:gd name="T24" fmla="*/ 782 w 504"/>
              <a:gd name="T25" fmla="*/ 13680 h 468"/>
              <a:gd name="T26" fmla="*/ 0 w 504"/>
              <a:gd name="T27" fmla="*/ 13680 h 468"/>
              <a:gd name="T28" fmla="*/ 0 w 504"/>
              <a:gd name="T29" fmla="*/ 12070 h 468"/>
              <a:gd name="T30" fmla="*/ 1563 w 504"/>
              <a:gd name="T31" fmla="*/ 9656 h 468"/>
              <a:gd name="T32" fmla="*/ 3127 w 504"/>
              <a:gd name="T33" fmla="*/ 8047 h 468"/>
              <a:gd name="T34" fmla="*/ 4690 w 504"/>
              <a:gd name="T35" fmla="*/ 6437 h 468"/>
              <a:gd name="T36" fmla="*/ 6253 w 504"/>
              <a:gd name="T37" fmla="*/ 6437 h 468"/>
              <a:gd name="T38" fmla="*/ 7817 w 504"/>
              <a:gd name="T39" fmla="*/ 7242 h 468"/>
              <a:gd name="T40" fmla="*/ 9380 w 504"/>
              <a:gd name="T41" fmla="*/ 8047 h 468"/>
              <a:gd name="T42" fmla="*/ 9380 w 504"/>
              <a:gd name="T43" fmla="*/ 8852 h 468"/>
              <a:gd name="T44" fmla="*/ 10944 w 504"/>
              <a:gd name="T45" fmla="*/ 6437 h 468"/>
              <a:gd name="T46" fmla="*/ 11725 w 504"/>
              <a:gd name="T47" fmla="*/ 5633 h 468"/>
              <a:gd name="T48" fmla="*/ 13289 w 504"/>
              <a:gd name="T49" fmla="*/ 4828 h 468"/>
              <a:gd name="T50" fmla="*/ 14852 w 504"/>
              <a:gd name="T51" fmla="*/ 2414 h 468"/>
              <a:gd name="T52" fmla="*/ 15634 w 504"/>
              <a:gd name="T53" fmla="*/ 1609 h 468"/>
              <a:gd name="T54" fmla="*/ 17197 w 504"/>
              <a:gd name="T55" fmla="*/ 805 h 468"/>
              <a:gd name="T56" fmla="*/ 21105 w 504"/>
              <a:gd name="T57" fmla="*/ 805 h 468"/>
              <a:gd name="T58" fmla="*/ 23450 w 504"/>
              <a:gd name="T59" fmla="*/ 1609 h 468"/>
              <a:gd name="T60" fmla="*/ 24232 w 504"/>
              <a:gd name="T61" fmla="*/ 1609 h 468"/>
              <a:gd name="T62" fmla="*/ 26577 w 504"/>
              <a:gd name="T63" fmla="*/ 0 h 468"/>
              <a:gd name="T64" fmla="*/ 28922 w 504"/>
              <a:gd name="T65" fmla="*/ 805 h 468"/>
              <a:gd name="T66" fmla="*/ 32049 w 504"/>
              <a:gd name="T67" fmla="*/ 1609 h 468"/>
              <a:gd name="T68" fmla="*/ 32831 w 504"/>
              <a:gd name="T69" fmla="*/ 3219 h 468"/>
              <a:gd name="T70" fmla="*/ 32831 w 504"/>
              <a:gd name="T71" fmla="*/ 8047 h 468"/>
              <a:gd name="T72" fmla="*/ 32049 w 504"/>
              <a:gd name="T73" fmla="*/ 11266 h 468"/>
              <a:gd name="T74" fmla="*/ 32831 w 504"/>
              <a:gd name="T75" fmla="*/ 12070 h 468"/>
              <a:gd name="T76" fmla="*/ 34394 w 504"/>
              <a:gd name="T77" fmla="*/ 14484 h 468"/>
              <a:gd name="T78" fmla="*/ 33612 w 504"/>
              <a:gd name="T79" fmla="*/ 15289 h 468"/>
              <a:gd name="T80" fmla="*/ 32831 w 504"/>
              <a:gd name="T81" fmla="*/ 16898 h 468"/>
              <a:gd name="T82" fmla="*/ 32831 w 504"/>
              <a:gd name="T83" fmla="*/ 18508 h 468"/>
              <a:gd name="T84" fmla="*/ 30486 w 504"/>
              <a:gd name="T85" fmla="*/ 21726 h 468"/>
              <a:gd name="T86" fmla="*/ 29704 w 504"/>
              <a:gd name="T87" fmla="*/ 23336 h 468"/>
              <a:gd name="T88" fmla="*/ 29704 w 504"/>
              <a:gd name="T89" fmla="*/ 24945 h 468"/>
              <a:gd name="T90" fmla="*/ 28141 w 504"/>
              <a:gd name="T91" fmla="*/ 25750 h 468"/>
              <a:gd name="T92" fmla="*/ 27359 w 504"/>
              <a:gd name="T93" fmla="*/ 27359 h 468"/>
              <a:gd name="T94" fmla="*/ 26577 w 504"/>
              <a:gd name="T95" fmla="*/ 30578 h 4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4"/>
              <a:gd name="T145" fmla="*/ 0 h 468"/>
              <a:gd name="T146" fmla="*/ 504 w 504"/>
              <a:gd name="T147" fmla="*/ 468 h 4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4" h="468">
                <a:moveTo>
                  <a:pt x="390" y="456"/>
                </a:moveTo>
                <a:lnTo>
                  <a:pt x="384" y="468"/>
                </a:lnTo>
                <a:lnTo>
                  <a:pt x="378" y="468"/>
                </a:lnTo>
                <a:lnTo>
                  <a:pt x="354" y="468"/>
                </a:lnTo>
                <a:lnTo>
                  <a:pt x="348" y="462"/>
                </a:lnTo>
                <a:lnTo>
                  <a:pt x="300" y="456"/>
                </a:lnTo>
                <a:lnTo>
                  <a:pt x="270" y="444"/>
                </a:lnTo>
                <a:lnTo>
                  <a:pt x="252" y="438"/>
                </a:lnTo>
                <a:lnTo>
                  <a:pt x="240" y="438"/>
                </a:lnTo>
                <a:lnTo>
                  <a:pt x="234" y="438"/>
                </a:lnTo>
                <a:lnTo>
                  <a:pt x="228" y="444"/>
                </a:lnTo>
                <a:lnTo>
                  <a:pt x="210" y="444"/>
                </a:lnTo>
                <a:lnTo>
                  <a:pt x="198" y="444"/>
                </a:lnTo>
                <a:lnTo>
                  <a:pt x="198" y="450"/>
                </a:lnTo>
                <a:lnTo>
                  <a:pt x="168" y="456"/>
                </a:lnTo>
                <a:lnTo>
                  <a:pt x="150" y="450"/>
                </a:lnTo>
                <a:lnTo>
                  <a:pt x="144" y="444"/>
                </a:lnTo>
                <a:lnTo>
                  <a:pt x="132" y="438"/>
                </a:lnTo>
                <a:lnTo>
                  <a:pt x="138" y="432"/>
                </a:lnTo>
                <a:lnTo>
                  <a:pt x="114" y="432"/>
                </a:lnTo>
                <a:lnTo>
                  <a:pt x="102" y="426"/>
                </a:lnTo>
                <a:lnTo>
                  <a:pt x="90" y="414"/>
                </a:lnTo>
                <a:lnTo>
                  <a:pt x="72" y="402"/>
                </a:lnTo>
                <a:lnTo>
                  <a:pt x="78" y="366"/>
                </a:lnTo>
                <a:lnTo>
                  <a:pt x="78" y="330"/>
                </a:lnTo>
                <a:lnTo>
                  <a:pt x="66" y="318"/>
                </a:lnTo>
                <a:lnTo>
                  <a:pt x="66" y="300"/>
                </a:lnTo>
                <a:lnTo>
                  <a:pt x="66" y="282"/>
                </a:lnTo>
                <a:lnTo>
                  <a:pt x="36" y="282"/>
                </a:lnTo>
                <a:lnTo>
                  <a:pt x="30" y="276"/>
                </a:lnTo>
                <a:lnTo>
                  <a:pt x="30" y="282"/>
                </a:lnTo>
                <a:lnTo>
                  <a:pt x="24" y="282"/>
                </a:lnTo>
                <a:lnTo>
                  <a:pt x="12" y="276"/>
                </a:lnTo>
                <a:lnTo>
                  <a:pt x="0" y="282"/>
                </a:lnTo>
                <a:lnTo>
                  <a:pt x="12" y="204"/>
                </a:lnTo>
                <a:lnTo>
                  <a:pt x="18" y="210"/>
                </a:lnTo>
                <a:lnTo>
                  <a:pt x="18" y="204"/>
                </a:lnTo>
                <a:lnTo>
                  <a:pt x="18" y="198"/>
                </a:lnTo>
                <a:lnTo>
                  <a:pt x="12" y="198"/>
                </a:lnTo>
                <a:lnTo>
                  <a:pt x="18" y="192"/>
                </a:lnTo>
                <a:lnTo>
                  <a:pt x="12" y="192"/>
                </a:lnTo>
                <a:lnTo>
                  <a:pt x="6" y="192"/>
                </a:lnTo>
                <a:lnTo>
                  <a:pt x="6" y="186"/>
                </a:lnTo>
                <a:lnTo>
                  <a:pt x="0" y="186"/>
                </a:lnTo>
                <a:lnTo>
                  <a:pt x="0" y="180"/>
                </a:lnTo>
                <a:lnTo>
                  <a:pt x="6" y="180"/>
                </a:lnTo>
                <a:lnTo>
                  <a:pt x="12" y="186"/>
                </a:lnTo>
                <a:lnTo>
                  <a:pt x="18" y="138"/>
                </a:lnTo>
                <a:lnTo>
                  <a:pt x="24" y="126"/>
                </a:lnTo>
                <a:lnTo>
                  <a:pt x="30" y="126"/>
                </a:lnTo>
                <a:lnTo>
                  <a:pt x="42" y="120"/>
                </a:lnTo>
                <a:lnTo>
                  <a:pt x="48" y="114"/>
                </a:lnTo>
                <a:lnTo>
                  <a:pt x="60" y="102"/>
                </a:lnTo>
                <a:lnTo>
                  <a:pt x="72" y="96"/>
                </a:lnTo>
                <a:lnTo>
                  <a:pt x="78" y="96"/>
                </a:lnTo>
                <a:lnTo>
                  <a:pt x="90" y="96"/>
                </a:lnTo>
                <a:lnTo>
                  <a:pt x="96" y="90"/>
                </a:lnTo>
                <a:lnTo>
                  <a:pt x="102" y="96"/>
                </a:lnTo>
                <a:lnTo>
                  <a:pt x="108" y="96"/>
                </a:lnTo>
                <a:lnTo>
                  <a:pt x="120" y="102"/>
                </a:lnTo>
                <a:lnTo>
                  <a:pt x="126" y="108"/>
                </a:lnTo>
                <a:lnTo>
                  <a:pt x="126" y="114"/>
                </a:lnTo>
                <a:lnTo>
                  <a:pt x="132" y="114"/>
                </a:lnTo>
                <a:lnTo>
                  <a:pt x="138" y="120"/>
                </a:lnTo>
                <a:lnTo>
                  <a:pt x="144" y="120"/>
                </a:lnTo>
                <a:lnTo>
                  <a:pt x="144" y="126"/>
                </a:lnTo>
                <a:lnTo>
                  <a:pt x="150" y="126"/>
                </a:lnTo>
                <a:lnTo>
                  <a:pt x="156" y="120"/>
                </a:lnTo>
                <a:lnTo>
                  <a:pt x="156" y="96"/>
                </a:lnTo>
                <a:lnTo>
                  <a:pt x="156" y="84"/>
                </a:lnTo>
                <a:lnTo>
                  <a:pt x="162" y="84"/>
                </a:lnTo>
                <a:lnTo>
                  <a:pt x="168" y="78"/>
                </a:lnTo>
                <a:lnTo>
                  <a:pt x="174" y="72"/>
                </a:lnTo>
                <a:lnTo>
                  <a:pt x="180" y="72"/>
                </a:lnTo>
                <a:lnTo>
                  <a:pt x="198" y="66"/>
                </a:lnTo>
                <a:lnTo>
                  <a:pt x="198" y="60"/>
                </a:lnTo>
                <a:lnTo>
                  <a:pt x="216" y="42"/>
                </a:lnTo>
                <a:lnTo>
                  <a:pt x="222" y="36"/>
                </a:lnTo>
                <a:lnTo>
                  <a:pt x="228" y="36"/>
                </a:lnTo>
                <a:lnTo>
                  <a:pt x="228" y="30"/>
                </a:lnTo>
                <a:lnTo>
                  <a:pt x="228" y="24"/>
                </a:lnTo>
                <a:lnTo>
                  <a:pt x="246" y="18"/>
                </a:lnTo>
                <a:lnTo>
                  <a:pt x="252" y="18"/>
                </a:lnTo>
                <a:lnTo>
                  <a:pt x="258" y="12"/>
                </a:lnTo>
                <a:lnTo>
                  <a:pt x="270" y="6"/>
                </a:lnTo>
                <a:lnTo>
                  <a:pt x="288" y="6"/>
                </a:lnTo>
                <a:lnTo>
                  <a:pt x="312" y="12"/>
                </a:lnTo>
                <a:lnTo>
                  <a:pt x="324" y="12"/>
                </a:lnTo>
                <a:lnTo>
                  <a:pt x="336" y="18"/>
                </a:lnTo>
                <a:lnTo>
                  <a:pt x="348" y="24"/>
                </a:lnTo>
                <a:lnTo>
                  <a:pt x="354" y="24"/>
                </a:lnTo>
                <a:lnTo>
                  <a:pt x="354" y="18"/>
                </a:lnTo>
                <a:lnTo>
                  <a:pt x="360" y="18"/>
                </a:lnTo>
                <a:lnTo>
                  <a:pt x="360" y="6"/>
                </a:lnTo>
                <a:lnTo>
                  <a:pt x="372" y="6"/>
                </a:lnTo>
                <a:lnTo>
                  <a:pt x="390" y="6"/>
                </a:lnTo>
                <a:lnTo>
                  <a:pt x="396" y="0"/>
                </a:lnTo>
                <a:lnTo>
                  <a:pt x="414" y="12"/>
                </a:lnTo>
                <a:lnTo>
                  <a:pt x="426" y="12"/>
                </a:lnTo>
                <a:lnTo>
                  <a:pt x="444" y="18"/>
                </a:lnTo>
                <a:lnTo>
                  <a:pt x="462" y="18"/>
                </a:lnTo>
                <a:lnTo>
                  <a:pt x="474" y="18"/>
                </a:lnTo>
                <a:lnTo>
                  <a:pt x="480" y="18"/>
                </a:lnTo>
                <a:lnTo>
                  <a:pt x="486" y="36"/>
                </a:lnTo>
                <a:lnTo>
                  <a:pt x="480" y="42"/>
                </a:lnTo>
                <a:lnTo>
                  <a:pt x="480" y="54"/>
                </a:lnTo>
                <a:lnTo>
                  <a:pt x="486" y="78"/>
                </a:lnTo>
                <a:lnTo>
                  <a:pt x="486" y="114"/>
                </a:lnTo>
                <a:lnTo>
                  <a:pt x="486" y="150"/>
                </a:lnTo>
                <a:lnTo>
                  <a:pt x="468" y="150"/>
                </a:lnTo>
                <a:lnTo>
                  <a:pt x="474" y="162"/>
                </a:lnTo>
                <a:lnTo>
                  <a:pt x="480" y="162"/>
                </a:lnTo>
                <a:lnTo>
                  <a:pt x="486" y="174"/>
                </a:lnTo>
                <a:lnTo>
                  <a:pt x="492" y="174"/>
                </a:lnTo>
                <a:lnTo>
                  <a:pt x="492" y="192"/>
                </a:lnTo>
                <a:lnTo>
                  <a:pt x="498" y="198"/>
                </a:lnTo>
                <a:lnTo>
                  <a:pt x="504" y="204"/>
                </a:lnTo>
                <a:lnTo>
                  <a:pt x="504" y="210"/>
                </a:lnTo>
                <a:lnTo>
                  <a:pt x="498" y="210"/>
                </a:lnTo>
                <a:lnTo>
                  <a:pt x="498" y="222"/>
                </a:lnTo>
                <a:lnTo>
                  <a:pt x="492" y="228"/>
                </a:lnTo>
                <a:lnTo>
                  <a:pt x="492" y="234"/>
                </a:lnTo>
                <a:lnTo>
                  <a:pt x="492" y="240"/>
                </a:lnTo>
                <a:lnTo>
                  <a:pt x="486" y="246"/>
                </a:lnTo>
                <a:lnTo>
                  <a:pt x="486" y="258"/>
                </a:lnTo>
                <a:lnTo>
                  <a:pt x="480" y="264"/>
                </a:lnTo>
                <a:lnTo>
                  <a:pt x="474" y="276"/>
                </a:lnTo>
                <a:lnTo>
                  <a:pt x="468" y="288"/>
                </a:lnTo>
                <a:lnTo>
                  <a:pt x="456" y="306"/>
                </a:lnTo>
                <a:lnTo>
                  <a:pt x="456" y="312"/>
                </a:lnTo>
                <a:lnTo>
                  <a:pt x="444" y="318"/>
                </a:lnTo>
                <a:lnTo>
                  <a:pt x="432" y="336"/>
                </a:lnTo>
                <a:lnTo>
                  <a:pt x="432" y="342"/>
                </a:lnTo>
                <a:lnTo>
                  <a:pt x="432" y="348"/>
                </a:lnTo>
                <a:lnTo>
                  <a:pt x="432" y="354"/>
                </a:lnTo>
                <a:lnTo>
                  <a:pt x="426" y="366"/>
                </a:lnTo>
                <a:lnTo>
                  <a:pt x="420" y="366"/>
                </a:lnTo>
                <a:lnTo>
                  <a:pt x="420" y="372"/>
                </a:lnTo>
                <a:lnTo>
                  <a:pt x="414" y="378"/>
                </a:lnTo>
                <a:lnTo>
                  <a:pt x="414" y="390"/>
                </a:lnTo>
                <a:lnTo>
                  <a:pt x="408" y="390"/>
                </a:lnTo>
                <a:lnTo>
                  <a:pt x="408" y="402"/>
                </a:lnTo>
                <a:lnTo>
                  <a:pt x="402" y="414"/>
                </a:lnTo>
                <a:lnTo>
                  <a:pt x="396" y="438"/>
                </a:lnTo>
                <a:lnTo>
                  <a:pt x="396" y="444"/>
                </a:lnTo>
                <a:lnTo>
                  <a:pt x="390" y="456"/>
                </a:lnTo>
                <a:close/>
              </a:path>
            </a:pathLst>
          </a:custGeom>
          <a:solidFill>
            <a:srgbClr val="CD202C"/>
          </a:solidFill>
          <a:ln w="9525">
            <a:solidFill>
              <a:schemeClr val="bg1"/>
            </a:solidFill>
            <a:round/>
            <a:headEnd/>
            <a:tailEnd/>
          </a:ln>
        </p:spPr>
        <p:txBody>
          <a:bodyPr/>
          <a:lstStyle/>
          <a:p>
            <a:endParaRPr lang="en-GB"/>
          </a:p>
        </p:txBody>
      </p:sp>
      <p:sp>
        <p:nvSpPr>
          <p:cNvPr id="20492" name="Freeform 8"/>
          <p:cNvSpPr>
            <a:spLocks/>
          </p:cNvSpPr>
          <p:nvPr/>
        </p:nvSpPr>
        <p:spPr bwMode="gray">
          <a:xfrm>
            <a:off x="3662363" y="5548313"/>
            <a:ext cx="419100" cy="623887"/>
          </a:xfrm>
          <a:custGeom>
            <a:avLst/>
            <a:gdLst>
              <a:gd name="T0" fmla="*/ 30708 w 534"/>
              <a:gd name="T1" fmla="*/ 28218 h 774"/>
              <a:gd name="T2" fmla="*/ 27559 w 534"/>
              <a:gd name="T3" fmla="*/ 24993 h 774"/>
              <a:gd name="T4" fmla="*/ 25197 w 534"/>
              <a:gd name="T5" fmla="*/ 23380 h 774"/>
              <a:gd name="T6" fmla="*/ 25197 w 534"/>
              <a:gd name="T7" fmla="*/ 24993 h 774"/>
              <a:gd name="T8" fmla="*/ 22834 w 534"/>
              <a:gd name="T9" fmla="*/ 26605 h 774"/>
              <a:gd name="T10" fmla="*/ 21260 w 534"/>
              <a:gd name="T11" fmla="*/ 29024 h 774"/>
              <a:gd name="T12" fmla="*/ 23622 w 534"/>
              <a:gd name="T13" fmla="*/ 30636 h 774"/>
              <a:gd name="T14" fmla="*/ 22834 w 534"/>
              <a:gd name="T15" fmla="*/ 32249 h 774"/>
              <a:gd name="T16" fmla="*/ 19685 w 534"/>
              <a:gd name="T17" fmla="*/ 32249 h 774"/>
              <a:gd name="T18" fmla="*/ 18110 w 534"/>
              <a:gd name="T19" fmla="*/ 33861 h 774"/>
              <a:gd name="T20" fmla="*/ 17323 w 534"/>
              <a:gd name="T21" fmla="*/ 37892 h 774"/>
              <a:gd name="T22" fmla="*/ 17323 w 534"/>
              <a:gd name="T23" fmla="*/ 41117 h 774"/>
              <a:gd name="T24" fmla="*/ 17323 w 534"/>
              <a:gd name="T25" fmla="*/ 43536 h 774"/>
              <a:gd name="T26" fmla="*/ 16535 w 534"/>
              <a:gd name="T27" fmla="*/ 45148 h 774"/>
              <a:gd name="T28" fmla="*/ 14960 w 534"/>
              <a:gd name="T29" fmla="*/ 46761 h 774"/>
              <a:gd name="T30" fmla="*/ 15748 w 534"/>
              <a:gd name="T31" fmla="*/ 47567 h 774"/>
              <a:gd name="T32" fmla="*/ 14960 w 534"/>
              <a:gd name="T33" fmla="*/ 49986 h 774"/>
              <a:gd name="T34" fmla="*/ 14960 w 534"/>
              <a:gd name="T35" fmla="*/ 51598 h 774"/>
              <a:gd name="T36" fmla="*/ 15748 w 534"/>
              <a:gd name="T37" fmla="*/ 53211 h 774"/>
              <a:gd name="T38" fmla="*/ 13386 w 534"/>
              <a:gd name="T39" fmla="*/ 53211 h 774"/>
              <a:gd name="T40" fmla="*/ 12598 w 534"/>
              <a:gd name="T41" fmla="*/ 52404 h 774"/>
              <a:gd name="T42" fmla="*/ 10236 w 534"/>
              <a:gd name="T43" fmla="*/ 52404 h 774"/>
              <a:gd name="T44" fmla="*/ 8661 w 534"/>
              <a:gd name="T45" fmla="*/ 52404 h 774"/>
              <a:gd name="T46" fmla="*/ 6299 w 534"/>
              <a:gd name="T47" fmla="*/ 52404 h 774"/>
              <a:gd name="T48" fmla="*/ 6299 w 534"/>
              <a:gd name="T49" fmla="*/ 51598 h 774"/>
              <a:gd name="T50" fmla="*/ 3937 w 534"/>
              <a:gd name="T51" fmla="*/ 52404 h 774"/>
              <a:gd name="T52" fmla="*/ 2362 w 534"/>
              <a:gd name="T53" fmla="*/ 52404 h 774"/>
              <a:gd name="T54" fmla="*/ 0 w 534"/>
              <a:gd name="T55" fmla="*/ 51598 h 774"/>
              <a:gd name="T56" fmla="*/ 0 w 534"/>
              <a:gd name="T57" fmla="*/ 49986 h 774"/>
              <a:gd name="T58" fmla="*/ 2362 w 534"/>
              <a:gd name="T59" fmla="*/ 48373 h 774"/>
              <a:gd name="T60" fmla="*/ 4724 w 534"/>
              <a:gd name="T61" fmla="*/ 45955 h 774"/>
              <a:gd name="T62" fmla="*/ 6299 w 534"/>
              <a:gd name="T63" fmla="*/ 40311 h 774"/>
              <a:gd name="T64" fmla="*/ 4724 w 534"/>
              <a:gd name="T65" fmla="*/ 36280 h 774"/>
              <a:gd name="T66" fmla="*/ 6299 w 534"/>
              <a:gd name="T67" fmla="*/ 33055 h 774"/>
              <a:gd name="T68" fmla="*/ 7087 w 534"/>
              <a:gd name="T69" fmla="*/ 30636 h 774"/>
              <a:gd name="T70" fmla="*/ 7874 w 534"/>
              <a:gd name="T71" fmla="*/ 29024 h 774"/>
              <a:gd name="T72" fmla="*/ 9449 w 534"/>
              <a:gd name="T73" fmla="*/ 26605 h 774"/>
              <a:gd name="T74" fmla="*/ 11024 w 534"/>
              <a:gd name="T75" fmla="*/ 23380 h 774"/>
              <a:gd name="T76" fmla="*/ 12598 w 534"/>
              <a:gd name="T77" fmla="*/ 20962 h 774"/>
              <a:gd name="T78" fmla="*/ 12598 w 534"/>
              <a:gd name="T79" fmla="*/ 19349 h 774"/>
              <a:gd name="T80" fmla="*/ 12598 w 534"/>
              <a:gd name="T81" fmla="*/ 16931 h 774"/>
              <a:gd name="T82" fmla="*/ 10236 w 534"/>
              <a:gd name="T83" fmla="*/ 15318 h 774"/>
              <a:gd name="T84" fmla="*/ 11024 w 534"/>
              <a:gd name="T85" fmla="*/ 8062 h 774"/>
              <a:gd name="T86" fmla="*/ 11024 w 534"/>
              <a:gd name="T87" fmla="*/ 5644 h 774"/>
              <a:gd name="T88" fmla="*/ 6299 w 534"/>
              <a:gd name="T89" fmla="*/ 5644 h 774"/>
              <a:gd name="T90" fmla="*/ 5512 w 534"/>
              <a:gd name="T91" fmla="*/ 2419 h 774"/>
              <a:gd name="T92" fmla="*/ 8661 w 534"/>
              <a:gd name="T93" fmla="*/ 806 h 774"/>
              <a:gd name="T94" fmla="*/ 9449 w 534"/>
              <a:gd name="T95" fmla="*/ 0 h 774"/>
              <a:gd name="T96" fmla="*/ 12598 w 534"/>
              <a:gd name="T97" fmla="*/ 1612 h 774"/>
              <a:gd name="T98" fmla="*/ 15748 w 534"/>
              <a:gd name="T99" fmla="*/ 1612 h 774"/>
              <a:gd name="T100" fmla="*/ 18110 w 534"/>
              <a:gd name="T101" fmla="*/ 2419 h 774"/>
              <a:gd name="T102" fmla="*/ 18110 w 534"/>
              <a:gd name="T103" fmla="*/ 8062 h 774"/>
              <a:gd name="T104" fmla="*/ 22834 w 534"/>
              <a:gd name="T105" fmla="*/ 9675 h 774"/>
              <a:gd name="T106" fmla="*/ 27559 w 534"/>
              <a:gd name="T107" fmla="*/ 9675 h 774"/>
              <a:gd name="T108" fmla="*/ 29921 w 534"/>
              <a:gd name="T109" fmla="*/ 13706 h 774"/>
              <a:gd name="T110" fmla="*/ 31496 w 534"/>
              <a:gd name="T111" fmla="*/ 15318 h 774"/>
              <a:gd name="T112" fmla="*/ 34645 w 534"/>
              <a:gd name="T113" fmla="*/ 18543 h 774"/>
              <a:gd name="T114" fmla="*/ 34645 w 534"/>
              <a:gd name="T115" fmla="*/ 24187 h 774"/>
              <a:gd name="T116" fmla="*/ 36220 w 534"/>
              <a:gd name="T117" fmla="*/ 29024 h 774"/>
              <a:gd name="T118" fmla="*/ 32283 w 534"/>
              <a:gd name="T119" fmla="*/ 29830 h 7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4"/>
              <a:gd name="T181" fmla="*/ 0 h 774"/>
              <a:gd name="T182" fmla="*/ 534 w 534"/>
              <a:gd name="T183" fmla="*/ 774 h 77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4" h="774">
                <a:moveTo>
                  <a:pt x="462" y="426"/>
                </a:moveTo>
                <a:lnTo>
                  <a:pt x="462" y="414"/>
                </a:lnTo>
                <a:lnTo>
                  <a:pt x="450" y="402"/>
                </a:lnTo>
                <a:lnTo>
                  <a:pt x="444" y="396"/>
                </a:lnTo>
                <a:lnTo>
                  <a:pt x="420" y="396"/>
                </a:lnTo>
                <a:lnTo>
                  <a:pt x="408" y="390"/>
                </a:lnTo>
                <a:lnTo>
                  <a:pt x="402" y="366"/>
                </a:lnTo>
                <a:lnTo>
                  <a:pt x="390" y="354"/>
                </a:lnTo>
                <a:lnTo>
                  <a:pt x="384" y="336"/>
                </a:lnTo>
                <a:lnTo>
                  <a:pt x="378" y="336"/>
                </a:lnTo>
                <a:lnTo>
                  <a:pt x="366" y="336"/>
                </a:lnTo>
                <a:lnTo>
                  <a:pt x="360" y="336"/>
                </a:lnTo>
                <a:lnTo>
                  <a:pt x="354" y="336"/>
                </a:lnTo>
                <a:lnTo>
                  <a:pt x="348" y="336"/>
                </a:lnTo>
                <a:lnTo>
                  <a:pt x="348" y="348"/>
                </a:lnTo>
                <a:lnTo>
                  <a:pt x="360" y="354"/>
                </a:lnTo>
                <a:lnTo>
                  <a:pt x="360" y="390"/>
                </a:lnTo>
                <a:lnTo>
                  <a:pt x="348" y="390"/>
                </a:lnTo>
                <a:lnTo>
                  <a:pt x="342" y="384"/>
                </a:lnTo>
                <a:lnTo>
                  <a:pt x="330" y="378"/>
                </a:lnTo>
                <a:lnTo>
                  <a:pt x="324" y="378"/>
                </a:lnTo>
                <a:lnTo>
                  <a:pt x="318" y="390"/>
                </a:lnTo>
                <a:lnTo>
                  <a:pt x="312" y="402"/>
                </a:lnTo>
                <a:lnTo>
                  <a:pt x="306" y="420"/>
                </a:lnTo>
                <a:lnTo>
                  <a:pt x="324" y="414"/>
                </a:lnTo>
                <a:lnTo>
                  <a:pt x="330" y="414"/>
                </a:lnTo>
                <a:lnTo>
                  <a:pt x="336" y="420"/>
                </a:lnTo>
                <a:lnTo>
                  <a:pt x="336" y="432"/>
                </a:lnTo>
                <a:lnTo>
                  <a:pt x="330" y="438"/>
                </a:lnTo>
                <a:lnTo>
                  <a:pt x="330" y="444"/>
                </a:lnTo>
                <a:lnTo>
                  <a:pt x="330" y="450"/>
                </a:lnTo>
                <a:lnTo>
                  <a:pt x="324" y="456"/>
                </a:lnTo>
                <a:lnTo>
                  <a:pt x="318" y="456"/>
                </a:lnTo>
                <a:lnTo>
                  <a:pt x="300" y="456"/>
                </a:lnTo>
                <a:lnTo>
                  <a:pt x="288" y="462"/>
                </a:lnTo>
                <a:lnTo>
                  <a:pt x="276" y="462"/>
                </a:lnTo>
                <a:lnTo>
                  <a:pt x="270" y="462"/>
                </a:lnTo>
                <a:lnTo>
                  <a:pt x="270" y="468"/>
                </a:lnTo>
                <a:lnTo>
                  <a:pt x="252" y="468"/>
                </a:lnTo>
                <a:lnTo>
                  <a:pt x="258" y="480"/>
                </a:lnTo>
                <a:lnTo>
                  <a:pt x="258" y="492"/>
                </a:lnTo>
                <a:lnTo>
                  <a:pt x="258" y="498"/>
                </a:lnTo>
                <a:lnTo>
                  <a:pt x="258" y="510"/>
                </a:lnTo>
                <a:lnTo>
                  <a:pt x="252" y="540"/>
                </a:lnTo>
                <a:lnTo>
                  <a:pt x="246" y="564"/>
                </a:lnTo>
                <a:lnTo>
                  <a:pt x="246" y="570"/>
                </a:lnTo>
                <a:lnTo>
                  <a:pt x="252" y="576"/>
                </a:lnTo>
                <a:lnTo>
                  <a:pt x="246" y="582"/>
                </a:lnTo>
                <a:lnTo>
                  <a:pt x="252" y="600"/>
                </a:lnTo>
                <a:lnTo>
                  <a:pt x="258" y="606"/>
                </a:lnTo>
                <a:lnTo>
                  <a:pt x="258" y="612"/>
                </a:lnTo>
                <a:lnTo>
                  <a:pt x="252" y="618"/>
                </a:lnTo>
                <a:lnTo>
                  <a:pt x="246" y="624"/>
                </a:lnTo>
                <a:lnTo>
                  <a:pt x="246" y="630"/>
                </a:lnTo>
                <a:lnTo>
                  <a:pt x="246" y="636"/>
                </a:lnTo>
                <a:lnTo>
                  <a:pt x="240" y="642"/>
                </a:lnTo>
                <a:lnTo>
                  <a:pt x="234" y="654"/>
                </a:lnTo>
                <a:lnTo>
                  <a:pt x="228" y="654"/>
                </a:lnTo>
                <a:lnTo>
                  <a:pt x="222" y="660"/>
                </a:lnTo>
                <a:lnTo>
                  <a:pt x="216" y="666"/>
                </a:lnTo>
                <a:lnTo>
                  <a:pt x="210" y="666"/>
                </a:lnTo>
                <a:lnTo>
                  <a:pt x="204" y="678"/>
                </a:lnTo>
                <a:lnTo>
                  <a:pt x="210" y="678"/>
                </a:lnTo>
                <a:lnTo>
                  <a:pt x="222" y="684"/>
                </a:lnTo>
                <a:lnTo>
                  <a:pt x="222" y="690"/>
                </a:lnTo>
                <a:lnTo>
                  <a:pt x="222" y="696"/>
                </a:lnTo>
                <a:lnTo>
                  <a:pt x="222" y="702"/>
                </a:lnTo>
                <a:lnTo>
                  <a:pt x="216" y="708"/>
                </a:lnTo>
                <a:lnTo>
                  <a:pt x="210" y="720"/>
                </a:lnTo>
                <a:lnTo>
                  <a:pt x="216" y="732"/>
                </a:lnTo>
                <a:lnTo>
                  <a:pt x="210" y="732"/>
                </a:lnTo>
                <a:lnTo>
                  <a:pt x="216" y="738"/>
                </a:lnTo>
                <a:lnTo>
                  <a:pt x="216" y="744"/>
                </a:lnTo>
                <a:lnTo>
                  <a:pt x="222" y="750"/>
                </a:lnTo>
                <a:lnTo>
                  <a:pt x="228" y="756"/>
                </a:lnTo>
                <a:lnTo>
                  <a:pt x="222" y="762"/>
                </a:lnTo>
                <a:lnTo>
                  <a:pt x="228" y="768"/>
                </a:lnTo>
                <a:lnTo>
                  <a:pt x="222" y="774"/>
                </a:lnTo>
                <a:lnTo>
                  <a:pt x="204" y="762"/>
                </a:lnTo>
                <a:lnTo>
                  <a:pt x="198" y="762"/>
                </a:lnTo>
                <a:lnTo>
                  <a:pt x="192" y="762"/>
                </a:lnTo>
                <a:lnTo>
                  <a:pt x="186" y="756"/>
                </a:lnTo>
                <a:lnTo>
                  <a:pt x="180" y="750"/>
                </a:lnTo>
                <a:lnTo>
                  <a:pt x="180" y="744"/>
                </a:lnTo>
                <a:lnTo>
                  <a:pt x="174" y="744"/>
                </a:lnTo>
                <a:lnTo>
                  <a:pt x="156" y="750"/>
                </a:lnTo>
                <a:lnTo>
                  <a:pt x="150" y="750"/>
                </a:lnTo>
                <a:lnTo>
                  <a:pt x="144" y="750"/>
                </a:lnTo>
                <a:lnTo>
                  <a:pt x="138" y="750"/>
                </a:lnTo>
                <a:lnTo>
                  <a:pt x="138" y="744"/>
                </a:lnTo>
                <a:lnTo>
                  <a:pt x="132" y="744"/>
                </a:lnTo>
                <a:lnTo>
                  <a:pt x="120" y="744"/>
                </a:lnTo>
                <a:lnTo>
                  <a:pt x="114" y="738"/>
                </a:lnTo>
                <a:lnTo>
                  <a:pt x="108" y="744"/>
                </a:lnTo>
                <a:lnTo>
                  <a:pt x="102" y="744"/>
                </a:lnTo>
                <a:lnTo>
                  <a:pt x="96" y="744"/>
                </a:lnTo>
                <a:lnTo>
                  <a:pt x="96" y="738"/>
                </a:lnTo>
                <a:lnTo>
                  <a:pt x="96" y="744"/>
                </a:lnTo>
                <a:lnTo>
                  <a:pt x="90" y="744"/>
                </a:lnTo>
                <a:lnTo>
                  <a:pt x="90" y="738"/>
                </a:lnTo>
                <a:lnTo>
                  <a:pt x="84" y="744"/>
                </a:lnTo>
                <a:lnTo>
                  <a:pt x="72" y="750"/>
                </a:lnTo>
                <a:lnTo>
                  <a:pt x="66" y="750"/>
                </a:lnTo>
                <a:lnTo>
                  <a:pt x="60" y="750"/>
                </a:lnTo>
                <a:lnTo>
                  <a:pt x="54" y="756"/>
                </a:lnTo>
                <a:lnTo>
                  <a:pt x="42" y="756"/>
                </a:lnTo>
                <a:lnTo>
                  <a:pt x="36" y="750"/>
                </a:lnTo>
                <a:lnTo>
                  <a:pt x="30" y="750"/>
                </a:lnTo>
                <a:lnTo>
                  <a:pt x="24" y="744"/>
                </a:lnTo>
                <a:lnTo>
                  <a:pt x="18" y="738"/>
                </a:lnTo>
                <a:lnTo>
                  <a:pt x="6" y="738"/>
                </a:lnTo>
                <a:lnTo>
                  <a:pt x="0" y="732"/>
                </a:lnTo>
                <a:lnTo>
                  <a:pt x="0" y="726"/>
                </a:lnTo>
                <a:lnTo>
                  <a:pt x="0" y="720"/>
                </a:lnTo>
                <a:lnTo>
                  <a:pt x="6" y="714"/>
                </a:lnTo>
                <a:lnTo>
                  <a:pt x="6" y="708"/>
                </a:lnTo>
                <a:lnTo>
                  <a:pt x="12" y="708"/>
                </a:lnTo>
                <a:lnTo>
                  <a:pt x="18" y="702"/>
                </a:lnTo>
                <a:lnTo>
                  <a:pt x="24" y="696"/>
                </a:lnTo>
                <a:lnTo>
                  <a:pt x="30" y="696"/>
                </a:lnTo>
                <a:lnTo>
                  <a:pt x="48" y="690"/>
                </a:lnTo>
                <a:lnTo>
                  <a:pt x="54" y="678"/>
                </a:lnTo>
                <a:lnTo>
                  <a:pt x="66" y="672"/>
                </a:lnTo>
                <a:lnTo>
                  <a:pt x="66" y="654"/>
                </a:lnTo>
                <a:lnTo>
                  <a:pt x="72" y="636"/>
                </a:lnTo>
                <a:lnTo>
                  <a:pt x="72" y="612"/>
                </a:lnTo>
                <a:lnTo>
                  <a:pt x="84" y="594"/>
                </a:lnTo>
                <a:lnTo>
                  <a:pt x="90" y="576"/>
                </a:lnTo>
                <a:lnTo>
                  <a:pt x="96" y="552"/>
                </a:lnTo>
                <a:lnTo>
                  <a:pt x="90" y="528"/>
                </a:lnTo>
                <a:lnTo>
                  <a:pt x="84" y="528"/>
                </a:lnTo>
                <a:lnTo>
                  <a:pt x="72" y="522"/>
                </a:lnTo>
                <a:lnTo>
                  <a:pt x="78" y="510"/>
                </a:lnTo>
                <a:lnTo>
                  <a:pt x="78" y="504"/>
                </a:lnTo>
                <a:lnTo>
                  <a:pt x="84" y="480"/>
                </a:lnTo>
                <a:lnTo>
                  <a:pt x="90" y="468"/>
                </a:lnTo>
                <a:lnTo>
                  <a:pt x="90" y="456"/>
                </a:lnTo>
                <a:lnTo>
                  <a:pt x="96" y="456"/>
                </a:lnTo>
                <a:lnTo>
                  <a:pt x="96" y="444"/>
                </a:lnTo>
                <a:lnTo>
                  <a:pt x="102" y="438"/>
                </a:lnTo>
                <a:lnTo>
                  <a:pt x="102" y="432"/>
                </a:lnTo>
                <a:lnTo>
                  <a:pt x="108" y="432"/>
                </a:lnTo>
                <a:lnTo>
                  <a:pt x="114" y="420"/>
                </a:lnTo>
                <a:lnTo>
                  <a:pt x="114" y="414"/>
                </a:lnTo>
                <a:lnTo>
                  <a:pt x="114" y="408"/>
                </a:lnTo>
                <a:lnTo>
                  <a:pt x="114" y="402"/>
                </a:lnTo>
                <a:lnTo>
                  <a:pt x="126" y="384"/>
                </a:lnTo>
                <a:lnTo>
                  <a:pt x="138" y="378"/>
                </a:lnTo>
                <a:lnTo>
                  <a:pt x="138" y="372"/>
                </a:lnTo>
                <a:lnTo>
                  <a:pt x="150" y="354"/>
                </a:lnTo>
                <a:lnTo>
                  <a:pt x="156" y="342"/>
                </a:lnTo>
                <a:lnTo>
                  <a:pt x="162" y="330"/>
                </a:lnTo>
                <a:lnTo>
                  <a:pt x="168" y="324"/>
                </a:lnTo>
                <a:lnTo>
                  <a:pt x="168" y="312"/>
                </a:lnTo>
                <a:lnTo>
                  <a:pt x="174" y="306"/>
                </a:lnTo>
                <a:lnTo>
                  <a:pt x="174" y="300"/>
                </a:lnTo>
                <a:lnTo>
                  <a:pt x="174" y="294"/>
                </a:lnTo>
                <a:lnTo>
                  <a:pt x="180" y="288"/>
                </a:lnTo>
                <a:lnTo>
                  <a:pt x="180" y="276"/>
                </a:lnTo>
                <a:lnTo>
                  <a:pt x="186" y="276"/>
                </a:lnTo>
                <a:lnTo>
                  <a:pt x="186" y="270"/>
                </a:lnTo>
                <a:lnTo>
                  <a:pt x="180" y="264"/>
                </a:lnTo>
                <a:lnTo>
                  <a:pt x="174" y="258"/>
                </a:lnTo>
                <a:lnTo>
                  <a:pt x="174" y="240"/>
                </a:lnTo>
                <a:lnTo>
                  <a:pt x="168" y="240"/>
                </a:lnTo>
                <a:lnTo>
                  <a:pt x="162" y="228"/>
                </a:lnTo>
                <a:lnTo>
                  <a:pt x="156" y="228"/>
                </a:lnTo>
                <a:lnTo>
                  <a:pt x="150" y="216"/>
                </a:lnTo>
                <a:lnTo>
                  <a:pt x="168" y="216"/>
                </a:lnTo>
                <a:lnTo>
                  <a:pt x="168" y="180"/>
                </a:lnTo>
                <a:lnTo>
                  <a:pt x="168" y="144"/>
                </a:lnTo>
                <a:lnTo>
                  <a:pt x="162" y="120"/>
                </a:lnTo>
                <a:lnTo>
                  <a:pt x="162" y="108"/>
                </a:lnTo>
                <a:lnTo>
                  <a:pt x="168" y="102"/>
                </a:lnTo>
                <a:lnTo>
                  <a:pt x="162" y="84"/>
                </a:lnTo>
                <a:lnTo>
                  <a:pt x="156" y="84"/>
                </a:lnTo>
                <a:lnTo>
                  <a:pt x="144" y="84"/>
                </a:lnTo>
                <a:lnTo>
                  <a:pt x="126" y="84"/>
                </a:lnTo>
                <a:lnTo>
                  <a:pt x="108" y="78"/>
                </a:lnTo>
                <a:lnTo>
                  <a:pt x="96" y="78"/>
                </a:lnTo>
                <a:lnTo>
                  <a:pt x="78" y="66"/>
                </a:lnTo>
                <a:lnTo>
                  <a:pt x="84" y="60"/>
                </a:lnTo>
                <a:lnTo>
                  <a:pt x="78" y="54"/>
                </a:lnTo>
                <a:lnTo>
                  <a:pt x="78" y="36"/>
                </a:lnTo>
                <a:lnTo>
                  <a:pt x="96" y="24"/>
                </a:lnTo>
                <a:lnTo>
                  <a:pt x="120" y="24"/>
                </a:lnTo>
                <a:lnTo>
                  <a:pt x="126" y="18"/>
                </a:lnTo>
                <a:lnTo>
                  <a:pt x="126" y="12"/>
                </a:lnTo>
                <a:lnTo>
                  <a:pt x="126" y="6"/>
                </a:lnTo>
                <a:lnTo>
                  <a:pt x="132" y="6"/>
                </a:lnTo>
                <a:lnTo>
                  <a:pt x="138" y="6"/>
                </a:lnTo>
                <a:lnTo>
                  <a:pt x="138" y="0"/>
                </a:lnTo>
                <a:lnTo>
                  <a:pt x="156" y="0"/>
                </a:lnTo>
                <a:lnTo>
                  <a:pt x="156" y="6"/>
                </a:lnTo>
                <a:lnTo>
                  <a:pt x="168" y="24"/>
                </a:lnTo>
                <a:lnTo>
                  <a:pt x="180" y="24"/>
                </a:lnTo>
                <a:lnTo>
                  <a:pt x="192" y="18"/>
                </a:lnTo>
                <a:lnTo>
                  <a:pt x="198" y="18"/>
                </a:lnTo>
                <a:lnTo>
                  <a:pt x="210" y="18"/>
                </a:lnTo>
                <a:lnTo>
                  <a:pt x="222" y="18"/>
                </a:lnTo>
                <a:lnTo>
                  <a:pt x="234" y="12"/>
                </a:lnTo>
                <a:lnTo>
                  <a:pt x="252" y="18"/>
                </a:lnTo>
                <a:lnTo>
                  <a:pt x="252" y="24"/>
                </a:lnTo>
                <a:lnTo>
                  <a:pt x="258" y="36"/>
                </a:lnTo>
                <a:lnTo>
                  <a:pt x="258" y="66"/>
                </a:lnTo>
                <a:lnTo>
                  <a:pt x="252" y="84"/>
                </a:lnTo>
                <a:lnTo>
                  <a:pt x="252" y="120"/>
                </a:lnTo>
                <a:lnTo>
                  <a:pt x="258" y="120"/>
                </a:lnTo>
                <a:lnTo>
                  <a:pt x="282" y="126"/>
                </a:lnTo>
                <a:lnTo>
                  <a:pt x="294" y="132"/>
                </a:lnTo>
                <a:lnTo>
                  <a:pt x="306" y="138"/>
                </a:lnTo>
                <a:lnTo>
                  <a:pt x="324" y="138"/>
                </a:lnTo>
                <a:lnTo>
                  <a:pt x="348" y="138"/>
                </a:lnTo>
                <a:lnTo>
                  <a:pt x="354" y="138"/>
                </a:lnTo>
                <a:lnTo>
                  <a:pt x="360" y="144"/>
                </a:lnTo>
                <a:lnTo>
                  <a:pt x="396" y="144"/>
                </a:lnTo>
                <a:lnTo>
                  <a:pt x="408" y="150"/>
                </a:lnTo>
                <a:lnTo>
                  <a:pt x="414" y="180"/>
                </a:lnTo>
                <a:lnTo>
                  <a:pt x="420" y="186"/>
                </a:lnTo>
                <a:lnTo>
                  <a:pt x="426" y="192"/>
                </a:lnTo>
                <a:lnTo>
                  <a:pt x="426" y="198"/>
                </a:lnTo>
                <a:lnTo>
                  <a:pt x="432" y="198"/>
                </a:lnTo>
                <a:lnTo>
                  <a:pt x="438" y="210"/>
                </a:lnTo>
                <a:lnTo>
                  <a:pt x="450" y="216"/>
                </a:lnTo>
                <a:lnTo>
                  <a:pt x="468" y="228"/>
                </a:lnTo>
                <a:lnTo>
                  <a:pt x="492" y="234"/>
                </a:lnTo>
                <a:lnTo>
                  <a:pt x="492" y="246"/>
                </a:lnTo>
                <a:lnTo>
                  <a:pt x="492" y="270"/>
                </a:lnTo>
                <a:lnTo>
                  <a:pt x="486" y="294"/>
                </a:lnTo>
                <a:lnTo>
                  <a:pt x="486" y="312"/>
                </a:lnTo>
                <a:lnTo>
                  <a:pt x="486" y="330"/>
                </a:lnTo>
                <a:lnTo>
                  <a:pt x="492" y="348"/>
                </a:lnTo>
                <a:lnTo>
                  <a:pt x="498" y="360"/>
                </a:lnTo>
                <a:lnTo>
                  <a:pt x="510" y="366"/>
                </a:lnTo>
                <a:lnTo>
                  <a:pt x="516" y="384"/>
                </a:lnTo>
                <a:lnTo>
                  <a:pt x="522" y="414"/>
                </a:lnTo>
                <a:lnTo>
                  <a:pt x="528" y="414"/>
                </a:lnTo>
                <a:lnTo>
                  <a:pt x="534" y="426"/>
                </a:lnTo>
                <a:lnTo>
                  <a:pt x="528" y="432"/>
                </a:lnTo>
                <a:lnTo>
                  <a:pt x="468" y="426"/>
                </a:lnTo>
                <a:lnTo>
                  <a:pt x="462" y="426"/>
                </a:lnTo>
                <a:close/>
              </a:path>
            </a:pathLst>
          </a:custGeom>
          <a:solidFill>
            <a:srgbClr val="CD202C"/>
          </a:solidFill>
          <a:ln w="9525">
            <a:solidFill>
              <a:schemeClr val="bg1"/>
            </a:solidFill>
            <a:round/>
            <a:headEnd/>
            <a:tailEnd/>
          </a:ln>
        </p:spPr>
        <p:txBody>
          <a:bodyPr/>
          <a:lstStyle/>
          <a:p>
            <a:endParaRPr lang="en-GB"/>
          </a:p>
        </p:txBody>
      </p:sp>
      <p:sp>
        <p:nvSpPr>
          <p:cNvPr id="20493" name="Freeform 9"/>
          <p:cNvSpPr>
            <a:spLocks noEditPoints="1"/>
          </p:cNvSpPr>
          <p:nvPr/>
        </p:nvSpPr>
        <p:spPr bwMode="gray">
          <a:xfrm>
            <a:off x="3822700" y="5819775"/>
            <a:ext cx="431800" cy="530225"/>
          </a:xfrm>
          <a:custGeom>
            <a:avLst/>
            <a:gdLst>
              <a:gd name="T0" fmla="*/ 2352 w 552"/>
              <a:gd name="T1" fmla="*/ 37025 h 660"/>
              <a:gd name="T2" fmla="*/ 3136 w 552"/>
              <a:gd name="T3" fmla="*/ 33806 h 660"/>
              <a:gd name="T4" fmla="*/ 1568 w 552"/>
              <a:gd name="T5" fmla="*/ 30586 h 660"/>
              <a:gd name="T6" fmla="*/ 0 w 552"/>
              <a:gd name="T7" fmla="*/ 27366 h 660"/>
              <a:gd name="T8" fmla="*/ 1568 w 552"/>
              <a:gd name="T9" fmla="*/ 24147 h 660"/>
              <a:gd name="T10" fmla="*/ 2352 w 552"/>
              <a:gd name="T11" fmla="*/ 21732 h 660"/>
              <a:gd name="T12" fmla="*/ 3921 w 552"/>
              <a:gd name="T13" fmla="*/ 18513 h 660"/>
              <a:gd name="T14" fmla="*/ 3921 w 552"/>
              <a:gd name="T15" fmla="*/ 12073 h 660"/>
              <a:gd name="T16" fmla="*/ 4705 w 552"/>
              <a:gd name="T17" fmla="*/ 8854 h 660"/>
              <a:gd name="T18" fmla="*/ 8625 w 552"/>
              <a:gd name="T19" fmla="*/ 7244 h 660"/>
              <a:gd name="T20" fmla="*/ 7841 w 552"/>
              <a:gd name="T21" fmla="*/ 4024 h 660"/>
              <a:gd name="T22" fmla="*/ 9409 w 552"/>
              <a:gd name="T23" fmla="*/ 805 h 660"/>
              <a:gd name="T24" fmla="*/ 12546 w 552"/>
              <a:gd name="T25" fmla="*/ 1610 h 660"/>
              <a:gd name="T26" fmla="*/ 18035 w 552"/>
              <a:gd name="T27" fmla="*/ 6439 h 660"/>
              <a:gd name="T28" fmla="*/ 18035 w 552"/>
              <a:gd name="T29" fmla="*/ 8854 h 660"/>
              <a:gd name="T30" fmla="*/ 21171 w 552"/>
              <a:gd name="T31" fmla="*/ 9659 h 660"/>
              <a:gd name="T32" fmla="*/ 22740 w 552"/>
              <a:gd name="T33" fmla="*/ 13683 h 660"/>
              <a:gd name="T34" fmla="*/ 24308 w 552"/>
              <a:gd name="T35" fmla="*/ 12073 h 660"/>
              <a:gd name="T36" fmla="*/ 25876 w 552"/>
              <a:gd name="T37" fmla="*/ 13683 h 660"/>
              <a:gd name="T38" fmla="*/ 28228 w 552"/>
              <a:gd name="T39" fmla="*/ 18513 h 660"/>
              <a:gd name="T40" fmla="*/ 32149 w 552"/>
              <a:gd name="T41" fmla="*/ 26562 h 660"/>
              <a:gd name="T42" fmla="*/ 33717 w 552"/>
              <a:gd name="T43" fmla="*/ 28976 h 660"/>
              <a:gd name="T44" fmla="*/ 33717 w 552"/>
              <a:gd name="T45" fmla="*/ 29781 h 660"/>
              <a:gd name="T46" fmla="*/ 32149 w 552"/>
              <a:gd name="T47" fmla="*/ 28171 h 660"/>
              <a:gd name="T48" fmla="*/ 33717 w 552"/>
              <a:gd name="T49" fmla="*/ 29781 h 660"/>
              <a:gd name="T50" fmla="*/ 34501 w 552"/>
              <a:gd name="T51" fmla="*/ 31391 h 660"/>
              <a:gd name="T52" fmla="*/ 36854 w 552"/>
              <a:gd name="T53" fmla="*/ 33001 h 660"/>
              <a:gd name="T54" fmla="*/ 36854 w 552"/>
              <a:gd name="T55" fmla="*/ 35415 h 660"/>
              <a:gd name="T56" fmla="*/ 37638 w 552"/>
              <a:gd name="T57" fmla="*/ 37025 h 660"/>
              <a:gd name="T58" fmla="*/ 36854 w 552"/>
              <a:gd name="T59" fmla="*/ 37025 h 660"/>
              <a:gd name="T60" fmla="*/ 34501 w 552"/>
              <a:gd name="T61" fmla="*/ 37025 h 660"/>
              <a:gd name="T62" fmla="*/ 36854 w 552"/>
              <a:gd name="T63" fmla="*/ 37830 h 660"/>
              <a:gd name="T64" fmla="*/ 36854 w 552"/>
              <a:gd name="T65" fmla="*/ 39440 h 660"/>
              <a:gd name="T66" fmla="*/ 36854 w 552"/>
              <a:gd name="T67" fmla="*/ 41855 h 660"/>
              <a:gd name="T68" fmla="*/ 36070 w 552"/>
              <a:gd name="T69" fmla="*/ 42659 h 660"/>
              <a:gd name="T70" fmla="*/ 33717 w 552"/>
              <a:gd name="T71" fmla="*/ 43464 h 660"/>
              <a:gd name="T72" fmla="*/ 29012 w 552"/>
              <a:gd name="T73" fmla="*/ 43464 h 660"/>
              <a:gd name="T74" fmla="*/ 23524 w 552"/>
              <a:gd name="T75" fmla="*/ 43464 h 660"/>
              <a:gd name="T76" fmla="*/ 22740 w 552"/>
              <a:gd name="T77" fmla="*/ 42659 h 660"/>
              <a:gd name="T78" fmla="*/ 21171 w 552"/>
              <a:gd name="T79" fmla="*/ 42659 h 660"/>
              <a:gd name="T80" fmla="*/ 22740 w 552"/>
              <a:gd name="T81" fmla="*/ 42659 h 660"/>
              <a:gd name="T82" fmla="*/ 21955 w 552"/>
              <a:gd name="T83" fmla="*/ 43464 h 660"/>
              <a:gd name="T84" fmla="*/ 18819 w 552"/>
              <a:gd name="T85" fmla="*/ 43464 h 660"/>
              <a:gd name="T86" fmla="*/ 15682 w 552"/>
              <a:gd name="T87" fmla="*/ 44269 h 660"/>
              <a:gd name="T88" fmla="*/ 11762 w 552"/>
              <a:gd name="T89" fmla="*/ 45074 h 660"/>
              <a:gd name="T90" fmla="*/ 9409 w 552"/>
              <a:gd name="T91" fmla="*/ 45074 h 660"/>
              <a:gd name="T92" fmla="*/ 8625 w 552"/>
              <a:gd name="T93" fmla="*/ 45879 h 660"/>
              <a:gd name="T94" fmla="*/ 7057 w 552"/>
              <a:gd name="T95" fmla="*/ 45879 h 660"/>
              <a:gd name="T96" fmla="*/ 5489 w 552"/>
              <a:gd name="T97" fmla="*/ 45074 h 660"/>
              <a:gd name="T98" fmla="*/ 3921 w 552"/>
              <a:gd name="T99" fmla="*/ 44269 h 660"/>
              <a:gd name="T100" fmla="*/ 5489 w 552"/>
              <a:gd name="T101" fmla="*/ 43464 h 660"/>
              <a:gd name="T102" fmla="*/ 3921 w 552"/>
              <a:gd name="T103" fmla="*/ 43464 h 660"/>
              <a:gd name="T104" fmla="*/ 3921 w 552"/>
              <a:gd name="T105" fmla="*/ 42659 h 660"/>
              <a:gd name="T106" fmla="*/ 3136 w 552"/>
              <a:gd name="T107" fmla="*/ 39440 h 660"/>
              <a:gd name="T108" fmla="*/ 35285 w 552"/>
              <a:gd name="T109" fmla="*/ 30586 h 6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52"/>
              <a:gd name="T166" fmla="*/ 0 h 660"/>
              <a:gd name="T167" fmla="*/ 552 w 552"/>
              <a:gd name="T168" fmla="*/ 660 h 6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52" h="660">
                <a:moveTo>
                  <a:pt x="36" y="564"/>
                </a:moveTo>
                <a:lnTo>
                  <a:pt x="36" y="558"/>
                </a:lnTo>
                <a:lnTo>
                  <a:pt x="36" y="552"/>
                </a:lnTo>
                <a:lnTo>
                  <a:pt x="42" y="546"/>
                </a:lnTo>
                <a:lnTo>
                  <a:pt x="42" y="540"/>
                </a:lnTo>
                <a:lnTo>
                  <a:pt x="36" y="540"/>
                </a:lnTo>
                <a:lnTo>
                  <a:pt x="36" y="534"/>
                </a:lnTo>
                <a:lnTo>
                  <a:pt x="36" y="528"/>
                </a:lnTo>
                <a:lnTo>
                  <a:pt x="42" y="522"/>
                </a:lnTo>
                <a:lnTo>
                  <a:pt x="48" y="516"/>
                </a:lnTo>
                <a:lnTo>
                  <a:pt x="54" y="510"/>
                </a:lnTo>
                <a:lnTo>
                  <a:pt x="54" y="504"/>
                </a:lnTo>
                <a:lnTo>
                  <a:pt x="54" y="498"/>
                </a:lnTo>
                <a:lnTo>
                  <a:pt x="48" y="492"/>
                </a:lnTo>
                <a:lnTo>
                  <a:pt x="42" y="486"/>
                </a:lnTo>
                <a:lnTo>
                  <a:pt x="42" y="480"/>
                </a:lnTo>
                <a:lnTo>
                  <a:pt x="42" y="468"/>
                </a:lnTo>
                <a:lnTo>
                  <a:pt x="30" y="456"/>
                </a:lnTo>
                <a:lnTo>
                  <a:pt x="30" y="450"/>
                </a:lnTo>
                <a:lnTo>
                  <a:pt x="18" y="444"/>
                </a:lnTo>
                <a:lnTo>
                  <a:pt x="18" y="438"/>
                </a:lnTo>
                <a:lnTo>
                  <a:pt x="24" y="432"/>
                </a:lnTo>
                <a:lnTo>
                  <a:pt x="18" y="426"/>
                </a:lnTo>
                <a:lnTo>
                  <a:pt x="24" y="420"/>
                </a:lnTo>
                <a:lnTo>
                  <a:pt x="18" y="414"/>
                </a:lnTo>
                <a:lnTo>
                  <a:pt x="12" y="408"/>
                </a:lnTo>
                <a:lnTo>
                  <a:pt x="12" y="402"/>
                </a:lnTo>
                <a:lnTo>
                  <a:pt x="6" y="396"/>
                </a:lnTo>
                <a:lnTo>
                  <a:pt x="12" y="396"/>
                </a:lnTo>
                <a:lnTo>
                  <a:pt x="6" y="384"/>
                </a:lnTo>
                <a:lnTo>
                  <a:pt x="12" y="372"/>
                </a:lnTo>
                <a:lnTo>
                  <a:pt x="18" y="366"/>
                </a:lnTo>
                <a:lnTo>
                  <a:pt x="18" y="360"/>
                </a:lnTo>
                <a:lnTo>
                  <a:pt x="18" y="354"/>
                </a:lnTo>
                <a:lnTo>
                  <a:pt x="18" y="348"/>
                </a:lnTo>
                <a:lnTo>
                  <a:pt x="6" y="342"/>
                </a:lnTo>
                <a:lnTo>
                  <a:pt x="0" y="342"/>
                </a:lnTo>
                <a:lnTo>
                  <a:pt x="6" y="330"/>
                </a:lnTo>
                <a:lnTo>
                  <a:pt x="12" y="330"/>
                </a:lnTo>
                <a:lnTo>
                  <a:pt x="18" y="324"/>
                </a:lnTo>
                <a:lnTo>
                  <a:pt x="24" y="318"/>
                </a:lnTo>
                <a:lnTo>
                  <a:pt x="30" y="318"/>
                </a:lnTo>
                <a:lnTo>
                  <a:pt x="36" y="306"/>
                </a:lnTo>
                <a:lnTo>
                  <a:pt x="42" y="300"/>
                </a:lnTo>
                <a:lnTo>
                  <a:pt x="42" y="294"/>
                </a:lnTo>
                <a:lnTo>
                  <a:pt x="42" y="288"/>
                </a:lnTo>
                <a:lnTo>
                  <a:pt x="48" y="282"/>
                </a:lnTo>
                <a:lnTo>
                  <a:pt x="54" y="276"/>
                </a:lnTo>
                <a:lnTo>
                  <a:pt x="54" y="270"/>
                </a:lnTo>
                <a:lnTo>
                  <a:pt x="48" y="264"/>
                </a:lnTo>
                <a:lnTo>
                  <a:pt x="42" y="246"/>
                </a:lnTo>
                <a:lnTo>
                  <a:pt x="48" y="240"/>
                </a:lnTo>
                <a:lnTo>
                  <a:pt x="42" y="234"/>
                </a:lnTo>
                <a:lnTo>
                  <a:pt x="42" y="228"/>
                </a:lnTo>
                <a:lnTo>
                  <a:pt x="48" y="204"/>
                </a:lnTo>
                <a:lnTo>
                  <a:pt x="54" y="174"/>
                </a:lnTo>
                <a:lnTo>
                  <a:pt x="54" y="162"/>
                </a:lnTo>
                <a:lnTo>
                  <a:pt x="54" y="156"/>
                </a:lnTo>
                <a:lnTo>
                  <a:pt x="54" y="144"/>
                </a:lnTo>
                <a:lnTo>
                  <a:pt x="48" y="132"/>
                </a:lnTo>
                <a:lnTo>
                  <a:pt x="66" y="132"/>
                </a:lnTo>
                <a:lnTo>
                  <a:pt x="66" y="126"/>
                </a:lnTo>
                <a:lnTo>
                  <a:pt x="72" y="126"/>
                </a:lnTo>
                <a:lnTo>
                  <a:pt x="84" y="126"/>
                </a:lnTo>
                <a:lnTo>
                  <a:pt x="96" y="120"/>
                </a:lnTo>
                <a:lnTo>
                  <a:pt x="114" y="120"/>
                </a:lnTo>
                <a:lnTo>
                  <a:pt x="120" y="120"/>
                </a:lnTo>
                <a:lnTo>
                  <a:pt x="126" y="114"/>
                </a:lnTo>
                <a:lnTo>
                  <a:pt x="126" y="108"/>
                </a:lnTo>
                <a:lnTo>
                  <a:pt x="126" y="102"/>
                </a:lnTo>
                <a:lnTo>
                  <a:pt x="132" y="96"/>
                </a:lnTo>
                <a:lnTo>
                  <a:pt x="132" y="84"/>
                </a:lnTo>
                <a:lnTo>
                  <a:pt x="126" y="78"/>
                </a:lnTo>
                <a:lnTo>
                  <a:pt x="120" y="78"/>
                </a:lnTo>
                <a:lnTo>
                  <a:pt x="102" y="84"/>
                </a:lnTo>
                <a:lnTo>
                  <a:pt x="108" y="66"/>
                </a:lnTo>
                <a:lnTo>
                  <a:pt x="114" y="54"/>
                </a:lnTo>
                <a:lnTo>
                  <a:pt x="120" y="42"/>
                </a:lnTo>
                <a:lnTo>
                  <a:pt x="126" y="42"/>
                </a:lnTo>
                <a:lnTo>
                  <a:pt x="138" y="48"/>
                </a:lnTo>
                <a:lnTo>
                  <a:pt x="144" y="54"/>
                </a:lnTo>
                <a:lnTo>
                  <a:pt x="156" y="54"/>
                </a:lnTo>
                <a:lnTo>
                  <a:pt x="156" y="18"/>
                </a:lnTo>
                <a:lnTo>
                  <a:pt x="144" y="12"/>
                </a:lnTo>
                <a:lnTo>
                  <a:pt x="144" y="0"/>
                </a:lnTo>
                <a:lnTo>
                  <a:pt x="150" y="0"/>
                </a:lnTo>
                <a:lnTo>
                  <a:pt x="156" y="0"/>
                </a:lnTo>
                <a:lnTo>
                  <a:pt x="162" y="0"/>
                </a:lnTo>
                <a:lnTo>
                  <a:pt x="174" y="0"/>
                </a:lnTo>
                <a:lnTo>
                  <a:pt x="180" y="0"/>
                </a:lnTo>
                <a:lnTo>
                  <a:pt x="186" y="18"/>
                </a:lnTo>
                <a:lnTo>
                  <a:pt x="198" y="30"/>
                </a:lnTo>
                <a:lnTo>
                  <a:pt x="204" y="54"/>
                </a:lnTo>
                <a:lnTo>
                  <a:pt x="216" y="60"/>
                </a:lnTo>
                <a:lnTo>
                  <a:pt x="240" y="60"/>
                </a:lnTo>
                <a:lnTo>
                  <a:pt x="246" y="66"/>
                </a:lnTo>
                <a:lnTo>
                  <a:pt x="258" y="78"/>
                </a:lnTo>
                <a:lnTo>
                  <a:pt x="258" y="90"/>
                </a:lnTo>
                <a:lnTo>
                  <a:pt x="252" y="96"/>
                </a:lnTo>
                <a:lnTo>
                  <a:pt x="258" y="102"/>
                </a:lnTo>
                <a:lnTo>
                  <a:pt x="258" y="108"/>
                </a:lnTo>
                <a:lnTo>
                  <a:pt x="252" y="120"/>
                </a:lnTo>
                <a:lnTo>
                  <a:pt x="252" y="126"/>
                </a:lnTo>
                <a:lnTo>
                  <a:pt x="258" y="126"/>
                </a:lnTo>
                <a:lnTo>
                  <a:pt x="264" y="126"/>
                </a:lnTo>
                <a:lnTo>
                  <a:pt x="276" y="126"/>
                </a:lnTo>
                <a:lnTo>
                  <a:pt x="282" y="120"/>
                </a:lnTo>
                <a:lnTo>
                  <a:pt x="282" y="126"/>
                </a:lnTo>
                <a:lnTo>
                  <a:pt x="294" y="126"/>
                </a:lnTo>
                <a:lnTo>
                  <a:pt x="300" y="132"/>
                </a:lnTo>
                <a:lnTo>
                  <a:pt x="306" y="144"/>
                </a:lnTo>
                <a:lnTo>
                  <a:pt x="312" y="144"/>
                </a:lnTo>
                <a:lnTo>
                  <a:pt x="312" y="150"/>
                </a:lnTo>
                <a:lnTo>
                  <a:pt x="312" y="162"/>
                </a:lnTo>
                <a:lnTo>
                  <a:pt x="312" y="174"/>
                </a:lnTo>
                <a:lnTo>
                  <a:pt x="324" y="180"/>
                </a:lnTo>
                <a:lnTo>
                  <a:pt x="324" y="186"/>
                </a:lnTo>
                <a:lnTo>
                  <a:pt x="324" y="192"/>
                </a:lnTo>
                <a:lnTo>
                  <a:pt x="330" y="192"/>
                </a:lnTo>
                <a:lnTo>
                  <a:pt x="336" y="198"/>
                </a:lnTo>
                <a:lnTo>
                  <a:pt x="342" y="192"/>
                </a:lnTo>
                <a:lnTo>
                  <a:pt x="348" y="192"/>
                </a:lnTo>
                <a:lnTo>
                  <a:pt x="348" y="186"/>
                </a:lnTo>
                <a:lnTo>
                  <a:pt x="348" y="180"/>
                </a:lnTo>
                <a:lnTo>
                  <a:pt x="354" y="180"/>
                </a:lnTo>
                <a:lnTo>
                  <a:pt x="354" y="174"/>
                </a:lnTo>
                <a:lnTo>
                  <a:pt x="360" y="168"/>
                </a:lnTo>
                <a:lnTo>
                  <a:pt x="366" y="168"/>
                </a:lnTo>
                <a:lnTo>
                  <a:pt x="372" y="174"/>
                </a:lnTo>
                <a:lnTo>
                  <a:pt x="372" y="180"/>
                </a:lnTo>
                <a:lnTo>
                  <a:pt x="378" y="186"/>
                </a:lnTo>
                <a:lnTo>
                  <a:pt x="378" y="192"/>
                </a:lnTo>
                <a:lnTo>
                  <a:pt x="384" y="192"/>
                </a:lnTo>
                <a:lnTo>
                  <a:pt x="390" y="204"/>
                </a:lnTo>
                <a:lnTo>
                  <a:pt x="390" y="210"/>
                </a:lnTo>
                <a:lnTo>
                  <a:pt x="390" y="216"/>
                </a:lnTo>
                <a:lnTo>
                  <a:pt x="384" y="234"/>
                </a:lnTo>
                <a:lnTo>
                  <a:pt x="390" y="240"/>
                </a:lnTo>
                <a:lnTo>
                  <a:pt x="408" y="252"/>
                </a:lnTo>
                <a:lnTo>
                  <a:pt x="414" y="264"/>
                </a:lnTo>
                <a:lnTo>
                  <a:pt x="408" y="300"/>
                </a:lnTo>
                <a:lnTo>
                  <a:pt x="414" y="312"/>
                </a:lnTo>
                <a:lnTo>
                  <a:pt x="426" y="336"/>
                </a:lnTo>
                <a:lnTo>
                  <a:pt x="438" y="354"/>
                </a:lnTo>
                <a:lnTo>
                  <a:pt x="444" y="366"/>
                </a:lnTo>
                <a:lnTo>
                  <a:pt x="456" y="366"/>
                </a:lnTo>
                <a:lnTo>
                  <a:pt x="474" y="378"/>
                </a:lnTo>
                <a:lnTo>
                  <a:pt x="474" y="384"/>
                </a:lnTo>
                <a:lnTo>
                  <a:pt x="480" y="390"/>
                </a:lnTo>
                <a:lnTo>
                  <a:pt x="486" y="396"/>
                </a:lnTo>
                <a:lnTo>
                  <a:pt x="486" y="402"/>
                </a:lnTo>
                <a:lnTo>
                  <a:pt x="480" y="408"/>
                </a:lnTo>
                <a:lnTo>
                  <a:pt x="486" y="408"/>
                </a:lnTo>
                <a:lnTo>
                  <a:pt x="486" y="414"/>
                </a:lnTo>
                <a:lnTo>
                  <a:pt x="492" y="414"/>
                </a:lnTo>
                <a:lnTo>
                  <a:pt x="492" y="420"/>
                </a:lnTo>
                <a:lnTo>
                  <a:pt x="498" y="426"/>
                </a:lnTo>
                <a:lnTo>
                  <a:pt x="498" y="432"/>
                </a:lnTo>
                <a:lnTo>
                  <a:pt x="498" y="438"/>
                </a:lnTo>
                <a:lnTo>
                  <a:pt x="492" y="432"/>
                </a:lnTo>
                <a:lnTo>
                  <a:pt x="486" y="426"/>
                </a:lnTo>
                <a:lnTo>
                  <a:pt x="486" y="420"/>
                </a:lnTo>
                <a:lnTo>
                  <a:pt x="486" y="414"/>
                </a:lnTo>
                <a:lnTo>
                  <a:pt x="480" y="414"/>
                </a:lnTo>
                <a:lnTo>
                  <a:pt x="480" y="408"/>
                </a:lnTo>
                <a:lnTo>
                  <a:pt x="474" y="408"/>
                </a:lnTo>
                <a:lnTo>
                  <a:pt x="468" y="408"/>
                </a:lnTo>
                <a:lnTo>
                  <a:pt x="468" y="402"/>
                </a:lnTo>
                <a:lnTo>
                  <a:pt x="462" y="402"/>
                </a:lnTo>
                <a:lnTo>
                  <a:pt x="462" y="408"/>
                </a:lnTo>
                <a:lnTo>
                  <a:pt x="468" y="408"/>
                </a:lnTo>
                <a:lnTo>
                  <a:pt x="474" y="414"/>
                </a:lnTo>
                <a:lnTo>
                  <a:pt x="480" y="420"/>
                </a:lnTo>
                <a:lnTo>
                  <a:pt x="480" y="426"/>
                </a:lnTo>
                <a:lnTo>
                  <a:pt x="486" y="426"/>
                </a:lnTo>
                <a:lnTo>
                  <a:pt x="486" y="432"/>
                </a:lnTo>
                <a:lnTo>
                  <a:pt x="492" y="438"/>
                </a:lnTo>
                <a:lnTo>
                  <a:pt x="498" y="438"/>
                </a:lnTo>
                <a:lnTo>
                  <a:pt x="504" y="444"/>
                </a:lnTo>
                <a:lnTo>
                  <a:pt x="510" y="444"/>
                </a:lnTo>
                <a:lnTo>
                  <a:pt x="510" y="450"/>
                </a:lnTo>
                <a:lnTo>
                  <a:pt x="510" y="456"/>
                </a:lnTo>
                <a:lnTo>
                  <a:pt x="516" y="456"/>
                </a:lnTo>
                <a:lnTo>
                  <a:pt x="516" y="462"/>
                </a:lnTo>
                <a:lnTo>
                  <a:pt x="522" y="462"/>
                </a:lnTo>
                <a:lnTo>
                  <a:pt x="522" y="468"/>
                </a:lnTo>
                <a:lnTo>
                  <a:pt x="528" y="468"/>
                </a:lnTo>
                <a:lnTo>
                  <a:pt x="534" y="468"/>
                </a:lnTo>
                <a:lnTo>
                  <a:pt x="534" y="474"/>
                </a:lnTo>
                <a:lnTo>
                  <a:pt x="540" y="474"/>
                </a:lnTo>
                <a:lnTo>
                  <a:pt x="540" y="480"/>
                </a:lnTo>
                <a:lnTo>
                  <a:pt x="546" y="486"/>
                </a:lnTo>
                <a:lnTo>
                  <a:pt x="546" y="492"/>
                </a:lnTo>
                <a:lnTo>
                  <a:pt x="546" y="498"/>
                </a:lnTo>
                <a:lnTo>
                  <a:pt x="546" y="504"/>
                </a:lnTo>
                <a:lnTo>
                  <a:pt x="540" y="504"/>
                </a:lnTo>
                <a:lnTo>
                  <a:pt x="546" y="504"/>
                </a:lnTo>
                <a:lnTo>
                  <a:pt x="540" y="510"/>
                </a:lnTo>
                <a:lnTo>
                  <a:pt x="546" y="510"/>
                </a:lnTo>
                <a:lnTo>
                  <a:pt x="552" y="510"/>
                </a:lnTo>
                <a:lnTo>
                  <a:pt x="552" y="516"/>
                </a:lnTo>
                <a:lnTo>
                  <a:pt x="552" y="522"/>
                </a:lnTo>
                <a:lnTo>
                  <a:pt x="552" y="528"/>
                </a:lnTo>
                <a:lnTo>
                  <a:pt x="552" y="534"/>
                </a:lnTo>
                <a:lnTo>
                  <a:pt x="552" y="540"/>
                </a:lnTo>
                <a:lnTo>
                  <a:pt x="546" y="540"/>
                </a:lnTo>
                <a:lnTo>
                  <a:pt x="546" y="546"/>
                </a:lnTo>
                <a:lnTo>
                  <a:pt x="546" y="540"/>
                </a:lnTo>
                <a:lnTo>
                  <a:pt x="546" y="534"/>
                </a:lnTo>
                <a:lnTo>
                  <a:pt x="540" y="534"/>
                </a:lnTo>
                <a:lnTo>
                  <a:pt x="540" y="528"/>
                </a:lnTo>
                <a:lnTo>
                  <a:pt x="534" y="528"/>
                </a:lnTo>
                <a:lnTo>
                  <a:pt x="528" y="528"/>
                </a:lnTo>
                <a:lnTo>
                  <a:pt x="522" y="528"/>
                </a:lnTo>
                <a:lnTo>
                  <a:pt x="516" y="528"/>
                </a:lnTo>
                <a:lnTo>
                  <a:pt x="510" y="528"/>
                </a:lnTo>
                <a:lnTo>
                  <a:pt x="510" y="534"/>
                </a:lnTo>
                <a:lnTo>
                  <a:pt x="510" y="528"/>
                </a:lnTo>
                <a:lnTo>
                  <a:pt x="516" y="528"/>
                </a:lnTo>
                <a:lnTo>
                  <a:pt x="522" y="528"/>
                </a:lnTo>
                <a:lnTo>
                  <a:pt x="528" y="528"/>
                </a:lnTo>
                <a:lnTo>
                  <a:pt x="534" y="534"/>
                </a:lnTo>
                <a:lnTo>
                  <a:pt x="540" y="534"/>
                </a:lnTo>
                <a:lnTo>
                  <a:pt x="540" y="540"/>
                </a:lnTo>
                <a:lnTo>
                  <a:pt x="540" y="546"/>
                </a:lnTo>
                <a:lnTo>
                  <a:pt x="546" y="546"/>
                </a:lnTo>
                <a:lnTo>
                  <a:pt x="546" y="552"/>
                </a:lnTo>
                <a:lnTo>
                  <a:pt x="552" y="552"/>
                </a:lnTo>
                <a:lnTo>
                  <a:pt x="552" y="558"/>
                </a:lnTo>
                <a:lnTo>
                  <a:pt x="552" y="564"/>
                </a:lnTo>
                <a:lnTo>
                  <a:pt x="546" y="564"/>
                </a:lnTo>
                <a:lnTo>
                  <a:pt x="546" y="570"/>
                </a:lnTo>
                <a:lnTo>
                  <a:pt x="546" y="576"/>
                </a:lnTo>
                <a:lnTo>
                  <a:pt x="540" y="576"/>
                </a:lnTo>
                <a:lnTo>
                  <a:pt x="540" y="582"/>
                </a:lnTo>
                <a:lnTo>
                  <a:pt x="540" y="588"/>
                </a:lnTo>
                <a:lnTo>
                  <a:pt x="534" y="594"/>
                </a:lnTo>
                <a:lnTo>
                  <a:pt x="534" y="600"/>
                </a:lnTo>
                <a:lnTo>
                  <a:pt x="528" y="600"/>
                </a:lnTo>
                <a:lnTo>
                  <a:pt x="522" y="594"/>
                </a:lnTo>
                <a:lnTo>
                  <a:pt x="528" y="600"/>
                </a:lnTo>
                <a:lnTo>
                  <a:pt x="534" y="600"/>
                </a:lnTo>
                <a:lnTo>
                  <a:pt x="534" y="606"/>
                </a:lnTo>
                <a:lnTo>
                  <a:pt x="528" y="606"/>
                </a:lnTo>
                <a:lnTo>
                  <a:pt x="528" y="612"/>
                </a:lnTo>
                <a:lnTo>
                  <a:pt x="522" y="612"/>
                </a:lnTo>
                <a:lnTo>
                  <a:pt x="522" y="618"/>
                </a:lnTo>
                <a:lnTo>
                  <a:pt x="522" y="624"/>
                </a:lnTo>
                <a:lnTo>
                  <a:pt x="510" y="624"/>
                </a:lnTo>
                <a:lnTo>
                  <a:pt x="498" y="624"/>
                </a:lnTo>
                <a:lnTo>
                  <a:pt x="492" y="624"/>
                </a:lnTo>
                <a:lnTo>
                  <a:pt x="486" y="624"/>
                </a:lnTo>
                <a:lnTo>
                  <a:pt x="480" y="624"/>
                </a:lnTo>
                <a:lnTo>
                  <a:pt x="474" y="624"/>
                </a:lnTo>
                <a:lnTo>
                  <a:pt x="468" y="618"/>
                </a:lnTo>
                <a:lnTo>
                  <a:pt x="456" y="618"/>
                </a:lnTo>
                <a:lnTo>
                  <a:pt x="450" y="618"/>
                </a:lnTo>
                <a:lnTo>
                  <a:pt x="426" y="618"/>
                </a:lnTo>
                <a:lnTo>
                  <a:pt x="420" y="618"/>
                </a:lnTo>
                <a:lnTo>
                  <a:pt x="414" y="618"/>
                </a:lnTo>
                <a:lnTo>
                  <a:pt x="408" y="618"/>
                </a:lnTo>
                <a:lnTo>
                  <a:pt x="396" y="618"/>
                </a:lnTo>
                <a:lnTo>
                  <a:pt x="366" y="618"/>
                </a:lnTo>
                <a:lnTo>
                  <a:pt x="348" y="624"/>
                </a:lnTo>
                <a:lnTo>
                  <a:pt x="342" y="624"/>
                </a:lnTo>
                <a:lnTo>
                  <a:pt x="342" y="618"/>
                </a:lnTo>
                <a:lnTo>
                  <a:pt x="336" y="618"/>
                </a:lnTo>
                <a:lnTo>
                  <a:pt x="336" y="612"/>
                </a:lnTo>
                <a:lnTo>
                  <a:pt x="342" y="612"/>
                </a:lnTo>
                <a:lnTo>
                  <a:pt x="348" y="612"/>
                </a:lnTo>
                <a:lnTo>
                  <a:pt x="342" y="612"/>
                </a:lnTo>
                <a:lnTo>
                  <a:pt x="336" y="612"/>
                </a:lnTo>
                <a:lnTo>
                  <a:pt x="336" y="606"/>
                </a:lnTo>
                <a:lnTo>
                  <a:pt x="330" y="606"/>
                </a:lnTo>
                <a:lnTo>
                  <a:pt x="330" y="600"/>
                </a:lnTo>
                <a:lnTo>
                  <a:pt x="324" y="600"/>
                </a:lnTo>
                <a:lnTo>
                  <a:pt x="324" y="606"/>
                </a:lnTo>
                <a:lnTo>
                  <a:pt x="318" y="606"/>
                </a:lnTo>
                <a:lnTo>
                  <a:pt x="318" y="612"/>
                </a:lnTo>
                <a:lnTo>
                  <a:pt x="312" y="612"/>
                </a:lnTo>
                <a:lnTo>
                  <a:pt x="306" y="606"/>
                </a:lnTo>
                <a:lnTo>
                  <a:pt x="306" y="612"/>
                </a:lnTo>
                <a:lnTo>
                  <a:pt x="312" y="612"/>
                </a:lnTo>
                <a:lnTo>
                  <a:pt x="318" y="612"/>
                </a:lnTo>
                <a:lnTo>
                  <a:pt x="324" y="612"/>
                </a:lnTo>
                <a:lnTo>
                  <a:pt x="324" y="606"/>
                </a:lnTo>
                <a:lnTo>
                  <a:pt x="330" y="606"/>
                </a:lnTo>
                <a:lnTo>
                  <a:pt x="336" y="612"/>
                </a:lnTo>
                <a:lnTo>
                  <a:pt x="336" y="618"/>
                </a:lnTo>
                <a:lnTo>
                  <a:pt x="330" y="618"/>
                </a:lnTo>
                <a:lnTo>
                  <a:pt x="336" y="618"/>
                </a:lnTo>
                <a:lnTo>
                  <a:pt x="336" y="624"/>
                </a:lnTo>
                <a:lnTo>
                  <a:pt x="330" y="624"/>
                </a:lnTo>
                <a:lnTo>
                  <a:pt x="318" y="624"/>
                </a:lnTo>
                <a:lnTo>
                  <a:pt x="306" y="624"/>
                </a:lnTo>
                <a:lnTo>
                  <a:pt x="300" y="624"/>
                </a:lnTo>
                <a:lnTo>
                  <a:pt x="306" y="624"/>
                </a:lnTo>
                <a:lnTo>
                  <a:pt x="300" y="624"/>
                </a:lnTo>
                <a:lnTo>
                  <a:pt x="288" y="624"/>
                </a:lnTo>
                <a:lnTo>
                  <a:pt x="282" y="624"/>
                </a:lnTo>
                <a:lnTo>
                  <a:pt x="270" y="630"/>
                </a:lnTo>
                <a:lnTo>
                  <a:pt x="264" y="630"/>
                </a:lnTo>
                <a:lnTo>
                  <a:pt x="258" y="630"/>
                </a:lnTo>
                <a:lnTo>
                  <a:pt x="252" y="630"/>
                </a:lnTo>
                <a:lnTo>
                  <a:pt x="246" y="630"/>
                </a:lnTo>
                <a:lnTo>
                  <a:pt x="240" y="630"/>
                </a:lnTo>
                <a:lnTo>
                  <a:pt x="228" y="636"/>
                </a:lnTo>
                <a:lnTo>
                  <a:pt x="222" y="636"/>
                </a:lnTo>
                <a:lnTo>
                  <a:pt x="210" y="636"/>
                </a:lnTo>
                <a:lnTo>
                  <a:pt x="204" y="636"/>
                </a:lnTo>
                <a:lnTo>
                  <a:pt x="198" y="636"/>
                </a:lnTo>
                <a:lnTo>
                  <a:pt x="192" y="642"/>
                </a:lnTo>
                <a:lnTo>
                  <a:pt x="186" y="642"/>
                </a:lnTo>
                <a:lnTo>
                  <a:pt x="180" y="642"/>
                </a:lnTo>
                <a:lnTo>
                  <a:pt x="168" y="642"/>
                </a:lnTo>
                <a:lnTo>
                  <a:pt x="162" y="642"/>
                </a:lnTo>
                <a:lnTo>
                  <a:pt x="162" y="648"/>
                </a:lnTo>
                <a:lnTo>
                  <a:pt x="156" y="648"/>
                </a:lnTo>
                <a:lnTo>
                  <a:pt x="150" y="648"/>
                </a:lnTo>
                <a:lnTo>
                  <a:pt x="144" y="648"/>
                </a:lnTo>
                <a:lnTo>
                  <a:pt x="138" y="648"/>
                </a:lnTo>
                <a:lnTo>
                  <a:pt x="132" y="648"/>
                </a:lnTo>
                <a:lnTo>
                  <a:pt x="126" y="642"/>
                </a:lnTo>
                <a:lnTo>
                  <a:pt x="126" y="636"/>
                </a:lnTo>
                <a:lnTo>
                  <a:pt x="120" y="636"/>
                </a:lnTo>
                <a:lnTo>
                  <a:pt x="126" y="642"/>
                </a:lnTo>
                <a:lnTo>
                  <a:pt x="126" y="648"/>
                </a:lnTo>
                <a:lnTo>
                  <a:pt x="132" y="648"/>
                </a:lnTo>
                <a:lnTo>
                  <a:pt x="126" y="654"/>
                </a:lnTo>
                <a:lnTo>
                  <a:pt x="120" y="654"/>
                </a:lnTo>
                <a:lnTo>
                  <a:pt x="114" y="654"/>
                </a:lnTo>
                <a:lnTo>
                  <a:pt x="108" y="654"/>
                </a:lnTo>
                <a:lnTo>
                  <a:pt x="108" y="660"/>
                </a:lnTo>
                <a:lnTo>
                  <a:pt x="108" y="654"/>
                </a:lnTo>
                <a:lnTo>
                  <a:pt x="102" y="654"/>
                </a:lnTo>
                <a:lnTo>
                  <a:pt x="102" y="660"/>
                </a:lnTo>
                <a:lnTo>
                  <a:pt x="108" y="660"/>
                </a:lnTo>
                <a:lnTo>
                  <a:pt x="102" y="660"/>
                </a:lnTo>
                <a:lnTo>
                  <a:pt x="96" y="660"/>
                </a:lnTo>
                <a:lnTo>
                  <a:pt x="90" y="660"/>
                </a:lnTo>
                <a:lnTo>
                  <a:pt x="90" y="654"/>
                </a:lnTo>
                <a:lnTo>
                  <a:pt x="84" y="648"/>
                </a:lnTo>
                <a:lnTo>
                  <a:pt x="84" y="642"/>
                </a:lnTo>
                <a:lnTo>
                  <a:pt x="78" y="642"/>
                </a:lnTo>
                <a:lnTo>
                  <a:pt x="72" y="642"/>
                </a:lnTo>
                <a:lnTo>
                  <a:pt x="72" y="636"/>
                </a:lnTo>
                <a:lnTo>
                  <a:pt x="78" y="636"/>
                </a:lnTo>
                <a:lnTo>
                  <a:pt x="72" y="636"/>
                </a:lnTo>
                <a:lnTo>
                  <a:pt x="66" y="636"/>
                </a:lnTo>
                <a:lnTo>
                  <a:pt x="60" y="636"/>
                </a:lnTo>
                <a:lnTo>
                  <a:pt x="54" y="630"/>
                </a:lnTo>
                <a:lnTo>
                  <a:pt x="54" y="624"/>
                </a:lnTo>
                <a:lnTo>
                  <a:pt x="54" y="618"/>
                </a:lnTo>
                <a:lnTo>
                  <a:pt x="60" y="618"/>
                </a:lnTo>
                <a:lnTo>
                  <a:pt x="66" y="618"/>
                </a:lnTo>
                <a:lnTo>
                  <a:pt x="72" y="618"/>
                </a:lnTo>
                <a:lnTo>
                  <a:pt x="78" y="618"/>
                </a:lnTo>
                <a:lnTo>
                  <a:pt x="78" y="612"/>
                </a:lnTo>
                <a:lnTo>
                  <a:pt x="72" y="612"/>
                </a:lnTo>
                <a:lnTo>
                  <a:pt x="72" y="618"/>
                </a:lnTo>
                <a:lnTo>
                  <a:pt x="66" y="618"/>
                </a:lnTo>
                <a:lnTo>
                  <a:pt x="66" y="612"/>
                </a:lnTo>
                <a:lnTo>
                  <a:pt x="66" y="618"/>
                </a:lnTo>
                <a:lnTo>
                  <a:pt x="60" y="618"/>
                </a:lnTo>
                <a:lnTo>
                  <a:pt x="54" y="618"/>
                </a:lnTo>
                <a:lnTo>
                  <a:pt x="54" y="624"/>
                </a:lnTo>
                <a:lnTo>
                  <a:pt x="48" y="618"/>
                </a:lnTo>
                <a:lnTo>
                  <a:pt x="42" y="618"/>
                </a:lnTo>
                <a:lnTo>
                  <a:pt x="42" y="612"/>
                </a:lnTo>
                <a:lnTo>
                  <a:pt x="48" y="606"/>
                </a:lnTo>
                <a:lnTo>
                  <a:pt x="54" y="606"/>
                </a:lnTo>
                <a:lnTo>
                  <a:pt x="54" y="600"/>
                </a:lnTo>
                <a:lnTo>
                  <a:pt x="54" y="594"/>
                </a:lnTo>
                <a:lnTo>
                  <a:pt x="54" y="588"/>
                </a:lnTo>
                <a:lnTo>
                  <a:pt x="48" y="588"/>
                </a:lnTo>
                <a:lnTo>
                  <a:pt x="48" y="582"/>
                </a:lnTo>
                <a:lnTo>
                  <a:pt x="42" y="582"/>
                </a:lnTo>
                <a:lnTo>
                  <a:pt x="42" y="570"/>
                </a:lnTo>
                <a:lnTo>
                  <a:pt x="42" y="564"/>
                </a:lnTo>
                <a:lnTo>
                  <a:pt x="36" y="564"/>
                </a:lnTo>
                <a:close/>
                <a:moveTo>
                  <a:pt x="498" y="420"/>
                </a:moveTo>
                <a:lnTo>
                  <a:pt x="504" y="426"/>
                </a:lnTo>
                <a:lnTo>
                  <a:pt x="510" y="432"/>
                </a:lnTo>
                <a:lnTo>
                  <a:pt x="516" y="432"/>
                </a:lnTo>
                <a:lnTo>
                  <a:pt x="516" y="438"/>
                </a:lnTo>
                <a:lnTo>
                  <a:pt x="510" y="438"/>
                </a:lnTo>
                <a:lnTo>
                  <a:pt x="504" y="438"/>
                </a:lnTo>
                <a:lnTo>
                  <a:pt x="504" y="432"/>
                </a:lnTo>
                <a:lnTo>
                  <a:pt x="498" y="432"/>
                </a:lnTo>
                <a:lnTo>
                  <a:pt x="498" y="426"/>
                </a:lnTo>
                <a:lnTo>
                  <a:pt x="498" y="420"/>
                </a:lnTo>
                <a:close/>
              </a:path>
            </a:pathLst>
          </a:custGeom>
          <a:solidFill>
            <a:srgbClr val="CD202C"/>
          </a:solidFill>
          <a:ln w="9525">
            <a:solidFill>
              <a:schemeClr val="bg1"/>
            </a:solidFill>
            <a:round/>
            <a:headEnd/>
            <a:tailEnd/>
          </a:ln>
        </p:spPr>
        <p:txBody>
          <a:bodyPr/>
          <a:lstStyle/>
          <a:p>
            <a:endParaRPr lang="en-GB"/>
          </a:p>
        </p:txBody>
      </p:sp>
      <p:sp>
        <p:nvSpPr>
          <p:cNvPr id="20494" name="Freeform 10"/>
          <p:cNvSpPr>
            <a:spLocks/>
          </p:cNvSpPr>
          <p:nvPr/>
        </p:nvSpPr>
        <p:spPr bwMode="gray">
          <a:xfrm>
            <a:off x="5756275" y="3030538"/>
            <a:ext cx="1179513" cy="1831975"/>
          </a:xfrm>
          <a:custGeom>
            <a:avLst/>
            <a:gdLst>
              <a:gd name="T0" fmla="*/ 18779 w 1506"/>
              <a:gd name="T1" fmla="*/ 153071 h 2274"/>
              <a:gd name="T2" fmla="*/ 19561 w 1506"/>
              <a:gd name="T3" fmla="*/ 145015 h 2274"/>
              <a:gd name="T4" fmla="*/ 16431 w 1506"/>
              <a:gd name="T5" fmla="*/ 140181 h 2274"/>
              <a:gd name="T6" fmla="*/ 13302 w 1506"/>
              <a:gd name="T7" fmla="*/ 136958 h 2274"/>
              <a:gd name="T8" fmla="*/ 9389 w 1506"/>
              <a:gd name="T9" fmla="*/ 135347 h 2274"/>
              <a:gd name="T10" fmla="*/ 7825 w 1506"/>
              <a:gd name="T11" fmla="*/ 139375 h 2274"/>
              <a:gd name="T12" fmla="*/ 5477 w 1506"/>
              <a:gd name="T13" fmla="*/ 140181 h 2274"/>
              <a:gd name="T14" fmla="*/ 0 w 1506"/>
              <a:gd name="T15" fmla="*/ 131319 h 2274"/>
              <a:gd name="T16" fmla="*/ 12519 w 1506"/>
              <a:gd name="T17" fmla="*/ 112789 h 2274"/>
              <a:gd name="T18" fmla="*/ 14867 w 1506"/>
              <a:gd name="T19" fmla="*/ 110372 h 2274"/>
              <a:gd name="T20" fmla="*/ 18779 w 1506"/>
              <a:gd name="T21" fmla="*/ 101510 h 2274"/>
              <a:gd name="T22" fmla="*/ 17996 w 1506"/>
              <a:gd name="T23" fmla="*/ 84592 h 2274"/>
              <a:gd name="T24" fmla="*/ 10954 w 1506"/>
              <a:gd name="T25" fmla="*/ 69285 h 2274"/>
              <a:gd name="T26" fmla="*/ 6260 w 1506"/>
              <a:gd name="T27" fmla="*/ 67674 h 2274"/>
              <a:gd name="T28" fmla="*/ 3912 w 1506"/>
              <a:gd name="T29" fmla="*/ 63645 h 2274"/>
              <a:gd name="T30" fmla="*/ 12519 w 1506"/>
              <a:gd name="T31" fmla="*/ 57200 h 2274"/>
              <a:gd name="T32" fmla="*/ 21909 w 1506"/>
              <a:gd name="T33" fmla="*/ 44310 h 2274"/>
              <a:gd name="T34" fmla="*/ 22691 w 1506"/>
              <a:gd name="T35" fmla="*/ 38671 h 2274"/>
              <a:gd name="T36" fmla="*/ 27386 w 1506"/>
              <a:gd name="T37" fmla="*/ 40282 h 2274"/>
              <a:gd name="T38" fmla="*/ 32863 w 1506"/>
              <a:gd name="T39" fmla="*/ 37865 h 2274"/>
              <a:gd name="T40" fmla="*/ 49294 w 1506"/>
              <a:gd name="T41" fmla="*/ 27392 h 2274"/>
              <a:gd name="T42" fmla="*/ 57901 w 1506"/>
              <a:gd name="T43" fmla="*/ 21752 h 2274"/>
              <a:gd name="T44" fmla="*/ 63379 w 1506"/>
              <a:gd name="T45" fmla="*/ 16113 h 2274"/>
              <a:gd name="T46" fmla="*/ 69638 w 1506"/>
              <a:gd name="T47" fmla="*/ 16113 h 2274"/>
              <a:gd name="T48" fmla="*/ 76680 w 1506"/>
              <a:gd name="T49" fmla="*/ 21752 h 2274"/>
              <a:gd name="T50" fmla="*/ 82940 w 1506"/>
              <a:gd name="T51" fmla="*/ 13696 h 2274"/>
              <a:gd name="T52" fmla="*/ 86852 w 1506"/>
              <a:gd name="T53" fmla="*/ 6445 h 2274"/>
              <a:gd name="T54" fmla="*/ 94677 w 1506"/>
              <a:gd name="T55" fmla="*/ 1611 h 2274"/>
              <a:gd name="T56" fmla="*/ 100936 w 1506"/>
              <a:gd name="T57" fmla="*/ 4028 h 2274"/>
              <a:gd name="T58" fmla="*/ 97806 w 1506"/>
              <a:gd name="T59" fmla="*/ 9668 h 2274"/>
              <a:gd name="T60" fmla="*/ 95459 w 1506"/>
              <a:gd name="T61" fmla="*/ 16113 h 2274"/>
              <a:gd name="T62" fmla="*/ 95459 w 1506"/>
              <a:gd name="T63" fmla="*/ 21752 h 2274"/>
              <a:gd name="T64" fmla="*/ 93894 w 1506"/>
              <a:gd name="T65" fmla="*/ 29003 h 2274"/>
              <a:gd name="T66" fmla="*/ 90764 w 1506"/>
              <a:gd name="T67" fmla="*/ 34642 h 2274"/>
              <a:gd name="T68" fmla="*/ 85287 w 1506"/>
              <a:gd name="T69" fmla="*/ 37865 h 2274"/>
              <a:gd name="T70" fmla="*/ 84505 w 1506"/>
              <a:gd name="T71" fmla="*/ 43504 h 2274"/>
              <a:gd name="T72" fmla="*/ 82940 w 1506"/>
              <a:gd name="T73" fmla="*/ 47533 h 2274"/>
              <a:gd name="T74" fmla="*/ 85287 w 1506"/>
              <a:gd name="T75" fmla="*/ 51561 h 2274"/>
              <a:gd name="T76" fmla="*/ 82940 w 1506"/>
              <a:gd name="T77" fmla="*/ 56395 h 2274"/>
              <a:gd name="T78" fmla="*/ 82157 w 1506"/>
              <a:gd name="T79" fmla="*/ 60423 h 2274"/>
              <a:gd name="T80" fmla="*/ 79028 w 1506"/>
              <a:gd name="T81" fmla="*/ 62840 h 2274"/>
              <a:gd name="T82" fmla="*/ 71985 w 1506"/>
              <a:gd name="T83" fmla="*/ 65257 h 2274"/>
              <a:gd name="T84" fmla="*/ 66508 w 1506"/>
              <a:gd name="T85" fmla="*/ 68479 h 2274"/>
              <a:gd name="T86" fmla="*/ 68073 w 1506"/>
              <a:gd name="T87" fmla="*/ 73313 h 2274"/>
              <a:gd name="T88" fmla="*/ 67291 w 1506"/>
              <a:gd name="T89" fmla="*/ 78952 h 2274"/>
              <a:gd name="T90" fmla="*/ 67291 w 1506"/>
              <a:gd name="T91" fmla="*/ 82981 h 2274"/>
              <a:gd name="T92" fmla="*/ 64161 w 1506"/>
              <a:gd name="T93" fmla="*/ 89426 h 2274"/>
              <a:gd name="T94" fmla="*/ 63379 w 1506"/>
              <a:gd name="T95" fmla="*/ 93454 h 2274"/>
              <a:gd name="T96" fmla="*/ 61031 w 1506"/>
              <a:gd name="T97" fmla="*/ 96676 h 2274"/>
              <a:gd name="T98" fmla="*/ 59466 w 1506"/>
              <a:gd name="T99" fmla="*/ 101510 h 2274"/>
              <a:gd name="T100" fmla="*/ 53207 w 1506"/>
              <a:gd name="T101" fmla="*/ 103927 h 2274"/>
              <a:gd name="T102" fmla="*/ 48512 w 1506"/>
              <a:gd name="T103" fmla="*/ 105538 h 2274"/>
              <a:gd name="T104" fmla="*/ 45382 w 1506"/>
              <a:gd name="T105" fmla="*/ 109567 h 2274"/>
              <a:gd name="T106" fmla="*/ 39905 w 1506"/>
              <a:gd name="T107" fmla="*/ 111178 h 2274"/>
              <a:gd name="T108" fmla="*/ 39905 w 1506"/>
              <a:gd name="T109" fmla="*/ 118429 h 2274"/>
              <a:gd name="T110" fmla="*/ 38340 w 1506"/>
              <a:gd name="T111" fmla="*/ 128096 h 2274"/>
              <a:gd name="T112" fmla="*/ 37558 w 1506"/>
              <a:gd name="T113" fmla="*/ 133736 h 2274"/>
              <a:gd name="T114" fmla="*/ 32080 w 1506"/>
              <a:gd name="T115" fmla="*/ 140181 h 2274"/>
              <a:gd name="T116" fmla="*/ 30516 w 1506"/>
              <a:gd name="T117" fmla="*/ 145820 h 2274"/>
              <a:gd name="T118" fmla="*/ 28951 w 1506"/>
              <a:gd name="T119" fmla="*/ 153071 h 2274"/>
              <a:gd name="T120" fmla="*/ 22691 w 1506"/>
              <a:gd name="T121" fmla="*/ 159516 h 22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06"/>
              <a:gd name="T184" fmla="*/ 0 h 2274"/>
              <a:gd name="T185" fmla="*/ 1506 w 1506"/>
              <a:gd name="T186" fmla="*/ 2274 h 22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06" h="2274">
                <a:moveTo>
                  <a:pt x="330" y="2274"/>
                </a:moveTo>
                <a:lnTo>
                  <a:pt x="318" y="2262"/>
                </a:lnTo>
                <a:lnTo>
                  <a:pt x="312" y="2238"/>
                </a:lnTo>
                <a:lnTo>
                  <a:pt x="312" y="2232"/>
                </a:lnTo>
                <a:lnTo>
                  <a:pt x="294" y="2214"/>
                </a:lnTo>
                <a:lnTo>
                  <a:pt x="288" y="2208"/>
                </a:lnTo>
                <a:lnTo>
                  <a:pt x="288" y="2202"/>
                </a:lnTo>
                <a:lnTo>
                  <a:pt x="276" y="2196"/>
                </a:lnTo>
                <a:lnTo>
                  <a:pt x="276" y="2190"/>
                </a:lnTo>
                <a:lnTo>
                  <a:pt x="282" y="2190"/>
                </a:lnTo>
                <a:lnTo>
                  <a:pt x="282" y="2184"/>
                </a:lnTo>
                <a:lnTo>
                  <a:pt x="276" y="2172"/>
                </a:lnTo>
                <a:lnTo>
                  <a:pt x="276" y="2166"/>
                </a:lnTo>
                <a:lnTo>
                  <a:pt x="282" y="2166"/>
                </a:lnTo>
                <a:lnTo>
                  <a:pt x="282" y="2154"/>
                </a:lnTo>
                <a:lnTo>
                  <a:pt x="276" y="2136"/>
                </a:lnTo>
                <a:lnTo>
                  <a:pt x="276" y="2112"/>
                </a:lnTo>
                <a:lnTo>
                  <a:pt x="282" y="2088"/>
                </a:lnTo>
                <a:lnTo>
                  <a:pt x="282" y="2082"/>
                </a:lnTo>
                <a:lnTo>
                  <a:pt x="282" y="2076"/>
                </a:lnTo>
                <a:lnTo>
                  <a:pt x="282" y="2070"/>
                </a:lnTo>
                <a:lnTo>
                  <a:pt x="288" y="2070"/>
                </a:lnTo>
                <a:lnTo>
                  <a:pt x="288" y="2064"/>
                </a:lnTo>
                <a:lnTo>
                  <a:pt x="282" y="2052"/>
                </a:lnTo>
                <a:lnTo>
                  <a:pt x="282" y="2046"/>
                </a:lnTo>
                <a:lnTo>
                  <a:pt x="276" y="2040"/>
                </a:lnTo>
                <a:lnTo>
                  <a:pt x="270" y="2034"/>
                </a:lnTo>
                <a:lnTo>
                  <a:pt x="264" y="2022"/>
                </a:lnTo>
                <a:lnTo>
                  <a:pt x="258" y="2022"/>
                </a:lnTo>
                <a:lnTo>
                  <a:pt x="258" y="2016"/>
                </a:lnTo>
                <a:lnTo>
                  <a:pt x="252" y="2016"/>
                </a:lnTo>
                <a:lnTo>
                  <a:pt x="246" y="2016"/>
                </a:lnTo>
                <a:lnTo>
                  <a:pt x="240" y="2010"/>
                </a:lnTo>
                <a:lnTo>
                  <a:pt x="234" y="2004"/>
                </a:lnTo>
                <a:lnTo>
                  <a:pt x="228" y="2004"/>
                </a:lnTo>
                <a:lnTo>
                  <a:pt x="228" y="1998"/>
                </a:lnTo>
                <a:lnTo>
                  <a:pt x="228" y="1992"/>
                </a:lnTo>
                <a:lnTo>
                  <a:pt x="222" y="1992"/>
                </a:lnTo>
                <a:lnTo>
                  <a:pt x="222" y="1986"/>
                </a:lnTo>
                <a:lnTo>
                  <a:pt x="216" y="1986"/>
                </a:lnTo>
                <a:lnTo>
                  <a:pt x="210" y="1980"/>
                </a:lnTo>
                <a:lnTo>
                  <a:pt x="216" y="1974"/>
                </a:lnTo>
                <a:lnTo>
                  <a:pt x="210" y="1968"/>
                </a:lnTo>
                <a:lnTo>
                  <a:pt x="198" y="1956"/>
                </a:lnTo>
                <a:lnTo>
                  <a:pt x="192" y="1956"/>
                </a:lnTo>
                <a:lnTo>
                  <a:pt x="186" y="1956"/>
                </a:lnTo>
                <a:lnTo>
                  <a:pt x="180" y="1944"/>
                </a:lnTo>
                <a:lnTo>
                  <a:pt x="180" y="1938"/>
                </a:lnTo>
                <a:lnTo>
                  <a:pt x="174" y="1932"/>
                </a:lnTo>
                <a:lnTo>
                  <a:pt x="168" y="1932"/>
                </a:lnTo>
                <a:lnTo>
                  <a:pt x="162" y="1932"/>
                </a:lnTo>
                <a:lnTo>
                  <a:pt x="150" y="1932"/>
                </a:lnTo>
                <a:lnTo>
                  <a:pt x="150" y="1926"/>
                </a:lnTo>
                <a:lnTo>
                  <a:pt x="150" y="1932"/>
                </a:lnTo>
                <a:lnTo>
                  <a:pt x="144" y="1932"/>
                </a:lnTo>
                <a:lnTo>
                  <a:pt x="138" y="1932"/>
                </a:lnTo>
                <a:lnTo>
                  <a:pt x="132" y="1932"/>
                </a:lnTo>
                <a:lnTo>
                  <a:pt x="132" y="1938"/>
                </a:lnTo>
                <a:lnTo>
                  <a:pt x="126" y="1944"/>
                </a:lnTo>
                <a:lnTo>
                  <a:pt x="126" y="1956"/>
                </a:lnTo>
                <a:lnTo>
                  <a:pt x="120" y="1968"/>
                </a:lnTo>
                <a:lnTo>
                  <a:pt x="120" y="1974"/>
                </a:lnTo>
                <a:lnTo>
                  <a:pt x="120" y="1980"/>
                </a:lnTo>
                <a:lnTo>
                  <a:pt x="126" y="1980"/>
                </a:lnTo>
                <a:lnTo>
                  <a:pt x="120" y="1986"/>
                </a:lnTo>
                <a:lnTo>
                  <a:pt x="120" y="1992"/>
                </a:lnTo>
                <a:lnTo>
                  <a:pt x="114" y="1992"/>
                </a:lnTo>
                <a:lnTo>
                  <a:pt x="114" y="1986"/>
                </a:lnTo>
                <a:lnTo>
                  <a:pt x="108" y="1992"/>
                </a:lnTo>
                <a:lnTo>
                  <a:pt x="108" y="1998"/>
                </a:lnTo>
                <a:lnTo>
                  <a:pt x="114" y="2004"/>
                </a:lnTo>
                <a:lnTo>
                  <a:pt x="108" y="2004"/>
                </a:lnTo>
                <a:lnTo>
                  <a:pt x="102" y="2010"/>
                </a:lnTo>
                <a:lnTo>
                  <a:pt x="102" y="2004"/>
                </a:lnTo>
                <a:lnTo>
                  <a:pt x="90" y="2004"/>
                </a:lnTo>
                <a:lnTo>
                  <a:pt x="84" y="2004"/>
                </a:lnTo>
                <a:lnTo>
                  <a:pt x="78" y="1998"/>
                </a:lnTo>
                <a:lnTo>
                  <a:pt x="78" y="1992"/>
                </a:lnTo>
                <a:lnTo>
                  <a:pt x="78" y="1986"/>
                </a:lnTo>
                <a:lnTo>
                  <a:pt x="72" y="1986"/>
                </a:lnTo>
                <a:lnTo>
                  <a:pt x="66" y="1980"/>
                </a:lnTo>
                <a:lnTo>
                  <a:pt x="66" y="1968"/>
                </a:lnTo>
                <a:lnTo>
                  <a:pt x="60" y="1956"/>
                </a:lnTo>
                <a:lnTo>
                  <a:pt x="60" y="1950"/>
                </a:lnTo>
                <a:lnTo>
                  <a:pt x="48" y="1944"/>
                </a:lnTo>
                <a:lnTo>
                  <a:pt x="30" y="1926"/>
                </a:lnTo>
                <a:lnTo>
                  <a:pt x="12" y="1890"/>
                </a:lnTo>
                <a:lnTo>
                  <a:pt x="6" y="1872"/>
                </a:lnTo>
                <a:lnTo>
                  <a:pt x="0" y="1854"/>
                </a:lnTo>
                <a:lnTo>
                  <a:pt x="6" y="1824"/>
                </a:lnTo>
                <a:lnTo>
                  <a:pt x="30" y="1794"/>
                </a:lnTo>
                <a:lnTo>
                  <a:pt x="66" y="1752"/>
                </a:lnTo>
                <a:lnTo>
                  <a:pt x="72" y="1752"/>
                </a:lnTo>
                <a:lnTo>
                  <a:pt x="78" y="1746"/>
                </a:lnTo>
                <a:lnTo>
                  <a:pt x="84" y="1746"/>
                </a:lnTo>
                <a:lnTo>
                  <a:pt x="90" y="1746"/>
                </a:lnTo>
                <a:lnTo>
                  <a:pt x="138" y="1674"/>
                </a:lnTo>
                <a:lnTo>
                  <a:pt x="186" y="1620"/>
                </a:lnTo>
                <a:lnTo>
                  <a:pt x="186" y="1614"/>
                </a:lnTo>
                <a:lnTo>
                  <a:pt x="186" y="1608"/>
                </a:lnTo>
                <a:lnTo>
                  <a:pt x="192" y="1608"/>
                </a:lnTo>
                <a:lnTo>
                  <a:pt x="192" y="1614"/>
                </a:lnTo>
                <a:lnTo>
                  <a:pt x="198" y="1614"/>
                </a:lnTo>
                <a:lnTo>
                  <a:pt x="198" y="1608"/>
                </a:lnTo>
                <a:lnTo>
                  <a:pt x="198" y="1602"/>
                </a:lnTo>
                <a:lnTo>
                  <a:pt x="204" y="1602"/>
                </a:lnTo>
                <a:lnTo>
                  <a:pt x="204" y="1596"/>
                </a:lnTo>
                <a:lnTo>
                  <a:pt x="210" y="1590"/>
                </a:lnTo>
                <a:lnTo>
                  <a:pt x="216" y="1590"/>
                </a:lnTo>
                <a:lnTo>
                  <a:pt x="216" y="1584"/>
                </a:lnTo>
                <a:lnTo>
                  <a:pt x="222" y="1584"/>
                </a:lnTo>
                <a:lnTo>
                  <a:pt x="228" y="1572"/>
                </a:lnTo>
                <a:lnTo>
                  <a:pt x="222" y="1572"/>
                </a:lnTo>
                <a:lnTo>
                  <a:pt x="228" y="1566"/>
                </a:lnTo>
                <a:lnTo>
                  <a:pt x="228" y="1560"/>
                </a:lnTo>
                <a:lnTo>
                  <a:pt x="252" y="1548"/>
                </a:lnTo>
                <a:lnTo>
                  <a:pt x="276" y="1530"/>
                </a:lnTo>
                <a:lnTo>
                  <a:pt x="282" y="1512"/>
                </a:lnTo>
                <a:lnTo>
                  <a:pt x="282" y="1506"/>
                </a:lnTo>
                <a:lnTo>
                  <a:pt x="282" y="1494"/>
                </a:lnTo>
                <a:lnTo>
                  <a:pt x="282" y="1452"/>
                </a:lnTo>
                <a:lnTo>
                  <a:pt x="288" y="1440"/>
                </a:lnTo>
                <a:lnTo>
                  <a:pt x="294" y="1440"/>
                </a:lnTo>
                <a:lnTo>
                  <a:pt x="294" y="1428"/>
                </a:lnTo>
                <a:lnTo>
                  <a:pt x="324" y="1368"/>
                </a:lnTo>
                <a:lnTo>
                  <a:pt x="330" y="1362"/>
                </a:lnTo>
                <a:lnTo>
                  <a:pt x="330" y="1356"/>
                </a:lnTo>
                <a:lnTo>
                  <a:pt x="360" y="1338"/>
                </a:lnTo>
                <a:lnTo>
                  <a:pt x="366" y="1296"/>
                </a:lnTo>
                <a:lnTo>
                  <a:pt x="354" y="1278"/>
                </a:lnTo>
                <a:lnTo>
                  <a:pt x="336" y="1230"/>
                </a:lnTo>
                <a:lnTo>
                  <a:pt x="270" y="1212"/>
                </a:lnTo>
                <a:lnTo>
                  <a:pt x="264" y="1212"/>
                </a:lnTo>
                <a:lnTo>
                  <a:pt x="252" y="1200"/>
                </a:lnTo>
                <a:lnTo>
                  <a:pt x="234" y="1188"/>
                </a:lnTo>
                <a:lnTo>
                  <a:pt x="222" y="1182"/>
                </a:lnTo>
                <a:lnTo>
                  <a:pt x="228" y="1104"/>
                </a:lnTo>
                <a:lnTo>
                  <a:pt x="228" y="1098"/>
                </a:lnTo>
                <a:lnTo>
                  <a:pt x="198" y="1038"/>
                </a:lnTo>
                <a:lnTo>
                  <a:pt x="192" y="1032"/>
                </a:lnTo>
                <a:lnTo>
                  <a:pt x="180" y="1020"/>
                </a:lnTo>
                <a:lnTo>
                  <a:pt x="168" y="996"/>
                </a:lnTo>
                <a:lnTo>
                  <a:pt x="162" y="990"/>
                </a:lnTo>
                <a:lnTo>
                  <a:pt x="156" y="990"/>
                </a:lnTo>
                <a:lnTo>
                  <a:pt x="150" y="990"/>
                </a:lnTo>
                <a:lnTo>
                  <a:pt x="132" y="990"/>
                </a:lnTo>
                <a:lnTo>
                  <a:pt x="120" y="984"/>
                </a:lnTo>
                <a:lnTo>
                  <a:pt x="120" y="990"/>
                </a:lnTo>
                <a:lnTo>
                  <a:pt x="114" y="990"/>
                </a:lnTo>
                <a:lnTo>
                  <a:pt x="102" y="984"/>
                </a:lnTo>
                <a:lnTo>
                  <a:pt x="96" y="984"/>
                </a:lnTo>
                <a:lnTo>
                  <a:pt x="96" y="978"/>
                </a:lnTo>
                <a:lnTo>
                  <a:pt x="90" y="978"/>
                </a:lnTo>
                <a:lnTo>
                  <a:pt x="90" y="966"/>
                </a:lnTo>
                <a:lnTo>
                  <a:pt x="84" y="966"/>
                </a:lnTo>
                <a:lnTo>
                  <a:pt x="84" y="960"/>
                </a:lnTo>
                <a:lnTo>
                  <a:pt x="84" y="954"/>
                </a:lnTo>
                <a:lnTo>
                  <a:pt x="78" y="948"/>
                </a:lnTo>
                <a:lnTo>
                  <a:pt x="72" y="948"/>
                </a:lnTo>
                <a:lnTo>
                  <a:pt x="72" y="942"/>
                </a:lnTo>
                <a:lnTo>
                  <a:pt x="78" y="942"/>
                </a:lnTo>
                <a:lnTo>
                  <a:pt x="78" y="936"/>
                </a:lnTo>
                <a:lnTo>
                  <a:pt x="78" y="930"/>
                </a:lnTo>
                <a:lnTo>
                  <a:pt x="78" y="924"/>
                </a:lnTo>
                <a:lnTo>
                  <a:pt x="60" y="906"/>
                </a:lnTo>
                <a:lnTo>
                  <a:pt x="60" y="888"/>
                </a:lnTo>
                <a:lnTo>
                  <a:pt x="54" y="882"/>
                </a:lnTo>
                <a:lnTo>
                  <a:pt x="60" y="882"/>
                </a:lnTo>
                <a:lnTo>
                  <a:pt x="72" y="876"/>
                </a:lnTo>
                <a:lnTo>
                  <a:pt x="78" y="876"/>
                </a:lnTo>
                <a:lnTo>
                  <a:pt x="90" y="870"/>
                </a:lnTo>
                <a:lnTo>
                  <a:pt x="90" y="864"/>
                </a:lnTo>
                <a:lnTo>
                  <a:pt x="96" y="840"/>
                </a:lnTo>
                <a:lnTo>
                  <a:pt x="120" y="828"/>
                </a:lnTo>
                <a:lnTo>
                  <a:pt x="144" y="828"/>
                </a:lnTo>
                <a:lnTo>
                  <a:pt x="180" y="822"/>
                </a:lnTo>
                <a:lnTo>
                  <a:pt x="204" y="798"/>
                </a:lnTo>
                <a:lnTo>
                  <a:pt x="222" y="786"/>
                </a:lnTo>
                <a:lnTo>
                  <a:pt x="252" y="780"/>
                </a:lnTo>
                <a:lnTo>
                  <a:pt x="264" y="762"/>
                </a:lnTo>
                <a:lnTo>
                  <a:pt x="276" y="762"/>
                </a:lnTo>
                <a:lnTo>
                  <a:pt x="288" y="744"/>
                </a:lnTo>
                <a:lnTo>
                  <a:pt x="306" y="738"/>
                </a:lnTo>
                <a:lnTo>
                  <a:pt x="318" y="732"/>
                </a:lnTo>
                <a:lnTo>
                  <a:pt x="324" y="648"/>
                </a:lnTo>
                <a:lnTo>
                  <a:pt x="324" y="636"/>
                </a:lnTo>
                <a:lnTo>
                  <a:pt x="324" y="630"/>
                </a:lnTo>
                <a:lnTo>
                  <a:pt x="330" y="624"/>
                </a:lnTo>
                <a:lnTo>
                  <a:pt x="324" y="618"/>
                </a:lnTo>
                <a:lnTo>
                  <a:pt x="324" y="612"/>
                </a:lnTo>
                <a:lnTo>
                  <a:pt x="324" y="606"/>
                </a:lnTo>
                <a:lnTo>
                  <a:pt x="324" y="588"/>
                </a:lnTo>
                <a:lnTo>
                  <a:pt x="318" y="576"/>
                </a:lnTo>
                <a:lnTo>
                  <a:pt x="318" y="570"/>
                </a:lnTo>
                <a:lnTo>
                  <a:pt x="324" y="570"/>
                </a:lnTo>
                <a:lnTo>
                  <a:pt x="324" y="564"/>
                </a:lnTo>
                <a:lnTo>
                  <a:pt x="324" y="558"/>
                </a:lnTo>
                <a:lnTo>
                  <a:pt x="330" y="558"/>
                </a:lnTo>
                <a:lnTo>
                  <a:pt x="336" y="558"/>
                </a:lnTo>
                <a:lnTo>
                  <a:pt x="342" y="558"/>
                </a:lnTo>
                <a:lnTo>
                  <a:pt x="348" y="558"/>
                </a:lnTo>
                <a:lnTo>
                  <a:pt x="354" y="564"/>
                </a:lnTo>
                <a:lnTo>
                  <a:pt x="360" y="564"/>
                </a:lnTo>
                <a:lnTo>
                  <a:pt x="366" y="570"/>
                </a:lnTo>
                <a:lnTo>
                  <a:pt x="366" y="576"/>
                </a:lnTo>
                <a:lnTo>
                  <a:pt x="372" y="570"/>
                </a:lnTo>
                <a:lnTo>
                  <a:pt x="378" y="570"/>
                </a:lnTo>
                <a:lnTo>
                  <a:pt x="390" y="570"/>
                </a:lnTo>
                <a:lnTo>
                  <a:pt x="402" y="570"/>
                </a:lnTo>
                <a:lnTo>
                  <a:pt x="408" y="570"/>
                </a:lnTo>
                <a:lnTo>
                  <a:pt x="414" y="564"/>
                </a:lnTo>
                <a:lnTo>
                  <a:pt x="420" y="564"/>
                </a:lnTo>
                <a:lnTo>
                  <a:pt x="420" y="570"/>
                </a:lnTo>
                <a:lnTo>
                  <a:pt x="426" y="570"/>
                </a:lnTo>
                <a:lnTo>
                  <a:pt x="432" y="570"/>
                </a:lnTo>
                <a:lnTo>
                  <a:pt x="438" y="570"/>
                </a:lnTo>
                <a:lnTo>
                  <a:pt x="444" y="570"/>
                </a:lnTo>
                <a:lnTo>
                  <a:pt x="450" y="564"/>
                </a:lnTo>
                <a:lnTo>
                  <a:pt x="474" y="558"/>
                </a:lnTo>
                <a:lnTo>
                  <a:pt x="486" y="546"/>
                </a:lnTo>
                <a:lnTo>
                  <a:pt x="510" y="492"/>
                </a:lnTo>
                <a:lnTo>
                  <a:pt x="522" y="492"/>
                </a:lnTo>
                <a:lnTo>
                  <a:pt x="540" y="474"/>
                </a:lnTo>
                <a:lnTo>
                  <a:pt x="558" y="456"/>
                </a:lnTo>
                <a:lnTo>
                  <a:pt x="582" y="450"/>
                </a:lnTo>
                <a:lnTo>
                  <a:pt x="594" y="414"/>
                </a:lnTo>
                <a:lnTo>
                  <a:pt x="612" y="390"/>
                </a:lnTo>
                <a:lnTo>
                  <a:pt x="636" y="390"/>
                </a:lnTo>
                <a:lnTo>
                  <a:pt x="666" y="390"/>
                </a:lnTo>
                <a:lnTo>
                  <a:pt x="696" y="390"/>
                </a:lnTo>
                <a:lnTo>
                  <a:pt x="726" y="390"/>
                </a:lnTo>
                <a:lnTo>
                  <a:pt x="762" y="378"/>
                </a:lnTo>
                <a:lnTo>
                  <a:pt x="780" y="366"/>
                </a:lnTo>
                <a:lnTo>
                  <a:pt x="780" y="342"/>
                </a:lnTo>
                <a:lnTo>
                  <a:pt x="786" y="342"/>
                </a:lnTo>
                <a:lnTo>
                  <a:pt x="786" y="336"/>
                </a:lnTo>
                <a:lnTo>
                  <a:pt x="786" y="330"/>
                </a:lnTo>
                <a:lnTo>
                  <a:pt x="786" y="324"/>
                </a:lnTo>
                <a:lnTo>
                  <a:pt x="816" y="318"/>
                </a:lnTo>
                <a:lnTo>
                  <a:pt x="834" y="312"/>
                </a:lnTo>
                <a:lnTo>
                  <a:pt x="840" y="318"/>
                </a:lnTo>
                <a:lnTo>
                  <a:pt x="852" y="318"/>
                </a:lnTo>
                <a:lnTo>
                  <a:pt x="858" y="306"/>
                </a:lnTo>
                <a:lnTo>
                  <a:pt x="864" y="288"/>
                </a:lnTo>
                <a:lnTo>
                  <a:pt x="870" y="282"/>
                </a:lnTo>
                <a:lnTo>
                  <a:pt x="876" y="276"/>
                </a:lnTo>
                <a:lnTo>
                  <a:pt x="882" y="264"/>
                </a:lnTo>
                <a:lnTo>
                  <a:pt x="882" y="258"/>
                </a:lnTo>
                <a:lnTo>
                  <a:pt x="888" y="252"/>
                </a:lnTo>
                <a:lnTo>
                  <a:pt x="894" y="240"/>
                </a:lnTo>
                <a:lnTo>
                  <a:pt x="906" y="228"/>
                </a:lnTo>
                <a:lnTo>
                  <a:pt x="912" y="228"/>
                </a:lnTo>
                <a:lnTo>
                  <a:pt x="936" y="228"/>
                </a:lnTo>
                <a:lnTo>
                  <a:pt x="942" y="222"/>
                </a:lnTo>
                <a:lnTo>
                  <a:pt x="948" y="216"/>
                </a:lnTo>
                <a:lnTo>
                  <a:pt x="954" y="216"/>
                </a:lnTo>
                <a:lnTo>
                  <a:pt x="960" y="216"/>
                </a:lnTo>
                <a:lnTo>
                  <a:pt x="966" y="216"/>
                </a:lnTo>
                <a:lnTo>
                  <a:pt x="978" y="216"/>
                </a:lnTo>
                <a:lnTo>
                  <a:pt x="990" y="222"/>
                </a:lnTo>
                <a:lnTo>
                  <a:pt x="996" y="222"/>
                </a:lnTo>
                <a:lnTo>
                  <a:pt x="1002" y="228"/>
                </a:lnTo>
                <a:lnTo>
                  <a:pt x="1014" y="234"/>
                </a:lnTo>
                <a:lnTo>
                  <a:pt x="1020" y="234"/>
                </a:lnTo>
                <a:lnTo>
                  <a:pt x="1032" y="240"/>
                </a:lnTo>
                <a:lnTo>
                  <a:pt x="1044" y="240"/>
                </a:lnTo>
                <a:lnTo>
                  <a:pt x="1050" y="240"/>
                </a:lnTo>
                <a:lnTo>
                  <a:pt x="1056" y="246"/>
                </a:lnTo>
                <a:lnTo>
                  <a:pt x="1068" y="264"/>
                </a:lnTo>
                <a:lnTo>
                  <a:pt x="1086" y="276"/>
                </a:lnTo>
                <a:lnTo>
                  <a:pt x="1092" y="276"/>
                </a:lnTo>
                <a:lnTo>
                  <a:pt x="1104" y="282"/>
                </a:lnTo>
                <a:lnTo>
                  <a:pt x="1116" y="288"/>
                </a:lnTo>
                <a:lnTo>
                  <a:pt x="1122" y="300"/>
                </a:lnTo>
                <a:lnTo>
                  <a:pt x="1128" y="312"/>
                </a:lnTo>
                <a:lnTo>
                  <a:pt x="1152" y="324"/>
                </a:lnTo>
                <a:lnTo>
                  <a:pt x="1188" y="324"/>
                </a:lnTo>
                <a:lnTo>
                  <a:pt x="1206" y="318"/>
                </a:lnTo>
                <a:lnTo>
                  <a:pt x="1200" y="294"/>
                </a:lnTo>
                <a:lnTo>
                  <a:pt x="1206" y="252"/>
                </a:lnTo>
                <a:lnTo>
                  <a:pt x="1218" y="222"/>
                </a:lnTo>
                <a:lnTo>
                  <a:pt x="1212" y="222"/>
                </a:lnTo>
                <a:lnTo>
                  <a:pt x="1212" y="216"/>
                </a:lnTo>
                <a:lnTo>
                  <a:pt x="1218" y="204"/>
                </a:lnTo>
                <a:lnTo>
                  <a:pt x="1224" y="198"/>
                </a:lnTo>
                <a:lnTo>
                  <a:pt x="1224" y="192"/>
                </a:lnTo>
                <a:lnTo>
                  <a:pt x="1236" y="180"/>
                </a:lnTo>
                <a:lnTo>
                  <a:pt x="1254" y="156"/>
                </a:lnTo>
                <a:lnTo>
                  <a:pt x="1260" y="150"/>
                </a:lnTo>
                <a:lnTo>
                  <a:pt x="1260" y="144"/>
                </a:lnTo>
                <a:lnTo>
                  <a:pt x="1266" y="138"/>
                </a:lnTo>
                <a:lnTo>
                  <a:pt x="1272" y="138"/>
                </a:lnTo>
                <a:lnTo>
                  <a:pt x="1272" y="120"/>
                </a:lnTo>
                <a:lnTo>
                  <a:pt x="1278" y="114"/>
                </a:lnTo>
                <a:lnTo>
                  <a:pt x="1278" y="108"/>
                </a:lnTo>
                <a:lnTo>
                  <a:pt x="1278" y="102"/>
                </a:lnTo>
                <a:lnTo>
                  <a:pt x="1278" y="90"/>
                </a:lnTo>
                <a:lnTo>
                  <a:pt x="1278" y="84"/>
                </a:lnTo>
                <a:lnTo>
                  <a:pt x="1278" y="78"/>
                </a:lnTo>
                <a:lnTo>
                  <a:pt x="1278" y="72"/>
                </a:lnTo>
                <a:lnTo>
                  <a:pt x="1278" y="60"/>
                </a:lnTo>
                <a:lnTo>
                  <a:pt x="1284" y="48"/>
                </a:lnTo>
                <a:lnTo>
                  <a:pt x="1284" y="24"/>
                </a:lnTo>
                <a:lnTo>
                  <a:pt x="1284" y="18"/>
                </a:lnTo>
                <a:lnTo>
                  <a:pt x="1308" y="24"/>
                </a:lnTo>
                <a:lnTo>
                  <a:pt x="1332" y="30"/>
                </a:lnTo>
                <a:lnTo>
                  <a:pt x="1368" y="30"/>
                </a:lnTo>
                <a:lnTo>
                  <a:pt x="1392" y="24"/>
                </a:lnTo>
                <a:lnTo>
                  <a:pt x="1410" y="18"/>
                </a:lnTo>
                <a:lnTo>
                  <a:pt x="1416" y="6"/>
                </a:lnTo>
                <a:lnTo>
                  <a:pt x="1500" y="6"/>
                </a:lnTo>
                <a:lnTo>
                  <a:pt x="1506" y="0"/>
                </a:lnTo>
                <a:lnTo>
                  <a:pt x="1506" y="6"/>
                </a:lnTo>
                <a:lnTo>
                  <a:pt x="1506" y="18"/>
                </a:lnTo>
                <a:lnTo>
                  <a:pt x="1506" y="24"/>
                </a:lnTo>
                <a:lnTo>
                  <a:pt x="1500" y="30"/>
                </a:lnTo>
                <a:lnTo>
                  <a:pt x="1500" y="42"/>
                </a:lnTo>
                <a:lnTo>
                  <a:pt x="1494" y="54"/>
                </a:lnTo>
                <a:lnTo>
                  <a:pt x="1488" y="60"/>
                </a:lnTo>
                <a:lnTo>
                  <a:pt x="1482" y="60"/>
                </a:lnTo>
                <a:lnTo>
                  <a:pt x="1476" y="66"/>
                </a:lnTo>
                <a:lnTo>
                  <a:pt x="1476" y="72"/>
                </a:lnTo>
                <a:lnTo>
                  <a:pt x="1476" y="78"/>
                </a:lnTo>
                <a:lnTo>
                  <a:pt x="1470" y="78"/>
                </a:lnTo>
                <a:lnTo>
                  <a:pt x="1464" y="90"/>
                </a:lnTo>
                <a:lnTo>
                  <a:pt x="1458" y="96"/>
                </a:lnTo>
                <a:lnTo>
                  <a:pt x="1458" y="102"/>
                </a:lnTo>
                <a:lnTo>
                  <a:pt x="1452" y="120"/>
                </a:lnTo>
                <a:lnTo>
                  <a:pt x="1452" y="132"/>
                </a:lnTo>
                <a:lnTo>
                  <a:pt x="1446" y="144"/>
                </a:lnTo>
                <a:lnTo>
                  <a:pt x="1446" y="150"/>
                </a:lnTo>
                <a:lnTo>
                  <a:pt x="1440" y="150"/>
                </a:lnTo>
                <a:lnTo>
                  <a:pt x="1434" y="156"/>
                </a:lnTo>
                <a:lnTo>
                  <a:pt x="1428" y="168"/>
                </a:lnTo>
                <a:lnTo>
                  <a:pt x="1422" y="168"/>
                </a:lnTo>
                <a:lnTo>
                  <a:pt x="1416" y="174"/>
                </a:lnTo>
                <a:lnTo>
                  <a:pt x="1410" y="186"/>
                </a:lnTo>
                <a:lnTo>
                  <a:pt x="1410" y="204"/>
                </a:lnTo>
                <a:lnTo>
                  <a:pt x="1404" y="210"/>
                </a:lnTo>
                <a:lnTo>
                  <a:pt x="1404" y="216"/>
                </a:lnTo>
                <a:lnTo>
                  <a:pt x="1410" y="228"/>
                </a:lnTo>
                <a:lnTo>
                  <a:pt x="1410" y="234"/>
                </a:lnTo>
                <a:lnTo>
                  <a:pt x="1410" y="240"/>
                </a:lnTo>
                <a:lnTo>
                  <a:pt x="1416" y="252"/>
                </a:lnTo>
                <a:lnTo>
                  <a:pt x="1416" y="258"/>
                </a:lnTo>
                <a:lnTo>
                  <a:pt x="1422" y="264"/>
                </a:lnTo>
                <a:lnTo>
                  <a:pt x="1422" y="270"/>
                </a:lnTo>
                <a:lnTo>
                  <a:pt x="1422" y="282"/>
                </a:lnTo>
                <a:lnTo>
                  <a:pt x="1416" y="288"/>
                </a:lnTo>
                <a:lnTo>
                  <a:pt x="1410" y="294"/>
                </a:lnTo>
                <a:lnTo>
                  <a:pt x="1404" y="300"/>
                </a:lnTo>
                <a:lnTo>
                  <a:pt x="1404" y="306"/>
                </a:lnTo>
                <a:lnTo>
                  <a:pt x="1398" y="324"/>
                </a:lnTo>
                <a:lnTo>
                  <a:pt x="1404" y="330"/>
                </a:lnTo>
                <a:lnTo>
                  <a:pt x="1404" y="342"/>
                </a:lnTo>
                <a:lnTo>
                  <a:pt x="1392" y="354"/>
                </a:lnTo>
                <a:lnTo>
                  <a:pt x="1392" y="360"/>
                </a:lnTo>
                <a:lnTo>
                  <a:pt x="1392" y="372"/>
                </a:lnTo>
                <a:lnTo>
                  <a:pt x="1392" y="384"/>
                </a:lnTo>
                <a:lnTo>
                  <a:pt x="1392" y="396"/>
                </a:lnTo>
                <a:lnTo>
                  <a:pt x="1392" y="408"/>
                </a:lnTo>
                <a:lnTo>
                  <a:pt x="1386" y="414"/>
                </a:lnTo>
                <a:lnTo>
                  <a:pt x="1380" y="420"/>
                </a:lnTo>
                <a:lnTo>
                  <a:pt x="1380" y="426"/>
                </a:lnTo>
                <a:lnTo>
                  <a:pt x="1368" y="432"/>
                </a:lnTo>
                <a:lnTo>
                  <a:pt x="1362" y="444"/>
                </a:lnTo>
                <a:lnTo>
                  <a:pt x="1362" y="450"/>
                </a:lnTo>
                <a:lnTo>
                  <a:pt x="1362" y="462"/>
                </a:lnTo>
                <a:lnTo>
                  <a:pt x="1362" y="468"/>
                </a:lnTo>
                <a:lnTo>
                  <a:pt x="1362" y="474"/>
                </a:lnTo>
                <a:lnTo>
                  <a:pt x="1356" y="474"/>
                </a:lnTo>
                <a:lnTo>
                  <a:pt x="1350" y="480"/>
                </a:lnTo>
                <a:lnTo>
                  <a:pt x="1344" y="486"/>
                </a:lnTo>
                <a:lnTo>
                  <a:pt x="1338" y="498"/>
                </a:lnTo>
                <a:lnTo>
                  <a:pt x="1332" y="510"/>
                </a:lnTo>
                <a:lnTo>
                  <a:pt x="1320" y="510"/>
                </a:lnTo>
                <a:lnTo>
                  <a:pt x="1314" y="516"/>
                </a:lnTo>
                <a:lnTo>
                  <a:pt x="1302" y="522"/>
                </a:lnTo>
                <a:lnTo>
                  <a:pt x="1296" y="522"/>
                </a:lnTo>
                <a:lnTo>
                  <a:pt x="1284" y="516"/>
                </a:lnTo>
                <a:lnTo>
                  <a:pt x="1278" y="516"/>
                </a:lnTo>
                <a:lnTo>
                  <a:pt x="1272" y="522"/>
                </a:lnTo>
                <a:lnTo>
                  <a:pt x="1266" y="522"/>
                </a:lnTo>
                <a:lnTo>
                  <a:pt x="1266" y="528"/>
                </a:lnTo>
                <a:lnTo>
                  <a:pt x="1254" y="540"/>
                </a:lnTo>
                <a:lnTo>
                  <a:pt x="1248" y="546"/>
                </a:lnTo>
                <a:lnTo>
                  <a:pt x="1242" y="558"/>
                </a:lnTo>
                <a:lnTo>
                  <a:pt x="1230" y="576"/>
                </a:lnTo>
                <a:lnTo>
                  <a:pt x="1224" y="582"/>
                </a:lnTo>
                <a:lnTo>
                  <a:pt x="1224" y="588"/>
                </a:lnTo>
                <a:lnTo>
                  <a:pt x="1230" y="594"/>
                </a:lnTo>
                <a:lnTo>
                  <a:pt x="1230" y="600"/>
                </a:lnTo>
                <a:lnTo>
                  <a:pt x="1236" y="606"/>
                </a:lnTo>
                <a:lnTo>
                  <a:pt x="1242" y="606"/>
                </a:lnTo>
                <a:lnTo>
                  <a:pt x="1242" y="612"/>
                </a:lnTo>
                <a:lnTo>
                  <a:pt x="1242" y="618"/>
                </a:lnTo>
                <a:lnTo>
                  <a:pt x="1242" y="624"/>
                </a:lnTo>
                <a:lnTo>
                  <a:pt x="1236" y="630"/>
                </a:lnTo>
                <a:lnTo>
                  <a:pt x="1230" y="642"/>
                </a:lnTo>
                <a:lnTo>
                  <a:pt x="1230" y="648"/>
                </a:lnTo>
                <a:lnTo>
                  <a:pt x="1218" y="654"/>
                </a:lnTo>
                <a:lnTo>
                  <a:pt x="1212" y="654"/>
                </a:lnTo>
                <a:lnTo>
                  <a:pt x="1212" y="660"/>
                </a:lnTo>
                <a:lnTo>
                  <a:pt x="1212" y="666"/>
                </a:lnTo>
                <a:lnTo>
                  <a:pt x="1212" y="672"/>
                </a:lnTo>
                <a:lnTo>
                  <a:pt x="1212" y="678"/>
                </a:lnTo>
                <a:lnTo>
                  <a:pt x="1218" y="684"/>
                </a:lnTo>
                <a:lnTo>
                  <a:pt x="1218" y="690"/>
                </a:lnTo>
                <a:lnTo>
                  <a:pt x="1224" y="696"/>
                </a:lnTo>
                <a:lnTo>
                  <a:pt x="1230" y="702"/>
                </a:lnTo>
                <a:lnTo>
                  <a:pt x="1236" y="696"/>
                </a:lnTo>
                <a:lnTo>
                  <a:pt x="1242" y="702"/>
                </a:lnTo>
                <a:lnTo>
                  <a:pt x="1248" y="708"/>
                </a:lnTo>
                <a:lnTo>
                  <a:pt x="1254" y="714"/>
                </a:lnTo>
                <a:lnTo>
                  <a:pt x="1254" y="720"/>
                </a:lnTo>
                <a:lnTo>
                  <a:pt x="1260" y="720"/>
                </a:lnTo>
                <a:lnTo>
                  <a:pt x="1254" y="732"/>
                </a:lnTo>
                <a:lnTo>
                  <a:pt x="1248" y="738"/>
                </a:lnTo>
                <a:lnTo>
                  <a:pt x="1242" y="744"/>
                </a:lnTo>
                <a:lnTo>
                  <a:pt x="1236" y="750"/>
                </a:lnTo>
                <a:lnTo>
                  <a:pt x="1236" y="756"/>
                </a:lnTo>
                <a:lnTo>
                  <a:pt x="1236" y="762"/>
                </a:lnTo>
                <a:lnTo>
                  <a:pt x="1236" y="768"/>
                </a:lnTo>
                <a:lnTo>
                  <a:pt x="1236" y="780"/>
                </a:lnTo>
                <a:lnTo>
                  <a:pt x="1230" y="780"/>
                </a:lnTo>
                <a:lnTo>
                  <a:pt x="1230" y="786"/>
                </a:lnTo>
                <a:lnTo>
                  <a:pt x="1230" y="792"/>
                </a:lnTo>
                <a:lnTo>
                  <a:pt x="1230" y="804"/>
                </a:lnTo>
                <a:lnTo>
                  <a:pt x="1224" y="810"/>
                </a:lnTo>
                <a:lnTo>
                  <a:pt x="1218" y="816"/>
                </a:lnTo>
                <a:lnTo>
                  <a:pt x="1224" y="822"/>
                </a:lnTo>
                <a:lnTo>
                  <a:pt x="1224" y="828"/>
                </a:lnTo>
                <a:lnTo>
                  <a:pt x="1218" y="834"/>
                </a:lnTo>
                <a:lnTo>
                  <a:pt x="1224" y="834"/>
                </a:lnTo>
                <a:lnTo>
                  <a:pt x="1224" y="840"/>
                </a:lnTo>
                <a:lnTo>
                  <a:pt x="1224" y="846"/>
                </a:lnTo>
                <a:lnTo>
                  <a:pt x="1224" y="852"/>
                </a:lnTo>
                <a:lnTo>
                  <a:pt x="1218" y="858"/>
                </a:lnTo>
                <a:lnTo>
                  <a:pt x="1218" y="870"/>
                </a:lnTo>
                <a:lnTo>
                  <a:pt x="1212" y="870"/>
                </a:lnTo>
                <a:lnTo>
                  <a:pt x="1212" y="876"/>
                </a:lnTo>
                <a:lnTo>
                  <a:pt x="1206" y="888"/>
                </a:lnTo>
                <a:lnTo>
                  <a:pt x="1200" y="882"/>
                </a:lnTo>
                <a:lnTo>
                  <a:pt x="1194" y="888"/>
                </a:lnTo>
                <a:lnTo>
                  <a:pt x="1188" y="894"/>
                </a:lnTo>
                <a:lnTo>
                  <a:pt x="1182" y="894"/>
                </a:lnTo>
                <a:lnTo>
                  <a:pt x="1182" y="900"/>
                </a:lnTo>
                <a:lnTo>
                  <a:pt x="1176" y="900"/>
                </a:lnTo>
                <a:lnTo>
                  <a:pt x="1170" y="894"/>
                </a:lnTo>
                <a:lnTo>
                  <a:pt x="1164" y="900"/>
                </a:lnTo>
                <a:lnTo>
                  <a:pt x="1158" y="900"/>
                </a:lnTo>
                <a:lnTo>
                  <a:pt x="1152" y="900"/>
                </a:lnTo>
                <a:lnTo>
                  <a:pt x="1140" y="900"/>
                </a:lnTo>
                <a:lnTo>
                  <a:pt x="1134" y="900"/>
                </a:lnTo>
                <a:lnTo>
                  <a:pt x="1128" y="906"/>
                </a:lnTo>
                <a:lnTo>
                  <a:pt x="1110" y="906"/>
                </a:lnTo>
                <a:lnTo>
                  <a:pt x="1104" y="906"/>
                </a:lnTo>
                <a:lnTo>
                  <a:pt x="1098" y="906"/>
                </a:lnTo>
                <a:lnTo>
                  <a:pt x="1092" y="912"/>
                </a:lnTo>
                <a:lnTo>
                  <a:pt x="1080" y="918"/>
                </a:lnTo>
                <a:lnTo>
                  <a:pt x="1068" y="930"/>
                </a:lnTo>
                <a:lnTo>
                  <a:pt x="1062" y="930"/>
                </a:lnTo>
                <a:lnTo>
                  <a:pt x="1056" y="930"/>
                </a:lnTo>
                <a:lnTo>
                  <a:pt x="1050" y="930"/>
                </a:lnTo>
                <a:lnTo>
                  <a:pt x="1050" y="936"/>
                </a:lnTo>
                <a:lnTo>
                  <a:pt x="1038" y="942"/>
                </a:lnTo>
                <a:lnTo>
                  <a:pt x="1032" y="948"/>
                </a:lnTo>
                <a:lnTo>
                  <a:pt x="1026" y="954"/>
                </a:lnTo>
                <a:lnTo>
                  <a:pt x="1020" y="960"/>
                </a:lnTo>
                <a:lnTo>
                  <a:pt x="1014" y="966"/>
                </a:lnTo>
                <a:lnTo>
                  <a:pt x="1002" y="966"/>
                </a:lnTo>
                <a:lnTo>
                  <a:pt x="990" y="978"/>
                </a:lnTo>
                <a:lnTo>
                  <a:pt x="984" y="978"/>
                </a:lnTo>
                <a:lnTo>
                  <a:pt x="978" y="984"/>
                </a:lnTo>
                <a:lnTo>
                  <a:pt x="972" y="984"/>
                </a:lnTo>
                <a:lnTo>
                  <a:pt x="978" y="990"/>
                </a:lnTo>
                <a:lnTo>
                  <a:pt x="972" y="996"/>
                </a:lnTo>
                <a:lnTo>
                  <a:pt x="978" y="1002"/>
                </a:lnTo>
                <a:lnTo>
                  <a:pt x="1002" y="1002"/>
                </a:lnTo>
                <a:lnTo>
                  <a:pt x="1002" y="1008"/>
                </a:lnTo>
                <a:lnTo>
                  <a:pt x="1008" y="1020"/>
                </a:lnTo>
                <a:lnTo>
                  <a:pt x="1002" y="1026"/>
                </a:lnTo>
                <a:lnTo>
                  <a:pt x="1002" y="1032"/>
                </a:lnTo>
                <a:lnTo>
                  <a:pt x="1002" y="1050"/>
                </a:lnTo>
                <a:lnTo>
                  <a:pt x="1002" y="1056"/>
                </a:lnTo>
                <a:lnTo>
                  <a:pt x="1008" y="1062"/>
                </a:lnTo>
                <a:lnTo>
                  <a:pt x="1008" y="1074"/>
                </a:lnTo>
                <a:lnTo>
                  <a:pt x="1008" y="1086"/>
                </a:lnTo>
                <a:lnTo>
                  <a:pt x="996" y="1092"/>
                </a:lnTo>
                <a:lnTo>
                  <a:pt x="996" y="1098"/>
                </a:lnTo>
                <a:lnTo>
                  <a:pt x="996" y="1104"/>
                </a:lnTo>
                <a:lnTo>
                  <a:pt x="990" y="1110"/>
                </a:lnTo>
                <a:lnTo>
                  <a:pt x="990" y="1116"/>
                </a:lnTo>
                <a:lnTo>
                  <a:pt x="996" y="1122"/>
                </a:lnTo>
                <a:lnTo>
                  <a:pt x="990" y="1128"/>
                </a:lnTo>
                <a:lnTo>
                  <a:pt x="990" y="1134"/>
                </a:lnTo>
                <a:lnTo>
                  <a:pt x="990" y="1140"/>
                </a:lnTo>
                <a:lnTo>
                  <a:pt x="996" y="1140"/>
                </a:lnTo>
                <a:lnTo>
                  <a:pt x="996" y="1146"/>
                </a:lnTo>
                <a:lnTo>
                  <a:pt x="996" y="1152"/>
                </a:lnTo>
                <a:lnTo>
                  <a:pt x="996" y="1158"/>
                </a:lnTo>
                <a:lnTo>
                  <a:pt x="996" y="1164"/>
                </a:lnTo>
                <a:lnTo>
                  <a:pt x="996" y="1170"/>
                </a:lnTo>
                <a:lnTo>
                  <a:pt x="996" y="1176"/>
                </a:lnTo>
                <a:lnTo>
                  <a:pt x="990" y="1182"/>
                </a:lnTo>
                <a:lnTo>
                  <a:pt x="990" y="1188"/>
                </a:lnTo>
                <a:lnTo>
                  <a:pt x="984" y="1200"/>
                </a:lnTo>
                <a:lnTo>
                  <a:pt x="990" y="1206"/>
                </a:lnTo>
                <a:lnTo>
                  <a:pt x="990" y="1212"/>
                </a:lnTo>
                <a:lnTo>
                  <a:pt x="990" y="1218"/>
                </a:lnTo>
                <a:lnTo>
                  <a:pt x="978" y="1230"/>
                </a:lnTo>
                <a:lnTo>
                  <a:pt x="972" y="1236"/>
                </a:lnTo>
                <a:lnTo>
                  <a:pt x="972" y="1242"/>
                </a:lnTo>
                <a:lnTo>
                  <a:pt x="966" y="1248"/>
                </a:lnTo>
                <a:lnTo>
                  <a:pt x="960" y="1260"/>
                </a:lnTo>
                <a:lnTo>
                  <a:pt x="954" y="1266"/>
                </a:lnTo>
                <a:lnTo>
                  <a:pt x="942" y="1278"/>
                </a:lnTo>
                <a:lnTo>
                  <a:pt x="936" y="1278"/>
                </a:lnTo>
                <a:lnTo>
                  <a:pt x="936" y="1284"/>
                </a:lnTo>
                <a:lnTo>
                  <a:pt x="936" y="1296"/>
                </a:lnTo>
                <a:lnTo>
                  <a:pt x="936" y="1302"/>
                </a:lnTo>
                <a:lnTo>
                  <a:pt x="942" y="1302"/>
                </a:lnTo>
                <a:lnTo>
                  <a:pt x="942" y="1308"/>
                </a:lnTo>
                <a:lnTo>
                  <a:pt x="936" y="1314"/>
                </a:lnTo>
                <a:lnTo>
                  <a:pt x="930" y="1320"/>
                </a:lnTo>
                <a:lnTo>
                  <a:pt x="930" y="1326"/>
                </a:lnTo>
                <a:lnTo>
                  <a:pt x="930" y="1332"/>
                </a:lnTo>
                <a:lnTo>
                  <a:pt x="936" y="1338"/>
                </a:lnTo>
                <a:lnTo>
                  <a:pt x="936" y="1344"/>
                </a:lnTo>
                <a:lnTo>
                  <a:pt x="942" y="1356"/>
                </a:lnTo>
                <a:lnTo>
                  <a:pt x="948" y="1368"/>
                </a:lnTo>
                <a:lnTo>
                  <a:pt x="942" y="1380"/>
                </a:lnTo>
                <a:lnTo>
                  <a:pt x="936" y="1386"/>
                </a:lnTo>
                <a:lnTo>
                  <a:pt x="930" y="1392"/>
                </a:lnTo>
                <a:lnTo>
                  <a:pt x="924" y="1392"/>
                </a:lnTo>
                <a:lnTo>
                  <a:pt x="918" y="1386"/>
                </a:lnTo>
                <a:lnTo>
                  <a:pt x="912" y="1386"/>
                </a:lnTo>
                <a:lnTo>
                  <a:pt x="906" y="1386"/>
                </a:lnTo>
                <a:lnTo>
                  <a:pt x="900" y="1386"/>
                </a:lnTo>
                <a:lnTo>
                  <a:pt x="900" y="1392"/>
                </a:lnTo>
                <a:lnTo>
                  <a:pt x="894" y="1392"/>
                </a:lnTo>
                <a:lnTo>
                  <a:pt x="888" y="1392"/>
                </a:lnTo>
                <a:lnTo>
                  <a:pt x="888" y="1398"/>
                </a:lnTo>
                <a:lnTo>
                  <a:pt x="882" y="1404"/>
                </a:lnTo>
                <a:lnTo>
                  <a:pt x="882" y="1416"/>
                </a:lnTo>
                <a:lnTo>
                  <a:pt x="882" y="1428"/>
                </a:lnTo>
                <a:lnTo>
                  <a:pt x="882" y="1434"/>
                </a:lnTo>
                <a:lnTo>
                  <a:pt x="870" y="1440"/>
                </a:lnTo>
                <a:lnTo>
                  <a:pt x="864" y="1452"/>
                </a:lnTo>
                <a:lnTo>
                  <a:pt x="870" y="1452"/>
                </a:lnTo>
                <a:lnTo>
                  <a:pt x="864" y="1458"/>
                </a:lnTo>
                <a:lnTo>
                  <a:pt x="858" y="1464"/>
                </a:lnTo>
                <a:lnTo>
                  <a:pt x="852" y="1464"/>
                </a:lnTo>
                <a:lnTo>
                  <a:pt x="846" y="1458"/>
                </a:lnTo>
                <a:lnTo>
                  <a:pt x="840" y="1458"/>
                </a:lnTo>
                <a:lnTo>
                  <a:pt x="828" y="1470"/>
                </a:lnTo>
                <a:lnTo>
                  <a:pt x="810" y="1482"/>
                </a:lnTo>
                <a:lnTo>
                  <a:pt x="804" y="1488"/>
                </a:lnTo>
                <a:lnTo>
                  <a:pt x="798" y="1488"/>
                </a:lnTo>
                <a:lnTo>
                  <a:pt x="792" y="1488"/>
                </a:lnTo>
                <a:lnTo>
                  <a:pt x="786" y="1488"/>
                </a:lnTo>
                <a:lnTo>
                  <a:pt x="768" y="1482"/>
                </a:lnTo>
                <a:lnTo>
                  <a:pt x="762" y="1476"/>
                </a:lnTo>
                <a:lnTo>
                  <a:pt x="744" y="1476"/>
                </a:lnTo>
                <a:lnTo>
                  <a:pt x="738" y="1476"/>
                </a:lnTo>
                <a:lnTo>
                  <a:pt x="732" y="1476"/>
                </a:lnTo>
                <a:lnTo>
                  <a:pt x="726" y="1482"/>
                </a:lnTo>
                <a:lnTo>
                  <a:pt x="726" y="1488"/>
                </a:lnTo>
                <a:lnTo>
                  <a:pt x="726" y="1494"/>
                </a:lnTo>
                <a:lnTo>
                  <a:pt x="726" y="1500"/>
                </a:lnTo>
                <a:lnTo>
                  <a:pt x="720" y="1500"/>
                </a:lnTo>
                <a:lnTo>
                  <a:pt x="720" y="1506"/>
                </a:lnTo>
                <a:lnTo>
                  <a:pt x="714" y="1512"/>
                </a:lnTo>
                <a:lnTo>
                  <a:pt x="714" y="1518"/>
                </a:lnTo>
                <a:lnTo>
                  <a:pt x="708" y="1518"/>
                </a:lnTo>
                <a:lnTo>
                  <a:pt x="708" y="1530"/>
                </a:lnTo>
                <a:lnTo>
                  <a:pt x="708" y="1536"/>
                </a:lnTo>
                <a:lnTo>
                  <a:pt x="708" y="1542"/>
                </a:lnTo>
                <a:lnTo>
                  <a:pt x="696" y="1554"/>
                </a:lnTo>
                <a:lnTo>
                  <a:pt x="690" y="1560"/>
                </a:lnTo>
                <a:lnTo>
                  <a:pt x="684" y="1566"/>
                </a:lnTo>
                <a:lnTo>
                  <a:pt x="672" y="1566"/>
                </a:lnTo>
                <a:lnTo>
                  <a:pt x="666" y="1566"/>
                </a:lnTo>
                <a:lnTo>
                  <a:pt x="660" y="1566"/>
                </a:lnTo>
                <a:lnTo>
                  <a:pt x="654" y="1572"/>
                </a:lnTo>
                <a:lnTo>
                  <a:pt x="654" y="1578"/>
                </a:lnTo>
                <a:lnTo>
                  <a:pt x="642" y="1578"/>
                </a:lnTo>
                <a:lnTo>
                  <a:pt x="630" y="1572"/>
                </a:lnTo>
                <a:lnTo>
                  <a:pt x="624" y="1572"/>
                </a:lnTo>
                <a:lnTo>
                  <a:pt x="618" y="1578"/>
                </a:lnTo>
                <a:lnTo>
                  <a:pt x="612" y="1584"/>
                </a:lnTo>
                <a:lnTo>
                  <a:pt x="606" y="1584"/>
                </a:lnTo>
                <a:lnTo>
                  <a:pt x="600" y="1590"/>
                </a:lnTo>
                <a:lnTo>
                  <a:pt x="594" y="1590"/>
                </a:lnTo>
                <a:lnTo>
                  <a:pt x="588" y="1590"/>
                </a:lnTo>
                <a:lnTo>
                  <a:pt x="582" y="1590"/>
                </a:lnTo>
                <a:lnTo>
                  <a:pt x="582" y="1596"/>
                </a:lnTo>
                <a:lnTo>
                  <a:pt x="576" y="1614"/>
                </a:lnTo>
                <a:lnTo>
                  <a:pt x="570" y="1632"/>
                </a:lnTo>
                <a:lnTo>
                  <a:pt x="570" y="1638"/>
                </a:lnTo>
                <a:lnTo>
                  <a:pt x="576" y="1644"/>
                </a:lnTo>
                <a:lnTo>
                  <a:pt x="576" y="1650"/>
                </a:lnTo>
                <a:lnTo>
                  <a:pt x="582" y="1662"/>
                </a:lnTo>
                <a:lnTo>
                  <a:pt x="582" y="1668"/>
                </a:lnTo>
                <a:lnTo>
                  <a:pt x="588" y="1692"/>
                </a:lnTo>
                <a:lnTo>
                  <a:pt x="594" y="1728"/>
                </a:lnTo>
                <a:lnTo>
                  <a:pt x="594" y="1752"/>
                </a:lnTo>
                <a:lnTo>
                  <a:pt x="594" y="1764"/>
                </a:lnTo>
                <a:lnTo>
                  <a:pt x="582" y="1770"/>
                </a:lnTo>
                <a:lnTo>
                  <a:pt x="582" y="1782"/>
                </a:lnTo>
                <a:lnTo>
                  <a:pt x="576" y="1788"/>
                </a:lnTo>
                <a:lnTo>
                  <a:pt x="570" y="1794"/>
                </a:lnTo>
                <a:lnTo>
                  <a:pt x="564" y="1806"/>
                </a:lnTo>
                <a:lnTo>
                  <a:pt x="564" y="1812"/>
                </a:lnTo>
                <a:lnTo>
                  <a:pt x="558" y="1812"/>
                </a:lnTo>
                <a:lnTo>
                  <a:pt x="564" y="1824"/>
                </a:lnTo>
                <a:lnTo>
                  <a:pt x="564" y="1830"/>
                </a:lnTo>
                <a:lnTo>
                  <a:pt x="564" y="1842"/>
                </a:lnTo>
                <a:lnTo>
                  <a:pt x="564" y="1848"/>
                </a:lnTo>
                <a:lnTo>
                  <a:pt x="564" y="1854"/>
                </a:lnTo>
                <a:lnTo>
                  <a:pt x="570" y="1860"/>
                </a:lnTo>
                <a:lnTo>
                  <a:pt x="570" y="1866"/>
                </a:lnTo>
                <a:lnTo>
                  <a:pt x="570" y="1872"/>
                </a:lnTo>
                <a:lnTo>
                  <a:pt x="570" y="1878"/>
                </a:lnTo>
                <a:lnTo>
                  <a:pt x="564" y="1890"/>
                </a:lnTo>
                <a:lnTo>
                  <a:pt x="558" y="1896"/>
                </a:lnTo>
                <a:lnTo>
                  <a:pt x="552" y="1908"/>
                </a:lnTo>
                <a:lnTo>
                  <a:pt x="546" y="1914"/>
                </a:lnTo>
                <a:lnTo>
                  <a:pt x="540" y="1920"/>
                </a:lnTo>
                <a:lnTo>
                  <a:pt x="534" y="1932"/>
                </a:lnTo>
                <a:lnTo>
                  <a:pt x="528" y="1944"/>
                </a:lnTo>
                <a:lnTo>
                  <a:pt x="516" y="1950"/>
                </a:lnTo>
                <a:lnTo>
                  <a:pt x="510" y="1956"/>
                </a:lnTo>
                <a:lnTo>
                  <a:pt x="498" y="1962"/>
                </a:lnTo>
                <a:lnTo>
                  <a:pt x="492" y="1974"/>
                </a:lnTo>
                <a:lnTo>
                  <a:pt x="486" y="1980"/>
                </a:lnTo>
                <a:lnTo>
                  <a:pt x="480" y="1998"/>
                </a:lnTo>
                <a:lnTo>
                  <a:pt x="474" y="2004"/>
                </a:lnTo>
                <a:lnTo>
                  <a:pt x="474" y="2010"/>
                </a:lnTo>
                <a:lnTo>
                  <a:pt x="474" y="2016"/>
                </a:lnTo>
                <a:lnTo>
                  <a:pt x="468" y="2016"/>
                </a:lnTo>
                <a:lnTo>
                  <a:pt x="468" y="2028"/>
                </a:lnTo>
                <a:lnTo>
                  <a:pt x="462" y="2034"/>
                </a:lnTo>
                <a:lnTo>
                  <a:pt x="456" y="2040"/>
                </a:lnTo>
                <a:lnTo>
                  <a:pt x="456" y="2052"/>
                </a:lnTo>
                <a:lnTo>
                  <a:pt x="450" y="2058"/>
                </a:lnTo>
                <a:lnTo>
                  <a:pt x="450" y="2070"/>
                </a:lnTo>
                <a:lnTo>
                  <a:pt x="450" y="2076"/>
                </a:lnTo>
                <a:lnTo>
                  <a:pt x="450" y="2082"/>
                </a:lnTo>
                <a:lnTo>
                  <a:pt x="444" y="2088"/>
                </a:lnTo>
                <a:lnTo>
                  <a:pt x="438" y="2094"/>
                </a:lnTo>
                <a:lnTo>
                  <a:pt x="444" y="2100"/>
                </a:lnTo>
                <a:lnTo>
                  <a:pt x="444" y="2124"/>
                </a:lnTo>
                <a:lnTo>
                  <a:pt x="444" y="2142"/>
                </a:lnTo>
                <a:lnTo>
                  <a:pt x="444" y="2160"/>
                </a:lnTo>
                <a:lnTo>
                  <a:pt x="450" y="2166"/>
                </a:lnTo>
                <a:lnTo>
                  <a:pt x="456" y="2178"/>
                </a:lnTo>
                <a:lnTo>
                  <a:pt x="438" y="2184"/>
                </a:lnTo>
                <a:lnTo>
                  <a:pt x="432" y="2184"/>
                </a:lnTo>
                <a:lnTo>
                  <a:pt x="426" y="2190"/>
                </a:lnTo>
                <a:lnTo>
                  <a:pt x="408" y="2190"/>
                </a:lnTo>
                <a:lnTo>
                  <a:pt x="402" y="2196"/>
                </a:lnTo>
                <a:lnTo>
                  <a:pt x="396" y="2196"/>
                </a:lnTo>
                <a:lnTo>
                  <a:pt x="384" y="2208"/>
                </a:lnTo>
                <a:lnTo>
                  <a:pt x="378" y="2220"/>
                </a:lnTo>
                <a:lnTo>
                  <a:pt x="366" y="2232"/>
                </a:lnTo>
                <a:lnTo>
                  <a:pt x="366" y="2238"/>
                </a:lnTo>
                <a:lnTo>
                  <a:pt x="360" y="2238"/>
                </a:lnTo>
                <a:lnTo>
                  <a:pt x="360" y="2244"/>
                </a:lnTo>
                <a:lnTo>
                  <a:pt x="354" y="2244"/>
                </a:lnTo>
                <a:lnTo>
                  <a:pt x="330" y="2274"/>
                </a:lnTo>
                <a:close/>
              </a:path>
            </a:pathLst>
          </a:custGeom>
          <a:solidFill>
            <a:srgbClr val="FF9900"/>
          </a:solidFill>
          <a:ln w="9525">
            <a:solidFill>
              <a:schemeClr val="bg1"/>
            </a:solidFill>
            <a:round/>
            <a:headEnd/>
            <a:tailEnd/>
          </a:ln>
        </p:spPr>
        <p:txBody>
          <a:bodyPr/>
          <a:lstStyle/>
          <a:p>
            <a:endParaRPr lang="en-GB"/>
          </a:p>
        </p:txBody>
      </p:sp>
      <p:sp>
        <p:nvSpPr>
          <p:cNvPr id="20495" name="Freeform 11"/>
          <p:cNvSpPr>
            <a:spLocks/>
          </p:cNvSpPr>
          <p:nvPr/>
        </p:nvSpPr>
        <p:spPr bwMode="gray">
          <a:xfrm>
            <a:off x="4460875" y="2217738"/>
            <a:ext cx="1184275" cy="1574800"/>
          </a:xfrm>
          <a:custGeom>
            <a:avLst/>
            <a:gdLst>
              <a:gd name="T0" fmla="*/ 97218 w 1512"/>
              <a:gd name="T1" fmla="*/ 61216 h 1956"/>
              <a:gd name="T2" fmla="*/ 94082 w 1512"/>
              <a:gd name="T3" fmla="*/ 64438 h 1956"/>
              <a:gd name="T4" fmla="*/ 83106 w 1512"/>
              <a:gd name="T5" fmla="*/ 67660 h 1956"/>
              <a:gd name="T6" fmla="*/ 82322 w 1512"/>
              <a:gd name="T7" fmla="*/ 73298 h 1956"/>
              <a:gd name="T8" fmla="*/ 79186 w 1512"/>
              <a:gd name="T9" fmla="*/ 79742 h 1956"/>
              <a:gd name="T10" fmla="*/ 82322 w 1512"/>
              <a:gd name="T11" fmla="*/ 86185 h 1956"/>
              <a:gd name="T12" fmla="*/ 93298 w 1512"/>
              <a:gd name="T13" fmla="*/ 93435 h 1956"/>
              <a:gd name="T14" fmla="*/ 94866 w 1512"/>
              <a:gd name="T15" fmla="*/ 103100 h 1956"/>
              <a:gd name="T16" fmla="*/ 87810 w 1512"/>
              <a:gd name="T17" fmla="*/ 109544 h 1956"/>
              <a:gd name="T18" fmla="*/ 93298 w 1512"/>
              <a:gd name="T19" fmla="*/ 115182 h 1956"/>
              <a:gd name="T20" fmla="*/ 98786 w 1512"/>
              <a:gd name="T21" fmla="*/ 119210 h 1956"/>
              <a:gd name="T22" fmla="*/ 98786 w 1512"/>
              <a:gd name="T23" fmla="*/ 128875 h 1956"/>
              <a:gd name="T24" fmla="*/ 81538 w 1512"/>
              <a:gd name="T25" fmla="*/ 136930 h 1956"/>
              <a:gd name="T26" fmla="*/ 77618 w 1512"/>
              <a:gd name="T27" fmla="*/ 132097 h 1956"/>
              <a:gd name="T28" fmla="*/ 57233 w 1512"/>
              <a:gd name="T29" fmla="*/ 122432 h 1956"/>
              <a:gd name="T30" fmla="*/ 43905 w 1512"/>
              <a:gd name="T31" fmla="*/ 132903 h 1956"/>
              <a:gd name="T32" fmla="*/ 25873 w 1512"/>
              <a:gd name="T33" fmla="*/ 130486 h 1956"/>
              <a:gd name="T34" fmla="*/ 19600 w 1512"/>
              <a:gd name="T35" fmla="*/ 124848 h 1956"/>
              <a:gd name="T36" fmla="*/ 24305 w 1512"/>
              <a:gd name="T37" fmla="*/ 114377 h 1956"/>
              <a:gd name="T38" fmla="*/ 18816 w 1512"/>
              <a:gd name="T39" fmla="*/ 110349 h 1956"/>
              <a:gd name="T40" fmla="*/ 10976 w 1512"/>
              <a:gd name="T41" fmla="*/ 109544 h 1956"/>
              <a:gd name="T42" fmla="*/ 8624 w 1512"/>
              <a:gd name="T43" fmla="*/ 100684 h 1956"/>
              <a:gd name="T44" fmla="*/ 2352 w 1512"/>
              <a:gd name="T45" fmla="*/ 93435 h 1956"/>
              <a:gd name="T46" fmla="*/ 1568 w 1512"/>
              <a:gd name="T47" fmla="*/ 85380 h 1956"/>
              <a:gd name="T48" fmla="*/ 3920 w 1512"/>
              <a:gd name="T49" fmla="*/ 81353 h 1956"/>
              <a:gd name="T50" fmla="*/ 1568 w 1512"/>
              <a:gd name="T51" fmla="*/ 76520 h 1956"/>
              <a:gd name="T52" fmla="*/ 784 w 1512"/>
              <a:gd name="T53" fmla="*/ 70881 h 1956"/>
              <a:gd name="T54" fmla="*/ 3136 w 1512"/>
              <a:gd name="T55" fmla="*/ 64438 h 1956"/>
              <a:gd name="T56" fmla="*/ 9408 w 1512"/>
              <a:gd name="T57" fmla="*/ 58799 h 1956"/>
              <a:gd name="T58" fmla="*/ 12544 w 1512"/>
              <a:gd name="T59" fmla="*/ 54772 h 1956"/>
              <a:gd name="T60" fmla="*/ 17248 w 1512"/>
              <a:gd name="T61" fmla="*/ 53161 h 1956"/>
              <a:gd name="T62" fmla="*/ 25089 w 1512"/>
              <a:gd name="T63" fmla="*/ 52356 h 1956"/>
              <a:gd name="T64" fmla="*/ 35281 w 1512"/>
              <a:gd name="T65" fmla="*/ 53161 h 1956"/>
              <a:gd name="T66" fmla="*/ 39201 w 1512"/>
              <a:gd name="T67" fmla="*/ 56383 h 1956"/>
              <a:gd name="T68" fmla="*/ 43121 w 1512"/>
              <a:gd name="T69" fmla="*/ 56383 h 1956"/>
              <a:gd name="T70" fmla="*/ 49393 w 1512"/>
              <a:gd name="T71" fmla="*/ 57188 h 1956"/>
              <a:gd name="T72" fmla="*/ 47825 w 1512"/>
              <a:gd name="T73" fmla="*/ 60410 h 1956"/>
              <a:gd name="T74" fmla="*/ 51745 w 1512"/>
              <a:gd name="T75" fmla="*/ 67660 h 1956"/>
              <a:gd name="T76" fmla="*/ 63506 w 1512"/>
              <a:gd name="T77" fmla="*/ 68465 h 1956"/>
              <a:gd name="T78" fmla="*/ 65074 w 1512"/>
              <a:gd name="T79" fmla="*/ 63632 h 1956"/>
              <a:gd name="T80" fmla="*/ 69778 w 1512"/>
              <a:gd name="T81" fmla="*/ 62021 h 1956"/>
              <a:gd name="T82" fmla="*/ 69778 w 1512"/>
              <a:gd name="T83" fmla="*/ 58799 h 1956"/>
              <a:gd name="T84" fmla="*/ 65074 w 1512"/>
              <a:gd name="T85" fmla="*/ 57994 h 1956"/>
              <a:gd name="T86" fmla="*/ 60370 w 1512"/>
              <a:gd name="T87" fmla="*/ 56383 h 1956"/>
              <a:gd name="T88" fmla="*/ 55665 w 1512"/>
              <a:gd name="T89" fmla="*/ 56383 h 1956"/>
              <a:gd name="T90" fmla="*/ 46257 w 1512"/>
              <a:gd name="T91" fmla="*/ 46717 h 1956"/>
              <a:gd name="T92" fmla="*/ 42337 w 1512"/>
              <a:gd name="T93" fmla="*/ 36246 h 1956"/>
              <a:gd name="T94" fmla="*/ 38417 w 1512"/>
              <a:gd name="T95" fmla="*/ 33830 h 1956"/>
              <a:gd name="T96" fmla="*/ 39985 w 1512"/>
              <a:gd name="T97" fmla="*/ 31413 h 1956"/>
              <a:gd name="T98" fmla="*/ 43121 w 1512"/>
              <a:gd name="T99" fmla="*/ 28997 h 1956"/>
              <a:gd name="T100" fmla="*/ 49393 w 1512"/>
              <a:gd name="T101" fmla="*/ 27386 h 1956"/>
              <a:gd name="T102" fmla="*/ 53313 w 1512"/>
              <a:gd name="T103" fmla="*/ 25775 h 1956"/>
              <a:gd name="T104" fmla="*/ 57233 w 1512"/>
              <a:gd name="T105" fmla="*/ 23359 h 1956"/>
              <a:gd name="T106" fmla="*/ 61154 w 1512"/>
              <a:gd name="T107" fmla="*/ 21748 h 1956"/>
              <a:gd name="T108" fmla="*/ 63506 w 1512"/>
              <a:gd name="T109" fmla="*/ 13693 h 1956"/>
              <a:gd name="T110" fmla="*/ 65858 w 1512"/>
              <a:gd name="T111" fmla="*/ 4833 h 1956"/>
              <a:gd name="T112" fmla="*/ 74482 w 1512"/>
              <a:gd name="T113" fmla="*/ 4833 h 1956"/>
              <a:gd name="T114" fmla="*/ 77618 w 1512"/>
              <a:gd name="T115" fmla="*/ 2416 h 1956"/>
              <a:gd name="T116" fmla="*/ 80754 w 1512"/>
              <a:gd name="T117" fmla="*/ 0 h 1956"/>
              <a:gd name="T118" fmla="*/ 86242 w 1512"/>
              <a:gd name="T119" fmla="*/ 3222 h 1956"/>
              <a:gd name="T120" fmla="*/ 89378 w 1512"/>
              <a:gd name="T121" fmla="*/ 26581 h 1956"/>
              <a:gd name="T122" fmla="*/ 91730 w 1512"/>
              <a:gd name="T123" fmla="*/ 33024 h 1956"/>
              <a:gd name="T124" fmla="*/ 93298 w 1512"/>
              <a:gd name="T125" fmla="*/ 49939 h 1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12"/>
              <a:gd name="T190" fmla="*/ 0 h 1956"/>
              <a:gd name="T191" fmla="*/ 1512 w 1512"/>
              <a:gd name="T192" fmla="*/ 1956 h 1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12" h="1956">
                <a:moveTo>
                  <a:pt x="1512" y="780"/>
                </a:moveTo>
                <a:lnTo>
                  <a:pt x="1482" y="786"/>
                </a:lnTo>
                <a:lnTo>
                  <a:pt x="1476" y="792"/>
                </a:lnTo>
                <a:lnTo>
                  <a:pt x="1476" y="798"/>
                </a:lnTo>
                <a:lnTo>
                  <a:pt x="1476" y="804"/>
                </a:lnTo>
                <a:lnTo>
                  <a:pt x="1476" y="816"/>
                </a:lnTo>
                <a:lnTo>
                  <a:pt x="1470" y="834"/>
                </a:lnTo>
                <a:lnTo>
                  <a:pt x="1464" y="840"/>
                </a:lnTo>
                <a:lnTo>
                  <a:pt x="1452" y="852"/>
                </a:lnTo>
                <a:lnTo>
                  <a:pt x="1440" y="864"/>
                </a:lnTo>
                <a:lnTo>
                  <a:pt x="1434" y="864"/>
                </a:lnTo>
                <a:lnTo>
                  <a:pt x="1434" y="870"/>
                </a:lnTo>
                <a:lnTo>
                  <a:pt x="1422" y="876"/>
                </a:lnTo>
                <a:lnTo>
                  <a:pt x="1410" y="894"/>
                </a:lnTo>
                <a:lnTo>
                  <a:pt x="1404" y="894"/>
                </a:lnTo>
                <a:lnTo>
                  <a:pt x="1404" y="900"/>
                </a:lnTo>
                <a:lnTo>
                  <a:pt x="1404" y="906"/>
                </a:lnTo>
                <a:lnTo>
                  <a:pt x="1410" y="918"/>
                </a:lnTo>
                <a:lnTo>
                  <a:pt x="1404" y="918"/>
                </a:lnTo>
                <a:lnTo>
                  <a:pt x="1392" y="924"/>
                </a:lnTo>
                <a:lnTo>
                  <a:pt x="1386" y="924"/>
                </a:lnTo>
                <a:lnTo>
                  <a:pt x="1380" y="924"/>
                </a:lnTo>
                <a:lnTo>
                  <a:pt x="1380" y="930"/>
                </a:lnTo>
                <a:lnTo>
                  <a:pt x="1374" y="930"/>
                </a:lnTo>
                <a:lnTo>
                  <a:pt x="1374" y="924"/>
                </a:lnTo>
                <a:lnTo>
                  <a:pt x="1374" y="918"/>
                </a:lnTo>
                <a:lnTo>
                  <a:pt x="1368" y="912"/>
                </a:lnTo>
                <a:lnTo>
                  <a:pt x="1368" y="906"/>
                </a:lnTo>
                <a:lnTo>
                  <a:pt x="1368" y="900"/>
                </a:lnTo>
                <a:lnTo>
                  <a:pt x="1368" y="894"/>
                </a:lnTo>
                <a:lnTo>
                  <a:pt x="1362" y="894"/>
                </a:lnTo>
                <a:lnTo>
                  <a:pt x="1326" y="894"/>
                </a:lnTo>
                <a:lnTo>
                  <a:pt x="1302" y="906"/>
                </a:lnTo>
                <a:lnTo>
                  <a:pt x="1284" y="918"/>
                </a:lnTo>
                <a:lnTo>
                  <a:pt x="1284" y="924"/>
                </a:lnTo>
                <a:lnTo>
                  <a:pt x="1278" y="930"/>
                </a:lnTo>
                <a:lnTo>
                  <a:pt x="1266" y="930"/>
                </a:lnTo>
                <a:lnTo>
                  <a:pt x="1236" y="954"/>
                </a:lnTo>
                <a:lnTo>
                  <a:pt x="1212" y="972"/>
                </a:lnTo>
                <a:lnTo>
                  <a:pt x="1218" y="996"/>
                </a:lnTo>
                <a:lnTo>
                  <a:pt x="1224" y="1008"/>
                </a:lnTo>
                <a:lnTo>
                  <a:pt x="1236" y="1014"/>
                </a:lnTo>
                <a:lnTo>
                  <a:pt x="1242" y="1026"/>
                </a:lnTo>
                <a:lnTo>
                  <a:pt x="1248" y="1038"/>
                </a:lnTo>
                <a:lnTo>
                  <a:pt x="1260" y="1050"/>
                </a:lnTo>
                <a:lnTo>
                  <a:pt x="1260" y="1056"/>
                </a:lnTo>
                <a:lnTo>
                  <a:pt x="1260" y="1074"/>
                </a:lnTo>
                <a:lnTo>
                  <a:pt x="1254" y="1074"/>
                </a:lnTo>
                <a:lnTo>
                  <a:pt x="1236" y="1056"/>
                </a:lnTo>
                <a:lnTo>
                  <a:pt x="1224" y="1050"/>
                </a:lnTo>
                <a:lnTo>
                  <a:pt x="1212" y="1050"/>
                </a:lnTo>
                <a:lnTo>
                  <a:pt x="1206" y="1050"/>
                </a:lnTo>
                <a:lnTo>
                  <a:pt x="1200" y="1056"/>
                </a:lnTo>
                <a:lnTo>
                  <a:pt x="1194" y="1062"/>
                </a:lnTo>
                <a:lnTo>
                  <a:pt x="1188" y="1068"/>
                </a:lnTo>
                <a:lnTo>
                  <a:pt x="1188" y="1074"/>
                </a:lnTo>
                <a:lnTo>
                  <a:pt x="1176" y="1086"/>
                </a:lnTo>
                <a:lnTo>
                  <a:pt x="1170" y="1086"/>
                </a:lnTo>
                <a:lnTo>
                  <a:pt x="1170" y="1092"/>
                </a:lnTo>
                <a:lnTo>
                  <a:pt x="1164" y="1098"/>
                </a:lnTo>
                <a:lnTo>
                  <a:pt x="1158" y="1110"/>
                </a:lnTo>
                <a:lnTo>
                  <a:pt x="1152" y="1116"/>
                </a:lnTo>
                <a:lnTo>
                  <a:pt x="1152" y="1122"/>
                </a:lnTo>
                <a:lnTo>
                  <a:pt x="1146" y="1128"/>
                </a:lnTo>
                <a:lnTo>
                  <a:pt x="1152" y="1140"/>
                </a:lnTo>
                <a:lnTo>
                  <a:pt x="1158" y="1140"/>
                </a:lnTo>
                <a:lnTo>
                  <a:pt x="1164" y="1146"/>
                </a:lnTo>
                <a:lnTo>
                  <a:pt x="1164" y="1152"/>
                </a:lnTo>
                <a:lnTo>
                  <a:pt x="1170" y="1164"/>
                </a:lnTo>
                <a:lnTo>
                  <a:pt x="1164" y="1176"/>
                </a:lnTo>
                <a:lnTo>
                  <a:pt x="1170" y="1182"/>
                </a:lnTo>
                <a:lnTo>
                  <a:pt x="1170" y="1194"/>
                </a:lnTo>
                <a:lnTo>
                  <a:pt x="1170" y="1200"/>
                </a:lnTo>
                <a:lnTo>
                  <a:pt x="1182" y="1218"/>
                </a:lnTo>
                <a:lnTo>
                  <a:pt x="1188" y="1218"/>
                </a:lnTo>
                <a:lnTo>
                  <a:pt x="1194" y="1218"/>
                </a:lnTo>
                <a:lnTo>
                  <a:pt x="1194" y="1224"/>
                </a:lnTo>
                <a:lnTo>
                  <a:pt x="1200" y="1230"/>
                </a:lnTo>
                <a:lnTo>
                  <a:pt x="1200" y="1248"/>
                </a:lnTo>
                <a:lnTo>
                  <a:pt x="1212" y="1266"/>
                </a:lnTo>
                <a:lnTo>
                  <a:pt x="1218" y="1278"/>
                </a:lnTo>
                <a:lnTo>
                  <a:pt x="1224" y="1284"/>
                </a:lnTo>
                <a:lnTo>
                  <a:pt x="1236" y="1296"/>
                </a:lnTo>
                <a:lnTo>
                  <a:pt x="1242" y="1302"/>
                </a:lnTo>
                <a:lnTo>
                  <a:pt x="1242" y="1308"/>
                </a:lnTo>
                <a:lnTo>
                  <a:pt x="1272" y="1308"/>
                </a:lnTo>
                <a:lnTo>
                  <a:pt x="1296" y="1314"/>
                </a:lnTo>
                <a:lnTo>
                  <a:pt x="1320" y="1320"/>
                </a:lnTo>
                <a:lnTo>
                  <a:pt x="1338" y="1320"/>
                </a:lnTo>
                <a:lnTo>
                  <a:pt x="1356" y="1332"/>
                </a:lnTo>
                <a:lnTo>
                  <a:pt x="1368" y="1344"/>
                </a:lnTo>
                <a:lnTo>
                  <a:pt x="1374" y="1362"/>
                </a:lnTo>
                <a:lnTo>
                  <a:pt x="1368" y="1362"/>
                </a:lnTo>
                <a:lnTo>
                  <a:pt x="1368" y="1398"/>
                </a:lnTo>
                <a:lnTo>
                  <a:pt x="1368" y="1410"/>
                </a:lnTo>
                <a:lnTo>
                  <a:pt x="1368" y="1428"/>
                </a:lnTo>
                <a:lnTo>
                  <a:pt x="1368" y="1434"/>
                </a:lnTo>
                <a:lnTo>
                  <a:pt x="1368" y="1440"/>
                </a:lnTo>
                <a:lnTo>
                  <a:pt x="1374" y="1446"/>
                </a:lnTo>
                <a:lnTo>
                  <a:pt x="1374" y="1452"/>
                </a:lnTo>
                <a:lnTo>
                  <a:pt x="1380" y="1458"/>
                </a:lnTo>
                <a:lnTo>
                  <a:pt x="1386" y="1464"/>
                </a:lnTo>
                <a:lnTo>
                  <a:pt x="1386" y="1470"/>
                </a:lnTo>
                <a:lnTo>
                  <a:pt x="1380" y="1476"/>
                </a:lnTo>
                <a:lnTo>
                  <a:pt x="1374" y="1482"/>
                </a:lnTo>
                <a:lnTo>
                  <a:pt x="1362" y="1500"/>
                </a:lnTo>
                <a:lnTo>
                  <a:pt x="1362" y="1506"/>
                </a:lnTo>
                <a:lnTo>
                  <a:pt x="1362" y="1512"/>
                </a:lnTo>
                <a:lnTo>
                  <a:pt x="1362" y="1518"/>
                </a:lnTo>
                <a:lnTo>
                  <a:pt x="1362" y="1524"/>
                </a:lnTo>
                <a:lnTo>
                  <a:pt x="1362" y="1536"/>
                </a:lnTo>
                <a:lnTo>
                  <a:pt x="1356" y="1542"/>
                </a:lnTo>
                <a:lnTo>
                  <a:pt x="1338" y="1548"/>
                </a:lnTo>
                <a:lnTo>
                  <a:pt x="1296" y="1548"/>
                </a:lnTo>
                <a:lnTo>
                  <a:pt x="1290" y="1554"/>
                </a:lnTo>
                <a:lnTo>
                  <a:pt x="1284" y="1560"/>
                </a:lnTo>
                <a:lnTo>
                  <a:pt x="1284" y="1566"/>
                </a:lnTo>
                <a:lnTo>
                  <a:pt x="1290" y="1578"/>
                </a:lnTo>
                <a:lnTo>
                  <a:pt x="1296" y="1590"/>
                </a:lnTo>
                <a:lnTo>
                  <a:pt x="1302" y="1590"/>
                </a:lnTo>
                <a:lnTo>
                  <a:pt x="1308" y="1596"/>
                </a:lnTo>
                <a:lnTo>
                  <a:pt x="1320" y="1602"/>
                </a:lnTo>
                <a:lnTo>
                  <a:pt x="1326" y="1602"/>
                </a:lnTo>
                <a:lnTo>
                  <a:pt x="1326" y="1608"/>
                </a:lnTo>
                <a:lnTo>
                  <a:pt x="1332" y="1614"/>
                </a:lnTo>
                <a:lnTo>
                  <a:pt x="1344" y="1620"/>
                </a:lnTo>
                <a:lnTo>
                  <a:pt x="1356" y="1626"/>
                </a:lnTo>
                <a:lnTo>
                  <a:pt x="1356" y="1632"/>
                </a:lnTo>
                <a:lnTo>
                  <a:pt x="1356" y="1638"/>
                </a:lnTo>
                <a:lnTo>
                  <a:pt x="1362" y="1644"/>
                </a:lnTo>
                <a:lnTo>
                  <a:pt x="1368" y="1644"/>
                </a:lnTo>
                <a:lnTo>
                  <a:pt x="1380" y="1650"/>
                </a:lnTo>
                <a:lnTo>
                  <a:pt x="1386" y="1650"/>
                </a:lnTo>
                <a:lnTo>
                  <a:pt x="1386" y="1656"/>
                </a:lnTo>
                <a:lnTo>
                  <a:pt x="1392" y="1656"/>
                </a:lnTo>
                <a:lnTo>
                  <a:pt x="1398" y="1662"/>
                </a:lnTo>
                <a:lnTo>
                  <a:pt x="1410" y="1674"/>
                </a:lnTo>
                <a:lnTo>
                  <a:pt x="1428" y="1680"/>
                </a:lnTo>
                <a:lnTo>
                  <a:pt x="1428" y="1686"/>
                </a:lnTo>
                <a:lnTo>
                  <a:pt x="1428" y="1698"/>
                </a:lnTo>
                <a:lnTo>
                  <a:pt x="1434" y="1704"/>
                </a:lnTo>
                <a:lnTo>
                  <a:pt x="1434" y="1710"/>
                </a:lnTo>
                <a:lnTo>
                  <a:pt x="1440" y="1710"/>
                </a:lnTo>
                <a:lnTo>
                  <a:pt x="1446" y="1710"/>
                </a:lnTo>
                <a:lnTo>
                  <a:pt x="1446" y="1716"/>
                </a:lnTo>
                <a:lnTo>
                  <a:pt x="1440" y="1722"/>
                </a:lnTo>
                <a:lnTo>
                  <a:pt x="1440" y="1728"/>
                </a:lnTo>
                <a:lnTo>
                  <a:pt x="1440" y="1734"/>
                </a:lnTo>
                <a:lnTo>
                  <a:pt x="1440" y="1740"/>
                </a:lnTo>
                <a:lnTo>
                  <a:pt x="1440" y="1746"/>
                </a:lnTo>
                <a:lnTo>
                  <a:pt x="1440" y="1788"/>
                </a:lnTo>
                <a:lnTo>
                  <a:pt x="1440" y="1800"/>
                </a:lnTo>
                <a:lnTo>
                  <a:pt x="1440" y="1806"/>
                </a:lnTo>
                <a:lnTo>
                  <a:pt x="1440" y="1836"/>
                </a:lnTo>
                <a:lnTo>
                  <a:pt x="1440" y="1848"/>
                </a:lnTo>
                <a:lnTo>
                  <a:pt x="1446" y="1848"/>
                </a:lnTo>
                <a:lnTo>
                  <a:pt x="1446" y="1854"/>
                </a:lnTo>
                <a:lnTo>
                  <a:pt x="1452" y="1848"/>
                </a:lnTo>
                <a:lnTo>
                  <a:pt x="1458" y="1854"/>
                </a:lnTo>
                <a:lnTo>
                  <a:pt x="1452" y="1860"/>
                </a:lnTo>
                <a:lnTo>
                  <a:pt x="1452" y="1866"/>
                </a:lnTo>
                <a:lnTo>
                  <a:pt x="1458" y="1872"/>
                </a:lnTo>
                <a:lnTo>
                  <a:pt x="1464" y="1884"/>
                </a:lnTo>
                <a:lnTo>
                  <a:pt x="1428" y="1878"/>
                </a:lnTo>
                <a:lnTo>
                  <a:pt x="1356" y="1890"/>
                </a:lnTo>
                <a:lnTo>
                  <a:pt x="1296" y="1926"/>
                </a:lnTo>
                <a:lnTo>
                  <a:pt x="1266" y="1944"/>
                </a:lnTo>
                <a:lnTo>
                  <a:pt x="1224" y="1944"/>
                </a:lnTo>
                <a:lnTo>
                  <a:pt x="1188" y="1956"/>
                </a:lnTo>
                <a:lnTo>
                  <a:pt x="1188" y="1950"/>
                </a:lnTo>
                <a:lnTo>
                  <a:pt x="1176" y="1944"/>
                </a:lnTo>
                <a:lnTo>
                  <a:pt x="1176" y="1938"/>
                </a:lnTo>
                <a:lnTo>
                  <a:pt x="1170" y="1938"/>
                </a:lnTo>
                <a:lnTo>
                  <a:pt x="1164" y="1932"/>
                </a:lnTo>
                <a:lnTo>
                  <a:pt x="1158" y="1926"/>
                </a:lnTo>
                <a:lnTo>
                  <a:pt x="1158" y="1920"/>
                </a:lnTo>
                <a:lnTo>
                  <a:pt x="1152" y="1920"/>
                </a:lnTo>
                <a:lnTo>
                  <a:pt x="1146" y="1914"/>
                </a:lnTo>
                <a:lnTo>
                  <a:pt x="1146" y="1908"/>
                </a:lnTo>
                <a:lnTo>
                  <a:pt x="1140" y="1908"/>
                </a:lnTo>
                <a:lnTo>
                  <a:pt x="1134" y="1902"/>
                </a:lnTo>
                <a:lnTo>
                  <a:pt x="1134" y="1896"/>
                </a:lnTo>
                <a:lnTo>
                  <a:pt x="1116" y="1896"/>
                </a:lnTo>
                <a:lnTo>
                  <a:pt x="1104" y="1884"/>
                </a:lnTo>
                <a:lnTo>
                  <a:pt x="1092" y="1860"/>
                </a:lnTo>
                <a:lnTo>
                  <a:pt x="1068" y="1854"/>
                </a:lnTo>
                <a:lnTo>
                  <a:pt x="1032" y="1842"/>
                </a:lnTo>
                <a:lnTo>
                  <a:pt x="1008" y="1836"/>
                </a:lnTo>
                <a:lnTo>
                  <a:pt x="978" y="1824"/>
                </a:lnTo>
                <a:lnTo>
                  <a:pt x="942" y="1818"/>
                </a:lnTo>
                <a:lnTo>
                  <a:pt x="924" y="1806"/>
                </a:lnTo>
                <a:lnTo>
                  <a:pt x="906" y="1788"/>
                </a:lnTo>
                <a:lnTo>
                  <a:pt x="894" y="1776"/>
                </a:lnTo>
                <a:lnTo>
                  <a:pt x="864" y="1758"/>
                </a:lnTo>
                <a:lnTo>
                  <a:pt x="834" y="1752"/>
                </a:lnTo>
                <a:lnTo>
                  <a:pt x="798" y="1746"/>
                </a:lnTo>
                <a:lnTo>
                  <a:pt x="792" y="1806"/>
                </a:lnTo>
                <a:lnTo>
                  <a:pt x="798" y="1812"/>
                </a:lnTo>
                <a:lnTo>
                  <a:pt x="810" y="1830"/>
                </a:lnTo>
                <a:lnTo>
                  <a:pt x="792" y="1842"/>
                </a:lnTo>
                <a:lnTo>
                  <a:pt x="768" y="1842"/>
                </a:lnTo>
                <a:lnTo>
                  <a:pt x="708" y="1848"/>
                </a:lnTo>
                <a:lnTo>
                  <a:pt x="690" y="1860"/>
                </a:lnTo>
                <a:lnTo>
                  <a:pt x="690" y="1866"/>
                </a:lnTo>
                <a:lnTo>
                  <a:pt x="678" y="1878"/>
                </a:lnTo>
                <a:lnTo>
                  <a:pt x="660" y="1884"/>
                </a:lnTo>
                <a:lnTo>
                  <a:pt x="660" y="1902"/>
                </a:lnTo>
                <a:lnTo>
                  <a:pt x="642" y="1902"/>
                </a:lnTo>
                <a:lnTo>
                  <a:pt x="582" y="1914"/>
                </a:lnTo>
                <a:lnTo>
                  <a:pt x="534" y="1908"/>
                </a:lnTo>
                <a:lnTo>
                  <a:pt x="510" y="1908"/>
                </a:lnTo>
                <a:lnTo>
                  <a:pt x="510" y="1896"/>
                </a:lnTo>
                <a:lnTo>
                  <a:pt x="492" y="1896"/>
                </a:lnTo>
                <a:lnTo>
                  <a:pt x="486" y="1902"/>
                </a:lnTo>
                <a:lnTo>
                  <a:pt x="474" y="1908"/>
                </a:lnTo>
                <a:lnTo>
                  <a:pt x="450" y="1908"/>
                </a:lnTo>
                <a:lnTo>
                  <a:pt x="432" y="1902"/>
                </a:lnTo>
                <a:lnTo>
                  <a:pt x="426" y="1896"/>
                </a:lnTo>
                <a:lnTo>
                  <a:pt x="402" y="1884"/>
                </a:lnTo>
                <a:lnTo>
                  <a:pt x="390" y="1872"/>
                </a:lnTo>
                <a:lnTo>
                  <a:pt x="384" y="1872"/>
                </a:lnTo>
                <a:lnTo>
                  <a:pt x="378" y="1872"/>
                </a:lnTo>
                <a:lnTo>
                  <a:pt x="378" y="1866"/>
                </a:lnTo>
                <a:lnTo>
                  <a:pt x="372" y="1860"/>
                </a:lnTo>
                <a:lnTo>
                  <a:pt x="372" y="1854"/>
                </a:lnTo>
                <a:lnTo>
                  <a:pt x="366" y="1842"/>
                </a:lnTo>
                <a:lnTo>
                  <a:pt x="366" y="1836"/>
                </a:lnTo>
                <a:lnTo>
                  <a:pt x="348" y="1830"/>
                </a:lnTo>
                <a:lnTo>
                  <a:pt x="348" y="1806"/>
                </a:lnTo>
                <a:lnTo>
                  <a:pt x="348" y="1800"/>
                </a:lnTo>
                <a:lnTo>
                  <a:pt x="348" y="1782"/>
                </a:lnTo>
                <a:lnTo>
                  <a:pt x="336" y="1788"/>
                </a:lnTo>
                <a:lnTo>
                  <a:pt x="312" y="1794"/>
                </a:lnTo>
                <a:lnTo>
                  <a:pt x="288" y="1788"/>
                </a:lnTo>
                <a:lnTo>
                  <a:pt x="264" y="1758"/>
                </a:lnTo>
                <a:lnTo>
                  <a:pt x="270" y="1758"/>
                </a:lnTo>
                <a:lnTo>
                  <a:pt x="270" y="1752"/>
                </a:lnTo>
                <a:lnTo>
                  <a:pt x="276" y="1752"/>
                </a:lnTo>
                <a:lnTo>
                  <a:pt x="282" y="1746"/>
                </a:lnTo>
                <a:lnTo>
                  <a:pt x="300" y="1746"/>
                </a:lnTo>
                <a:lnTo>
                  <a:pt x="312" y="1746"/>
                </a:lnTo>
                <a:lnTo>
                  <a:pt x="336" y="1710"/>
                </a:lnTo>
                <a:lnTo>
                  <a:pt x="342" y="1692"/>
                </a:lnTo>
                <a:lnTo>
                  <a:pt x="348" y="1680"/>
                </a:lnTo>
                <a:lnTo>
                  <a:pt x="342" y="1650"/>
                </a:lnTo>
                <a:lnTo>
                  <a:pt x="354" y="1644"/>
                </a:lnTo>
                <a:lnTo>
                  <a:pt x="354" y="1638"/>
                </a:lnTo>
                <a:lnTo>
                  <a:pt x="360" y="1632"/>
                </a:lnTo>
                <a:lnTo>
                  <a:pt x="354" y="1626"/>
                </a:lnTo>
                <a:lnTo>
                  <a:pt x="348" y="1626"/>
                </a:lnTo>
                <a:lnTo>
                  <a:pt x="348" y="1620"/>
                </a:lnTo>
                <a:lnTo>
                  <a:pt x="342" y="1620"/>
                </a:lnTo>
                <a:lnTo>
                  <a:pt x="348" y="1614"/>
                </a:lnTo>
                <a:lnTo>
                  <a:pt x="324" y="1566"/>
                </a:lnTo>
                <a:lnTo>
                  <a:pt x="318" y="1566"/>
                </a:lnTo>
                <a:lnTo>
                  <a:pt x="306" y="1572"/>
                </a:lnTo>
                <a:lnTo>
                  <a:pt x="300" y="1572"/>
                </a:lnTo>
                <a:lnTo>
                  <a:pt x="294" y="1578"/>
                </a:lnTo>
                <a:lnTo>
                  <a:pt x="288" y="1584"/>
                </a:lnTo>
                <a:lnTo>
                  <a:pt x="282" y="1584"/>
                </a:lnTo>
                <a:lnTo>
                  <a:pt x="282" y="1578"/>
                </a:lnTo>
                <a:lnTo>
                  <a:pt x="276" y="1578"/>
                </a:lnTo>
                <a:lnTo>
                  <a:pt x="270" y="1578"/>
                </a:lnTo>
                <a:lnTo>
                  <a:pt x="264" y="1578"/>
                </a:lnTo>
                <a:lnTo>
                  <a:pt x="258" y="1578"/>
                </a:lnTo>
                <a:lnTo>
                  <a:pt x="252" y="1578"/>
                </a:lnTo>
                <a:lnTo>
                  <a:pt x="252" y="1584"/>
                </a:lnTo>
                <a:lnTo>
                  <a:pt x="246" y="1584"/>
                </a:lnTo>
                <a:lnTo>
                  <a:pt x="210" y="1584"/>
                </a:lnTo>
                <a:lnTo>
                  <a:pt x="204" y="1584"/>
                </a:lnTo>
                <a:lnTo>
                  <a:pt x="192" y="1584"/>
                </a:lnTo>
                <a:lnTo>
                  <a:pt x="168" y="1596"/>
                </a:lnTo>
                <a:lnTo>
                  <a:pt x="156" y="1572"/>
                </a:lnTo>
                <a:lnTo>
                  <a:pt x="156" y="1566"/>
                </a:lnTo>
                <a:lnTo>
                  <a:pt x="156" y="1560"/>
                </a:lnTo>
                <a:lnTo>
                  <a:pt x="162" y="1548"/>
                </a:lnTo>
                <a:lnTo>
                  <a:pt x="162" y="1542"/>
                </a:lnTo>
                <a:lnTo>
                  <a:pt x="162" y="1536"/>
                </a:lnTo>
                <a:lnTo>
                  <a:pt x="168" y="1530"/>
                </a:lnTo>
                <a:lnTo>
                  <a:pt x="168" y="1524"/>
                </a:lnTo>
                <a:lnTo>
                  <a:pt x="168" y="1518"/>
                </a:lnTo>
                <a:lnTo>
                  <a:pt x="174" y="1518"/>
                </a:lnTo>
                <a:lnTo>
                  <a:pt x="174" y="1506"/>
                </a:lnTo>
                <a:lnTo>
                  <a:pt x="156" y="1470"/>
                </a:lnTo>
                <a:lnTo>
                  <a:pt x="138" y="1464"/>
                </a:lnTo>
                <a:lnTo>
                  <a:pt x="126" y="1446"/>
                </a:lnTo>
                <a:lnTo>
                  <a:pt x="126" y="1440"/>
                </a:lnTo>
                <a:lnTo>
                  <a:pt x="126" y="1434"/>
                </a:lnTo>
                <a:lnTo>
                  <a:pt x="120" y="1428"/>
                </a:lnTo>
                <a:lnTo>
                  <a:pt x="126" y="1398"/>
                </a:lnTo>
                <a:lnTo>
                  <a:pt x="120" y="1374"/>
                </a:lnTo>
                <a:lnTo>
                  <a:pt x="60" y="1374"/>
                </a:lnTo>
                <a:lnTo>
                  <a:pt x="60" y="1368"/>
                </a:lnTo>
                <a:lnTo>
                  <a:pt x="54" y="1362"/>
                </a:lnTo>
                <a:lnTo>
                  <a:pt x="48" y="1356"/>
                </a:lnTo>
                <a:lnTo>
                  <a:pt x="42" y="1356"/>
                </a:lnTo>
                <a:lnTo>
                  <a:pt x="42" y="1350"/>
                </a:lnTo>
                <a:lnTo>
                  <a:pt x="36" y="1344"/>
                </a:lnTo>
                <a:lnTo>
                  <a:pt x="36" y="1338"/>
                </a:lnTo>
                <a:lnTo>
                  <a:pt x="30" y="1332"/>
                </a:lnTo>
                <a:lnTo>
                  <a:pt x="30" y="1326"/>
                </a:lnTo>
                <a:lnTo>
                  <a:pt x="18" y="1326"/>
                </a:lnTo>
                <a:lnTo>
                  <a:pt x="18" y="1320"/>
                </a:lnTo>
                <a:lnTo>
                  <a:pt x="18" y="1326"/>
                </a:lnTo>
                <a:lnTo>
                  <a:pt x="6" y="1320"/>
                </a:lnTo>
                <a:lnTo>
                  <a:pt x="0" y="1314"/>
                </a:lnTo>
                <a:lnTo>
                  <a:pt x="12" y="1266"/>
                </a:lnTo>
                <a:lnTo>
                  <a:pt x="6" y="1242"/>
                </a:lnTo>
                <a:lnTo>
                  <a:pt x="12" y="1236"/>
                </a:lnTo>
                <a:lnTo>
                  <a:pt x="12" y="1230"/>
                </a:lnTo>
                <a:lnTo>
                  <a:pt x="18" y="1230"/>
                </a:lnTo>
                <a:lnTo>
                  <a:pt x="18" y="1224"/>
                </a:lnTo>
                <a:lnTo>
                  <a:pt x="24" y="1218"/>
                </a:lnTo>
                <a:lnTo>
                  <a:pt x="24" y="1212"/>
                </a:lnTo>
                <a:lnTo>
                  <a:pt x="30" y="1212"/>
                </a:lnTo>
                <a:lnTo>
                  <a:pt x="36" y="1200"/>
                </a:lnTo>
                <a:lnTo>
                  <a:pt x="42" y="1194"/>
                </a:lnTo>
                <a:lnTo>
                  <a:pt x="42" y="1188"/>
                </a:lnTo>
                <a:lnTo>
                  <a:pt x="48" y="1188"/>
                </a:lnTo>
                <a:lnTo>
                  <a:pt x="48" y="1182"/>
                </a:lnTo>
                <a:lnTo>
                  <a:pt x="48" y="1176"/>
                </a:lnTo>
                <a:lnTo>
                  <a:pt x="48" y="1170"/>
                </a:lnTo>
                <a:lnTo>
                  <a:pt x="54" y="1170"/>
                </a:lnTo>
                <a:lnTo>
                  <a:pt x="60" y="1164"/>
                </a:lnTo>
                <a:lnTo>
                  <a:pt x="60" y="1158"/>
                </a:lnTo>
                <a:lnTo>
                  <a:pt x="66" y="1152"/>
                </a:lnTo>
                <a:lnTo>
                  <a:pt x="60" y="1140"/>
                </a:lnTo>
                <a:lnTo>
                  <a:pt x="60" y="1134"/>
                </a:lnTo>
                <a:lnTo>
                  <a:pt x="54" y="1134"/>
                </a:lnTo>
                <a:lnTo>
                  <a:pt x="54" y="1128"/>
                </a:lnTo>
                <a:lnTo>
                  <a:pt x="48" y="1122"/>
                </a:lnTo>
                <a:lnTo>
                  <a:pt x="48" y="1116"/>
                </a:lnTo>
                <a:lnTo>
                  <a:pt x="48" y="1110"/>
                </a:lnTo>
                <a:lnTo>
                  <a:pt x="42" y="1104"/>
                </a:lnTo>
                <a:lnTo>
                  <a:pt x="42" y="1098"/>
                </a:lnTo>
                <a:lnTo>
                  <a:pt x="36" y="1092"/>
                </a:lnTo>
                <a:lnTo>
                  <a:pt x="30" y="1092"/>
                </a:lnTo>
                <a:lnTo>
                  <a:pt x="24" y="1092"/>
                </a:lnTo>
                <a:lnTo>
                  <a:pt x="24" y="1086"/>
                </a:lnTo>
                <a:lnTo>
                  <a:pt x="24" y="1080"/>
                </a:lnTo>
                <a:lnTo>
                  <a:pt x="18" y="1080"/>
                </a:lnTo>
                <a:lnTo>
                  <a:pt x="18" y="1074"/>
                </a:lnTo>
                <a:lnTo>
                  <a:pt x="12" y="1068"/>
                </a:lnTo>
                <a:lnTo>
                  <a:pt x="6" y="1068"/>
                </a:lnTo>
                <a:lnTo>
                  <a:pt x="12" y="1056"/>
                </a:lnTo>
                <a:lnTo>
                  <a:pt x="6" y="1056"/>
                </a:lnTo>
                <a:lnTo>
                  <a:pt x="6" y="1050"/>
                </a:lnTo>
                <a:lnTo>
                  <a:pt x="6" y="1044"/>
                </a:lnTo>
                <a:lnTo>
                  <a:pt x="6" y="1026"/>
                </a:lnTo>
                <a:lnTo>
                  <a:pt x="12" y="1020"/>
                </a:lnTo>
                <a:lnTo>
                  <a:pt x="12" y="1014"/>
                </a:lnTo>
                <a:lnTo>
                  <a:pt x="18" y="1014"/>
                </a:lnTo>
                <a:lnTo>
                  <a:pt x="18" y="1008"/>
                </a:lnTo>
                <a:lnTo>
                  <a:pt x="18" y="1002"/>
                </a:lnTo>
                <a:lnTo>
                  <a:pt x="18" y="990"/>
                </a:lnTo>
                <a:lnTo>
                  <a:pt x="12" y="972"/>
                </a:lnTo>
                <a:lnTo>
                  <a:pt x="18" y="954"/>
                </a:lnTo>
                <a:lnTo>
                  <a:pt x="18" y="948"/>
                </a:lnTo>
                <a:lnTo>
                  <a:pt x="24" y="948"/>
                </a:lnTo>
                <a:lnTo>
                  <a:pt x="24" y="930"/>
                </a:lnTo>
                <a:lnTo>
                  <a:pt x="30" y="930"/>
                </a:lnTo>
                <a:lnTo>
                  <a:pt x="36" y="918"/>
                </a:lnTo>
                <a:lnTo>
                  <a:pt x="42" y="918"/>
                </a:lnTo>
                <a:lnTo>
                  <a:pt x="48" y="918"/>
                </a:lnTo>
                <a:lnTo>
                  <a:pt x="78" y="912"/>
                </a:lnTo>
                <a:lnTo>
                  <a:pt x="90" y="894"/>
                </a:lnTo>
                <a:lnTo>
                  <a:pt x="96" y="894"/>
                </a:lnTo>
                <a:lnTo>
                  <a:pt x="102" y="888"/>
                </a:lnTo>
                <a:lnTo>
                  <a:pt x="102" y="882"/>
                </a:lnTo>
                <a:lnTo>
                  <a:pt x="114" y="870"/>
                </a:lnTo>
                <a:lnTo>
                  <a:pt x="120" y="864"/>
                </a:lnTo>
                <a:lnTo>
                  <a:pt x="120" y="852"/>
                </a:lnTo>
                <a:lnTo>
                  <a:pt x="120" y="846"/>
                </a:lnTo>
                <a:lnTo>
                  <a:pt x="126" y="846"/>
                </a:lnTo>
                <a:lnTo>
                  <a:pt x="126" y="840"/>
                </a:lnTo>
                <a:lnTo>
                  <a:pt x="132" y="840"/>
                </a:lnTo>
                <a:lnTo>
                  <a:pt x="138" y="840"/>
                </a:lnTo>
                <a:lnTo>
                  <a:pt x="138" y="834"/>
                </a:lnTo>
                <a:lnTo>
                  <a:pt x="144" y="834"/>
                </a:lnTo>
                <a:lnTo>
                  <a:pt x="144" y="828"/>
                </a:lnTo>
                <a:lnTo>
                  <a:pt x="150" y="828"/>
                </a:lnTo>
                <a:lnTo>
                  <a:pt x="156" y="822"/>
                </a:lnTo>
                <a:lnTo>
                  <a:pt x="162" y="816"/>
                </a:lnTo>
                <a:lnTo>
                  <a:pt x="162" y="822"/>
                </a:lnTo>
                <a:lnTo>
                  <a:pt x="162" y="816"/>
                </a:lnTo>
                <a:lnTo>
                  <a:pt x="162" y="810"/>
                </a:lnTo>
                <a:lnTo>
                  <a:pt x="168" y="810"/>
                </a:lnTo>
                <a:lnTo>
                  <a:pt x="174" y="804"/>
                </a:lnTo>
                <a:lnTo>
                  <a:pt x="180" y="798"/>
                </a:lnTo>
                <a:lnTo>
                  <a:pt x="180" y="786"/>
                </a:lnTo>
                <a:lnTo>
                  <a:pt x="186" y="786"/>
                </a:lnTo>
                <a:lnTo>
                  <a:pt x="192" y="786"/>
                </a:lnTo>
                <a:lnTo>
                  <a:pt x="192" y="780"/>
                </a:lnTo>
                <a:lnTo>
                  <a:pt x="198" y="780"/>
                </a:lnTo>
                <a:lnTo>
                  <a:pt x="204" y="774"/>
                </a:lnTo>
                <a:lnTo>
                  <a:pt x="210" y="774"/>
                </a:lnTo>
                <a:lnTo>
                  <a:pt x="216" y="768"/>
                </a:lnTo>
                <a:lnTo>
                  <a:pt x="222" y="762"/>
                </a:lnTo>
                <a:lnTo>
                  <a:pt x="228" y="762"/>
                </a:lnTo>
                <a:lnTo>
                  <a:pt x="228" y="768"/>
                </a:lnTo>
                <a:lnTo>
                  <a:pt x="234" y="768"/>
                </a:lnTo>
                <a:lnTo>
                  <a:pt x="240" y="762"/>
                </a:lnTo>
                <a:lnTo>
                  <a:pt x="252" y="762"/>
                </a:lnTo>
                <a:lnTo>
                  <a:pt x="264" y="768"/>
                </a:lnTo>
                <a:lnTo>
                  <a:pt x="294" y="756"/>
                </a:lnTo>
                <a:lnTo>
                  <a:pt x="294" y="750"/>
                </a:lnTo>
                <a:lnTo>
                  <a:pt x="300" y="750"/>
                </a:lnTo>
                <a:lnTo>
                  <a:pt x="306" y="744"/>
                </a:lnTo>
                <a:lnTo>
                  <a:pt x="342" y="750"/>
                </a:lnTo>
                <a:lnTo>
                  <a:pt x="348" y="750"/>
                </a:lnTo>
                <a:lnTo>
                  <a:pt x="348" y="744"/>
                </a:lnTo>
                <a:lnTo>
                  <a:pt x="354" y="744"/>
                </a:lnTo>
                <a:lnTo>
                  <a:pt x="360" y="744"/>
                </a:lnTo>
                <a:lnTo>
                  <a:pt x="360" y="750"/>
                </a:lnTo>
                <a:lnTo>
                  <a:pt x="366" y="750"/>
                </a:lnTo>
                <a:lnTo>
                  <a:pt x="366" y="744"/>
                </a:lnTo>
                <a:lnTo>
                  <a:pt x="366" y="738"/>
                </a:lnTo>
                <a:lnTo>
                  <a:pt x="372" y="744"/>
                </a:lnTo>
                <a:lnTo>
                  <a:pt x="378" y="744"/>
                </a:lnTo>
                <a:lnTo>
                  <a:pt x="384" y="750"/>
                </a:lnTo>
                <a:lnTo>
                  <a:pt x="444" y="774"/>
                </a:lnTo>
                <a:lnTo>
                  <a:pt x="450" y="774"/>
                </a:lnTo>
                <a:lnTo>
                  <a:pt x="456" y="768"/>
                </a:lnTo>
                <a:lnTo>
                  <a:pt x="462" y="768"/>
                </a:lnTo>
                <a:lnTo>
                  <a:pt x="462" y="762"/>
                </a:lnTo>
                <a:lnTo>
                  <a:pt x="468" y="762"/>
                </a:lnTo>
                <a:lnTo>
                  <a:pt x="474" y="756"/>
                </a:lnTo>
                <a:lnTo>
                  <a:pt x="480" y="750"/>
                </a:lnTo>
                <a:lnTo>
                  <a:pt x="516" y="756"/>
                </a:lnTo>
                <a:lnTo>
                  <a:pt x="522" y="756"/>
                </a:lnTo>
                <a:lnTo>
                  <a:pt x="522" y="762"/>
                </a:lnTo>
                <a:lnTo>
                  <a:pt x="522" y="768"/>
                </a:lnTo>
                <a:lnTo>
                  <a:pt x="522" y="774"/>
                </a:lnTo>
                <a:lnTo>
                  <a:pt x="528" y="780"/>
                </a:lnTo>
                <a:lnTo>
                  <a:pt x="540" y="780"/>
                </a:lnTo>
                <a:lnTo>
                  <a:pt x="540" y="804"/>
                </a:lnTo>
                <a:lnTo>
                  <a:pt x="540" y="810"/>
                </a:lnTo>
                <a:lnTo>
                  <a:pt x="546" y="810"/>
                </a:lnTo>
                <a:lnTo>
                  <a:pt x="552" y="810"/>
                </a:lnTo>
                <a:lnTo>
                  <a:pt x="558" y="810"/>
                </a:lnTo>
                <a:lnTo>
                  <a:pt x="564" y="810"/>
                </a:lnTo>
                <a:lnTo>
                  <a:pt x="570" y="810"/>
                </a:lnTo>
                <a:lnTo>
                  <a:pt x="576" y="810"/>
                </a:lnTo>
                <a:lnTo>
                  <a:pt x="576" y="816"/>
                </a:lnTo>
                <a:lnTo>
                  <a:pt x="588" y="816"/>
                </a:lnTo>
                <a:lnTo>
                  <a:pt x="594" y="816"/>
                </a:lnTo>
                <a:lnTo>
                  <a:pt x="600" y="822"/>
                </a:lnTo>
                <a:lnTo>
                  <a:pt x="606" y="816"/>
                </a:lnTo>
                <a:lnTo>
                  <a:pt x="612" y="816"/>
                </a:lnTo>
                <a:lnTo>
                  <a:pt x="612" y="810"/>
                </a:lnTo>
                <a:lnTo>
                  <a:pt x="624" y="810"/>
                </a:lnTo>
                <a:lnTo>
                  <a:pt x="624" y="804"/>
                </a:lnTo>
                <a:lnTo>
                  <a:pt x="630" y="798"/>
                </a:lnTo>
                <a:lnTo>
                  <a:pt x="636" y="798"/>
                </a:lnTo>
                <a:lnTo>
                  <a:pt x="636" y="804"/>
                </a:lnTo>
                <a:lnTo>
                  <a:pt x="642" y="804"/>
                </a:lnTo>
                <a:lnTo>
                  <a:pt x="648" y="804"/>
                </a:lnTo>
                <a:lnTo>
                  <a:pt x="654" y="804"/>
                </a:lnTo>
                <a:lnTo>
                  <a:pt x="660" y="804"/>
                </a:lnTo>
                <a:lnTo>
                  <a:pt x="678" y="798"/>
                </a:lnTo>
                <a:lnTo>
                  <a:pt x="714" y="786"/>
                </a:lnTo>
                <a:lnTo>
                  <a:pt x="714" y="792"/>
                </a:lnTo>
                <a:lnTo>
                  <a:pt x="714" y="798"/>
                </a:lnTo>
                <a:lnTo>
                  <a:pt x="714" y="804"/>
                </a:lnTo>
                <a:lnTo>
                  <a:pt x="720" y="804"/>
                </a:lnTo>
                <a:lnTo>
                  <a:pt x="720" y="810"/>
                </a:lnTo>
                <a:lnTo>
                  <a:pt x="720" y="816"/>
                </a:lnTo>
                <a:lnTo>
                  <a:pt x="726" y="822"/>
                </a:lnTo>
                <a:lnTo>
                  <a:pt x="732" y="828"/>
                </a:lnTo>
                <a:lnTo>
                  <a:pt x="732" y="834"/>
                </a:lnTo>
                <a:lnTo>
                  <a:pt x="732" y="846"/>
                </a:lnTo>
                <a:lnTo>
                  <a:pt x="732" y="858"/>
                </a:lnTo>
                <a:lnTo>
                  <a:pt x="738" y="858"/>
                </a:lnTo>
                <a:lnTo>
                  <a:pt x="732" y="864"/>
                </a:lnTo>
                <a:lnTo>
                  <a:pt x="732" y="870"/>
                </a:lnTo>
                <a:lnTo>
                  <a:pt x="726" y="870"/>
                </a:lnTo>
                <a:lnTo>
                  <a:pt x="726" y="876"/>
                </a:lnTo>
                <a:lnTo>
                  <a:pt x="720" y="882"/>
                </a:lnTo>
                <a:lnTo>
                  <a:pt x="714" y="876"/>
                </a:lnTo>
                <a:lnTo>
                  <a:pt x="708" y="870"/>
                </a:lnTo>
                <a:lnTo>
                  <a:pt x="702" y="870"/>
                </a:lnTo>
                <a:lnTo>
                  <a:pt x="690" y="882"/>
                </a:lnTo>
                <a:lnTo>
                  <a:pt x="690" y="912"/>
                </a:lnTo>
                <a:lnTo>
                  <a:pt x="696" y="936"/>
                </a:lnTo>
                <a:lnTo>
                  <a:pt x="702" y="936"/>
                </a:lnTo>
                <a:lnTo>
                  <a:pt x="702" y="930"/>
                </a:lnTo>
                <a:lnTo>
                  <a:pt x="708" y="930"/>
                </a:lnTo>
                <a:lnTo>
                  <a:pt x="708" y="924"/>
                </a:lnTo>
                <a:lnTo>
                  <a:pt x="708" y="918"/>
                </a:lnTo>
                <a:lnTo>
                  <a:pt x="714" y="918"/>
                </a:lnTo>
                <a:lnTo>
                  <a:pt x="720" y="954"/>
                </a:lnTo>
                <a:lnTo>
                  <a:pt x="726" y="966"/>
                </a:lnTo>
                <a:lnTo>
                  <a:pt x="744" y="966"/>
                </a:lnTo>
                <a:lnTo>
                  <a:pt x="756" y="972"/>
                </a:lnTo>
                <a:lnTo>
                  <a:pt x="792" y="990"/>
                </a:lnTo>
                <a:lnTo>
                  <a:pt x="828" y="978"/>
                </a:lnTo>
                <a:lnTo>
                  <a:pt x="834" y="978"/>
                </a:lnTo>
                <a:lnTo>
                  <a:pt x="840" y="978"/>
                </a:lnTo>
                <a:lnTo>
                  <a:pt x="840" y="984"/>
                </a:lnTo>
                <a:lnTo>
                  <a:pt x="846" y="984"/>
                </a:lnTo>
                <a:lnTo>
                  <a:pt x="858" y="972"/>
                </a:lnTo>
                <a:lnTo>
                  <a:pt x="882" y="972"/>
                </a:lnTo>
                <a:lnTo>
                  <a:pt x="888" y="984"/>
                </a:lnTo>
                <a:lnTo>
                  <a:pt x="900" y="990"/>
                </a:lnTo>
                <a:lnTo>
                  <a:pt x="924" y="996"/>
                </a:lnTo>
                <a:lnTo>
                  <a:pt x="930" y="990"/>
                </a:lnTo>
                <a:lnTo>
                  <a:pt x="930" y="984"/>
                </a:lnTo>
                <a:lnTo>
                  <a:pt x="924" y="978"/>
                </a:lnTo>
                <a:lnTo>
                  <a:pt x="906" y="972"/>
                </a:lnTo>
                <a:lnTo>
                  <a:pt x="900" y="966"/>
                </a:lnTo>
                <a:lnTo>
                  <a:pt x="900" y="960"/>
                </a:lnTo>
                <a:lnTo>
                  <a:pt x="900" y="954"/>
                </a:lnTo>
                <a:lnTo>
                  <a:pt x="900" y="948"/>
                </a:lnTo>
                <a:lnTo>
                  <a:pt x="912" y="936"/>
                </a:lnTo>
                <a:lnTo>
                  <a:pt x="912" y="924"/>
                </a:lnTo>
                <a:lnTo>
                  <a:pt x="918" y="924"/>
                </a:lnTo>
                <a:lnTo>
                  <a:pt x="918" y="918"/>
                </a:lnTo>
                <a:lnTo>
                  <a:pt x="936" y="906"/>
                </a:lnTo>
                <a:lnTo>
                  <a:pt x="942" y="906"/>
                </a:lnTo>
                <a:lnTo>
                  <a:pt x="948" y="906"/>
                </a:lnTo>
                <a:lnTo>
                  <a:pt x="954" y="906"/>
                </a:lnTo>
                <a:lnTo>
                  <a:pt x="960" y="906"/>
                </a:lnTo>
                <a:lnTo>
                  <a:pt x="966" y="912"/>
                </a:lnTo>
                <a:lnTo>
                  <a:pt x="972" y="906"/>
                </a:lnTo>
                <a:lnTo>
                  <a:pt x="978" y="906"/>
                </a:lnTo>
                <a:lnTo>
                  <a:pt x="984" y="900"/>
                </a:lnTo>
                <a:lnTo>
                  <a:pt x="984" y="894"/>
                </a:lnTo>
                <a:lnTo>
                  <a:pt x="990" y="894"/>
                </a:lnTo>
                <a:lnTo>
                  <a:pt x="996" y="888"/>
                </a:lnTo>
                <a:lnTo>
                  <a:pt x="1002" y="888"/>
                </a:lnTo>
                <a:lnTo>
                  <a:pt x="1008" y="882"/>
                </a:lnTo>
                <a:lnTo>
                  <a:pt x="1014" y="882"/>
                </a:lnTo>
                <a:lnTo>
                  <a:pt x="1020" y="882"/>
                </a:lnTo>
                <a:lnTo>
                  <a:pt x="1020" y="888"/>
                </a:lnTo>
                <a:lnTo>
                  <a:pt x="1026" y="882"/>
                </a:lnTo>
                <a:lnTo>
                  <a:pt x="1026" y="876"/>
                </a:lnTo>
                <a:lnTo>
                  <a:pt x="1026" y="870"/>
                </a:lnTo>
                <a:lnTo>
                  <a:pt x="1032" y="864"/>
                </a:lnTo>
                <a:lnTo>
                  <a:pt x="1038" y="858"/>
                </a:lnTo>
                <a:lnTo>
                  <a:pt x="1038" y="852"/>
                </a:lnTo>
                <a:lnTo>
                  <a:pt x="1044" y="852"/>
                </a:lnTo>
                <a:lnTo>
                  <a:pt x="1038" y="846"/>
                </a:lnTo>
                <a:lnTo>
                  <a:pt x="1038" y="840"/>
                </a:lnTo>
                <a:lnTo>
                  <a:pt x="1032" y="840"/>
                </a:lnTo>
                <a:lnTo>
                  <a:pt x="1026" y="840"/>
                </a:lnTo>
                <a:lnTo>
                  <a:pt x="1020" y="840"/>
                </a:lnTo>
                <a:lnTo>
                  <a:pt x="1014" y="846"/>
                </a:lnTo>
                <a:lnTo>
                  <a:pt x="1008" y="846"/>
                </a:lnTo>
                <a:lnTo>
                  <a:pt x="1002" y="840"/>
                </a:lnTo>
                <a:lnTo>
                  <a:pt x="996" y="840"/>
                </a:lnTo>
                <a:lnTo>
                  <a:pt x="990" y="834"/>
                </a:lnTo>
                <a:lnTo>
                  <a:pt x="984" y="834"/>
                </a:lnTo>
                <a:lnTo>
                  <a:pt x="978" y="834"/>
                </a:lnTo>
                <a:lnTo>
                  <a:pt x="972" y="834"/>
                </a:lnTo>
                <a:lnTo>
                  <a:pt x="966" y="834"/>
                </a:lnTo>
                <a:lnTo>
                  <a:pt x="966" y="828"/>
                </a:lnTo>
                <a:lnTo>
                  <a:pt x="960" y="828"/>
                </a:lnTo>
                <a:lnTo>
                  <a:pt x="954" y="828"/>
                </a:lnTo>
                <a:lnTo>
                  <a:pt x="942" y="828"/>
                </a:lnTo>
                <a:lnTo>
                  <a:pt x="936" y="828"/>
                </a:lnTo>
                <a:lnTo>
                  <a:pt x="930" y="828"/>
                </a:lnTo>
                <a:lnTo>
                  <a:pt x="918" y="828"/>
                </a:lnTo>
                <a:lnTo>
                  <a:pt x="918" y="822"/>
                </a:lnTo>
                <a:lnTo>
                  <a:pt x="912" y="828"/>
                </a:lnTo>
                <a:lnTo>
                  <a:pt x="912" y="822"/>
                </a:lnTo>
                <a:lnTo>
                  <a:pt x="906" y="816"/>
                </a:lnTo>
                <a:lnTo>
                  <a:pt x="900" y="816"/>
                </a:lnTo>
                <a:lnTo>
                  <a:pt x="894" y="816"/>
                </a:lnTo>
                <a:lnTo>
                  <a:pt x="888" y="816"/>
                </a:lnTo>
                <a:lnTo>
                  <a:pt x="882" y="816"/>
                </a:lnTo>
                <a:lnTo>
                  <a:pt x="882" y="810"/>
                </a:lnTo>
                <a:lnTo>
                  <a:pt x="876" y="804"/>
                </a:lnTo>
                <a:lnTo>
                  <a:pt x="870" y="804"/>
                </a:lnTo>
                <a:lnTo>
                  <a:pt x="864" y="798"/>
                </a:lnTo>
                <a:lnTo>
                  <a:pt x="858" y="798"/>
                </a:lnTo>
                <a:lnTo>
                  <a:pt x="858" y="804"/>
                </a:lnTo>
                <a:lnTo>
                  <a:pt x="852" y="804"/>
                </a:lnTo>
                <a:lnTo>
                  <a:pt x="846" y="804"/>
                </a:lnTo>
                <a:lnTo>
                  <a:pt x="846" y="798"/>
                </a:lnTo>
                <a:lnTo>
                  <a:pt x="840" y="804"/>
                </a:lnTo>
                <a:lnTo>
                  <a:pt x="834" y="804"/>
                </a:lnTo>
                <a:lnTo>
                  <a:pt x="828" y="804"/>
                </a:lnTo>
                <a:lnTo>
                  <a:pt x="828" y="810"/>
                </a:lnTo>
                <a:lnTo>
                  <a:pt x="822" y="810"/>
                </a:lnTo>
                <a:lnTo>
                  <a:pt x="810" y="804"/>
                </a:lnTo>
                <a:lnTo>
                  <a:pt x="810" y="798"/>
                </a:lnTo>
                <a:lnTo>
                  <a:pt x="780" y="798"/>
                </a:lnTo>
                <a:lnTo>
                  <a:pt x="756" y="774"/>
                </a:lnTo>
                <a:lnTo>
                  <a:pt x="750" y="768"/>
                </a:lnTo>
                <a:lnTo>
                  <a:pt x="750" y="744"/>
                </a:lnTo>
                <a:lnTo>
                  <a:pt x="732" y="738"/>
                </a:lnTo>
                <a:lnTo>
                  <a:pt x="732" y="720"/>
                </a:lnTo>
                <a:lnTo>
                  <a:pt x="714" y="690"/>
                </a:lnTo>
                <a:lnTo>
                  <a:pt x="702" y="684"/>
                </a:lnTo>
                <a:lnTo>
                  <a:pt x="696" y="684"/>
                </a:lnTo>
                <a:lnTo>
                  <a:pt x="696" y="666"/>
                </a:lnTo>
                <a:lnTo>
                  <a:pt x="690" y="666"/>
                </a:lnTo>
                <a:lnTo>
                  <a:pt x="678" y="672"/>
                </a:lnTo>
                <a:lnTo>
                  <a:pt x="678" y="654"/>
                </a:lnTo>
                <a:lnTo>
                  <a:pt x="684" y="630"/>
                </a:lnTo>
                <a:lnTo>
                  <a:pt x="690" y="618"/>
                </a:lnTo>
                <a:lnTo>
                  <a:pt x="696" y="612"/>
                </a:lnTo>
                <a:lnTo>
                  <a:pt x="696" y="588"/>
                </a:lnTo>
                <a:lnTo>
                  <a:pt x="690" y="576"/>
                </a:lnTo>
                <a:lnTo>
                  <a:pt x="696" y="552"/>
                </a:lnTo>
                <a:lnTo>
                  <a:pt x="684" y="522"/>
                </a:lnTo>
                <a:lnTo>
                  <a:pt x="672" y="504"/>
                </a:lnTo>
                <a:lnTo>
                  <a:pt x="654" y="504"/>
                </a:lnTo>
                <a:lnTo>
                  <a:pt x="642" y="504"/>
                </a:lnTo>
                <a:lnTo>
                  <a:pt x="624" y="510"/>
                </a:lnTo>
                <a:lnTo>
                  <a:pt x="612" y="516"/>
                </a:lnTo>
                <a:lnTo>
                  <a:pt x="594" y="516"/>
                </a:lnTo>
                <a:lnTo>
                  <a:pt x="588" y="516"/>
                </a:lnTo>
                <a:lnTo>
                  <a:pt x="588" y="522"/>
                </a:lnTo>
                <a:lnTo>
                  <a:pt x="582" y="516"/>
                </a:lnTo>
                <a:lnTo>
                  <a:pt x="588" y="510"/>
                </a:lnTo>
                <a:lnTo>
                  <a:pt x="582" y="510"/>
                </a:lnTo>
                <a:lnTo>
                  <a:pt x="582" y="504"/>
                </a:lnTo>
                <a:lnTo>
                  <a:pt x="576" y="498"/>
                </a:lnTo>
                <a:lnTo>
                  <a:pt x="570" y="498"/>
                </a:lnTo>
                <a:lnTo>
                  <a:pt x="570" y="492"/>
                </a:lnTo>
                <a:lnTo>
                  <a:pt x="564" y="492"/>
                </a:lnTo>
                <a:lnTo>
                  <a:pt x="570" y="486"/>
                </a:lnTo>
                <a:lnTo>
                  <a:pt x="564" y="486"/>
                </a:lnTo>
                <a:lnTo>
                  <a:pt x="564" y="480"/>
                </a:lnTo>
                <a:lnTo>
                  <a:pt x="564" y="474"/>
                </a:lnTo>
                <a:lnTo>
                  <a:pt x="558" y="468"/>
                </a:lnTo>
                <a:lnTo>
                  <a:pt x="564" y="468"/>
                </a:lnTo>
                <a:lnTo>
                  <a:pt x="564" y="462"/>
                </a:lnTo>
                <a:lnTo>
                  <a:pt x="570" y="462"/>
                </a:lnTo>
                <a:lnTo>
                  <a:pt x="570" y="456"/>
                </a:lnTo>
                <a:lnTo>
                  <a:pt x="570" y="450"/>
                </a:lnTo>
                <a:lnTo>
                  <a:pt x="576" y="450"/>
                </a:lnTo>
                <a:lnTo>
                  <a:pt x="576" y="444"/>
                </a:lnTo>
                <a:lnTo>
                  <a:pt x="582" y="438"/>
                </a:lnTo>
                <a:lnTo>
                  <a:pt x="588" y="438"/>
                </a:lnTo>
                <a:lnTo>
                  <a:pt x="588" y="444"/>
                </a:lnTo>
                <a:lnTo>
                  <a:pt x="594" y="438"/>
                </a:lnTo>
                <a:lnTo>
                  <a:pt x="594" y="432"/>
                </a:lnTo>
                <a:lnTo>
                  <a:pt x="600" y="432"/>
                </a:lnTo>
                <a:lnTo>
                  <a:pt x="600" y="426"/>
                </a:lnTo>
                <a:lnTo>
                  <a:pt x="600" y="420"/>
                </a:lnTo>
                <a:lnTo>
                  <a:pt x="606" y="420"/>
                </a:lnTo>
                <a:lnTo>
                  <a:pt x="600" y="420"/>
                </a:lnTo>
                <a:lnTo>
                  <a:pt x="600" y="414"/>
                </a:lnTo>
                <a:lnTo>
                  <a:pt x="606" y="408"/>
                </a:lnTo>
                <a:lnTo>
                  <a:pt x="612" y="408"/>
                </a:lnTo>
                <a:lnTo>
                  <a:pt x="612" y="414"/>
                </a:lnTo>
                <a:lnTo>
                  <a:pt x="618" y="414"/>
                </a:lnTo>
                <a:lnTo>
                  <a:pt x="624" y="414"/>
                </a:lnTo>
                <a:lnTo>
                  <a:pt x="630" y="414"/>
                </a:lnTo>
                <a:lnTo>
                  <a:pt x="636" y="414"/>
                </a:lnTo>
                <a:lnTo>
                  <a:pt x="642" y="408"/>
                </a:lnTo>
                <a:lnTo>
                  <a:pt x="648" y="408"/>
                </a:lnTo>
                <a:lnTo>
                  <a:pt x="660" y="408"/>
                </a:lnTo>
                <a:lnTo>
                  <a:pt x="666" y="402"/>
                </a:lnTo>
                <a:lnTo>
                  <a:pt x="672" y="402"/>
                </a:lnTo>
                <a:lnTo>
                  <a:pt x="684" y="396"/>
                </a:lnTo>
                <a:lnTo>
                  <a:pt x="690" y="396"/>
                </a:lnTo>
                <a:lnTo>
                  <a:pt x="696" y="396"/>
                </a:lnTo>
                <a:lnTo>
                  <a:pt x="702" y="396"/>
                </a:lnTo>
                <a:lnTo>
                  <a:pt x="708" y="396"/>
                </a:lnTo>
                <a:lnTo>
                  <a:pt x="714" y="390"/>
                </a:lnTo>
                <a:lnTo>
                  <a:pt x="714" y="384"/>
                </a:lnTo>
                <a:lnTo>
                  <a:pt x="720" y="384"/>
                </a:lnTo>
                <a:lnTo>
                  <a:pt x="726" y="384"/>
                </a:lnTo>
                <a:lnTo>
                  <a:pt x="732" y="384"/>
                </a:lnTo>
                <a:lnTo>
                  <a:pt x="738" y="378"/>
                </a:lnTo>
                <a:lnTo>
                  <a:pt x="744" y="378"/>
                </a:lnTo>
                <a:lnTo>
                  <a:pt x="750" y="372"/>
                </a:lnTo>
                <a:lnTo>
                  <a:pt x="756" y="372"/>
                </a:lnTo>
                <a:lnTo>
                  <a:pt x="762" y="366"/>
                </a:lnTo>
                <a:lnTo>
                  <a:pt x="768" y="366"/>
                </a:lnTo>
                <a:lnTo>
                  <a:pt x="774" y="366"/>
                </a:lnTo>
                <a:lnTo>
                  <a:pt x="774" y="360"/>
                </a:lnTo>
                <a:lnTo>
                  <a:pt x="780" y="366"/>
                </a:lnTo>
                <a:lnTo>
                  <a:pt x="786" y="366"/>
                </a:lnTo>
                <a:lnTo>
                  <a:pt x="786" y="360"/>
                </a:lnTo>
                <a:lnTo>
                  <a:pt x="792" y="354"/>
                </a:lnTo>
                <a:lnTo>
                  <a:pt x="786" y="354"/>
                </a:lnTo>
                <a:lnTo>
                  <a:pt x="792" y="348"/>
                </a:lnTo>
                <a:lnTo>
                  <a:pt x="798" y="348"/>
                </a:lnTo>
                <a:lnTo>
                  <a:pt x="804" y="348"/>
                </a:lnTo>
                <a:lnTo>
                  <a:pt x="810" y="342"/>
                </a:lnTo>
                <a:lnTo>
                  <a:pt x="816" y="342"/>
                </a:lnTo>
                <a:lnTo>
                  <a:pt x="822" y="342"/>
                </a:lnTo>
                <a:lnTo>
                  <a:pt x="822" y="336"/>
                </a:lnTo>
                <a:lnTo>
                  <a:pt x="828" y="336"/>
                </a:lnTo>
                <a:lnTo>
                  <a:pt x="834" y="336"/>
                </a:lnTo>
                <a:lnTo>
                  <a:pt x="840" y="336"/>
                </a:lnTo>
                <a:lnTo>
                  <a:pt x="846" y="330"/>
                </a:lnTo>
                <a:lnTo>
                  <a:pt x="852" y="330"/>
                </a:lnTo>
                <a:lnTo>
                  <a:pt x="858" y="330"/>
                </a:lnTo>
                <a:lnTo>
                  <a:pt x="864" y="324"/>
                </a:lnTo>
                <a:lnTo>
                  <a:pt x="864" y="318"/>
                </a:lnTo>
                <a:lnTo>
                  <a:pt x="870" y="318"/>
                </a:lnTo>
                <a:lnTo>
                  <a:pt x="870" y="312"/>
                </a:lnTo>
                <a:lnTo>
                  <a:pt x="876" y="312"/>
                </a:lnTo>
                <a:lnTo>
                  <a:pt x="882" y="312"/>
                </a:lnTo>
                <a:lnTo>
                  <a:pt x="882" y="318"/>
                </a:lnTo>
                <a:lnTo>
                  <a:pt x="888" y="312"/>
                </a:lnTo>
                <a:lnTo>
                  <a:pt x="894" y="306"/>
                </a:lnTo>
                <a:lnTo>
                  <a:pt x="900" y="306"/>
                </a:lnTo>
                <a:lnTo>
                  <a:pt x="906" y="306"/>
                </a:lnTo>
                <a:lnTo>
                  <a:pt x="912" y="300"/>
                </a:lnTo>
                <a:lnTo>
                  <a:pt x="906" y="294"/>
                </a:lnTo>
                <a:lnTo>
                  <a:pt x="912" y="276"/>
                </a:lnTo>
                <a:lnTo>
                  <a:pt x="912" y="252"/>
                </a:lnTo>
                <a:lnTo>
                  <a:pt x="906" y="234"/>
                </a:lnTo>
                <a:lnTo>
                  <a:pt x="912" y="228"/>
                </a:lnTo>
                <a:lnTo>
                  <a:pt x="912" y="216"/>
                </a:lnTo>
                <a:lnTo>
                  <a:pt x="918" y="192"/>
                </a:lnTo>
                <a:lnTo>
                  <a:pt x="918" y="186"/>
                </a:lnTo>
                <a:lnTo>
                  <a:pt x="924" y="192"/>
                </a:lnTo>
                <a:lnTo>
                  <a:pt x="930" y="192"/>
                </a:lnTo>
                <a:lnTo>
                  <a:pt x="930" y="186"/>
                </a:lnTo>
                <a:lnTo>
                  <a:pt x="936" y="186"/>
                </a:lnTo>
                <a:lnTo>
                  <a:pt x="930" y="180"/>
                </a:lnTo>
                <a:lnTo>
                  <a:pt x="930" y="174"/>
                </a:lnTo>
                <a:lnTo>
                  <a:pt x="936" y="156"/>
                </a:lnTo>
                <a:lnTo>
                  <a:pt x="930" y="156"/>
                </a:lnTo>
                <a:lnTo>
                  <a:pt x="924" y="150"/>
                </a:lnTo>
                <a:lnTo>
                  <a:pt x="942" y="78"/>
                </a:lnTo>
                <a:lnTo>
                  <a:pt x="948" y="78"/>
                </a:lnTo>
                <a:lnTo>
                  <a:pt x="954" y="66"/>
                </a:lnTo>
                <a:lnTo>
                  <a:pt x="954" y="72"/>
                </a:lnTo>
                <a:lnTo>
                  <a:pt x="954" y="66"/>
                </a:lnTo>
                <a:lnTo>
                  <a:pt x="960" y="66"/>
                </a:lnTo>
                <a:lnTo>
                  <a:pt x="966" y="66"/>
                </a:lnTo>
                <a:lnTo>
                  <a:pt x="972" y="66"/>
                </a:lnTo>
                <a:lnTo>
                  <a:pt x="972" y="60"/>
                </a:lnTo>
                <a:lnTo>
                  <a:pt x="978" y="54"/>
                </a:lnTo>
                <a:lnTo>
                  <a:pt x="984" y="54"/>
                </a:lnTo>
                <a:lnTo>
                  <a:pt x="990" y="54"/>
                </a:lnTo>
                <a:lnTo>
                  <a:pt x="996" y="48"/>
                </a:lnTo>
                <a:lnTo>
                  <a:pt x="1002" y="48"/>
                </a:lnTo>
                <a:lnTo>
                  <a:pt x="1032" y="48"/>
                </a:lnTo>
                <a:lnTo>
                  <a:pt x="1062" y="48"/>
                </a:lnTo>
                <a:lnTo>
                  <a:pt x="1068" y="78"/>
                </a:lnTo>
                <a:lnTo>
                  <a:pt x="1086" y="78"/>
                </a:lnTo>
                <a:lnTo>
                  <a:pt x="1092" y="66"/>
                </a:lnTo>
                <a:lnTo>
                  <a:pt x="1092" y="60"/>
                </a:lnTo>
                <a:lnTo>
                  <a:pt x="1092" y="54"/>
                </a:lnTo>
                <a:lnTo>
                  <a:pt x="1092" y="48"/>
                </a:lnTo>
                <a:lnTo>
                  <a:pt x="1098" y="48"/>
                </a:lnTo>
                <a:lnTo>
                  <a:pt x="1104" y="48"/>
                </a:lnTo>
                <a:lnTo>
                  <a:pt x="1110" y="48"/>
                </a:lnTo>
                <a:lnTo>
                  <a:pt x="1110" y="42"/>
                </a:lnTo>
                <a:lnTo>
                  <a:pt x="1110" y="36"/>
                </a:lnTo>
                <a:lnTo>
                  <a:pt x="1116" y="36"/>
                </a:lnTo>
                <a:lnTo>
                  <a:pt x="1116" y="30"/>
                </a:lnTo>
                <a:lnTo>
                  <a:pt x="1122" y="30"/>
                </a:lnTo>
                <a:lnTo>
                  <a:pt x="1128" y="30"/>
                </a:lnTo>
                <a:lnTo>
                  <a:pt x="1134" y="30"/>
                </a:lnTo>
                <a:lnTo>
                  <a:pt x="1140" y="24"/>
                </a:lnTo>
                <a:lnTo>
                  <a:pt x="1152" y="18"/>
                </a:lnTo>
                <a:lnTo>
                  <a:pt x="1158" y="18"/>
                </a:lnTo>
                <a:lnTo>
                  <a:pt x="1152" y="12"/>
                </a:lnTo>
                <a:lnTo>
                  <a:pt x="1152" y="6"/>
                </a:lnTo>
                <a:lnTo>
                  <a:pt x="1158" y="6"/>
                </a:lnTo>
                <a:lnTo>
                  <a:pt x="1164" y="6"/>
                </a:lnTo>
                <a:lnTo>
                  <a:pt x="1164" y="12"/>
                </a:lnTo>
                <a:lnTo>
                  <a:pt x="1170" y="18"/>
                </a:lnTo>
                <a:lnTo>
                  <a:pt x="1170" y="12"/>
                </a:lnTo>
                <a:lnTo>
                  <a:pt x="1170" y="6"/>
                </a:lnTo>
                <a:lnTo>
                  <a:pt x="1176" y="6"/>
                </a:lnTo>
                <a:lnTo>
                  <a:pt x="1176" y="0"/>
                </a:lnTo>
                <a:lnTo>
                  <a:pt x="1182" y="6"/>
                </a:lnTo>
                <a:lnTo>
                  <a:pt x="1188" y="6"/>
                </a:lnTo>
                <a:lnTo>
                  <a:pt x="1188" y="0"/>
                </a:lnTo>
                <a:lnTo>
                  <a:pt x="1194" y="6"/>
                </a:lnTo>
                <a:lnTo>
                  <a:pt x="1200" y="12"/>
                </a:lnTo>
                <a:lnTo>
                  <a:pt x="1206" y="18"/>
                </a:lnTo>
                <a:lnTo>
                  <a:pt x="1212" y="18"/>
                </a:lnTo>
                <a:lnTo>
                  <a:pt x="1218" y="24"/>
                </a:lnTo>
                <a:lnTo>
                  <a:pt x="1236" y="36"/>
                </a:lnTo>
                <a:lnTo>
                  <a:pt x="1242" y="36"/>
                </a:lnTo>
                <a:lnTo>
                  <a:pt x="1248" y="42"/>
                </a:lnTo>
                <a:lnTo>
                  <a:pt x="1248" y="48"/>
                </a:lnTo>
                <a:lnTo>
                  <a:pt x="1260" y="48"/>
                </a:lnTo>
                <a:lnTo>
                  <a:pt x="1260" y="108"/>
                </a:lnTo>
                <a:lnTo>
                  <a:pt x="1266" y="168"/>
                </a:lnTo>
                <a:lnTo>
                  <a:pt x="1278" y="234"/>
                </a:lnTo>
                <a:lnTo>
                  <a:pt x="1284" y="240"/>
                </a:lnTo>
                <a:lnTo>
                  <a:pt x="1290" y="264"/>
                </a:lnTo>
                <a:lnTo>
                  <a:pt x="1296" y="288"/>
                </a:lnTo>
                <a:lnTo>
                  <a:pt x="1296" y="300"/>
                </a:lnTo>
                <a:lnTo>
                  <a:pt x="1296" y="312"/>
                </a:lnTo>
                <a:lnTo>
                  <a:pt x="1296" y="324"/>
                </a:lnTo>
                <a:lnTo>
                  <a:pt x="1296" y="354"/>
                </a:lnTo>
                <a:lnTo>
                  <a:pt x="1302" y="366"/>
                </a:lnTo>
                <a:lnTo>
                  <a:pt x="1308" y="372"/>
                </a:lnTo>
                <a:lnTo>
                  <a:pt x="1308" y="384"/>
                </a:lnTo>
                <a:lnTo>
                  <a:pt x="1314" y="390"/>
                </a:lnTo>
                <a:lnTo>
                  <a:pt x="1308" y="408"/>
                </a:lnTo>
                <a:lnTo>
                  <a:pt x="1314" y="408"/>
                </a:lnTo>
                <a:lnTo>
                  <a:pt x="1314" y="414"/>
                </a:lnTo>
                <a:lnTo>
                  <a:pt x="1308" y="420"/>
                </a:lnTo>
                <a:lnTo>
                  <a:pt x="1308" y="432"/>
                </a:lnTo>
                <a:lnTo>
                  <a:pt x="1320" y="432"/>
                </a:lnTo>
                <a:lnTo>
                  <a:pt x="1320" y="444"/>
                </a:lnTo>
                <a:lnTo>
                  <a:pt x="1332" y="444"/>
                </a:lnTo>
                <a:lnTo>
                  <a:pt x="1338" y="450"/>
                </a:lnTo>
                <a:lnTo>
                  <a:pt x="1344" y="456"/>
                </a:lnTo>
                <a:lnTo>
                  <a:pt x="1344" y="462"/>
                </a:lnTo>
                <a:lnTo>
                  <a:pt x="1344" y="474"/>
                </a:lnTo>
                <a:lnTo>
                  <a:pt x="1350" y="474"/>
                </a:lnTo>
                <a:lnTo>
                  <a:pt x="1368" y="504"/>
                </a:lnTo>
                <a:lnTo>
                  <a:pt x="1374" y="534"/>
                </a:lnTo>
                <a:lnTo>
                  <a:pt x="1380" y="558"/>
                </a:lnTo>
                <a:lnTo>
                  <a:pt x="1386" y="576"/>
                </a:lnTo>
                <a:lnTo>
                  <a:pt x="1386" y="600"/>
                </a:lnTo>
                <a:lnTo>
                  <a:pt x="1386" y="624"/>
                </a:lnTo>
                <a:lnTo>
                  <a:pt x="1386" y="648"/>
                </a:lnTo>
                <a:lnTo>
                  <a:pt x="1386" y="684"/>
                </a:lnTo>
                <a:lnTo>
                  <a:pt x="1380" y="684"/>
                </a:lnTo>
                <a:lnTo>
                  <a:pt x="1374" y="696"/>
                </a:lnTo>
                <a:lnTo>
                  <a:pt x="1368" y="702"/>
                </a:lnTo>
                <a:lnTo>
                  <a:pt x="1362" y="708"/>
                </a:lnTo>
                <a:lnTo>
                  <a:pt x="1356" y="714"/>
                </a:lnTo>
                <a:lnTo>
                  <a:pt x="1350" y="720"/>
                </a:lnTo>
                <a:lnTo>
                  <a:pt x="1338" y="720"/>
                </a:lnTo>
                <a:lnTo>
                  <a:pt x="1338" y="738"/>
                </a:lnTo>
                <a:lnTo>
                  <a:pt x="1362" y="750"/>
                </a:lnTo>
                <a:lnTo>
                  <a:pt x="1362" y="756"/>
                </a:lnTo>
                <a:lnTo>
                  <a:pt x="1374" y="756"/>
                </a:lnTo>
                <a:lnTo>
                  <a:pt x="1410" y="774"/>
                </a:lnTo>
                <a:lnTo>
                  <a:pt x="1446" y="774"/>
                </a:lnTo>
                <a:lnTo>
                  <a:pt x="1482" y="768"/>
                </a:lnTo>
                <a:lnTo>
                  <a:pt x="1500" y="774"/>
                </a:lnTo>
                <a:lnTo>
                  <a:pt x="1512" y="780"/>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20496" name="Freeform 12"/>
          <p:cNvSpPr>
            <a:spLocks/>
          </p:cNvSpPr>
          <p:nvPr/>
        </p:nvSpPr>
        <p:spPr bwMode="gray">
          <a:xfrm>
            <a:off x="5357813" y="2846388"/>
            <a:ext cx="657225" cy="912812"/>
          </a:xfrm>
          <a:custGeom>
            <a:avLst/>
            <a:gdLst>
              <a:gd name="T0" fmla="*/ 36772 w 840"/>
              <a:gd name="T1" fmla="*/ 78926 h 1134"/>
              <a:gd name="T2" fmla="*/ 32078 w 840"/>
              <a:gd name="T3" fmla="*/ 78926 h 1134"/>
              <a:gd name="T4" fmla="*/ 28948 w 840"/>
              <a:gd name="T5" fmla="*/ 78926 h 1134"/>
              <a:gd name="T6" fmla="*/ 22689 w 840"/>
              <a:gd name="T7" fmla="*/ 78120 h 1134"/>
              <a:gd name="T8" fmla="*/ 21124 w 840"/>
              <a:gd name="T9" fmla="*/ 75704 h 1134"/>
              <a:gd name="T10" fmla="*/ 20342 w 840"/>
              <a:gd name="T11" fmla="*/ 74899 h 1134"/>
              <a:gd name="T12" fmla="*/ 20342 w 840"/>
              <a:gd name="T13" fmla="*/ 66845 h 1134"/>
              <a:gd name="T14" fmla="*/ 20342 w 840"/>
              <a:gd name="T15" fmla="*/ 65234 h 1134"/>
              <a:gd name="T16" fmla="*/ 17995 w 840"/>
              <a:gd name="T17" fmla="*/ 62013 h 1134"/>
              <a:gd name="T18" fmla="*/ 14865 w 840"/>
              <a:gd name="T19" fmla="*/ 60402 h 1134"/>
              <a:gd name="T20" fmla="*/ 12518 w 840"/>
              <a:gd name="T21" fmla="*/ 57986 h 1134"/>
              <a:gd name="T22" fmla="*/ 10171 w 840"/>
              <a:gd name="T23" fmla="*/ 56375 h 1134"/>
              <a:gd name="T24" fmla="*/ 13301 w 840"/>
              <a:gd name="T25" fmla="*/ 53959 h 1134"/>
              <a:gd name="T26" fmla="*/ 14865 w 840"/>
              <a:gd name="T27" fmla="*/ 50738 h 1134"/>
              <a:gd name="T28" fmla="*/ 15648 w 840"/>
              <a:gd name="T29" fmla="*/ 47516 h 1134"/>
              <a:gd name="T30" fmla="*/ 14865 w 840"/>
              <a:gd name="T31" fmla="*/ 44295 h 1134"/>
              <a:gd name="T32" fmla="*/ 13301 w 840"/>
              <a:gd name="T33" fmla="*/ 37852 h 1134"/>
              <a:gd name="T34" fmla="*/ 6259 w 840"/>
              <a:gd name="T35" fmla="*/ 36241 h 1134"/>
              <a:gd name="T36" fmla="*/ 3130 w 840"/>
              <a:gd name="T37" fmla="*/ 31409 h 1134"/>
              <a:gd name="T38" fmla="*/ 1565 w 840"/>
              <a:gd name="T39" fmla="*/ 28188 h 1134"/>
              <a:gd name="T40" fmla="*/ 0 w 840"/>
              <a:gd name="T41" fmla="*/ 24966 h 1134"/>
              <a:gd name="T42" fmla="*/ 1565 w 840"/>
              <a:gd name="T43" fmla="*/ 21745 h 1134"/>
              <a:gd name="T44" fmla="*/ 3912 w 840"/>
              <a:gd name="T45" fmla="*/ 19329 h 1134"/>
              <a:gd name="T46" fmla="*/ 7824 w 840"/>
              <a:gd name="T47" fmla="*/ 20939 h 1134"/>
              <a:gd name="T48" fmla="*/ 5477 w 840"/>
              <a:gd name="T49" fmla="*/ 16107 h 1134"/>
              <a:gd name="T50" fmla="*/ 9389 w 840"/>
              <a:gd name="T51" fmla="*/ 9664 h 1134"/>
              <a:gd name="T52" fmla="*/ 14865 w 840"/>
              <a:gd name="T53" fmla="*/ 8054 h 1134"/>
              <a:gd name="T54" fmla="*/ 15648 w 840"/>
              <a:gd name="T55" fmla="*/ 10470 h 1134"/>
              <a:gd name="T56" fmla="*/ 17212 w 840"/>
              <a:gd name="T57" fmla="*/ 8859 h 1134"/>
              <a:gd name="T58" fmla="*/ 19560 w 840"/>
              <a:gd name="T59" fmla="*/ 5638 h 1134"/>
              <a:gd name="T60" fmla="*/ 22689 w 840"/>
              <a:gd name="T61" fmla="*/ 1611 h 1134"/>
              <a:gd name="T62" fmla="*/ 25819 w 840"/>
              <a:gd name="T63" fmla="*/ 805 h 1134"/>
              <a:gd name="T64" fmla="*/ 28948 w 840"/>
              <a:gd name="T65" fmla="*/ 1611 h 1134"/>
              <a:gd name="T66" fmla="*/ 30513 w 840"/>
              <a:gd name="T67" fmla="*/ 3221 h 1134"/>
              <a:gd name="T68" fmla="*/ 33643 w 840"/>
              <a:gd name="T69" fmla="*/ 4027 h 1134"/>
              <a:gd name="T70" fmla="*/ 35990 w 840"/>
              <a:gd name="T71" fmla="*/ 8859 h 1134"/>
              <a:gd name="T72" fmla="*/ 38337 w 840"/>
              <a:gd name="T73" fmla="*/ 9664 h 1134"/>
              <a:gd name="T74" fmla="*/ 40684 w 840"/>
              <a:gd name="T75" fmla="*/ 12080 h 1134"/>
              <a:gd name="T76" fmla="*/ 42249 w 840"/>
              <a:gd name="T77" fmla="*/ 14497 h 1134"/>
              <a:gd name="T78" fmla="*/ 43031 w 840"/>
              <a:gd name="T79" fmla="*/ 17718 h 1134"/>
              <a:gd name="T80" fmla="*/ 43814 w 840"/>
              <a:gd name="T81" fmla="*/ 20939 h 1134"/>
              <a:gd name="T82" fmla="*/ 43031 w 840"/>
              <a:gd name="T83" fmla="*/ 25772 h 1134"/>
              <a:gd name="T84" fmla="*/ 43031 w 840"/>
              <a:gd name="T85" fmla="*/ 28993 h 1134"/>
              <a:gd name="T86" fmla="*/ 42249 w 840"/>
              <a:gd name="T87" fmla="*/ 31409 h 1134"/>
              <a:gd name="T88" fmla="*/ 43814 w 840"/>
              <a:gd name="T89" fmla="*/ 31409 h 1134"/>
              <a:gd name="T90" fmla="*/ 45378 w 840"/>
              <a:gd name="T91" fmla="*/ 31409 h 1134"/>
              <a:gd name="T92" fmla="*/ 47725 w 840"/>
              <a:gd name="T93" fmla="*/ 31409 h 1134"/>
              <a:gd name="T94" fmla="*/ 46943 w 840"/>
              <a:gd name="T95" fmla="*/ 39463 h 1134"/>
              <a:gd name="T96" fmla="*/ 46161 w 840"/>
              <a:gd name="T97" fmla="*/ 42684 h 1134"/>
              <a:gd name="T98" fmla="*/ 46161 w 840"/>
              <a:gd name="T99" fmla="*/ 45100 h 1134"/>
              <a:gd name="T100" fmla="*/ 46943 w 840"/>
              <a:gd name="T101" fmla="*/ 47516 h 1134"/>
              <a:gd name="T102" fmla="*/ 50073 w 840"/>
              <a:gd name="T103" fmla="*/ 49127 h 1134"/>
              <a:gd name="T104" fmla="*/ 53985 w 840"/>
              <a:gd name="T105" fmla="*/ 50738 h 1134"/>
              <a:gd name="T106" fmla="*/ 56332 w 840"/>
              <a:gd name="T107" fmla="*/ 55570 h 1134"/>
              <a:gd name="T108" fmla="*/ 56332 w 840"/>
              <a:gd name="T109" fmla="*/ 58791 h 1134"/>
              <a:gd name="T110" fmla="*/ 56332 w 840"/>
              <a:gd name="T111" fmla="*/ 66845 h 1134"/>
              <a:gd name="T112" fmla="*/ 49290 w 840"/>
              <a:gd name="T113" fmla="*/ 70872 h 1134"/>
              <a:gd name="T114" fmla="*/ 40684 w 840"/>
              <a:gd name="T115" fmla="*/ 76509 h 11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40"/>
              <a:gd name="T175" fmla="*/ 0 h 1134"/>
              <a:gd name="T176" fmla="*/ 840 w 840"/>
              <a:gd name="T177" fmla="*/ 1134 h 11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40" h="1134">
                <a:moveTo>
                  <a:pt x="564" y="1110"/>
                </a:moveTo>
                <a:lnTo>
                  <a:pt x="564" y="1104"/>
                </a:lnTo>
                <a:lnTo>
                  <a:pt x="558" y="1104"/>
                </a:lnTo>
                <a:lnTo>
                  <a:pt x="552" y="1110"/>
                </a:lnTo>
                <a:lnTo>
                  <a:pt x="546" y="1122"/>
                </a:lnTo>
                <a:lnTo>
                  <a:pt x="540" y="1128"/>
                </a:lnTo>
                <a:lnTo>
                  <a:pt x="528" y="1128"/>
                </a:lnTo>
                <a:lnTo>
                  <a:pt x="498" y="1128"/>
                </a:lnTo>
                <a:lnTo>
                  <a:pt x="492" y="1128"/>
                </a:lnTo>
                <a:lnTo>
                  <a:pt x="486" y="1128"/>
                </a:lnTo>
                <a:lnTo>
                  <a:pt x="480" y="1128"/>
                </a:lnTo>
                <a:lnTo>
                  <a:pt x="474" y="1134"/>
                </a:lnTo>
                <a:lnTo>
                  <a:pt x="468" y="1134"/>
                </a:lnTo>
                <a:lnTo>
                  <a:pt x="462" y="1134"/>
                </a:lnTo>
                <a:lnTo>
                  <a:pt x="456" y="1134"/>
                </a:lnTo>
                <a:lnTo>
                  <a:pt x="456" y="1128"/>
                </a:lnTo>
                <a:lnTo>
                  <a:pt x="450" y="1122"/>
                </a:lnTo>
                <a:lnTo>
                  <a:pt x="426" y="1128"/>
                </a:lnTo>
                <a:lnTo>
                  <a:pt x="414" y="1128"/>
                </a:lnTo>
                <a:lnTo>
                  <a:pt x="348" y="1134"/>
                </a:lnTo>
                <a:lnTo>
                  <a:pt x="348" y="1128"/>
                </a:lnTo>
                <a:lnTo>
                  <a:pt x="342" y="1128"/>
                </a:lnTo>
                <a:lnTo>
                  <a:pt x="336" y="1122"/>
                </a:lnTo>
                <a:lnTo>
                  <a:pt x="330" y="1122"/>
                </a:lnTo>
                <a:lnTo>
                  <a:pt x="324" y="1116"/>
                </a:lnTo>
                <a:lnTo>
                  <a:pt x="324" y="1110"/>
                </a:lnTo>
                <a:lnTo>
                  <a:pt x="318" y="1110"/>
                </a:lnTo>
                <a:lnTo>
                  <a:pt x="318" y="1104"/>
                </a:lnTo>
                <a:lnTo>
                  <a:pt x="312" y="1092"/>
                </a:lnTo>
                <a:lnTo>
                  <a:pt x="306" y="1086"/>
                </a:lnTo>
                <a:lnTo>
                  <a:pt x="306" y="1080"/>
                </a:lnTo>
                <a:lnTo>
                  <a:pt x="312" y="1074"/>
                </a:lnTo>
                <a:lnTo>
                  <a:pt x="306" y="1068"/>
                </a:lnTo>
                <a:lnTo>
                  <a:pt x="300" y="1074"/>
                </a:lnTo>
                <a:lnTo>
                  <a:pt x="300" y="1068"/>
                </a:lnTo>
                <a:lnTo>
                  <a:pt x="294" y="1068"/>
                </a:lnTo>
                <a:lnTo>
                  <a:pt x="294" y="1056"/>
                </a:lnTo>
                <a:lnTo>
                  <a:pt x="294" y="1026"/>
                </a:lnTo>
                <a:lnTo>
                  <a:pt x="294" y="1020"/>
                </a:lnTo>
                <a:lnTo>
                  <a:pt x="294" y="1008"/>
                </a:lnTo>
                <a:lnTo>
                  <a:pt x="294" y="966"/>
                </a:lnTo>
                <a:lnTo>
                  <a:pt x="294" y="960"/>
                </a:lnTo>
                <a:lnTo>
                  <a:pt x="294" y="954"/>
                </a:lnTo>
                <a:lnTo>
                  <a:pt x="294" y="948"/>
                </a:lnTo>
                <a:lnTo>
                  <a:pt x="294" y="942"/>
                </a:lnTo>
                <a:lnTo>
                  <a:pt x="300" y="936"/>
                </a:lnTo>
                <a:lnTo>
                  <a:pt x="300" y="930"/>
                </a:lnTo>
                <a:lnTo>
                  <a:pt x="294" y="930"/>
                </a:lnTo>
                <a:lnTo>
                  <a:pt x="288" y="930"/>
                </a:lnTo>
                <a:lnTo>
                  <a:pt x="288" y="924"/>
                </a:lnTo>
                <a:lnTo>
                  <a:pt x="282" y="918"/>
                </a:lnTo>
                <a:lnTo>
                  <a:pt x="282" y="906"/>
                </a:lnTo>
                <a:lnTo>
                  <a:pt x="282" y="900"/>
                </a:lnTo>
                <a:lnTo>
                  <a:pt x="264" y="894"/>
                </a:lnTo>
                <a:lnTo>
                  <a:pt x="252" y="882"/>
                </a:lnTo>
                <a:lnTo>
                  <a:pt x="246" y="876"/>
                </a:lnTo>
                <a:lnTo>
                  <a:pt x="240" y="876"/>
                </a:lnTo>
                <a:lnTo>
                  <a:pt x="240" y="870"/>
                </a:lnTo>
                <a:lnTo>
                  <a:pt x="234" y="870"/>
                </a:lnTo>
                <a:lnTo>
                  <a:pt x="222" y="864"/>
                </a:lnTo>
                <a:lnTo>
                  <a:pt x="216" y="864"/>
                </a:lnTo>
                <a:lnTo>
                  <a:pt x="210" y="858"/>
                </a:lnTo>
                <a:lnTo>
                  <a:pt x="210" y="852"/>
                </a:lnTo>
                <a:lnTo>
                  <a:pt x="210" y="846"/>
                </a:lnTo>
                <a:lnTo>
                  <a:pt x="198" y="840"/>
                </a:lnTo>
                <a:lnTo>
                  <a:pt x="186" y="834"/>
                </a:lnTo>
                <a:lnTo>
                  <a:pt x="180" y="828"/>
                </a:lnTo>
                <a:lnTo>
                  <a:pt x="180" y="822"/>
                </a:lnTo>
                <a:lnTo>
                  <a:pt x="174" y="822"/>
                </a:lnTo>
                <a:lnTo>
                  <a:pt x="162" y="816"/>
                </a:lnTo>
                <a:lnTo>
                  <a:pt x="156" y="810"/>
                </a:lnTo>
                <a:lnTo>
                  <a:pt x="150" y="810"/>
                </a:lnTo>
                <a:lnTo>
                  <a:pt x="144" y="798"/>
                </a:lnTo>
                <a:lnTo>
                  <a:pt x="138" y="786"/>
                </a:lnTo>
                <a:lnTo>
                  <a:pt x="138" y="780"/>
                </a:lnTo>
                <a:lnTo>
                  <a:pt x="144" y="774"/>
                </a:lnTo>
                <a:lnTo>
                  <a:pt x="150" y="768"/>
                </a:lnTo>
                <a:lnTo>
                  <a:pt x="192" y="768"/>
                </a:lnTo>
                <a:lnTo>
                  <a:pt x="210" y="762"/>
                </a:lnTo>
                <a:lnTo>
                  <a:pt x="216" y="756"/>
                </a:lnTo>
                <a:lnTo>
                  <a:pt x="216" y="744"/>
                </a:lnTo>
                <a:lnTo>
                  <a:pt x="216" y="738"/>
                </a:lnTo>
                <a:lnTo>
                  <a:pt x="216" y="732"/>
                </a:lnTo>
                <a:lnTo>
                  <a:pt x="216" y="726"/>
                </a:lnTo>
                <a:lnTo>
                  <a:pt x="216" y="720"/>
                </a:lnTo>
                <a:lnTo>
                  <a:pt x="228" y="702"/>
                </a:lnTo>
                <a:lnTo>
                  <a:pt x="234" y="696"/>
                </a:lnTo>
                <a:lnTo>
                  <a:pt x="240" y="690"/>
                </a:lnTo>
                <a:lnTo>
                  <a:pt x="240" y="684"/>
                </a:lnTo>
                <a:lnTo>
                  <a:pt x="234" y="678"/>
                </a:lnTo>
                <a:lnTo>
                  <a:pt x="228" y="672"/>
                </a:lnTo>
                <a:lnTo>
                  <a:pt x="228" y="666"/>
                </a:lnTo>
                <a:lnTo>
                  <a:pt x="222" y="660"/>
                </a:lnTo>
                <a:lnTo>
                  <a:pt x="222" y="654"/>
                </a:lnTo>
                <a:lnTo>
                  <a:pt x="222" y="648"/>
                </a:lnTo>
                <a:lnTo>
                  <a:pt x="222" y="630"/>
                </a:lnTo>
                <a:lnTo>
                  <a:pt x="222" y="618"/>
                </a:lnTo>
                <a:lnTo>
                  <a:pt x="222" y="582"/>
                </a:lnTo>
                <a:lnTo>
                  <a:pt x="228" y="582"/>
                </a:lnTo>
                <a:lnTo>
                  <a:pt x="222" y="564"/>
                </a:lnTo>
                <a:lnTo>
                  <a:pt x="210" y="552"/>
                </a:lnTo>
                <a:lnTo>
                  <a:pt x="192" y="540"/>
                </a:lnTo>
                <a:lnTo>
                  <a:pt x="174" y="540"/>
                </a:lnTo>
                <a:lnTo>
                  <a:pt x="150" y="534"/>
                </a:lnTo>
                <a:lnTo>
                  <a:pt x="126" y="528"/>
                </a:lnTo>
                <a:lnTo>
                  <a:pt x="96" y="528"/>
                </a:lnTo>
                <a:lnTo>
                  <a:pt x="96" y="522"/>
                </a:lnTo>
                <a:lnTo>
                  <a:pt x="90" y="516"/>
                </a:lnTo>
                <a:lnTo>
                  <a:pt x="78" y="504"/>
                </a:lnTo>
                <a:lnTo>
                  <a:pt x="72" y="498"/>
                </a:lnTo>
                <a:lnTo>
                  <a:pt x="66" y="486"/>
                </a:lnTo>
                <a:lnTo>
                  <a:pt x="54" y="468"/>
                </a:lnTo>
                <a:lnTo>
                  <a:pt x="54" y="450"/>
                </a:lnTo>
                <a:lnTo>
                  <a:pt x="48" y="444"/>
                </a:lnTo>
                <a:lnTo>
                  <a:pt x="48" y="438"/>
                </a:lnTo>
                <a:lnTo>
                  <a:pt x="42" y="438"/>
                </a:lnTo>
                <a:lnTo>
                  <a:pt x="36" y="438"/>
                </a:lnTo>
                <a:lnTo>
                  <a:pt x="24" y="420"/>
                </a:lnTo>
                <a:lnTo>
                  <a:pt x="24" y="414"/>
                </a:lnTo>
                <a:lnTo>
                  <a:pt x="24" y="402"/>
                </a:lnTo>
                <a:lnTo>
                  <a:pt x="18" y="396"/>
                </a:lnTo>
                <a:lnTo>
                  <a:pt x="24" y="384"/>
                </a:lnTo>
                <a:lnTo>
                  <a:pt x="18" y="372"/>
                </a:lnTo>
                <a:lnTo>
                  <a:pt x="18" y="366"/>
                </a:lnTo>
                <a:lnTo>
                  <a:pt x="12" y="360"/>
                </a:lnTo>
                <a:lnTo>
                  <a:pt x="6" y="360"/>
                </a:lnTo>
                <a:lnTo>
                  <a:pt x="0" y="348"/>
                </a:lnTo>
                <a:lnTo>
                  <a:pt x="6" y="342"/>
                </a:lnTo>
                <a:lnTo>
                  <a:pt x="6" y="336"/>
                </a:lnTo>
                <a:lnTo>
                  <a:pt x="12" y="330"/>
                </a:lnTo>
                <a:lnTo>
                  <a:pt x="18" y="318"/>
                </a:lnTo>
                <a:lnTo>
                  <a:pt x="24" y="312"/>
                </a:lnTo>
                <a:lnTo>
                  <a:pt x="24" y="306"/>
                </a:lnTo>
                <a:lnTo>
                  <a:pt x="30" y="306"/>
                </a:lnTo>
                <a:lnTo>
                  <a:pt x="42" y="294"/>
                </a:lnTo>
                <a:lnTo>
                  <a:pt x="42" y="288"/>
                </a:lnTo>
                <a:lnTo>
                  <a:pt x="48" y="282"/>
                </a:lnTo>
                <a:lnTo>
                  <a:pt x="54" y="276"/>
                </a:lnTo>
                <a:lnTo>
                  <a:pt x="60" y="270"/>
                </a:lnTo>
                <a:lnTo>
                  <a:pt x="66" y="270"/>
                </a:lnTo>
                <a:lnTo>
                  <a:pt x="78" y="270"/>
                </a:lnTo>
                <a:lnTo>
                  <a:pt x="90" y="276"/>
                </a:lnTo>
                <a:lnTo>
                  <a:pt x="108" y="294"/>
                </a:lnTo>
                <a:lnTo>
                  <a:pt x="114" y="294"/>
                </a:lnTo>
                <a:lnTo>
                  <a:pt x="114" y="276"/>
                </a:lnTo>
                <a:lnTo>
                  <a:pt x="114" y="270"/>
                </a:lnTo>
                <a:lnTo>
                  <a:pt x="102" y="258"/>
                </a:lnTo>
                <a:lnTo>
                  <a:pt x="96" y="246"/>
                </a:lnTo>
                <a:lnTo>
                  <a:pt x="90" y="234"/>
                </a:lnTo>
                <a:lnTo>
                  <a:pt x="78" y="228"/>
                </a:lnTo>
                <a:lnTo>
                  <a:pt x="72" y="216"/>
                </a:lnTo>
                <a:lnTo>
                  <a:pt x="66" y="192"/>
                </a:lnTo>
                <a:lnTo>
                  <a:pt x="90" y="174"/>
                </a:lnTo>
                <a:lnTo>
                  <a:pt x="120" y="150"/>
                </a:lnTo>
                <a:lnTo>
                  <a:pt x="132" y="150"/>
                </a:lnTo>
                <a:lnTo>
                  <a:pt x="138" y="144"/>
                </a:lnTo>
                <a:lnTo>
                  <a:pt x="138" y="138"/>
                </a:lnTo>
                <a:lnTo>
                  <a:pt x="156" y="126"/>
                </a:lnTo>
                <a:lnTo>
                  <a:pt x="180" y="114"/>
                </a:lnTo>
                <a:lnTo>
                  <a:pt x="216" y="114"/>
                </a:lnTo>
                <a:lnTo>
                  <a:pt x="222" y="114"/>
                </a:lnTo>
                <a:lnTo>
                  <a:pt x="222" y="120"/>
                </a:lnTo>
                <a:lnTo>
                  <a:pt x="222" y="126"/>
                </a:lnTo>
                <a:lnTo>
                  <a:pt x="222" y="132"/>
                </a:lnTo>
                <a:lnTo>
                  <a:pt x="228" y="138"/>
                </a:lnTo>
                <a:lnTo>
                  <a:pt x="228" y="144"/>
                </a:lnTo>
                <a:lnTo>
                  <a:pt x="228" y="150"/>
                </a:lnTo>
                <a:lnTo>
                  <a:pt x="234" y="150"/>
                </a:lnTo>
                <a:lnTo>
                  <a:pt x="234" y="144"/>
                </a:lnTo>
                <a:lnTo>
                  <a:pt x="240" y="144"/>
                </a:lnTo>
                <a:lnTo>
                  <a:pt x="246" y="144"/>
                </a:lnTo>
                <a:lnTo>
                  <a:pt x="258" y="138"/>
                </a:lnTo>
                <a:lnTo>
                  <a:pt x="264" y="138"/>
                </a:lnTo>
                <a:lnTo>
                  <a:pt x="258" y="126"/>
                </a:lnTo>
                <a:lnTo>
                  <a:pt x="258" y="120"/>
                </a:lnTo>
                <a:lnTo>
                  <a:pt x="258" y="114"/>
                </a:lnTo>
                <a:lnTo>
                  <a:pt x="264" y="114"/>
                </a:lnTo>
                <a:lnTo>
                  <a:pt x="276" y="96"/>
                </a:lnTo>
                <a:lnTo>
                  <a:pt x="288" y="90"/>
                </a:lnTo>
                <a:lnTo>
                  <a:pt x="288" y="84"/>
                </a:lnTo>
                <a:lnTo>
                  <a:pt x="294" y="84"/>
                </a:lnTo>
                <a:lnTo>
                  <a:pt x="306" y="72"/>
                </a:lnTo>
                <a:lnTo>
                  <a:pt x="318" y="60"/>
                </a:lnTo>
                <a:lnTo>
                  <a:pt x="324" y="54"/>
                </a:lnTo>
                <a:lnTo>
                  <a:pt x="330" y="36"/>
                </a:lnTo>
                <a:lnTo>
                  <a:pt x="330" y="24"/>
                </a:lnTo>
                <a:lnTo>
                  <a:pt x="330" y="18"/>
                </a:lnTo>
                <a:lnTo>
                  <a:pt x="330" y="12"/>
                </a:lnTo>
                <a:lnTo>
                  <a:pt x="336" y="6"/>
                </a:lnTo>
                <a:lnTo>
                  <a:pt x="366" y="0"/>
                </a:lnTo>
                <a:lnTo>
                  <a:pt x="372" y="6"/>
                </a:lnTo>
                <a:lnTo>
                  <a:pt x="384" y="12"/>
                </a:lnTo>
                <a:lnTo>
                  <a:pt x="402" y="12"/>
                </a:lnTo>
                <a:lnTo>
                  <a:pt x="402" y="18"/>
                </a:lnTo>
                <a:lnTo>
                  <a:pt x="408" y="18"/>
                </a:lnTo>
                <a:lnTo>
                  <a:pt x="414" y="18"/>
                </a:lnTo>
                <a:lnTo>
                  <a:pt x="420" y="18"/>
                </a:lnTo>
                <a:lnTo>
                  <a:pt x="426" y="24"/>
                </a:lnTo>
                <a:lnTo>
                  <a:pt x="432" y="30"/>
                </a:lnTo>
                <a:lnTo>
                  <a:pt x="438" y="36"/>
                </a:lnTo>
                <a:lnTo>
                  <a:pt x="444" y="42"/>
                </a:lnTo>
                <a:lnTo>
                  <a:pt x="450" y="42"/>
                </a:lnTo>
                <a:lnTo>
                  <a:pt x="450" y="48"/>
                </a:lnTo>
                <a:lnTo>
                  <a:pt x="456" y="48"/>
                </a:lnTo>
                <a:lnTo>
                  <a:pt x="468" y="54"/>
                </a:lnTo>
                <a:lnTo>
                  <a:pt x="474" y="54"/>
                </a:lnTo>
                <a:lnTo>
                  <a:pt x="480" y="54"/>
                </a:lnTo>
                <a:lnTo>
                  <a:pt x="480" y="60"/>
                </a:lnTo>
                <a:lnTo>
                  <a:pt x="486" y="60"/>
                </a:lnTo>
                <a:lnTo>
                  <a:pt x="492" y="60"/>
                </a:lnTo>
                <a:lnTo>
                  <a:pt x="498" y="60"/>
                </a:lnTo>
                <a:lnTo>
                  <a:pt x="504" y="66"/>
                </a:lnTo>
                <a:lnTo>
                  <a:pt x="516" y="78"/>
                </a:lnTo>
                <a:lnTo>
                  <a:pt x="522" y="102"/>
                </a:lnTo>
                <a:lnTo>
                  <a:pt x="522" y="108"/>
                </a:lnTo>
                <a:lnTo>
                  <a:pt x="528" y="126"/>
                </a:lnTo>
                <a:lnTo>
                  <a:pt x="534" y="126"/>
                </a:lnTo>
                <a:lnTo>
                  <a:pt x="540" y="120"/>
                </a:lnTo>
                <a:lnTo>
                  <a:pt x="546" y="126"/>
                </a:lnTo>
                <a:lnTo>
                  <a:pt x="552" y="126"/>
                </a:lnTo>
                <a:lnTo>
                  <a:pt x="558" y="132"/>
                </a:lnTo>
                <a:lnTo>
                  <a:pt x="564" y="138"/>
                </a:lnTo>
                <a:lnTo>
                  <a:pt x="570" y="144"/>
                </a:lnTo>
                <a:lnTo>
                  <a:pt x="576" y="150"/>
                </a:lnTo>
                <a:lnTo>
                  <a:pt x="582" y="156"/>
                </a:lnTo>
                <a:lnTo>
                  <a:pt x="588" y="162"/>
                </a:lnTo>
                <a:lnTo>
                  <a:pt x="594" y="168"/>
                </a:lnTo>
                <a:lnTo>
                  <a:pt x="600" y="174"/>
                </a:lnTo>
                <a:lnTo>
                  <a:pt x="606" y="180"/>
                </a:lnTo>
                <a:lnTo>
                  <a:pt x="606" y="186"/>
                </a:lnTo>
                <a:lnTo>
                  <a:pt x="612" y="192"/>
                </a:lnTo>
                <a:lnTo>
                  <a:pt x="612" y="198"/>
                </a:lnTo>
                <a:lnTo>
                  <a:pt x="624" y="204"/>
                </a:lnTo>
                <a:lnTo>
                  <a:pt x="624" y="210"/>
                </a:lnTo>
                <a:lnTo>
                  <a:pt x="630" y="216"/>
                </a:lnTo>
                <a:lnTo>
                  <a:pt x="636" y="222"/>
                </a:lnTo>
                <a:lnTo>
                  <a:pt x="636" y="228"/>
                </a:lnTo>
                <a:lnTo>
                  <a:pt x="636" y="234"/>
                </a:lnTo>
                <a:lnTo>
                  <a:pt x="636" y="252"/>
                </a:lnTo>
                <a:lnTo>
                  <a:pt x="636" y="258"/>
                </a:lnTo>
                <a:lnTo>
                  <a:pt x="636" y="264"/>
                </a:lnTo>
                <a:lnTo>
                  <a:pt x="636" y="270"/>
                </a:lnTo>
                <a:lnTo>
                  <a:pt x="642" y="276"/>
                </a:lnTo>
                <a:lnTo>
                  <a:pt x="642" y="282"/>
                </a:lnTo>
                <a:lnTo>
                  <a:pt x="642" y="288"/>
                </a:lnTo>
                <a:lnTo>
                  <a:pt x="642" y="300"/>
                </a:lnTo>
                <a:lnTo>
                  <a:pt x="642" y="306"/>
                </a:lnTo>
                <a:lnTo>
                  <a:pt x="636" y="312"/>
                </a:lnTo>
                <a:lnTo>
                  <a:pt x="636" y="324"/>
                </a:lnTo>
                <a:lnTo>
                  <a:pt x="636" y="342"/>
                </a:lnTo>
                <a:lnTo>
                  <a:pt x="630" y="354"/>
                </a:lnTo>
                <a:lnTo>
                  <a:pt x="630" y="366"/>
                </a:lnTo>
                <a:lnTo>
                  <a:pt x="624" y="378"/>
                </a:lnTo>
                <a:lnTo>
                  <a:pt x="624" y="384"/>
                </a:lnTo>
                <a:lnTo>
                  <a:pt x="636" y="396"/>
                </a:lnTo>
                <a:lnTo>
                  <a:pt x="636" y="402"/>
                </a:lnTo>
                <a:lnTo>
                  <a:pt x="636" y="408"/>
                </a:lnTo>
                <a:lnTo>
                  <a:pt x="630" y="414"/>
                </a:lnTo>
                <a:lnTo>
                  <a:pt x="630" y="420"/>
                </a:lnTo>
                <a:lnTo>
                  <a:pt x="630" y="426"/>
                </a:lnTo>
                <a:lnTo>
                  <a:pt x="630" y="432"/>
                </a:lnTo>
                <a:lnTo>
                  <a:pt x="624" y="438"/>
                </a:lnTo>
                <a:lnTo>
                  <a:pt x="624" y="444"/>
                </a:lnTo>
                <a:lnTo>
                  <a:pt x="624" y="450"/>
                </a:lnTo>
                <a:lnTo>
                  <a:pt x="630" y="450"/>
                </a:lnTo>
                <a:lnTo>
                  <a:pt x="630" y="456"/>
                </a:lnTo>
                <a:lnTo>
                  <a:pt x="630" y="462"/>
                </a:lnTo>
                <a:lnTo>
                  <a:pt x="636" y="468"/>
                </a:lnTo>
                <a:lnTo>
                  <a:pt x="642" y="456"/>
                </a:lnTo>
                <a:lnTo>
                  <a:pt x="642" y="450"/>
                </a:lnTo>
                <a:lnTo>
                  <a:pt x="648" y="450"/>
                </a:lnTo>
                <a:lnTo>
                  <a:pt x="654" y="450"/>
                </a:lnTo>
                <a:lnTo>
                  <a:pt x="654" y="444"/>
                </a:lnTo>
                <a:lnTo>
                  <a:pt x="660" y="444"/>
                </a:lnTo>
                <a:lnTo>
                  <a:pt x="666" y="450"/>
                </a:lnTo>
                <a:lnTo>
                  <a:pt x="672" y="444"/>
                </a:lnTo>
                <a:lnTo>
                  <a:pt x="678" y="444"/>
                </a:lnTo>
                <a:lnTo>
                  <a:pt x="684" y="438"/>
                </a:lnTo>
                <a:lnTo>
                  <a:pt x="690" y="438"/>
                </a:lnTo>
                <a:lnTo>
                  <a:pt x="696" y="438"/>
                </a:lnTo>
                <a:lnTo>
                  <a:pt x="702" y="444"/>
                </a:lnTo>
                <a:lnTo>
                  <a:pt x="702" y="450"/>
                </a:lnTo>
                <a:lnTo>
                  <a:pt x="708" y="450"/>
                </a:lnTo>
                <a:lnTo>
                  <a:pt x="708" y="456"/>
                </a:lnTo>
                <a:lnTo>
                  <a:pt x="708" y="462"/>
                </a:lnTo>
                <a:lnTo>
                  <a:pt x="708" y="468"/>
                </a:lnTo>
                <a:lnTo>
                  <a:pt x="708" y="504"/>
                </a:lnTo>
                <a:lnTo>
                  <a:pt x="696" y="564"/>
                </a:lnTo>
                <a:lnTo>
                  <a:pt x="696" y="582"/>
                </a:lnTo>
                <a:lnTo>
                  <a:pt x="696" y="600"/>
                </a:lnTo>
                <a:lnTo>
                  <a:pt x="690" y="606"/>
                </a:lnTo>
                <a:lnTo>
                  <a:pt x="684" y="606"/>
                </a:lnTo>
                <a:lnTo>
                  <a:pt x="690" y="612"/>
                </a:lnTo>
                <a:lnTo>
                  <a:pt x="684" y="612"/>
                </a:lnTo>
                <a:lnTo>
                  <a:pt x="678" y="618"/>
                </a:lnTo>
                <a:lnTo>
                  <a:pt x="672" y="624"/>
                </a:lnTo>
                <a:lnTo>
                  <a:pt x="666" y="630"/>
                </a:lnTo>
                <a:lnTo>
                  <a:pt x="660" y="636"/>
                </a:lnTo>
                <a:lnTo>
                  <a:pt x="672" y="636"/>
                </a:lnTo>
                <a:lnTo>
                  <a:pt x="678" y="642"/>
                </a:lnTo>
                <a:lnTo>
                  <a:pt x="678" y="648"/>
                </a:lnTo>
                <a:lnTo>
                  <a:pt x="684" y="654"/>
                </a:lnTo>
                <a:lnTo>
                  <a:pt x="690" y="666"/>
                </a:lnTo>
                <a:lnTo>
                  <a:pt x="690" y="672"/>
                </a:lnTo>
                <a:lnTo>
                  <a:pt x="696" y="672"/>
                </a:lnTo>
                <a:lnTo>
                  <a:pt x="696" y="684"/>
                </a:lnTo>
                <a:lnTo>
                  <a:pt x="708" y="690"/>
                </a:lnTo>
                <a:lnTo>
                  <a:pt x="720" y="696"/>
                </a:lnTo>
                <a:lnTo>
                  <a:pt x="726" y="696"/>
                </a:lnTo>
                <a:lnTo>
                  <a:pt x="732" y="696"/>
                </a:lnTo>
                <a:lnTo>
                  <a:pt x="738" y="696"/>
                </a:lnTo>
                <a:lnTo>
                  <a:pt x="738" y="702"/>
                </a:lnTo>
                <a:lnTo>
                  <a:pt x="738" y="708"/>
                </a:lnTo>
                <a:lnTo>
                  <a:pt x="738" y="714"/>
                </a:lnTo>
                <a:lnTo>
                  <a:pt x="744" y="714"/>
                </a:lnTo>
                <a:lnTo>
                  <a:pt x="756" y="720"/>
                </a:lnTo>
                <a:lnTo>
                  <a:pt x="780" y="726"/>
                </a:lnTo>
                <a:lnTo>
                  <a:pt x="792" y="732"/>
                </a:lnTo>
                <a:lnTo>
                  <a:pt x="816" y="756"/>
                </a:lnTo>
                <a:lnTo>
                  <a:pt x="816" y="762"/>
                </a:lnTo>
                <a:lnTo>
                  <a:pt x="816" y="768"/>
                </a:lnTo>
                <a:lnTo>
                  <a:pt x="822" y="774"/>
                </a:lnTo>
                <a:lnTo>
                  <a:pt x="834" y="786"/>
                </a:lnTo>
                <a:lnTo>
                  <a:pt x="834" y="792"/>
                </a:lnTo>
                <a:lnTo>
                  <a:pt x="834" y="798"/>
                </a:lnTo>
                <a:lnTo>
                  <a:pt x="828" y="798"/>
                </a:lnTo>
                <a:lnTo>
                  <a:pt x="828" y="804"/>
                </a:lnTo>
                <a:lnTo>
                  <a:pt x="834" y="816"/>
                </a:lnTo>
                <a:lnTo>
                  <a:pt x="834" y="834"/>
                </a:lnTo>
                <a:lnTo>
                  <a:pt x="834" y="840"/>
                </a:lnTo>
                <a:lnTo>
                  <a:pt x="834" y="846"/>
                </a:lnTo>
                <a:lnTo>
                  <a:pt x="840" y="852"/>
                </a:lnTo>
                <a:lnTo>
                  <a:pt x="834" y="858"/>
                </a:lnTo>
                <a:lnTo>
                  <a:pt x="834" y="864"/>
                </a:lnTo>
                <a:lnTo>
                  <a:pt x="834" y="876"/>
                </a:lnTo>
                <a:lnTo>
                  <a:pt x="828" y="960"/>
                </a:lnTo>
                <a:lnTo>
                  <a:pt x="816" y="966"/>
                </a:lnTo>
                <a:lnTo>
                  <a:pt x="798" y="972"/>
                </a:lnTo>
                <a:lnTo>
                  <a:pt x="786" y="990"/>
                </a:lnTo>
                <a:lnTo>
                  <a:pt x="774" y="990"/>
                </a:lnTo>
                <a:lnTo>
                  <a:pt x="762" y="1008"/>
                </a:lnTo>
                <a:lnTo>
                  <a:pt x="732" y="1014"/>
                </a:lnTo>
                <a:lnTo>
                  <a:pt x="714" y="1026"/>
                </a:lnTo>
                <a:lnTo>
                  <a:pt x="690" y="1050"/>
                </a:lnTo>
                <a:lnTo>
                  <a:pt x="654" y="1056"/>
                </a:lnTo>
                <a:lnTo>
                  <a:pt x="630" y="1056"/>
                </a:lnTo>
                <a:lnTo>
                  <a:pt x="606" y="1068"/>
                </a:lnTo>
                <a:lnTo>
                  <a:pt x="600" y="1092"/>
                </a:lnTo>
                <a:lnTo>
                  <a:pt x="600" y="1098"/>
                </a:lnTo>
                <a:lnTo>
                  <a:pt x="588" y="1104"/>
                </a:lnTo>
                <a:lnTo>
                  <a:pt x="582" y="1104"/>
                </a:lnTo>
                <a:lnTo>
                  <a:pt x="570" y="1110"/>
                </a:lnTo>
                <a:lnTo>
                  <a:pt x="564" y="1110"/>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20497" name="Freeform 13"/>
          <p:cNvSpPr>
            <a:spLocks/>
          </p:cNvSpPr>
          <p:nvPr/>
        </p:nvSpPr>
        <p:spPr bwMode="gray">
          <a:xfrm>
            <a:off x="3132138" y="2733675"/>
            <a:ext cx="1362075" cy="1282700"/>
          </a:xfrm>
          <a:custGeom>
            <a:avLst/>
            <a:gdLst>
              <a:gd name="T0" fmla="*/ 108029 w 1740"/>
              <a:gd name="T1" fmla="*/ 108093 h 1590"/>
              <a:gd name="T2" fmla="*/ 100201 w 1740"/>
              <a:gd name="T3" fmla="*/ 105673 h 1590"/>
              <a:gd name="T4" fmla="*/ 94721 w 1740"/>
              <a:gd name="T5" fmla="*/ 104866 h 1590"/>
              <a:gd name="T6" fmla="*/ 93155 w 1740"/>
              <a:gd name="T7" fmla="*/ 108093 h 1590"/>
              <a:gd name="T8" fmla="*/ 86110 w 1740"/>
              <a:gd name="T9" fmla="*/ 106480 h 1590"/>
              <a:gd name="T10" fmla="*/ 86893 w 1740"/>
              <a:gd name="T11" fmla="*/ 102446 h 1590"/>
              <a:gd name="T12" fmla="*/ 80630 w 1740"/>
              <a:gd name="T13" fmla="*/ 94380 h 1590"/>
              <a:gd name="T14" fmla="*/ 72802 w 1740"/>
              <a:gd name="T15" fmla="*/ 99220 h 1590"/>
              <a:gd name="T16" fmla="*/ 62626 w 1740"/>
              <a:gd name="T17" fmla="*/ 95186 h 1590"/>
              <a:gd name="T18" fmla="*/ 51666 w 1740"/>
              <a:gd name="T19" fmla="*/ 94380 h 1590"/>
              <a:gd name="T20" fmla="*/ 51666 w 1740"/>
              <a:gd name="T21" fmla="*/ 88733 h 1590"/>
              <a:gd name="T22" fmla="*/ 54015 w 1740"/>
              <a:gd name="T23" fmla="*/ 86313 h 1590"/>
              <a:gd name="T24" fmla="*/ 53232 w 1740"/>
              <a:gd name="T25" fmla="*/ 82280 h 1590"/>
              <a:gd name="T26" fmla="*/ 53232 w 1740"/>
              <a:gd name="T27" fmla="*/ 77440 h 1590"/>
              <a:gd name="T28" fmla="*/ 52449 w 1740"/>
              <a:gd name="T29" fmla="*/ 66146 h 1590"/>
              <a:gd name="T30" fmla="*/ 45403 w 1740"/>
              <a:gd name="T31" fmla="*/ 66146 h 1590"/>
              <a:gd name="T32" fmla="*/ 40707 w 1740"/>
              <a:gd name="T33" fmla="*/ 66146 h 1590"/>
              <a:gd name="T34" fmla="*/ 36010 w 1740"/>
              <a:gd name="T35" fmla="*/ 64533 h 1590"/>
              <a:gd name="T36" fmla="*/ 35227 w 1740"/>
              <a:gd name="T37" fmla="*/ 59693 h 1590"/>
              <a:gd name="T38" fmla="*/ 40707 w 1740"/>
              <a:gd name="T39" fmla="*/ 56466 h 1590"/>
              <a:gd name="T40" fmla="*/ 40707 w 1740"/>
              <a:gd name="T41" fmla="*/ 51626 h 1590"/>
              <a:gd name="T42" fmla="*/ 32878 w 1740"/>
              <a:gd name="T43" fmla="*/ 42753 h 1590"/>
              <a:gd name="T44" fmla="*/ 27399 w 1740"/>
              <a:gd name="T45" fmla="*/ 41947 h 1590"/>
              <a:gd name="T46" fmla="*/ 15656 w 1740"/>
              <a:gd name="T47" fmla="*/ 41140 h 1590"/>
              <a:gd name="T48" fmla="*/ 13308 w 1740"/>
              <a:gd name="T49" fmla="*/ 45173 h 1590"/>
              <a:gd name="T50" fmla="*/ 8611 w 1740"/>
              <a:gd name="T51" fmla="*/ 49206 h 1590"/>
              <a:gd name="T52" fmla="*/ 5480 w 1740"/>
              <a:gd name="T53" fmla="*/ 50820 h 1590"/>
              <a:gd name="T54" fmla="*/ 0 w 1740"/>
              <a:gd name="T55" fmla="*/ 44366 h 1590"/>
              <a:gd name="T56" fmla="*/ 1566 w 1740"/>
              <a:gd name="T57" fmla="*/ 40333 h 1590"/>
              <a:gd name="T58" fmla="*/ 0 w 1740"/>
              <a:gd name="T59" fmla="*/ 35493 h 1590"/>
              <a:gd name="T60" fmla="*/ 1566 w 1740"/>
              <a:gd name="T61" fmla="*/ 30653 h 1590"/>
              <a:gd name="T62" fmla="*/ 5480 w 1740"/>
              <a:gd name="T63" fmla="*/ 28233 h 1590"/>
              <a:gd name="T64" fmla="*/ 8611 w 1740"/>
              <a:gd name="T65" fmla="*/ 24200 h 1590"/>
              <a:gd name="T66" fmla="*/ 16439 w 1740"/>
              <a:gd name="T67" fmla="*/ 20973 h 1590"/>
              <a:gd name="T68" fmla="*/ 22702 w 1740"/>
              <a:gd name="T69" fmla="*/ 20167 h 1590"/>
              <a:gd name="T70" fmla="*/ 27399 w 1740"/>
              <a:gd name="T71" fmla="*/ 16940 h 1590"/>
              <a:gd name="T72" fmla="*/ 28181 w 1740"/>
              <a:gd name="T73" fmla="*/ 12907 h 1590"/>
              <a:gd name="T74" fmla="*/ 32096 w 1740"/>
              <a:gd name="T75" fmla="*/ 8873 h 1590"/>
              <a:gd name="T76" fmla="*/ 39924 w 1740"/>
              <a:gd name="T77" fmla="*/ 7260 h 1590"/>
              <a:gd name="T78" fmla="*/ 46186 w 1740"/>
              <a:gd name="T79" fmla="*/ 16940 h 1590"/>
              <a:gd name="T80" fmla="*/ 50883 w 1740"/>
              <a:gd name="T81" fmla="*/ 10487 h 1590"/>
              <a:gd name="T82" fmla="*/ 57146 w 1740"/>
              <a:gd name="T83" fmla="*/ 6453 h 1590"/>
              <a:gd name="T84" fmla="*/ 64191 w 1740"/>
              <a:gd name="T85" fmla="*/ 9680 h 1590"/>
              <a:gd name="T86" fmla="*/ 68888 w 1740"/>
              <a:gd name="T87" fmla="*/ 9680 h 1590"/>
              <a:gd name="T88" fmla="*/ 77499 w 1740"/>
              <a:gd name="T89" fmla="*/ 5647 h 1590"/>
              <a:gd name="T90" fmla="*/ 89241 w 1740"/>
              <a:gd name="T91" fmla="*/ 0 h 1590"/>
              <a:gd name="T92" fmla="*/ 91590 w 1740"/>
              <a:gd name="T93" fmla="*/ 8067 h 1590"/>
              <a:gd name="T94" fmla="*/ 103332 w 1740"/>
              <a:gd name="T95" fmla="*/ 13713 h 1590"/>
              <a:gd name="T96" fmla="*/ 109595 w 1740"/>
              <a:gd name="T97" fmla="*/ 20167 h 1590"/>
              <a:gd name="T98" fmla="*/ 109595 w 1740"/>
              <a:gd name="T99" fmla="*/ 26620 h 1590"/>
              <a:gd name="T100" fmla="*/ 109595 w 1740"/>
              <a:gd name="T101" fmla="*/ 35493 h 1590"/>
              <a:gd name="T102" fmla="*/ 108029 w 1740"/>
              <a:gd name="T103" fmla="*/ 38720 h 1590"/>
              <a:gd name="T104" fmla="*/ 110377 w 1740"/>
              <a:gd name="T105" fmla="*/ 39527 h 1590"/>
              <a:gd name="T106" fmla="*/ 114292 w 1740"/>
              <a:gd name="T107" fmla="*/ 40333 h 1590"/>
              <a:gd name="T108" fmla="*/ 116640 w 1740"/>
              <a:gd name="T109" fmla="*/ 47593 h 1590"/>
              <a:gd name="T110" fmla="*/ 115857 w 1740"/>
              <a:gd name="T111" fmla="*/ 54046 h 1590"/>
              <a:gd name="T112" fmla="*/ 110377 w 1740"/>
              <a:gd name="T113" fmla="*/ 62920 h 1590"/>
              <a:gd name="T114" fmla="*/ 110377 w 1740"/>
              <a:gd name="T115" fmla="*/ 73406 h 1590"/>
              <a:gd name="T116" fmla="*/ 108029 w 1740"/>
              <a:gd name="T117" fmla="*/ 82280 h 1590"/>
              <a:gd name="T118" fmla="*/ 108029 w 1740"/>
              <a:gd name="T119" fmla="*/ 88733 h 1590"/>
              <a:gd name="T120" fmla="*/ 112726 w 1740"/>
              <a:gd name="T121" fmla="*/ 95186 h 1590"/>
              <a:gd name="T122" fmla="*/ 111943 w 1740"/>
              <a:gd name="T123" fmla="*/ 100833 h 1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0"/>
              <a:gd name="T187" fmla="*/ 0 h 1590"/>
              <a:gd name="T188" fmla="*/ 1740 w 1740"/>
              <a:gd name="T189" fmla="*/ 1590 h 159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0" h="1590">
                <a:moveTo>
                  <a:pt x="1638" y="1458"/>
                </a:moveTo>
                <a:lnTo>
                  <a:pt x="1638" y="1482"/>
                </a:lnTo>
                <a:lnTo>
                  <a:pt x="1638" y="1500"/>
                </a:lnTo>
                <a:lnTo>
                  <a:pt x="1626" y="1500"/>
                </a:lnTo>
                <a:lnTo>
                  <a:pt x="1620" y="1500"/>
                </a:lnTo>
                <a:lnTo>
                  <a:pt x="1614" y="1500"/>
                </a:lnTo>
                <a:lnTo>
                  <a:pt x="1614" y="1506"/>
                </a:lnTo>
                <a:lnTo>
                  <a:pt x="1614" y="1512"/>
                </a:lnTo>
                <a:lnTo>
                  <a:pt x="1620" y="1518"/>
                </a:lnTo>
                <a:lnTo>
                  <a:pt x="1614" y="1524"/>
                </a:lnTo>
                <a:lnTo>
                  <a:pt x="1590" y="1536"/>
                </a:lnTo>
                <a:lnTo>
                  <a:pt x="1584" y="1566"/>
                </a:lnTo>
                <a:lnTo>
                  <a:pt x="1578" y="1590"/>
                </a:lnTo>
                <a:lnTo>
                  <a:pt x="1548" y="1590"/>
                </a:lnTo>
                <a:lnTo>
                  <a:pt x="1542" y="1584"/>
                </a:lnTo>
                <a:lnTo>
                  <a:pt x="1542" y="1572"/>
                </a:lnTo>
                <a:lnTo>
                  <a:pt x="1536" y="1566"/>
                </a:lnTo>
                <a:lnTo>
                  <a:pt x="1536" y="1554"/>
                </a:lnTo>
                <a:lnTo>
                  <a:pt x="1536" y="1548"/>
                </a:lnTo>
                <a:lnTo>
                  <a:pt x="1506" y="1530"/>
                </a:lnTo>
                <a:lnTo>
                  <a:pt x="1488" y="1506"/>
                </a:lnTo>
                <a:lnTo>
                  <a:pt x="1464" y="1500"/>
                </a:lnTo>
                <a:lnTo>
                  <a:pt x="1470" y="1494"/>
                </a:lnTo>
                <a:lnTo>
                  <a:pt x="1470" y="1488"/>
                </a:lnTo>
                <a:lnTo>
                  <a:pt x="1470" y="1482"/>
                </a:lnTo>
                <a:lnTo>
                  <a:pt x="1428" y="1464"/>
                </a:lnTo>
                <a:lnTo>
                  <a:pt x="1404" y="1470"/>
                </a:lnTo>
                <a:lnTo>
                  <a:pt x="1398" y="1470"/>
                </a:lnTo>
                <a:lnTo>
                  <a:pt x="1392" y="1476"/>
                </a:lnTo>
                <a:lnTo>
                  <a:pt x="1386" y="1476"/>
                </a:lnTo>
                <a:lnTo>
                  <a:pt x="1386" y="1482"/>
                </a:lnTo>
                <a:lnTo>
                  <a:pt x="1392" y="1482"/>
                </a:lnTo>
                <a:lnTo>
                  <a:pt x="1386" y="1488"/>
                </a:lnTo>
                <a:lnTo>
                  <a:pt x="1386" y="1494"/>
                </a:lnTo>
                <a:lnTo>
                  <a:pt x="1380" y="1494"/>
                </a:lnTo>
                <a:lnTo>
                  <a:pt x="1380" y="1500"/>
                </a:lnTo>
                <a:lnTo>
                  <a:pt x="1380" y="1512"/>
                </a:lnTo>
                <a:lnTo>
                  <a:pt x="1380" y="1518"/>
                </a:lnTo>
                <a:lnTo>
                  <a:pt x="1380" y="1524"/>
                </a:lnTo>
                <a:lnTo>
                  <a:pt x="1380" y="1530"/>
                </a:lnTo>
                <a:lnTo>
                  <a:pt x="1374" y="1536"/>
                </a:lnTo>
                <a:lnTo>
                  <a:pt x="1374" y="1542"/>
                </a:lnTo>
                <a:lnTo>
                  <a:pt x="1368" y="1542"/>
                </a:lnTo>
                <a:lnTo>
                  <a:pt x="1362" y="1536"/>
                </a:lnTo>
                <a:lnTo>
                  <a:pt x="1356" y="1542"/>
                </a:lnTo>
                <a:lnTo>
                  <a:pt x="1344" y="1554"/>
                </a:lnTo>
                <a:lnTo>
                  <a:pt x="1332" y="1560"/>
                </a:lnTo>
                <a:lnTo>
                  <a:pt x="1302" y="1554"/>
                </a:lnTo>
                <a:lnTo>
                  <a:pt x="1290" y="1554"/>
                </a:lnTo>
                <a:lnTo>
                  <a:pt x="1278" y="1542"/>
                </a:lnTo>
                <a:lnTo>
                  <a:pt x="1272" y="1530"/>
                </a:lnTo>
                <a:lnTo>
                  <a:pt x="1272" y="1524"/>
                </a:lnTo>
                <a:lnTo>
                  <a:pt x="1272" y="1518"/>
                </a:lnTo>
                <a:lnTo>
                  <a:pt x="1266" y="1518"/>
                </a:lnTo>
                <a:lnTo>
                  <a:pt x="1266" y="1512"/>
                </a:lnTo>
                <a:lnTo>
                  <a:pt x="1266" y="1506"/>
                </a:lnTo>
                <a:lnTo>
                  <a:pt x="1272" y="1506"/>
                </a:lnTo>
                <a:lnTo>
                  <a:pt x="1272" y="1500"/>
                </a:lnTo>
                <a:lnTo>
                  <a:pt x="1278" y="1500"/>
                </a:lnTo>
                <a:lnTo>
                  <a:pt x="1278" y="1494"/>
                </a:lnTo>
                <a:lnTo>
                  <a:pt x="1278" y="1488"/>
                </a:lnTo>
                <a:lnTo>
                  <a:pt x="1284" y="1488"/>
                </a:lnTo>
                <a:lnTo>
                  <a:pt x="1284" y="1482"/>
                </a:lnTo>
                <a:lnTo>
                  <a:pt x="1290" y="1476"/>
                </a:lnTo>
                <a:lnTo>
                  <a:pt x="1284" y="1470"/>
                </a:lnTo>
                <a:lnTo>
                  <a:pt x="1278" y="1458"/>
                </a:lnTo>
                <a:lnTo>
                  <a:pt x="1278" y="1452"/>
                </a:lnTo>
                <a:lnTo>
                  <a:pt x="1260" y="1428"/>
                </a:lnTo>
                <a:lnTo>
                  <a:pt x="1254" y="1416"/>
                </a:lnTo>
                <a:lnTo>
                  <a:pt x="1254" y="1410"/>
                </a:lnTo>
                <a:lnTo>
                  <a:pt x="1248" y="1398"/>
                </a:lnTo>
                <a:lnTo>
                  <a:pt x="1242" y="1398"/>
                </a:lnTo>
                <a:lnTo>
                  <a:pt x="1236" y="1398"/>
                </a:lnTo>
                <a:lnTo>
                  <a:pt x="1218" y="1386"/>
                </a:lnTo>
                <a:lnTo>
                  <a:pt x="1212" y="1362"/>
                </a:lnTo>
                <a:lnTo>
                  <a:pt x="1200" y="1344"/>
                </a:lnTo>
                <a:lnTo>
                  <a:pt x="1188" y="1338"/>
                </a:lnTo>
                <a:lnTo>
                  <a:pt x="1164" y="1338"/>
                </a:lnTo>
                <a:lnTo>
                  <a:pt x="1158" y="1344"/>
                </a:lnTo>
                <a:lnTo>
                  <a:pt x="1152" y="1350"/>
                </a:lnTo>
                <a:lnTo>
                  <a:pt x="1152" y="1356"/>
                </a:lnTo>
                <a:lnTo>
                  <a:pt x="1140" y="1362"/>
                </a:lnTo>
                <a:lnTo>
                  <a:pt x="1134" y="1380"/>
                </a:lnTo>
                <a:lnTo>
                  <a:pt x="1116" y="1398"/>
                </a:lnTo>
                <a:lnTo>
                  <a:pt x="1110" y="1416"/>
                </a:lnTo>
                <a:lnTo>
                  <a:pt x="1086" y="1416"/>
                </a:lnTo>
                <a:lnTo>
                  <a:pt x="1080" y="1410"/>
                </a:lnTo>
                <a:lnTo>
                  <a:pt x="1074" y="1410"/>
                </a:lnTo>
                <a:lnTo>
                  <a:pt x="1074" y="1404"/>
                </a:lnTo>
                <a:lnTo>
                  <a:pt x="1062" y="1404"/>
                </a:lnTo>
                <a:lnTo>
                  <a:pt x="1062" y="1380"/>
                </a:lnTo>
                <a:lnTo>
                  <a:pt x="1038" y="1380"/>
                </a:lnTo>
                <a:lnTo>
                  <a:pt x="1026" y="1350"/>
                </a:lnTo>
                <a:lnTo>
                  <a:pt x="996" y="1326"/>
                </a:lnTo>
                <a:lnTo>
                  <a:pt x="966" y="1314"/>
                </a:lnTo>
                <a:lnTo>
                  <a:pt x="954" y="1320"/>
                </a:lnTo>
                <a:lnTo>
                  <a:pt x="942" y="1338"/>
                </a:lnTo>
                <a:lnTo>
                  <a:pt x="930" y="1338"/>
                </a:lnTo>
                <a:lnTo>
                  <a:pt x="924" y="1350"/>
                </a:lnTo>
                <a:lnTo>
                  <a:pt x="906" y="1356"/>
                </a:lnTo>
                <a:lnTo>
                  <a:pt x="846" y="1356"/>
                </a:lnTo>
                <a:lnTo>
                  <a:pt x="834" y="1368"/>
                </a:lnTo>
                <a:lnTo>
                  <a:pt x="810" y="1362"/>
                </a:lnTo>
                <a:lnTo>
                  <a:pt x="792" y="1362"/>
                </a:lnTo>
                <a:lnTo>
                  <a:pt x="780" y="1368"/>
                </a:lnTo>
                <a:lnTo>
                  <a:pt x="762" y="1368"/>
                </a:lnTo>
                <a:lnTo>
                  <a:pt x="762" y="1362"/>
                </a:lnTo>
                <a:lnTo>
                  <a:pt x="750" y="1362"/>
                </a:lnTo>
                <a:lnTo>
                  <a:pt x="750" y="1338"/>
                </a:lnTo>
                <a:lnTo>
                  <a:pt x="762" y="1338"/>
                </a:lnTo>
                <a:lnTo>
                  <a:pt x="762" y="1326"/>
                </a:lnTo>
                <a:lnTo>
                  <a:pt x="762" y="1314"/>
                </a:lnTo>
                <a:lnTo>
                  <a:pt x="732" y="1314"/>
                </a:lnTo>
                <a:lnTo>
                  <a:pt x="726" y="1308"/>
                </a:lnTo>
                <a:lnTo>
                  <a:pt x="732" y="1284"/>
                </a:lnTo>
                <a:lnTo>
                  <a:pt x="732" y="1278"/>
                </a:lnTo>
                <a:lnTo>
                  <a:pt x="738" y="1272"/>
                </a:lnTo>
                <a:lnTo>
                  <a:pt x="738" y="1266"/>
                </a:lnTo>
                <a:lnTo>
                  <a:pt x="744" y="1266"/>
                </a:lnTo>
                <a:lnTo>
                  <a:pt x="750" y="1272"/>
                </a:lnTo>
                <a:lnTo>
                  <a:pt x="756" y="1266"/>
                </a:lnTo>
                <a:lnTo>
                  <a:pt x="762" y="1266"/>
                </a:lnTo>
                <a:lnTo>
                  <a:pt x="768" y="1260"/>
                </a:lnTo>
                <a:lnTo>
                  <a:pt x="774" y="1260"/>
                </a:lnTo>
                <a:lnTo>
                  <a:pt x="780" y="1254"/>
                </a:lnTo>
                <a:lnTo>
                  <a:pt x="774" y="1254"/>
                </a:lnTo>
                <a:lnTo>
                  <a:pt x="768" y="1254"/>
                </a:lnTo>
                <a:lnTo>
                  <a:pt x="774" y="1248"/>
                </a:lnTo>
                <a:lnTo>
                  <a:pt x="774" y="1242"/>
                </a:lnTo>
                <a:lnTo>
                  <a:pt x="780" y="1236"/>
                </a:lnTo>
                <a:lnTo>
                  <a:pt x="786" y="1236"/>
                </a:lnTo>
                <a:lnTo>
                  <a:pt x="792" y="1230"/>
                </a:lnTo>
                <a:lnTo>
                  <a:pt x="792" y="1236"/>
                </a:lnTo>
                <a:lnTo>
                  <a:pt x="798" y="1236"/>
                </a:lnTo>
                <a:lnTo>
                  <a:pt x="798" y="1230"/>
                </a:lnTo>
                <a:lnTo>
                  <a:pt x="804" y="1230"/>
                </a:lnTo>
                <a:lnTo>
                  <a:pt x="804" y="1218"/>
                </a:lnTo>
                <a:lnTo>
                  <a:pt x="804" y="1206"/>
                </a:lnTo>
                <a:lnTo>
                  <a:pt x="792" y="1188"/>
                </a:lnTo>
                <a:lnTo>
                  <a:pt x="768" y="1182"/>
                </a:lnTo>
                <a:lnTo>
                  <a:pt x="768" y="1170"/>
                </a:lnTo>
                <a:lnTo>
                  <a:pt x="774" y="1170"/>
                </a:lnTo>
                <a:lnTo>
                  <a:pt x="780" y="1170"/>
                </a:lnTo>
                <a:lnTo>
                  <a:pt x="786" y="1170"/>
                </a:lnTo>
                <a:lnTo>
                  <a:pt x="780" y="1152"/>
                </a:lnTo>
                <a:lnTo>
                  <a:pt x="780" y="1146"/>
                </a:lnTo>
                <a:lnTo>
                  <a:pt x="744" y="1140"/>
                </a:lnTo>
                <a:lnTo>
                  <a:pt x="732" y="1128"/>
                </a:lnTo>
                <a:lnTo>
                  <a:pt x="720" y="1122"/>
                </a:lnTo>
                <a:lnTo>
                  <a:pt x="732" y="1116"/>
                </a:lnTo>
                <a:lnTo>
                  <a:pt x="750" y="1104"/>
                </a:lnTo>
                <a:lnTo>
                  <a:pt x="756" y="1116"/>
                </a:lnTo>
                <a:lnTo>
                  <a:pt x="774" y="1116"/>
                </a:lnTo>
                <a:lnTo>
                  <a:pt x="780" y="1104"/>
                </a:lnTo>
                <a:lnTo>
                  <a:pt x="780" y="1080"/>
                </a:lnTo>
                <a:lnTo>
                  <a:pt x="786" y="1080"/>
                </a:lnTo>
                <a:lnTo>
                  <a:pt x="786" y="1074"/>
                </a:lnTo>
                <a:lnTo>
                  <a:pt x="792" y="1074"/>
                </a:lnTo>
                <a:lnTo>
                  <a:pt x="786" y="1068"/>
                </a:lnTo>
                <a:lnTo>
                  <a:pt x="786" y="1062"/>
                </a:lnTo>
                <a:lnTo>
                  <a:pt x="786" y="1056"/>
                </a:lnTo>
                <a:lnTo>
                  <a:pt x="792" y="1050"/>
                </a:lnTo>
                <a:lnTo>
                  <a:pt x="786" y="1020"/>
                </a:lnTo>
                <a:lnTo>
                  <a:pt x="780" y="960"/>
                </a:lnTo>
                <a:lnTo>
                  <a:pt x="768" y="942"/>
                </a:lnTo>
                <a:lnTo>
                  <a:pt x="732" y="936"/>
                </a:lnTo>
                <a:lnTo>
                  <a:pt x="732" y="942"/>
                </a:lnTo>
                <a:lnTo>
                  <a:pt x="726" y="942"/>
                </a:lnTo>
                <a:lnTo>
                  <a:pt x="720" y="936"/>
                </a:lnTo>
                <a:lnTo>
                  <a:pt x="714" y="942"/>
                </a:lnTo>
                <a:lnTo>
                  <a:pt x="708" y="942"/>
                </a:lnTo>
                <a:lnTo>
                  <a:pt x="702" y="942"/>
                </a:lnTo>
                <a:lnTo>
                  <a:pt x="690" y="936"/>
                </a:lnTo>
                <a:lnTo>
                  <a:pt x="684" y="936"/>
                </a:lnTo>
                <a:lnTo>
                  <a:pt x="678" y="936"/>
                </a:lnTo>
                <a:lnTo>
                  <a:pt x="672" y="936"/>
                </a:lnTo>
                <a:lnTo>
                  <a:pt x="666" y="942"/>
                </a:lnTo>
                <a:lnTo>
                  <a:pt x="660" y="942"/>
                </a:lnTo>
                <a:lnTo>
                  <a:pt x="654" y="942"/>
                </a:lnTo>
                <a:lnTo>
                  <a:pt x="648" y="942"/>
                </a:lnTo>
                <a:lnTo>
                  <a:pt x="642" y="936"/>
                </a:lnTo>
                <a:lnTo>
                  <a:pt x="636" y="936"/>
                </a:lnTo>
                <a:lnTo>
                  <a:pt x="630" y="930"/>
                </a:lnTo>
                <a:lnTo>
                  <a:pt x="618" y="930"/>
                </a:lnTo>
                <a:lnTo>
                  <a:pt x="612" y="930"/>
                </a:lnTo>
                <a:lnTo>
                  <a:pt x="606" y="936"/>
                </a:lnTo>
                <a:lnTo>
                  <a:pt x="600" y="942"/>
                </a:lnTo>
                <a:lnTo>
                  <a:pt x="600" y="936"/>
                </a:lnTo>
                <a:lnTo>
                  <a:pt x="594" y="930"/>
                </a:lnTo>
                <a:lnTo>
                  <a:pt x="588" y="930"/>
                </a:lnTo>
                <a:lnTo>
                  <a:pt x="582" y="930"/>
                </a:lnTo>
                <a:lnTo>
                  <a:pt x="576" y="930"/>
                </a:lnTo>
                <a:lnTo>
                  <a:pt x="564" y="936"/>
                </a:lnTo>
                <a:lnTo>
                  <a:pt x="558" y="936"/>
                </a:lnTo>
                <a:lnTo>
                  <a:pt x="546" y="924"/>
                </a:lnTo>
                <a:lnTo>
                  <a:pt x="540" y="924"/>
                </a:lnTo>
                <a:lnTo>
                  <a:pt x="534" y="918"/>
                </a:lnTo>
                <a:lnTo>
                  <a:pt x="528" y="918"/>
                </a:lnTo>
                <a:lnTo>
                  <a:pt x="516" y="918"/>
                </a:lnTo>
                <a:lnTo>
                  <a:pt x="516" y="924"/>
                </a:lnTo>
                <a:lnTo>
                  <a:pt x="516" y="918"/>
                </a:lnTo>
                <a:lnTo>
                  <a:pt x="516" y="912"/>
                </a:lnTo>
                <a:lnTo>
                  <a:pt x="510" y="894"/>
                </a:lnTo>
                <a:lnTo>
                  <a:pt x="510" y="882"/>
                </a:lnTo>
                <a:lnTo>
                  <a:pt x="510" y="876"/>
                </a:lnTo>
                <a:lnTo>
                  <a:pt x="516" y="870"/>
                </a:lnTo>
                <a:lnTo>
                  <a:pt x="510" y="864"/>
                </a:lnTo>
                <a:lnTo>
                  <a:pt x="516" y="858"/>
                </a:lnTo>
                <a:lnTo>
                  <a:pt x="522" y="858"/>
                </a:lnTo>
                <a:lnTo>
                  <a:pt x="528" y="858"/>
                </a:lnTo>
                <a:lnTo>
                  <a:pt x="522" y="852"/>
                </a:lnTo>
                <a:lnTo>
                  <a:pt x="528" y="852"/>
                </a:lnTo>
                <a:lnTo>
                  <a:pt x="528" y="846"/>
                </a:lnTo>
                <a:lnTo>
                  <a:pt x="552" y="846"/>
                </a:lnTo>
                <a:lnTo>
                  <a:pt x="558" y="840"/>
                </a:lnTo>
                <a:lnTo>
                  <a:pt x="564" y="828"/>
                </a:lnTo>
                <a:lnTo>
                  <a:pt x="570" y="816"/>
                </a:lnTo>
                <a:lnTo>
                  <a:pt x="582" y="810"/>
                </a:lnTo>
                <a:lnTo>
                  <a:pt x="588" y="804"/>
                </a:lnTo>
                <a:lnTo>
                  <a:pt x="594" y="804"/>
                </a:lnTo>
                <a:lnTo>
                  <a:pt x="594" y="792"/>
                </a:lnTo>
                <a:lnTo>
                  <a:pt x="600" y="786"/>
                </a:lnTo>
                <a:lnTo>
                  <a:pt x="606" y="780"/>
                </a:lnTo>
                <a:lnTo>
                  <a:pt x="612" y="774"/>
                </a:lnTo>
                <a:lnTo>
                  <a:pt x="618" y="774"/>
                </a:lnTo>
                <a:lnTo>
                  <a:pt x="618" y="768"/>
                </a:lnTo>
                <a:lnTo>
                  <a:pt x="618" y="762"/>
                </a:lnTo>
                <a:lnTo>
                  <a:pt x="624" y="756"/>
                </a:lnTo>
                <a:lnTo>
                  <a:pt x="618" y="750"/>
                </a:lnTo>
                <a:lnTo>
                  <a:pt x="618" y="744"/>
                </a:lnTo>
                <a:lnTo>
                  <a:pt x="600" y="738"/>
                </a:lnTo>
                <a:lnTo>
                  <a:pt x="558" y="744"/>
                </a:lnTo>
                <a:lnTo>
                  <a:pt x="552" y="732"/>
                </a:lnTo>
                <a:lnTo>
                  <a:pt x="546" y="720"/>
                </a:lnTo>
                <a:lnTo>
                  <a:pt x="564" y="702"/>
                </a:lnTo>
                <a:lnTo>
                  <a:pt x="570" y="684"/>
                </a:lnTo>
                <a:lnTo>
                  <a:pt x="564" y="648"/>
                </a:lnTo>
                <a:lnTo>
                  <a:pt x="534" y="624"/>
                </a:lnTo>
                <a:lnTo>
                  <a:pt x="504" y="612"/>
                </a:lnTo>
                <a:lnTo>
                  <a:pt x="498" y="606"/>
                </a:lnTo>
                <a:lnTo>
                  <a:pt x="492" y="600"/>
                </a:lnTo>
                <a:lnTo>
                  <a:pt x="486" y="606"/>
                </a:lnTo>
                <a:lnTo>
                  <a:pt x="480" y="558"/>
                </a:lnTo>
                <a:lnTo>
                  <a:pt x="462" y="546"/>
                </a:lnTo>
                <a:lnTo>
                  <a:pt x="408" y="540"/>
                </a:lnTo>
                <a:lnTo>
                  <a:pt x="408" y="546"/>
                </a:lnTo>
                <a:lnTo>
                  <a:pt x="408" y="558"/>
                </a:lnTo>
                <a:lnTo>
                  <a:pt x="408" y="564"/>
                </a:lnTo>
                <a:lnTo>
                  <a:pt x="408" y="570"/>
                </a:lnTo>
                <a:lnTo>
                  <a:pt x="414" y="582"/>
                </a:lnTo>
                <a:lnTo>
                  <a:pt x="408" y="594"/>
                </a:lnTo>
                <a:lnTo>
                  <a:pt x="414" y="594"/>
                </a:lnTo>
                <a:lnTo>
                  <a:pt x="408" y="600"/>
                </a:lnTo>
                <a:lnTo>
                  <a:pt x="348" y="600"/>
                </a:lnTo>
                <a:lnTo>
                  <a:pt x="324" y="600"/>
                </a:lnTo>
                <a:lnTo>
                  <a:pt x="324" y="612"/>
                </a:lnTo>
                <a:lnTo>
                  <a:pt x="306" y="618"/>
                </a:lnTo>
                <a:lnTo>
                  <a:pt x="312" y="618"/>
                </a:lnTo>
                <a:lnTo>
                  <a:pt x="294" y="588"/>
                </a:lnTo>
                <a:lnTo>
                  <a:pt x="258" y="564"/>
                </a:lnTo>
                <a:lnTo>
                  <a:pt x="252" y="564"/>
                </a:lnTo>
                <a:lnTo>
                  <a:pt x="252" y="576"/>
                </a:lnTo>
                <a:lnTo>
                  <a:pt x="240" y="582"/>
                </a:lnTo>
                <a:lnTo>
                  <a:pt x="234" y="582"/>
                </a:lnTo>
                <a:lnTo>
                  <a:pt x="228" y="588"/>
                </a:lnTo>
                <a:lnTo>
                  <a:pt x="222" y="588"/>
                </a:lnTo>
                <a:lnTo>
                  <a:pt x="216" y="594"/>
                </a:lnTo>
                <a:lnTo>
                  <a:pt x="204" y="594"/>
                </a:lnTo>
                <a:lnTo>
                  <a:pt x="198" y="600"/>
                </a:lnTo>
                <a:lnTo>
                  <a:pt x="192" y="612"/>
                </a:lnTo>
                <a:lnTo>
                  <a:pt x="192" y="618"/>
                </a:lnTo>
                <a:lnTo>
                  <a:pt x="198" y="624"/>
                </a:lnTo>
                <a:lnTo>
                  <a:pt x="192" y="624"/>
                </a:lnTo>
                <a:lnTo>
                  <a:pt x="192" y="630"/>
                </a:lnTo>
                <a:lnTo>
                  <a:pt x="192" y="642"/>
                </a:lnTo>
                <a:lnTo>
                  <a:pt x="180" y="648"/>
                </a:lnTo>
                <a:lnTo>
                  <a:pt x="174" y="654"/>
                </a:lnTo>
                <a:lnTo>
                  <a:pt x="168" y="660"/>
                </a:lnTo>
                <a:lnTo>
                  <a:pt x="162" y="660"/>
                </a:lnTo>
                <a:lnTo>
                  <a:pt x="156" y="666"/>
                </a:lnTo>
                <a:lnTo>
                  <a:pt x="156" y="672"/>
                </a:lnTo>
                <a:lnTo>
                  <a:pt x="150" y="678"/>
                </a:lnTo>
                <a:lnTo>
                  <a:pt x="144" y="684"/>
                </a:lnTo>
                <a:lnTo>
                  <a:pt x="138" y="690"/>
                </a:lnTo>
                <a:lnTo>
                  <a:pt x="132" y="690"/>
                </a:lnTo>
                <a:lnTo>
                  <a:pt x="126" y="702"/>
                </a:lnTo>
                <a:lnTo>
                  <a:pt x="132" y="708"/>
                </a:lnTo>
                <a:lnTo>
                  <a:pt x="126" y="708"/>
                </a:lnTo>
                <a:lnTo>
                  <a:pt x="120" y="708"/>
                </a:lnTo>
                <a:lnTo>
                  <a:pt x="114" y="708"/>
                </a:lnTo>
                <a:lnTo>
                  <a:pt x="108" y="708"/>
                </a:lnTo>
                <a:lnTo>
                  <a:pt x="108" y="714"/>
                </a:lnTo>
                <a:lnTo>
                  <a:pt x="102" y="714"/>
                </a:lnTo>
                <a:lnTo>
                  <a:pt x="96" y="714"/>
                </a:lnTo>
                <a:lnTo>
                  <a:pt x="90" y="714"/>
                </a:lnTo>
                <a:lnTo>
                  <a:pt x="84" y="714"/>
                </a:lnTo>
                <a:lnTo>
                  <a:pt x="78" y="720"/>
                </a:lnTo>
                <a:lnTo>
                  <a:pt x="72" y="720"/>
                </a:lnTo>
                <a:lnTo>
                  <a:pt x="66" y="720"/>
                </a:lnTo>
                <a:lnTo>
                  <a:pt x="54" y="732"/>
                </a:lnTo>
                <a:lnTo>
                  <a:pt x="48" y="702"/>
                </a:lnTo>
                <a:lnTo>
                  <a:pt x="36" y="666"/>
                </a:lnTo>
                <a:lnTo>
                  <a:pt x="0" y="660"/>
                </a:lnTo>
                <a:lnTo>
                  <a:pt x="6" y="660"/>
                </a:lnTo>
                <a:lnTo>
                  <a:pt x="6" y="654"/>
                </a:lnTo>
                <a:lnTo>
                  <a:pt x="6" y="648"/>
                </a:lnTo>
                <a:lnTo>
                  <a:pt x="6" y="642"/>
                </a:lnTo>
                <a:lnTo>
                  <a:pt x="6" y="624"/>
                </a:lnTo>
                <a:lnTo>
                  <a:pt x="6" y="612"/>
                </a:lnTo>
                <a:lnTo>
                  <a:pt x="6" y="606"/>
                </a:lnTo>
                <a:lnTo>
                  <a:pt x="12" y="612"/>
                </a:lnTo>
                <a:lnTo>
                  <a:pt x="18" y="606"/>
                </a:lnTo>
                <a:lnTo>
                  <a:pt x="24" y="606"/>
                </a:lnTo>
                <a:lnTo>
                  <a:pt x="24" y="600"/>
                </a:lnTo>
                <a:lnTo>
                  <a:pt x="30" y="594"/>
                </a:lnTo>
                <a:lnTo>
                  <a:pt x="30" y="588"/>
                </a:lnTo>
                <a:lnTo>
                  <a:pt x="30" y="582"/>
                </a:lnTo>
                <a:lnTo>
                  <a:pt x="24" y="576"/>
                </a:lnTo>
                <a:lnTo>
                  <a:pt x="18" y="576"/>
                </a:lnTo>
                <a:lnTo>
                  <a:pt x="18" y="570"/>
                </a:lnTo>
                <a:lnTo>
                  <a:pt x="18" y="558"/>
                </a:lnTo>
                <a:lnTo>
                  <a:pt x="24" y="558"/>
                </a:lnTo>
                <a:lnTo>
                  <a:pt x="30" y="552"/>
                </a:lnTo>
                <a:lnTo>
                  <a:pt x="30" y="540"/>
                </a:lnTo>
                <a:lnTo>
                  <a:pt x="36" y="528"/>
                </a:lnTo>
                <a:lnTo>
                  <a:pt x="30" y="522"/>
                </a:lnTo>
                <a:lnTo>
                  <a:pt x="24" y="522"/>
                </a:lnTo>
                <a:lnTo>
                  <a:pt x="18" y="510"/>
                </a:lnTo>
                <a:lnTo>
                  <a:pt x="12" y="516"/>
                </a:lnTo>
                <a:lnTo>
                  <a:pt x="6" y="510"/>
                </a:lnTo>
                <a:lnTo>
                  <a:pt x="6" y="504"/>
                </a:lnTo>
                <a:lnTo>
                  <a:pt x="18" y="498"/>
                </a:lnTo>
                <a:lnTo>
                  <a:pt x="18" y="492"/>
                </a:lnTo>
                <a:lnTo>
                  <a:pt x="18" y="486"/>
                </a:lnTo>
                <a:lnTo>
                  <a:pt x="18" y="480"/>
                </a:lnTo>
                <a:lnTo>
                  <a:pt x="18" y="474"/>
                </a:lnTo>
                <a:lnTo>
                  <a:pt x="12" y="468"/>
                </a:lnTo>
                <a:lnTo>
                  <a:pt x="12" y="462"/>
                </a:lnTo>
                <a:lnTo>
                  <a:pt x="18" y="456"/>
                </a:lnTo>
                <a:lnTo>
                  <a:pt x="18" y="444"/>
                </a:lnTo>
                <a:lnTo>
                  <a:pt x="18" y="438"/>
                </a:lnTo>
                <a:lnTo>
                  <a:pt x="24" y="438"/>
                </a:lnTo>
                <a:lnTo>
                  <a:pt x="30" y="432"/>
                </a:lnTo>
                <a:lnTo>
                  <a:pt x="30" y="426"/>
                </a:lnTo>
                <a:lnTo>
                  <a:pt x="30" y="420"/>
                </a:lnTo>
                <a:lnTo>
                  <a:pt x="30" y="414"/>
                </a:lnTo>
                <a:lnTo>
                  <a:pt x="48" y="414"/>
                </a:lnTo>
                <a:lnTo>
                  <a:pt x="54" y="408"/>
                </a:lnTo>
                <a:lnTo>
                  <a:pt x="60" y="402"/>
                </a:lnTo>
                <a:lnTo>
                  <a:pt x="66" y="402"/>
                </a:lnTo>
                <a:lnTo>
                  <a:pt x="72" y="402"/>
                </a:lnTo>
                <a:lnTo>
                  <a:pt x="78" y="408"/>
                </a:lnTo>
                <a:lnTo>
                  <a:pt x="84" y="396"/>
                </a:lnTo>
                <a:lnTo>
                  <a:pt x="90" y="390"/>
                </a:lnTo>
                <a:lnTo>
                  <a:pt x="90" y="378"/>
                </a:lnTo>
                <a:lnTo>
                  <a:pt x="96" y="372"/>
                </a:lnTo>
                <a:lnTo>
                  <a:pt x="96" y="366"/>
                </a:lnTo>
                <a:lnTo>
                  <a:pt x="96" y="360"/>
                </a:lnTo>
                <a:lnTo>
                  <a:pt x="108" y="354"/>
                </a:lnTo>
                <a:lnTo>
                  <a:pt x="114" y="348"/>
                </a:lnTo>
                <a:lnTo>
                  <a:pt x="120" y="342"/>
                </a:lnTo>
                <a:lnTo>
                  <a:pt x="120" y="348"/>
                </a:lnTo>
                <a:lnTo>
                  <a:pt x="126" y="348"/>
                </a:lnTo>
                <a:lnTo>
                  <a:pt x="132" y="336"/>
                </a:lnTo>
                <a:lnTo>
                  <a:pt x="132" y="330"/>
                </a:lnTo>
                <a:lnTo>
                  <a:pt x="138" y="324"/>
                </a:lnTo>
                <a:lnTo>
                  <a:pt x="138" y="318"/>
                </a:lnTo>
                <a:lnTo>
                  <a:pt x="144" y="306"/>
                </a:lnTo>
                <a:lnTo>
                  <a:pt x="156" y="306"/>
                </a:lnTo>
                <a:lnTo>
                  <a:pt x="186" y="300"/>
                </a:lnTo>
                <a:lnTo>
                  <a:pt x="198" y="300"/>
                </a:lnTo>
                <a:lnTo>
                  <a:pt x="210" y="300"/>
                </a:lnTo>
                <a:lnTo>
                  <a:pt x="222" y="300"/>
                </a:lnTo>
                <a:lnTo>
                  <a:pt x="246" y="300"/>
                </a:lnTo>
                <a:lnTo>
                  <a:pt x="264" y="312"/>
                </a:lnTo>
                <a:lnTo>
                  <a:pt x="270" y="312"/>
                </a:lnTo>
                <a:lnTo>
                  <a:pt x="282" y="306"/>
                </a:lnTo>
                <a:lnTo>
                  <a:pt x="288" y="300"/>
                </a:lnTo>
                <a:lnTo>
                  <a:pt x="294" y="306"/>
                </a:lnTo>
                <a:lnTo>
                  <a:pt x="300" y="306"/>
                </a:lnTo>
                <a:lnTo>
                  <a:pt x="312" y="306"/>
                </a:lnTo>
                <a:lnTo>
                  <a:pt x="318" y="300"/>
                </a:lnTo>
                <a:lnTo>
                  <a:pt x="324" y="300"/>
                </a:lnTo>
                <a:lnTo>
                  <a:pt x="330" y="294"/>
                </a:lnTo>
                <a:lnTo>
                  <a:pt x="336" y="288"/>
                </a:lnTo>
                <a:lnTo>
                  <a:pt x="354" y="288"/>
                </a:lnTo>
                <a:lnTo>
                  <a:pt x="360" y="288"/>
                </a:lnTo>
                <a:lnTo>
                  <a:pt x="366" y="282"/>
                </a:lnTo>
                <a:lnTo>
                  <a:pt x="372" y="282"/>
                </a:lnTo>
                <a:lnTo>
                  <a:pt x="378" y="282"/>
                </a:lnTo>
                <a:lnTo>
                  <a:pt x="384" y="276"/>
                </a:lnTo>
                <a:lnTo>
                  <a:pt x="384" y="270"/>
                </a:lnTo>
                <a:lnTo>
                  <a:pt x="390" y="264"/>
                </a:lnTo>
                <a:lnTo>
                  <a:pt x="402" y="258"/>
                </a:lnTo>
                <a:lnTo>
                  <a:pt x="402" y="252"/>
                </a:lnTo>
                <a:lnTo>
                  <a:pt x="402" y="246"/>
                </a:lnTo>
                <a:lnTo>
                  <a:pt x="408" y="234"/>
                </a:lnTo>
                <a:lnTo>
                  <a:pt x="414" y="234"/>
                </a:lnTo>
                <a:lnTo>
                  <a:pt x="414" y="228"/>
                </a:lnTo>
                <a:lnTo>
                  <a:pt x="420" y="222"/>
                </a:lnTo>
                <a:lnTo>
                  <a:pt x="414" y="216"/>
                </a:lnTo>
                <a:lnTo>
                  <a:pt x="414" y="210"/>
                </a:lnTo>
                <a:lnTo>
                  <a:pt x="420" y="210"/>
                </a:lnTo>
                <a:lnTo>
                  <a:pt x="414" y="198"/>
                </a:lnTo>
                <a:lnTo>
                  <a:pt x="414" y="192"/>
                </a:lnTo>
                <a:lnTo>
                  <a:pt x="420" y="192"/>
                </a:lnTo>
                <a:lnTo>
                  <a:pt x="420" y="186"/>
                </a:lnTo>
                <a:lnTo>
                  <a:pt x="420" y="174"/>
                </a:lnTo>
                <a:lnTo>
                  <a:pt x="420" y="168"/>
                </a:lnTo>
                <a:lnTo>
                  <a:pt x="426" y="162"/>
                </a:lnTo>
                <a:lnTo>
                  <a:pt x="432" y="156"/>
                </a:lnTo>
                <a:lnTo>
                  <a:pt x="438" y="144"/>
                </a:lnTo>
                <a:lnTo>
                  <a:pt x="444" y="144"/>
                </a:lnTo>
                <a:lnTo>
                  <a:pt x="450" y="138"/>
                </a:lnTo>
                <a:lnTo>
                  <a:pt x="456" y="138"/>
                </a:lnTo>
                <a:lnTo>
                  <a:pt x="462" y="132"/>
                </a:lnTo>
                <a:lnTo>
                  <a:pt x="462" y="126"/>
                </a:lnTo>
                <a:lnTo>
                  <a:pt x="468" y="126"/>
                </a:lnTo>
                <a:lnTo>
                  <a:pt x="474" y="126"/>
                </a:lnTo>
                <a:lnTo>
                  <a:pt x="480" y="120"/>
                </a:lnTo>
                <a:lnTo>
                  <a:pt x="486" y="108"/>
                </a:lnTo>
                <a:lnTo>
                  <a:pt x="492" y="108"/>
                </a:lnTo>
                <a:lnTo>
                  <a:pt x="498" y="102"/>
                </a:lnTo>
                <a:lnTo>
                  <a:pt x="504" y="96"/>
                </a:lnTo>
                <a:lnTo>
                  <a:pt x="504" y="108"/>
                </a:lnTo>
                <a:lnTo>
                  <a:pt x="522" y="102"/>
                </a:lnTo>
                <a:lnTo>
                  <a:pt x="540" y="102"/>
                </a:lnTo>
                <a:lnTo>
                  <a:pt x="552" y="108"/>
                </a:lnTo>
                <a:lnTo>
                  <a:pt x="582" y="102"/>
                </a:lnTo>
                <a:lnTo>
                  <a:pt x="594" y="126"/>
                </a:lnTo>
                <a:lnTo>
                  <a:pt x="594" y="144"/>
                </a:lnTo>
                <a:lnTo>
                  <a:pt x="588" y="156"/>
                </a:lnTo>
                <a:lnTo>
                  <a:pt x="588" y="168"/>
                </a:lnTo>
                <a:lnTo>
                  <a:pt x="582" y="180"/>
                </a:lnTo>
                <a:lnTo>
                  <a:pt x="570" y="192"/>
                </a:lnTo>
                <a:lnTo>
                  <a:pt x="594" y="192"/>
                </a:lnTo>
                <a:lnTo>
                  <a:pt x="618" y="198"/>
                </a:lnTo>
                <a:lnTo>
                  <a:pt x="642" y="210"/>
                </a:lnTo>
                <a:lnTo>
                  <a:pt x="660" y="234"/>
                </a:lnTo>
                <a:lnTo>
                  <a:pt x="678" y="246"/>
                </a:lnTo>
                <a:lnTo>
                  <a:pt x="684" y="252"/>
                </a:lnTo>
                <a:lnTo>
                  <a:pt x="702" y="252"/>
                </a:lnTo>
                <a:lnTo>
                  <a:pt x="732" y="234"/>
                </a:lnTo>
                <a:lnTo>
                  <a:pt x="732" y="222"/>
                </a:lnTo>
                <a:lnTo>
                  <a:pt x="720" y="216"/>
                </a:lnTo>
                <a:lnTo>
                  <a:pt x="714" y="198"/>
                </a:lnTo>
                <a:lnTo>
                  <a:pt x="714" y="174"/>
                </a:lnTo>
                <a:lnTo>
                  <a:pt x="720" y="162"/>
                </a:lnTo>
                <a:lnTo>
                  <a:pt x="726" y="162"/>
                </a:lnTo>
                <a:lnTo>
                  <a:pt x="732" y="156"/>
                </a:lnTo>
                <a:lnTo>
                  <a:pt x="744" y="150"/>
                </a:lnTo>
                <a:lnTo>
                  <a:pt x="774" y="162"/>
                </a:lnTo>
                <a:lnTo>
                  <a:pt x="786" y="162"/>
                </a:lnTo>
                <a:lnTo>
                  <a:pt x="816" y="162"/>
                </a:lnTo>
                <a:lnTo>
                  <a:pt x="816" y="156"/>
                </a:lnTo>
                <a:lnTo>
                  <a:pt x="816" y="150"/>
                </a:lnTo>
                <a:lnTo>
                  <a:pt x="822" y="144"/>
                </a:lnTo>
                <a:lnTo>
                  <a:pt x="822" y="138"/>
                </a:lnTo>
                <a:lnTo>
                  <a:pt x="822" y="132"/>
                </a:lnTo>
                <a:lnTo>
                  <a:pt x="822" y="114"/>
                </a:lnTo>
                <a:lnTo>
                  <a:pt x="828" y="108"/>
                </a:lnTo>
                <a:lnTo>
                  <a:pt x="834" y="96"/>
                </a:lnTo>
                <a:lnTo>
                  <a:pt x="846" y="96"/>
                </a:lnTo>
                <a:lnTo>
                  <a:pt x="858" y="90"/>
                </a:lnTo>
                <a:lnTo>
                  <a:pt x="870" y="84"/>
                </a:lnTo>
                <a:lnTo>
                  <a:pt x="888" y="84"/>
                </a:lnTo>
                <a:lnTo>
                  <a:pt x="894" y="90"/>
                </a:lnTo>
                <a:lnTo>
                  <a:pt x="894" y="102"/>
                </a:lnTo>
                <a:lnTo>
                  <a:pt x="900" y="102"/>
                </a:lnTo>
                <a:lnTo>
                  <a:pt x="906" y="114"/>
                </a:lnTo>
                <a:lnTo>
                  <a:pt x="930" y="120"/>
                </a:lnTo>
                <a:lnTo>
                  <a:pt x="942" y="126"/>
                </a:lnTo>
                <a:lnTo>
                  <a:pt x="948" y="132"/>
                </a:lnTo>
                <a:lnTo>
                  <a:pt x="954" y="138"/>
                </a:lnTo>
                <a:lnTo>
                  <a:pt x="966" y="144"/>
                </a:lnTo>
                <a:lnTo>
                  <a:pt x="966" y="150"/>
                </a:lnTo>
                <a:lnTo>
                  <a:pt x="972" y="150"/>
                </a:lnTo>
                <a:lnTo>
                  <a:pt x="978" y="150"/>
                </a:lnTo>
                <a:lnTo>
                  <a:pt x="978" y="144"/>
                </a:lnTo>
                <a:lnTo>
                  <a:pt x="984" y="144"/>
                </a:lnTo>
                <a:lnTo>
                  <a:pt x="990" y="138"/>
                </a:lnTo>
                <a:lnTo>
                  <a:pt x="996" y="138"/>
                </a:lnTo>
                <a:lnTo>
                  <a:pt x="1002" y="138"/>
                </a:lnTo>
                <a:lnTo>
                  <a:pt x="1008" y="138"/>
                </a:lnTo>
                <a:lnTo>
                  <a:pt x="1026" y="132"/>
                </a:lnTo>
                <a:lnTo>
                  <a:pt x="1044" y="126"/>
                </a:lnTo>
                <a:lnTo>
                  <a:pt x="1056" y="120"/>
                </a:lnTo>
                <a:lnTo>
                  <a:pt x="1062" y="108"/>
                </a:lnTo>
                <a:lnTo>
                  <a:pt x="1056" y="102"/>
                </a:lnTo>
                <a:lnTo>
                  <a:pt x="1062" y="96"/>
                </a:lnTo>
                <a:lnTo>
                  <a:pt x="1074" y="90"/>
                </a:lnTo>
                <a:lnTo>
                  <a:pt x="1080" y="84"/>
                </a:lnTo>
                <a:lnTo>
                  <a:pt x="1128" y="84"/>
                </a:lnTo>
                <a:lnTo>
                  <a:pt x="1134" y="84"/>
                </a:lnTo>
                <a:lnTo>
                  <a:pt x="1140" y="78"/>
                </a:lnTo>
                <a:lnTo>
                  <a:pt x="1152" y="72"/>
                </a:lnTo>
                <a:lnTo>
                  <a:pt x="1164" y="66"/>
                </a:lnTo>
                <a:lnTo>
                  <a:pt x="1170" y="60"/>
                </a:lnTo>
                <a:lnTo>
                  <a:pt x="1188" y="48"/>
                </a:lnTo>
                <a:lnTo>
                  <a:pt x="1200" y="36"/>
                </a:lnTo>
                <a:lnTo>
                  <a:pt x="1218" y="24"/>
                </a:lnTo>
                <a:lnTo>
                  <a:pt x="1248" y="24"/>
                </a:lnTo>
                <a:lnTo>
                  <a:pt x="1272" y="24"/>
                </a:lnTo>
                <a:lnTo>
                  <a:pt x="1284" y="12"/>
                </a:lnTo>
                <a:lnTo>
                  <a:pt x="1302" y="0"/>
                </a:lnTo>
                <a:lnTo>
                  <a:pt x="1314" y="0"/>
                </a:lnTo>
                <a:lnTo>
                  <a:pt x="1326" y="18"/>
                </a:lnTo>
                <a:lnTo>
                  <a:pt x="1338" y="30"/>
                </a:lnTo>
                <a:lnTo>
                  <a:pt x="1338" y="54"/>
                </a:lnTo>
                <a:lnTo>
                  <a:pt x="1332" y="72"/>
                </a:lnTo>
                <a:lnTo>
                  <a:pt x="1326" y="72"/>
                </a:lnTo>
                <a:lnTo>
                  <a:pt x="1326" y="78"/>
                </a:lnTo>
                <a:lnTo>
                  <a:pt x="1326" y="102"/>
                </a:lnTo>
                <a:lnTo>
                  <a:pt x="1332" y="102"/>
                </a:lnTo>
                <a:lnTo>
                  <a:pt x="1332" y="108"/>
                </a:lnTo>
                <a:lnTo>
                  <a:pt x="1344" y="114"/>
                </a:lnTo>
                <a:lnTo>
                  <a:pt x="1350" y="114"/>
                </a:lnTo>
                <a:lnTo>
                  <a:pt x="1368" y="126"/>
                </a:lnTo>
                <a:lnTo>
                  <a:pt x="1386" y="120"/>
                </a:lnTo>
                <a:lnTo>
                  <a:pt x="1404" y="132"/>
                </a:lnTo>
                <a:lnTo>
                  <a:pt x="1404" y="138"/>
                </a:lnTo>
                <a:lnTo>
                  <a:pt x="1410" y="150"/>
                </a:lnTo>
                <a:lnTo>
                  <a:pt x="1416" y="162"/>
                </a:lnTo>
                <a:lnTo>
                  <a:pt x="1428" y="168"/>
                </a:lnTo>
                <a:lnTo>
                  <a:pt x="1440" y="180"/>
                </a:lnTo>
                <a:lnTo>
                  <a:pt x="1476" y="174"/>
                </a:lnTo>
                <a:lnTo>
                  <a:pt x="1494" y="174"/>
                </a:lnTo>
                <a:lnTo>
                  <a:pt x="1512" y="192"/>
                </a:lnTo>
                <a:lnTo>
                  <a:pt x="1518" y="204"/>
                </a:lnTo>
                <a:lnTo>
                  <a:pt x="1530" y="216"/>
                </a:lnTo>
                <a:lnTo>
                  <a:pt x="1548" y="228"/>
                </a:lnTo>
                <a:lnTo>
                  <a:pt x="1548" y="234"/>
                </a:lnTo>
                <a:lnTo>
                  <a:pt x="1542" y="246"/>
                </a:lnTo>
                <a:lnTo>
                  <a:pt x="1560" y="246"/>
                </a:lnTo>
                <a:lnTo>
                  <a:pt x="1560" y="252"/>
                </a:lnTo>
                <a:lnTo>
                  <a:pt x="1566" y="258"/>
                </a:lnTo>
                <a:lnTo>
                  <a:pt x="1578" y="270"/>
                </a:lnTo>
                <a:lnTo>
                  <a:pt x="1596" y="270"/>
                </a:lnTo>
                <a:lnTo>
                  <a:pt x="1602" y="288"/>
                </a:lnTo>
                <a:lnTo>
                  <a:pt x="1608" y="306"/>
                </a:lnTo>
                <a:lnTo>
                  <a:pt x="1608" y="318"/>
                </a:lnTo>
                <a:lnTo>
                  <a:pt x="1608" y="324"/>
                </a:lnTo>
                <a:lnTo>
                  <a:pt x="1614" y="330"/>
                </a:lnTo>
                <a:lnTo>
                  <a:pt x="1614" y="336"/>
                </a:lnTo>
                <a:lnTo>
                  <a:pt x="1614" y="342"/>
                </a:lnTo>
                <a:lnTo>
                  <a:pt x="1614" y="354"/>
                </a:lnTo>
                <a:lnTo>
                  <a:pt x="1614" y="360"/>
                </a:lnTo>
                <a:lnTo>
                  <a:pt x="1614" y="372"/>
                </a:lnTo>
                <a:lnTo>
                  <a:pt x="1608" y="372"/>
                </a:lnTo>
                <a:lnTo>
                  <a:pt x="1608" y="378"/>
                </a:lnTo>
                <a:lnTo>
                  <a:pt x="1608" y="384"/>
                </a:lnTo>
                <a:lnTo>
                  <a:pt x="1608" y="390"/>
                </a:lnTo>
                <a:lnTo>
                  <a:pt x="1602" y="390"/>
                </a:lnTo>
                <a:lnTo>
                  <a:pt x="1602" y="396"/>
                </a:lnTo>
                <a:lnTo>
                  <a:pt x="1584" y="420"/>
                </a:lnTo>
                <a:lnTo>
                  <a:pt x="1584" y="426"/>
                </a:lnTo>
                <a:lnTo>
                  <a:pt x="1602" y="474"/>
                </a:lnTo>
                <a:lnTo>
                  <a:pt x="1608" y="480"/>
                </a:lnTo>
                <a:lnTo>
                  <a:pt x="1608" y="486"/>
                </a:lnTo>
                <a:lnTo>
                  <a:pt x="1614" y="486"/>
                </a:lnTo>
                <a:lnTo>
                  <a:pt x="1608" y="504"/>
                </a:lnTo>
                <a:lnTo>
                  <a:pt x="1572" y="504"/>
                </a:lnTo>
                <a:lnTo>
                  <a:pt x="1560" y="510"/>
                </a:lnTo>
                <a:lnTo>
                  <a:pt x="1554" y="522"/>
                </a:lnTo>
                <a:lnTo>
                  <a:pt x="1560" y="552"/>
                </a:lnTo>
                <a:lnTo>
                  <a:pt x="1566" y="552"/>
                </a:lnTo>
                <a:lnTo>
                  <a:pt x="1566" y="558"/>
                </a:lnTo>
                <a:lnTo>
                  <a:pt x="1572" y="558"/>
                </a:lnTo>
                <a:lnTo>
                  <a:pt x="1578" y="558"/>
                </a:lnTo>
                <a:lnTo>
                  <a:pt x="1578" y="552"/>
                </a:lnTo>
                <a:lnTo>
                  <a:pt x="1584" y="552"/>
                </a:lnTo>
                <a:lnTo>
                  <a:pt x="1590" y="552"/>
                </a:lnTo>
                <a:lnTo>
                  <a:pt x="1590" y="546"/>
                </a:lnTo>
                <a:lnTo>
                  <a:pt x="1596" y="546"/>
                </a:lnTo>
                <a:lnTo>
                  <a:pt x="1602" y="552"/>
                </a:lnTo>
                <a:lnTo>
                  <a:pt x="1602" y="546"/>
                </a:lnTo>
                <a:lnTo>
                  <a:pt x="1608" y="546"/>
                </a:lnTo>
                <a:lnTo>
                  <a:pt x="1608" y="552"/>
                </a:lnTo>
                <a:lnTo>
                  <a:pt x="1614" y="552"/>
                </a:lnTo>
                <a:lnTo>
                  <a:pt x="1614" y="546"/>
                </a:lnTo>
                <a:lnTo>
                  <a:pt x="1620" y="552"/>
                </a:lnTo>
                <a:lnTo>
                  <a:pt x="1626" y="552"/>
                </a:lnTo>
                <a:lnTo>
                  <a:pt x="1626" y="558"/>
                </a:lnTo>
                <a:lnTo>
                  <a:pt x="1632" y="558"/>
                </a:lnTo>
                <a:lnTo>
                  <a:pt x="1638" y="558"/>
                </a:lnTo>
                <a:lnTo>
                  <a:pt x="1644" y="558"/>
                </a:lnTo>
                <a:lnTo>
                  <a:pt x="1650" y="558"/>
                </a:lnTo>
                <a:lnTo>
                  <a:pt x="1650" y="564"/>
                </a:lnTo>
                <a:lnTo>
                  <a:pt x="1656" y="564"/>
                </a:lnTo>
                <a:lnTo>
                  <a:pt x="1662" y="564"/>
                </a:lnTo>
                <a:lnTo>
                  <a:pt x="1668" y="564"/>
                </a:lnTo>
                <a:lnTo>
                  <a:pt x="1668" y="570"/>
                </a:lnTo>
                <a:lnTo>
                  <a:pt x="1674" y="570"/>
                </a:lnTo>
                <a:lnTo>
                  <a:pt x="1680" y="570"/>
                </a:lnTo>
                <a:lnTo>
                  <a:pt x="1686" y="576"/>
                </a:lnTo>
                <a:lnTo>
                  <a:pt x="1686" y="582"/>
                </a:lnTo>
                <a:lnTo>
                  <a:pt x="1710" y="588"/>
                </a:lnTo>
                <a:lnTo>
                  <a:pt x="1710" y="594"/>
                </a:lnTo>
                <a:lnTo>
                  <a:pt x="1704" y="600"/>
                </a:lnTo>
                <a:lnTo>
                  <a:pt x="1710" y="624"/>
                </a:lnTo>
                <a:lnTo>
                  <a:pt x="1698" y="672"/>
                </a:lnTo>
                <a:lnTo>
                  <a:pt x="1704" y="678"/>
                </a:lnTo>
                <a:lnTo>
                  <a:pt x="1716" y="684"/>
                </a:lnTo>
                <a:lnTo>
                  <a:pt x="1716" y="678"/>
                </a:lnTo>
                <a:lnTo>
                  <a:pt x="1716" y="684"/>
                </a:lnTo>
                <a:lnTo>
                  <a:pt x="1728" y="684"/>
                </a:lnTo>
                <a:lnTo>
                  <a:pt x="1728" y="690"/>
                </a:lnTo>
                <a:lnTo>
                  <a:pt x="1734" y="696"/>
                </a:lnTo>
                <a:lnTo>
                  <a:pt x="1734" y="702"/>
                </a:lnTo>
                <a:lnTo>
                  <a:pt x="1740" y="708"/>
                </a:lnTo>
                <a:lnTo>
                  <a:pt x="1740" y="714"/>
                </a:lnTo>
                <a:lnTo>
                  <a:pt x="1710" y="714"/>
                </a:lnTo>
                <a:lnTo>
                  <a:pt x="1710" y="756"/>
                </a:lnTo>
                <a:lnTo>
                  <a:pt x="1704" y="762"/>
                </a:lnTo>
                <a:lnTo>
                  <a:pt x="1698" y="762"/>
                </a:lnTo>
                <a:lnTo>
                  <a:pt x="1698" y="768"/>
                </a:lnTo>
                <a:lnTo>
                  <a:pt x="1698" y="774"/>
                </a:lnTo>
                <a:lnTo>
                  <a:pt x="1692" y="780"/>
                </a:lnTo>
                <a:lnTo>
                  <a:pt x="1692" y="786"/>
                </a:lnTo>
                <a:lnTo>
                  <a:pt x="1686" y="786"/>
                </a:lnTo>
                <a:lnTo>
                  <a:pt x="1668" y="798"/>
                </a:lnTo>
                <a:lnTo>
                  <a:pt x="1662" y="810"/>
                </a:lnTo>
                <a:lnTo>
                  <a:pt x="1650" y="810"/>
                </a:lnTo>
                <a:lnTo>
                  <a:pt x="1644" y="816"/>
                </a:lnTo>
                <a:lnTo>
                  <a:pt x="1638" y="816"/>
                </a:lnTo>
                <a:lnTo>
                  <a:pt x="1626" y="852"/>
                </a:lnTo>
                <a:lnTo>
                  <a:pt x="1620" y="888"/>
                </a:lnTo>
                <a:lnTo>
                  <a:pt x="1626" y="888"/>
                </a:lnTo>
                <a:lnTo>
                  <a:pt x="1638" y="912"/>
                </a:lnTo>
                <a:lnTo>
                  <a:pt x="1644" y="918"/>
                </a:lnTo>
                <a:lnTo>
                  <a:pt x="1650" y="966"/>
                </a:lnTo>
                <a:lnTo>
                  <a:pt x="1626" y="972"/>
                </a:lnTo>
                <a:lnTo>
                  <a:pt x="1608" y="978"/>
                </a:lnTo>
                <a:lnTo>
                  <a:pt x="1614" y="984"/>
                </a:lnTo>
                <a:lnTo>
                  <a:pt x="1620" y="984"/>
                </a:lnTo>
                <a:lnTo>
                  <a:pt x="1620" y="1020"/>
                </a:lnTo>
                <a:lnTo>
                  <a:pt x="1614" y="1038"/>
                </a:lnTo>
                <a:lnTo>
                  <a:pt x="1620" y="1044"/>
                </a:lnTo>
                <a:lnTo>
                  <a:pt x="1626" y="1056"/>
                </a:lnTo>
                <a:lnTo>
                  <a:pt x="1626" y="1074"/>
                </a:lnTo>
                <a:lnTo>
                  <a:pt x="1620" y="1080"/>
                </a:lnTo>
                <a:lnTo>
                  <a:pt x="1620" y="1104"/>
                </a:lnTo>
                <a:lnTo>
                  <a:pt x="1620" y="1110"/>
                </a:lnTo>
                <a:lnTo>
                  <a:pt x="1614" y="1116"/>
                </a:lnTo>
                <a:lnTo>
                  <a:pt x="1608" y="1140"/>
                </a:lnTo>
                <a:lnTo>
                  <a:pt x="1602" y="1146"/>
                </a:lnTo>
                <a:lnTo>
                  <a:pt x="1602" y="1164"/>
                </a:lnTo>
                <a:lnTo>
                  <a:pt x="1596" y="1170"/>
                </a:lnTo>
                <a:lnTo>
                  <a:pt x="1590" y="1164"/>
                </a:lnTo>
                <a:lnTo>
                  <a:pt x="1584" y="1164"/>
                </a:lnTo>
                <a:lnTo>
                  <a:pt x="1578" y="1164"/>
                </a:lnTo>
                <a:lnTo>
                  <a:pt x="1578" y="1188"/>
                </a:lnTo>
                <a:lnTo>
                  <a:pt x="1584" y="1194"/>
                </a:lnTo>
                <a:lnTo>
                  <a:pt x="1590" y="1194"/>
                </a:lnTo>
                <a:lnTo>
                  <a:pt x="1590" y="1212"/>
                </a:lnTo>
                <a:lnTo>
                  <a:pt x="1584" y="1212"/>
                </a:lnTo>
                <a:lnTo>
                  <a:pt x="1584" y="1224"/>
                </a:lnTo>
                <a:lnTo>
                  <a:pt x="1578" y="1224"/>
                </a:lnTo>
                <a:lnTo>
                  <a:pt x="1578" y="1236"/>
                </a:lnTo>
                <a:lnTo>
                  <a:pt x="1584" y="1254"/>
                </a:lnTo>
                <a:lnTo>
                  <a:pt x="1584" y="1260"/>
                </a:lnTo>
                <a:lnTo>
                  <a:pt x="1590" y="1260"/>
                </a:lnTo>
                <a:lnTo>
                  <a:pt x="1590" y="1266"/>
                </a:lnTo>
                <a:lnTo>
                  <a:pt x="1596" y="1284"/>
                </a:lnTo>
                <a:lnTo>
                  <a:pt x="1602" y="1278"/>
                </a:lnTo>
                <a:lnTo>
                  <a:pt x="1608" y="1284"/>
                </a:lnTo>
                <a:lnTo>
                  <a:pt x="1632" y="1350"/>
                </a:lnTo>
                <a:lnTo>
                  <a:pt x="1638" y="1356"/>
                </a:lnTo>
                <a:lnTo>
                  <a:pt x="1644" y="1356"/>
                </a:lnTo>
                <a:lnTo>
                  <a:pt x="1650" y="1356"/>
                </a:lnTo>
                <a:lnTo>
                  <a:pt x="1656" y="1356"/>
                </a:lnTo>
                <a:lnTo>
                  <a:pt x="1662" y="1362"/>
                </a:lnTo>
                <a:lnTo>
                  <a:pt x="1668" y="1356"/>
                </a:lnTo>
                <a:lnTo>
                  <a:pt x="1668" y="1380"/>
                </a:lnTo>
                <a:lnTo>
                  <a:pt x="1662" y="1392"/>
                </a:lnTo>
                <a:lnTo>
                  <a:pt x="1656" y="1404"/>
                </a:lnTo>
                <a:lnTo>
                  <a:pt x="1656" y="1410"/>
                </a:lnTo>
                <a:lnTo>
                  <a:pt x="1656" y="1416"/>
                </a:lnTo>
                <a:lnTo>
                  <a:pt x="1650" y="1422"/>
                </a:lnTo>
                <a:lnTo>
                  <a:pt x="1650" y="1428"/>
                </a:lnTo>
                <a:lnTo>
                  <a:pt x="1644" y="1428"/>
                </a:lnTo>
                <a:lnTo>
                  <a:pt x="1644" y="1434"/>
                </a:lnTo>
                <a:lnTo>
                  <a:pt x="1638" y="1434"/>
                </a:lnTo>
                <a:lnTo>
                  <a:pt x="1638" y="1440"/>
                </a:lnTo>
                <a:lnTo>
                  <a:pt x="1632" y="1440"/>
                </a:lnTo>
                <a:lnTo>
                  <a:pt x="1638" y="1458"/>
                </a:lnTo>
                <a:close/>
              </a:path>
            </a:pathLst>
          </a:custGeom>
          <a:solidFill>
            <a:srgbClr val="CD202C"/>
          </a:solidFill>
          <a:ln w="9525">
            <a:solidFill>
              <a:schemeClr val="bg1"/>
            </a:solidFill>
            <a:round/>
            <a:headEnd/>
            <a:tailEnd/>
          </a:ln>
        </p:spPr>
        <p:txBody>
          <a:bodyPr/>
          <a:lstStyle/>
          <a:p>
            <a:endParaRPr lang="en-GB"/>
          </a:p>
        </p:txBody>
      </p:sp>
      <p:sp>
        <p:nvSpPr>
          <p:cNvPr id="20498" name="Freeform 14"/>
          <p:cNvSpPr>
            <a:spLocks/>
          </p:cNvSpPr>
          <p:nvPr/>
        </p:nvSpPr>
        <p:spPr bwMode="gray">
          <a:xfrm>
            <a:off x="3476625" y="3792538"/>
            <a:ext cx="487363" cy="542925"/>
          </a:xfrm>
          <a:custGeom>
            <a:avLst/>
            <a:gdLst>
              <a:gd name="T0" fmla="*/ 8596 w 624"/>
              <a:gd name="T1" fmla="*/ 47599 h 672"/>
              <a:gd name="T2" fmla="*/ 3126 w 624"/>
              <a:gd name="T3" fmla="*/ 46792 h 672"/>
              <a:gd name="T4" fmla="*/ 2344 w 624"/>
              <a:gd name="T5" fmla="*/ 46792 h 672"/>
              <a:gd name="T6" fmla="*/ 1563 w 624"/>
              <a:gd name="T7" fmla="*/ 8874 h 672"/>
              <a:gd name="T8" fmla="*/ 10158 w 624"/>
              <a:gd name="T9" fmla="*/ 8874 h 672"/>
              <a:gd name="T10" fmla="*/ 10940 w 624"/>
              <a:gd name="T11" fmla="*/ 8874 h 672"/>
              <a:gd name="T12" fmla="*/ 11721 w 624"/>
              <a:gd name="T13" fmla="*/ 9681 h 672"/>
              <a:gd name="T14" fmla="*/ 14065 w 624"/>
              <a:gd name="T15" fmla="*/ 11295 h 672"/>
              <a:gd name="T16" fmla="*/ 16410 w 624"/>
              <a:gd name="T17" fmla="*/ 12908 h 672"/>
              <a:gd name="T18" fmla="*/ 17191 w 624"/>
              <a:gd name="T19" fmla="*/ 14522 h 672"/>
              <a:gd name="T20" fmla="*/ 17973 w 624"/>
              <a:gd name="T21" fmla="*/ 15329 h 672"/>
              <a:gd name="T22" fmla="*/ 18754 w 624"/>
              <a:gd name="T23" fmla="*/ 15329 h 672"/>
              <a:gd name="T24" fmla="*/ 20317 w 624"/>
              <a:gd name="T25" fmla="*/ 15329 h 672"/>
              <a:gd name="T26" fmla="*/ 21098 w 624"/>
              <a:gd name="T27" fmla="*/ 14522 h 672"/>
              <a:gd name="T28" fmla="*/ 22661 w 624"/>
              <a:gd name="T29" fmla="*/ 12101 h 672"/>
              <a:gd name="T30" fmla="*/ 23442 w 624"/>
              <a:gd name="T31" fmla="*/ 11295 h 672"/>
              <a:gd name="T32" fmla="*/ 24224 w 624"/>
              <a:gd name="T33" fmla="*/ 9681 h 672"/>
              <a:gd name="T34" fmla="*/ 25005 w 624"/>
              <a:gd name="T35" fmla="*/ 9681 h 672"/>
              <a:gd name="T36" fmla="*/ 25787 w 624"/>
              <a:gd name="T37" fmla="*/ 8068 h 672"/>
              <a:gd name="T38" fmla="*/ 26568 w 624"/>
              <a:gd name="T39" fmla="*/ 6454 h 672"/>
              <a:gd name="T40" fmla="*/ 26568 w 624"/>
              <a:gd name="T41" fmla="*/ 4841 h 672"/>
              <a:gd name="T42" fmla="*/ 27349 w 624"/>
              <a:gd name="T43" fmla="*/ 3227 h 672"/>
              <a:gd name="T44" fmla="*/ 32819 w 624"/>
              <a:gd name="T45" fmla="*/ 2420 h 672"/>
              <a:gd name="T46" fmla="*/ 34382 w 624"/>
              <a:gd name="T47" fmla="*/ 1614 h 672"/>
              <a:gd name="T48" fmla="*/ 35945 w 624"/>
              <a:gd name="T49" fmla="*/ 0 h 672"/>
              <a:gd name="T50" fmla="*/ 39852 w 624"/>
              <a:gd name="T51" fmla="*/ 2420 h 672"/>
              <a:gd name="T52" fmla="*/ 42196 w 624"/>
              <a:gd name="T53" fmla="*/ 4841 h 672"/>
              <a:gd name="T54" fmla="*/ 42196 w 624"/>
              <a:gd name="T55" fmla="*/ 6454 h 672"/>
              <a:gd name="T56" fmla="*/ 40633 w 624"/>
              <a:gd name="T57" fmla="*/ 7261 h 672"/>
              <a:gd name="T58" fmla="*/ 38289 w 624"/>
              <a:gd name="T59" fmla="*/ 8874 h 672"/>
              <a:gd name="T60" fmla="*/ 37508 w 624"/>
              <a:gd name="T61" fmla="*/ 11295 h 672"/>
              <a:gd name="T62" fmla="*/ 35945 w 624"/>
              <a:gd name="T63" fmla="*/ 17749 h 672"/>
              <a:gd name="T64" fmla="*/ 35164 w 624"/>
              <a:gd name="T65" fmla="*/ 31464 h 672"/>
              <a:gd name="T66" fmla="*/ 33601 w 624"/>
              <a:gd name="T67" fmla="*/ 34691 h 672"/>
              <a:gd name="T68" fmla="*/ 30475 w 624"/>
              <a:gd name="T69" fmla="*/ 40338 h 672"/>
              <a:gd name="T70" fmla="*/ 28131 w 624"/>
              <a:gd name="T71" fmla="*/ 42759 h 672"/>
              <a:gd name="T72" fmla="*/ 25005 w 624"/>
              <a:gd name="T73" fmla="*/ 45179 h 672"/>
              <a:gd name="T74" fmla="*/ 23442 w 624"/>
              <a:gd name="T75" fmla="*/ 46792 h 672"/>
              <a:gd name="T76" fmla="*/ 15628 w 624"/>
              <a:gd name="T77" fmla="*/ 47599 h 672"/>
              <a:gd name="T78" fmla="*/ 11721 w 624"/>
              <a:gd name="T79" fmla="*/ 47599 h 6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24"/>
              <a:gd name="T121" fmla="*/ 0 h 672"/>
              <a:gd name="T122" fmla="*/ 624 w 624"/>
              <a:gd name="T123" fmla="*/ 672 h 67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24" h="672">
                <a:moveTo>
                  <a:pt x="168" y="672"/>
                </a:moveTo>
                <a:lnTo>
                  <a:pt x="132" y="672"/>
                </a:lnTo>
                <a:lnTo>
                  <a:pt x="72" y="666"/>
                </a:lnTo>
                <a:lnTo>
                  <a:pt x="42" y="666"/>
                </a:lnTo>
                <a:lnTo>
                  <a:pt x="36" y="666"/>
                </a:lnTo>
                <a:lnTo>
                  <a:pt x="30" y="660"/>
                </a:lnTo>
                <a:lnTo>
                  <a:pt x="0" y="660"/>
                </a:lnTo>
                <a:lnTo>
                  <a:pt x="24" y="120"/>
                </a:lnTo>
                <a:lnTo>
                  <a:pt x="60" y="120"/>
                </a:lnTo>
                <a:lnTo>
                  <a:pt x="150" y="126"/>
                </a:lnTo>
                <a:lnTo>
                  <a:pt x="156" y="126"/>
                </a:lnTo>
                <a:lnTo>
                  <a:pt x="162" y="120"/>
                </a:lnTo>
                <a:lnTo>
                  <a:pt x="168" y="120"/>
                </a:lnTo>
                <a:lnTo>
                  <a:pt x="174" y="132"/>
                </a:lnTo>
                <a:lnTo>
                  <a:pt x="186" y="138"/>
                </a:lnTo>
                <a:lnTo>
                  <a:pt x="210" y="156"/>
                </a:lnTo>
                <a:lnTo>
                  <a:pt x="222" y="174"/>
                </a:lnTo>
                <a:lnTo>
                  <a:pt x="240" y="186"/>
                </a:lnTo>
                <a:lnTo>
                  <a:pt x="252" y="198"/>
                </a:lnTo>
                <a:lnTo>
                  <a:pt x="258" y="204"/>
                </a:lnTo>
                <a:lnTo>
                  <a:pt x="264" y="204"/>
                </a:lnTo>
                <a:lnTo>
                  <a:pt x="264" y="216"/>
                </a:lnTo>
                <a:lnTo>
                  <a:pt x="270" y="216"/>
                </a:lnTo>
                <a:lnTo>
                  <a:pt x="282" y="222"/>
                </a:lnTo>
                <a:lnTo>
                  <a:pt x="288" y="222"/>
                </a:lnTo>
                <a:lnTo>
                  <a:pt x="294" y="216"/>
                </a:lnTo>
                <a:lnTo>
                  <a:pt x="294" y="210"/>
                </a:lnTo>
                <a:lnTo>
                  <a:pt x="312" y="204"/>
                </a:lnTo>
                <a:lnTo>
                  <a:pt x="330" y="186"/>
                </a:lnTo>
                <a:lnTo>
                  <a:pt x="336" y="174"/>
                </a:lnTo>
                <a:lnTo>
                  <a:pt x="342" y="162"/>
                </a:lnTo>
                <a:lnTo>
                  <a:pt x="342" y="156"/>
                </a:lnTo>
                <a:lnTo>
                  <a:pt x="348" y="150"/>
                </a:lnTo>
                <a:lnTo>
                  <a:pt x="354" y="144"/>
                </a:lnTo>
                <a:lnTo>
                  <a:pt x="360" y="138"/>
                </a:lnTo>
                <a:lnTo>
                  <a:pt x="366" y="132"/>
                </a:lnTo>
                <a:lnTo>
                  <a:pt x="372" y="114"/>
                </a:lnTo>
                <a:lnTo>
                  <a:pt x="378" y="114"/>
                </a:lnTo>
                <a:lnTo>
                  <a:pt x="378" y="96"/>
                </a:lnTo>
                <a:lnTo>
                  <a:pt x="390" y="96"/>
                </a:lnTo>
                <a:lnTo>
                  <a:pt x="396" y="84"/>
                </a:lnTo>
                <a:lnTo>
                  <a:pt x="396" y="72"/>
                </a:lnTo>
                <a:lnTo>
                  <a:pt x="396" y="54"/>
                </a:lnTo>
                <a:lnTo>
                  <a:pt x="408" y="42"/>
                </a:lnTo>
                <a:lnTo>
                  <a:pt x="468" y="42"/>
                </a:lnTo>
                <a:lnTo>
                  <a:pt x="486" y="36"/>
                </a:lnTo>
                <a:lnTo>
                  <a:pt x="492" y="24"/>
                </a:lnTo>
                <a:lnTo>
                  <a:pt x="504" y="24"/>
                </a:lnTo>
                <a:lnTo>
                  <a:pt x="516" y="6"/>
                </a:lnTo>
                <a:lnTo>
                  <a:pt x="528" y="0"/>
                </a:lnTo>
                <a:lnTo>
                  <a:pt x="558" y="12"/>
                </a:lnTo>
                <a:lnTo>
                  <a:pt x="588" y="36"/>
                </a:lnTo>
                <a:lnTo>
                  <a:pt x="600" y="66"/>
                </a:lnTo>
                <a:lnTo>
                  <a:pt x="624" y="66"/>
                </a:lnTo>
                <a:lnTo>
                  <a:pt x="624" y="90"/>
                </a:lnTo>
                <a:lnTo>
                  <a:pt x="618" y="90"/>
                </a:lnTo>
                <a:lnTo>
                  <a:pt x="618" y="96"/>
                </a:lnTo>
                <a:lnTo>
                  <a:pt x="600" y="102"/>
                </a:lnTo>
                <a:lnTo>
                  <a:pt x="588" y="108"/>
                </a:lnTo>
                <a:lnTo>
                  <a:pt x="570" y="120"/>
                </a:lnTo>
                <a:lnTo>
                  <a:pt x="564" y="138"/>
                </a:lnTo>
                <a:lnTo>
                  <a:pt x="558" y="162"/>
                </a:lnTo>
                <a:lnTo>
                  <a:pt x="540" y="210"/>
                </a:lnTo>
                <a:lnTo>
                  <a:pt x="528" y="252"/>
                </a:lnTo>
                <a:lnTo>
                  <a:pt x="528" y="402"/>
                </a:lnTo>
                <a:lnTo>
                  <a:pt x="522" y="444"/>
                </a:lnTo>
                <a:lnTo>
                  <a:pt x="510" y="468"/>
                </a:lnTo>
                <a:lnTo>
                  <a:pt x="498" y="498"/>
                </a:lnTo>
                <a:lnTo>
                  <a:pt x="474" y="534"/>
                </a:lnTo>
                <a:lnTo>
                  <a:pt x="456" y="570"/>
                </a:lnTo>
                <a:lnTo>
                  <a:pt x="444" y="576"/>
                </a:lnTo>
                <a:lnTo>
                  <a:pt x="420" y="606"/>
                </a:lnTo>
                <a:lnTo>
                  <a:pt x="390" y="624"/>
                </a:lnTo>
                <a:lnTo>
                  <a:pt x="372" y="642"/>
                </a:lnTo>
                <a:lnTo>
                  <a:pt x="366" y="654"/>
                </a:lnTo>
                <a:lnTo>
                  <a:pt x="342" y="660"/>
                </a:lnTo>
                <a:lnTo>
                  <a:pt x="300" y="666"/>
                </a:lnTo>
                <a:lnTo>
                  <a:pt x="234" y="672"/>
                </a:lnTo>
                <a:lnTo>
                  <a:pt x="192" y="672"/>
                </a:lnTo>
                <a:lnTo>
                  <a:pt x="168" y="672"/>
                </a:lnTo>
                <a:close/>
              </a:path>
            </a:pathLst>
          </a:custGeom>
          <a:solidFill>
            <a:srgbClr val="33CC33"/>
          </a:solidFill>
          <a:ln w="9525">
            <a:solidFill>
              <a:schemeClr val="bg1"/>
            </a:solidFill>
            <a:round/>
            <a:headEnd/>
            <a:tailEnd/>
          </a:ln>
        </p:spPr>
        <p:txBody>
          <a:bodyPr/>
          <a:lstStyle/>
          <a:p>
            <a:endParaRPr lang="en-GB">
              <a:solidFill>
                <a:schemeClr val="bg1"/>
              </a:solidFill>
            </a:endParaRPr>
          </a:p>
        </p:txBody>
      </p:sp>
      <p:sp>
        <p:nvSpPr>
          <p:cNvPr id="20499" name="Freeform 15"/>
          <p:cNvSpPr>
            <a:spLocks/>
          </p:cNvSpPr>
          <p:nvPr/>
        </p:nvSpPr>
        <p:spPr bwMode="gray">
          <a:xfrm>
            <a:off x="3573463" y="3813175"/>
            <a:ext cx="1333500" cy="850900"/>
          </a:xfrm>
          <a:custGeom>
            <a:avLst/>
            <a:gdLst>
              <a:gd name="T0" fmla="*/ 24266 w 1704"/>
              <a:gd name="T1" fmla="*/ 62889 h 1056"/>
              <a:gd name="T2" fmla="*/ 18004 w 1704"/>
              <a:gd name="T3" fmla="*/ 62889 h 1056"/>
              <a:gd name="T4" fmla="*/ 8610 w 1704"/>
              <a:gd name="T5" fmla="*/ 63696 h 1056"/>
              <a:gd name="T6" fmla="*/ 783 w 1704"/>
              <a:gd name="T7" fmla="*/ 65308 h 1056"/>
              <a:gd name="T8" fmla="*/ 0 w 1704"/>
              <a:gd name="T9" fmla="*/ 49989 h 1056"/>
              <a:gd name="T10" fmla="*/ 7045 w 1704"/>
              <a:gd name="T11" fmla="*/ 45151 h 1056"/>
              <a:gd name="T12" fmla="*/ 21135 w 1704"/>
              <a:gd name="T13" fmla="*/ 38701 h 1056"/>
              <a:gd name="T14" fmla="*/ 27397 w 1704"/>
              <a:gd name="T15" fmla="*/ 16125 h 1056"/>
              <a:gd name="T16" fmla="*/ 33659 w 1704"/>
              <a:gd name="T17" fmla="*/ 4838 h 1056"/>
              <a:gd name="T18" fmla="*/ 36790 w 1704"/>
              <a:gd name="T19" fmla="*/ 5644 h 1056"/>
              <a:gd name="T20" fmla="*/ 40704 w 1704"/>
              <a:gd name="T21" fmla="*/ 0 h 1056"/>
              <a:gd name="T22" fmla="*/ 46183 w 1704"/>
              <a:gd name="T23" fmla="*/ 4031 h 1056"/>
              <a:gd name="T24" fmla="*/ 49314 w 1704"/>
              <a:gd name="T25" fmla="*/ 9675 h 1056"/>
              <a:gd name="T26" fmla="*/ 48532 w 1704"/>
              <a:gd name="T27" fmla="*/ 12094 h 1056"/>
              <a:gd name="T28" fmla="*/ 48532 w 1704"/>
              <a:gd name="T29" fmla="*/ 14513 h 1056"/>
              <a:gd name="T30" fmla="*/ 54794 w 1704"/>
              <a:gd name="T31" fmla="*/ 14513 h 1056"/>
              <a:gd name="T32" fmla="*/ 55577 w 1704"/>
              <a:gd name="T33" fmla="*/ 11288 h 1056"/>
              <a:gd name="T34" fmla="*/ 56359 w 1704"/>
              <a:gd name="T35" fmla="*/ 9675 h 1056"/>
              <a:gd name="T36" fmla="*/ 61056 w 1704"/>
              <a:gd name="T37" fmla="*/ 11288 h 1056"/>
              <a:gd name="T38" fmla="*/ 66535 w 1704"/>
              <a:gd name="T39" fmla="*/ 16932 h 1056"/>
              <a:gd name="T40" fmla="*/ 71232 w 1704"/>
              <a:gd name="T41" fmla="*/ 12094 h 1056"/>
              <a:gd name="T42" fmla="*/ 72798 w 1704"/>
              <a:gd name="T43" fmla="*/ 8063 h 1056"/>
              <a:gd name="T44" fmla="*/ 79060 w 1704"/>
              <a:gd name="T45" fmla="*/ 11288 h 1056"/>
              <a:gd name="T46" fmla="*/ 80625 w 1704"/>
              <a:gd name="T47" fmla="*/ 15319 h 1056"/>
              <a:gd name="T48" fmla="*/ 90018 w 1704"/>
              <a:gd name="T49" fmla="*/ 16125 h 1056"/>
              <a:gd name="T50" fmla="*/ 92367 w 1704"/>
              <a:gd name="T51" fmla="*/ 18544 h 1056"/>
              <a:gd name="T52" fmla="*/ 91584 w 1704"/>
              <a:gd name="T53" fmla="*/ 21769 h 1056"/>
              <a:gd name="T54" fmla="*/ 86887 w 1704"/>
              <a:gd name="T55" fmla="*/ 26607 h 1056"/>
              <a:gd name="T56" fmla="*/ 84539 w 1704"/>
              <a:gd name="T57" fmla="*/ 29026 h 1056"/>
              <a:gd name="T58" fmla="*/ 85322 w 1704"/>
              <a:gd name="T59" fmla="*/ 32251 h 1056"/>
              <a:gd name="T60" fmla="*/ 86887 w 1704"/>
              <a:gd name="T61" fmla="*/ 34670 h 1056"/>
              <a:gd name="T62" fmla="*/ 88453 w 1704"/>
              <a:gd name="T63" fmla="*/ 40314 h 1056"/>
              <a:gd name="T64" fmla="*/ 94715 w 1704"/>
              <a:gd name="T65" fmla="*/ 44345 h 1056"/>
              <a:gd name="T66" fmla="*/ 103326 w 1704"/>
              <a:gd name="T67" fmla="*/ 41926 h 1056"/>
              <a:gd name="T68" fmla="*/ 115850 w 1704"/>
              <a:gd name="T69" fmla="*/ 46764 h 1056"/>
              <a:gd name="T70" fmla="*/ 115850 w 1704"/>
              <a:gd name="T71" fmla="*/ 49183 h 1056"/>
              <a:gd name="T72" fmla="*/ 115850 w 1704"/>
              <a:gd name="T73" fmla="*/ 51601 h 1056"/>
              <a:gd name="T74" fmla="*/ 105674 w 1704"/>
              <a:gd name="T75" fmla="*/ 49183 h 1056"/>
              <a:gd name="T76" fmla="*/ 105674 w 1704"/>
              <a:gd name="T77" fmla="*/ 53214 h 1056"/>
              <a:gd name="T78" fmla="*/ 107239 w 1704"/>
              <a:gd name="T79" fmla="*/ 57245 h 1056"/>
              <a:gd name="T80" fmla="*/ 106457 w 1704"/>
              <a:gd name="T81" fmla="*/ 63696 h 1056"/>
              <a:gd name="T82" fmla="*/ 98629 w 1704"/>
              <a:gd name="T83" fmla="*/ 67727 h 1056"/>
              <a:gd name="T84" fmla="*/ 94715 w 1704"/>
              <a:gd name="T85" fmla="*/ 63696 h 1056"/>
              <a:gd name="T86" fmla="*/ 91584 w 1704"/>
              <a:gd name="T87" fmla="*/ 60470 h 1056"/>
              <a:gd name="T88" fmla="*/ 76711 w 1704"/>
              <a:gd name="T89" fmla="*/ 59664 h 1056"/>
              <a:gd name="T90" fmla="*/ 63404 w 1704"/>
              <a:gd name="T91" fmla="*/ 60470 h 1056"/>
              <a:gd name="T92" fmla="*/ 64970 w 1704"/>
              <a:gd name="T93" fmla="*/ 70952 h 1056"/>
              <a:gd name="T94" fmla="*/ 64187 w 1704"/>
              <a:gd name="T95" fmla="*/ 73371 h 1056"/>
              <a:gd name="T96" fmla="*/ 60273 w 1704"/>
              <a:gd name="T97" fmla="*/ 72565 h 1056"/>
              <a:gd name="T98" fmla="*/ 57142 w 1704"/>
              <a:gd name="T99" fmla="*/ 69339 h 1056"/>
              <a:gd name="T100" fmla="*/ 53228 w 1704"/>
              <a:gd name="T101" fmla="*/ 68533 h 1056"/>
              <a:gd name="T102" fmla="*/ 50097 w 1704"/>
              <a:gd name="T103" fmla="*/ 66921 h 1056"/>
              <a:gd name="T104" fmla="*/ 44618 w 1704"/>
              <a:gd name="T105" fmla="*/ 65308 h 1056"/>
              <a:gd name="T106" fmla="*/ 40704 w 1704"/>
              <a:gd name="T107" fmla="*/ 64502 h 1056"/>
              <a:gd name="T108" fmla="*/ 39138 w 1704"/>
              <a:gd name="T109" fmla="*/ 64502 h 1056"/>
              <a:gd name="T110" fmla="*/ 36007 w 1704"/>
              <a:gd name="T111" fmla="*/ 63696 h 1056"/>
              <a:gd name="T112" fmla="*/ 32094 w 1704"/>
              <a:gd name="T113" fmla="*/ 62889 h 10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04"/>
              <a:gd name="T172" fmla="*/ 0 h 1056"/>
              <a:gd name="T173" fmla="*/ 1704 w 1704"/>
              <a:gd name="T174" fmla="*/ 1056 h 10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04" h="1056">
                <a:moveTo>
                  <a:pt x="450" y="888"/>
                </a:moveTo>
                <a:lnTo>
                  <a:pt x="420" y="888"/>
                </a:lnTo>
                <a:lnTo>
                  <a:pt x="414" y="888"/>
                </a:lnTo>
                <a:lnTo>
                  <a:pt x="396" y="888"/>
                </a:lnTo>
                <a:lnTo>
                  <a:pt x="372" y="888"/>
                </a:lnTo>
                <a:lnTo>
                  <a:pt x="366" y="888"/>
                </a:lnTo>
                <a:lnTo>
                  <a:pt x="360" y="888"/>
                </a:lnTo>
                <a:lnTo>
                  <a:pt x="348" y="888"/>
                </a:lnTo>
                <a:lnTo>
                  <a:pt x="330" y="894"/>
                </a:lnTo>
                <a:lnTo>
                  <a:pt x="324" y="894"/>
                </a:lnTo>
                <a:lnTo>
                  <a:pt x="312" y="888"/>
                </a:lnTo>
                <a:lnTo>
                  <a:pt x="300" y="888"/>
                </a:lnTo>
                <a:lnTo>
                  <a:pt x="282" y="888"/>
                </a:lnTo>
                <a:lnTo>
                  <a:pt x="270" y="888"/>
                </a:lnTo>
                <a:lnTo>
                  <a:pt x="240" y="882"/>
                </a:lnTo>
                <a:lnTo>
                  <a:pt x="222" y="882"/>
                </a:lnTo>
                <a:lnTo>
                  <a:pt x="198" y="882"/>
                </a:lnTo>
                <a:lnTo>
                  <a:pt x="174" y="894"/>
                </a:lnTo>
                <a:lnTo>
                  <a:pt x="162" y="900"/>
                </a:lnTo>
                <a:lnTo>
                  <a:pt x="144" y="906"/>
                </a:lnTo>
                <a:lnTo>
                  <a:pt x="126" y="912"/>
                </a:lnTo>
                <a:lnTo>
                  <a:pt x="102" y="924"/>
                </a:lnTo>
                <a:lnTo>
                  <a:pt x="78" y="930"/>
                </a:lnTo>
                <a:lnTo>
                  <a:pt x="72" y="936"/>
                </a:lnTo>
                <a:lnTo>
                  <a:pt x="30" y="954"/>
                </a:lnTo>
                <a:lnTo>
                  <a:pt x="12" y="966"/>
                </a:lnTo>
                <a:lnTo>
                  <a:pt x="12" y="954"/>
                </a:lnTo>
                <a:lnTo>
                  <a:pt x="12" y="930"/>
                </a:lnTo>
                <a:lnTo>
                  <a:pt x="12" y="894"/>
                </a:lnTo>
                <a:lnTo>
                  <a:pt x="30" y="828"/>
                </a:lnTo>
                <a:lnTo>
                  <a:pt x="36" y="798"/>
                </a:lnTo>
                <a:lnTo>
                  <a:pt x="18" y="774"/>
                </a:lnTo>
                <a:lnTo>
                  <a:pt x="18" y="756"/>
                </a:lnTo>
                <a:lnTo>
                  <a:pt x="6" y="738"/>
                </a:lnTo>
                <a:lnTo>
                  <a:pt x="0" y="714"/>
                </a:lnTo>
                <a:lnTo>
                  <a:pt x="12" y="678"/>
                </a:lnTo>
                <a:lnTo>
                  <a:pt x="18" y="678"/>
                </a:lnTo>
                <a:lnTo>
                  <a:pt x="24" y="672"/>
                </a:lnTo>
                <a:lnTo>
                  <a:pt x="30" y="666"/>
                </a:lnTo>
                <a:lnTo>
                  <a:pt x="42" y="648"/>
                </a:lnTo>
                <a:lnTo>
                  <a:pt x="66" y="648"/>
                </a:lnTo>
                <a:lnTo>
                  <a:pt x="108" y="648"/>
                </a:lnTo>
                <a:lnTo>
                  <a:pt x="174" y="642"/>
                </a:lnTo>
                <a:lnTo>
                  <a:pt x="216" y="636"/>
                </a:lnTo>
                <a:lnTo>
                  <a:pt x="240" y="630"/>
                </a:lnTo>
                <a:lnTo>
                  <a:pt x="246" y="618"/>
                </a:lnTo>
                <a:lnTo>
                  <a:pt x="264" y="600"/>
                </a:lnTo>
                <a:lnTo>
                  <a:pt x="294" y="582"/>
                </a:lnTo>
                <a:lnTo>
                  <a:pt x="318" y="552"/>
                </a:lnTo>
                <a:lnTo>
                  <a:pt x="330" y="546"/>
                </a:lnTo>
                <a:lnTo>
                  <a:pt x="348" y="510"/>
                </a:lnTo>
                <a:lnTo>
                  <a:pt x="372" y="474"/>
                </a:lnTo>
                <a:lnTo>
                  <a:pt x="384" y="444"/>
                </a:lnTo>
                <a:lnTo>
                  <a:pt x="396" y="420"/>
                </a:lnTo>
                <a:lnTo>
                  <a:pt x="402" y="378"/>
                </a:lnTo>
                <a:lnTo>
                  <a:pt x="402" y="228"/>
                </a:lnTo>
                <a:lnTo>
                  <a:pt x="414" y="186"/>
                </a:lnTo>
                <a:lnTo>
                  <a:pt x="432" y="138"/>
                </a:lnTo>
                <a:lnTo>
                  <a:pt x="438" y="114"/>
                </a:lnTo>
                <a:lnTo>
                  <a:pt x="444" y="96"/>
                </a:lnTo>
                <a:lnTo>
                  <a:pt x="462" y="84"/>
                </a:lnTo>
                <a:lnTo>
                  <a:pt x="474" y="78"/>
                </a:lnTo>
                <a:lnTo>
                  <a:pt x="492" y="72"/>
                </a:lnTo>
                <a:lnTo>
                  <a:pt x="492" y="66"/>
                </a:lnTo>
                <a:lnTo>
                  <a:pt x="498" y="66"/>
                </a:lnTo>
                <a:lnTo>
                  <a:pt x="510" y="66"/>
                </a:lnTo>
                <a:lnTo>
                  <a:pt x="510" y="72"/>
                </a:lnTo>
                <a:lnTo>
                  <a:pt x="516" y="72"/>
                </a:lnTo>
                <a:lnTo>
                  <a:pt x="522" y="78"/>
                </a:lnTo>
                <a:lnTo>
                  <a:pt x="546" y="78"/>
                </a:lnTo>
                <a:lnTo>
                  <a:pt x="552" y="60"/>
                </a:lnTo>
                <a:lnTo>
                  <a:pt x="570" y="42"/>
                </a:lnTo>
                <a:lnTo>
                  <a:pt x="576" y="24"/>
                </a:lnTo>
                <a:lnTo>
                  <a:pt x="588" y="18"/>
                </a:lnTo>
                <a:lnTo>
                  <a:pt x="588" y="12"/>
                </a:lnTo>
                <a:lnTo>
                  <a:pt x="594" y="6"/>
                </a:lnTo>
                <a:lnTo>
                  <a:pt x="600" y="0"/>
                </a:lnTo>
                <a:lnTo>
                  <a:pt x="624" y="0"/>
                </a:lnTo>
                <a:lnTo>
                  <a:pt x="636" y="6"/>
                </a:lnTo>
                <a:lnTo>
                  <a:pt x="648" y="24"/>
                </a:lnTo>
                <a:lnTo>
                  <a:pt x="654" y="48"/>
                </a:lnTo>
                <a:lnTo>
                  <a:pt x="672" y="60"/>
                </a:lnTo>
                <a:lnTo>
                  <a:pt x="678" y="60"/>
                </a:lnTo>
                <a:lnTo>
                  <a:pt x="684" y="60"/>
                </a:lnTo>
                <a:lnTo>
                  <a:pt x="690" y="72"/>
                </a:lnTo>
                <a:lnTo>
                  <a:pt x="690" y="78"/>
                </a:lnTo>
                <a:lnTo>
                  <a:pt x="696" y="90"/>
                </a:lnTo>
                <a:lnTo>
                  <a:pt x="714" y="114"/>
                </a:lnTo>
                <a:lnTo>
                  <a:pt x="714" y="120"/>
                </a:lnTo>
                <a:lnTo>
                  <a:pt x="720" y="132"/>
                </a:lnTo>
                <a:lnTo>
                  <a:pt x="726" y="138"/>
                </a:lnTo>
                <a:lnTo>
                  <a:pt x="720" y="144"/>
                </a:lnTo>
                <a:lnTo>
                  <a:pt x="720" y="150"/>
                </a:lnTo>
                <a:lnTo>
                  <a:pt x="714" y="150"/>
                </a:lnTo>
                <a:lnTo>
                  <a:pt x="714" y="156"/>
                </a:lnTo>
                <a:lnTo>
                  <a:pt x="714" y="162"/>
                </a:lnTo>
                <a:lnTo>
                  <a:pt x="708" y="162"/>
                </a:lnTo>
                <a:lnTo>
                  <a:pt x="708" y="168"/>
                </a:lnTo>
                <a:lnTo>
                  <a:pt x="702" y="168"/>
                </a:lnTo>
                <a:lnTo>
                  <a:pt x="702" y="174"/>
                </a:lnTo>
                <a:lnTo>
                  <a:pt x="702" y="180"/>
                </a:lnTo>
                <a:lnTo>
                  <a:pt x="708" y="180"/>
                </a:lnTo>
                <a:lnTo>
                  <a:pt x="708" y="186"/>
                </a:lnTo>
                <a:lnTo>
                  <a:pt x="708" y="192"/>
                </a:lnTo>
                <a:lnTo>
                  <a:pt x="714" y="204"/>
                </a:lnTo>
                <a:lnTo>
                  <a:pt x="726" y="216"/>
                </a:lnTo>
                <a:lnTo>
                  <a:pt x="738" y="216"/>
                </a:lnTo>
                <a:lnTo>
                  <a:pt x="768" y="222"/>
                </a:lnTo>
                <a:lnTo>
                  <a:pt x="780" y="216"/>
                </a:lnTo>
                <a:lnTo>
                  <a:pt x="792" y="204"/>
                </a:lnTo>
                <a:lnTo>
                  <a:pt x="798" y="198"/>
                </a:lnTo>
                <a:lnTo>
                  <a:pt x="804" y="204"/>
                </a:lnTo>
                <a:lnTo>
                  <a:pt x="810" y="204"/>
                </a:lnTo>
                <a:lnTo>
                  <a:pt x="810" y="198"/>
                </a:lnTo>
                <a:lnTo>
                  <a:pt x="816" y="192"/>
                </a:lnTo>
                <a:lnTo>
                  <a:pt x="816" y="186"/>
                </a:lnTo>
                <a:lnTo>
                  <a:pt x="816" y="180"/>
                </a:lnTo>
                <a:lnTo>
                  <a:pt x="816" y="174"/>
                </a:lnTo>
                <a:lnTo>
                  <a:pt x="816" y="162"/>
                </a:lnTo>
                <a:lnTo>
                  <a:pt x="816" y="156"/>
                </a:lnTo>
                <a:lnTo>
                  <a:pt x="822" y="156"/>
                </a:lnTo>
                <a:lnTo>
                  <a:pt x="822" y="150"/>
                </a:lnTo>
                <a:lnTo>
                  <a:pt x="828" y="144"/>
                </a:lnTo>
                <a:lnTo>
                  <a:pt x="822" y="144"/>
                </a:lnTo>
                <a:lnTo>
                  <a:pt x="822" y="138"/>
                </a:lnTo>
                <a:lnTo>
                  <a:pt x="828" y="138"/>
                </a:lnTo>
                <a:lnTo>
                  <a:pt x="834" y="132"/>
                </a:lnTo>
                <a:lnTo>
                  <a:pt x="840" y="132"/>
                </a:lnTo>
                <a:lnTo>
                  <a:pt x="864" y="126"/>
                </a:lnTo>
                <a:lnTo>
                  <a:pt x="906" y="144"/>
                </a:lnTo>
                <a:lnTo>
                  <a:pt x="906" y="150"/>
                </a:lnTo>
                <a:lnTo>
                  <a:pt x="906" y="156"/>
                </a:lnTo>
                <a:lnTo>
                  <a:pt x="900" y="162"/>
                </a:lnTo>
                <a:lnTo>
                  <a:pt x="924" y="168"/>
                </a:lnTo>
                <a:lnTo>
                  <a:pt x="942" y="192"/>
                </a:lnTo>
                <a:lnTo>
                  <a:pt x="972" y="210"/>
                </a:lnTo>
                <a:lnTo>
                  <a:pt x="972" y="216"/>
                </a:lnTo>
                <a:lnTo>
                  <a:pt x="972" y="228"/>
                </a:lnTo>
                <a:lnTo>
                  <a:pt x="978" y="234"/>
                </a:lnTo>
                <a:lnTo>
                  <a:pt x="978" y="246"/>
                </a:lnTo>
                <a:lnTo>
                  <a:pt x="984" y="252"/>
                </a:lnTo>
                <a:lnTo>
                  <a:pt x="1014" y="252"/>
                </a:lnTo>
                <a:lnTo>
                  <a:pt x="1020" y="228"/>
                </a:lnTo>
                <a:lnTo>
                  <a:pt x="1026" y="198"/>
                </a:lnTo>
                <a:lnTo>
                  <a:pt x="1050" y="186"/>
                </a:lnTo>
                <a:lnTo>
                  <a:pt x="1056" y="180"/>
                </a:lnTo>
                <a:lnTo>
                  <a:pt x="1050" y="174"/>
                </a:lnTo>
                <a:lnTo>
                  <a:pt x="1050" y="168"/>
                </a:lnTo>
                <a:lnTo>
                  <a:pt x="1050" y="162"/>
                </a:lnTo>
                <a:lnTo>
                  <a:pt x="1056" y="162"/>
                </a:lnTo>
                <a:lnTo>
                  <a:pt x="1062" y="162"/>
                </a:lnTo>
                <a:lnTo>
                  <a:pt x="1074" y="162"/>
                </a:lnTo>
                <a:lnTo>
                  <a:pt x="1074" y="144"/>
                </a:lnTo>
                <a:lnTo>
                  <a:pt x="1074" y="120"/>
                </a:lnTo>
                <a:lnTo>
                  <a:pt x="1092" y="120"/>
                </a:lnTo>
                <a:lnTo>
                  <a:pt x="1098" y="126"/>
                </a:lnTo>
                <a:lnTo>
                  <a:pt x="1134" y="132"/>
                </a:lnTo>
                <a:lnTo>
                  <a:pt x="1146" y="132"/>
                </a:lnTo>
                <a:lnTo>
                  <a:pt x="1158" y="150"/>
                </a:lnTo>
                <a:lnTo>
                  <a:pt x="1158" y="156"/>
                </a:lnTo>
                <a:lnTo>
                  <a:pt x="1158" y="162"/>
                </a:lnTo>
                <a:lnTo>
                  <a:pt x="1158" y="180"/>
                </a:lnTo>
                <a:lnTo>
                  <a:pt x="1158" y="186"/>
                </a:lnTo>
                <a:lnTo>
                  <a:pt x="1164" y="192"/>
                </a:lnTo>
                <a:lnTo>
                  <a:pt x="1176" y="198"/>
                </a:lnTo>
                <a:lnTo>
                  <a:pt x="1182" y="198"/>
                </a:lnTo>
                <a:lnTo>
                  <a:pt x="1182" y="210"/>
                </a:lnTo>
                <a:lnTo>
                  <a:pt x="1182" y="216"/>
                </a:lnTo>
                <a:lnTo>
                  <a:pt x="1182" y="228"/>
                </a:lnTo>
                <a:lnTo>
                  <a:pt x="1188" y="234"/>
                </a:lnTo>
                <a:lnTo>
                  <a:pt x="1212" y="234"/>
                </a:lnTo>
                <a:lnTo>
                  <a:pt x="1242" y="234"/>
                </a:lnTo>
                <a:lnTo>
                  <a:pt x="1248" y="234"/>
                </a:lnTo>
                <a:lnTo>
                  <a:pt x="1278" y="240"/>
                </a:lnTo>
                <a:lnTo>
                  <a:pt x="1320" y="234"/>
                </a:lnTo>
                <a:lnTo>
                  <a:pt x="1332" y="228"/>
                </a:lnTo>
                <a:lnTo>
                  <a:pt x="1344" y="228"/>
                </a:lnTo>
                <a:lnTo>
                  <a:pt x="1350" y="234"/>
                </a:lnTo>
                <a:lnTo>
                  <a:pt x="1350" y="240"/>
                </a:lnTo>
                <a:lnTo>
                  <a:pt x="1356" y="246"/>
                </a:lnTo>
                <a:lnTo>
                  <a:pt x="1350" y="252"/>
                </a:lnTo>
                <a:lnTo>
                  <a:pt x="1356" y="264"/>
                </a:lnTo>
                <a:lnTo>
                  <a:pt x="1356" y="270"/>
                </a:lnTo>
                <a:lnTo>
                  <a:pt x="1356" y="276"/>
                </a:lnTo>
                <a:lnTo>
                  <a:pt x="1356" y="282"/>
                </a:lnTo>
                <a:lnTo>
                  <a:pt x="1356" y="288"/>
                </a:lnTo>
                <a:lnTo>
                  <a:pt x="1350" y="294"/>
                </a:lnTo>
                <a:lnTo>
                  <a:pt x="1344" y="300"/>
                </a:lnTo>
                <a:lnTo>
                  <a:pt x="1344" y="306"/>
                </a:lnTo>
                <a:lnTo>
                  <a:pt x="1338" y="312"/>
                </a:lnTo>
                <a:lnTo>
                  <a:pt x="1326" y="342"/>
                </a:lnTo>
                <a:lnTo>
                  <a:pt x="1320" y="348"/>
                </a:lnTo>
                <a:lnTo>
                  <a:pt x="1314" y="354"/>
                </a:lnTo>
                <a:lnTo>
                  <a:pt x="1290" y="354"/>
                </a:lnTo>
                <a:lnTo>
                  <a:pt x="1284" y="360"/>
                </a:lnTo>
                <a:lnTo>
                  <a:pt x="1278" y="378"/>
                </a:lnTo>
                <a:lnTo>
                  <a:pt x="1278" y="384"/>
                </a:lnTo>
                <a:lnTo>
                  <a:pt x="1272" y="390"/>
                </a:lnTo>
                <a:lnTo>
                  <a:pt x="1266" y="396"/>
                </a:lnTo>
                <a:lnTo>
                  <a:pt x="1260" y="396"/>
                </a:lnTo>
                <a:lnTo>
                  <a:pt x="1248" y="402"/>
                </a:lnTo>
                <a:lnTo>
                  <a:pt x="1242" y="408"/>
                </a:lnTo>
                <a:lnTo>
                  <a:pt x="1242" y="414"/>
                </a:lnTo>
                <a:lnTo>
                  <a:pt x="1242" y="420"/>
                </a:lnTo>
                <a:lnTo>
                  <a:pt x="1236" y="432"/>
                </a:lnTo>
                <a:lnTo>
                  <a:pt x="1242" y="432"/>
                </a:lnTo>
                <a:lnTo>
                  <a:pt x="1242" y="444"/>
                </a:lnTo>
                <a:lnTo>
                  <a:pt x="1242" y="456"/>
                </a:lnTo>
                <a:lnTo>
                  <a:pt x="1248" y="456"/>
                </a:lnTo>
                <a:lnTo>
                  <a:pt x="1254" y="462"/>
                </a:lnTo>
                <a:lnTo>
                  <a:pt x="1248" y="468"/>
                </a:lnTo>
                <a:lnTo>
                  <a:pt x="1254" y="468"/>
                </a:lnTo>
                <a:lnTo>
                  <a:pt x="1266" y="474"/>
                </a:lnTo>
                <a:lnTo>
                  <a:pt x="1266" y="480"/>
                </a:lnTo>
                <a:lnTo>
                  <a:pt x="1266" y="486"/>
                </a:lnTo>
                <a:lnTo>
                  <a:pt x="1272" y="486"/>
                </a:lnTo>
                <a:lnTo>
                  <a:pt x="1272" y="492"/>
                </a:lnTo>
                <a:lnTo>
                  <a:pt x="1290" y="510"/>
                </a:lnTo>
                <a:lnTo>
                  <a:pt x="1296" y="516"/>
                </a:lnTo>
                <a:lnTo>
                  <a:pt x="1302" y="540"/>
                </a:lnTo>
                <a:lnTo>
                  <a:pt x="1302" y="546"/>
                </a:lnTo>
                <a:lnTo>
                  <a:pt x="1302" y="558"/>
                </a:lnTo>
                <a:lnTo>
                  <a:pt x="1302" y="570"/>
                </a:lnTo>
                <a:lnTo>
                  <a:pt x="1302" y="576"/>
                </a:lnTo>
                <a:lnTo>
                  <a:pt x="1344" y="570"/>
                </a:lnTo>
                <a:lnTo>
                  <a:pt x="1350" y="582"/>
                </a:lnTo>
                <a:lnTo>
                  <a:pt x="1368" y="594"/>
                </a:lnTo>
                <a:lnTo>
                  <a:pt x="1374" y="600"/>
                </a:lnTo>
                <a:lnTo>
                  <a:pt x="1380" y="600"/>
                </a:lnTo>
                <a:lnTo>
                  <a:pt x="1380" y="618"/>
                </a:lnTo>
                <a:lnTo>
                  <a:pt x="1386" y="624"/>
                </a:lnTo>
                <a:lnTo>
                  <a:pt x="1404" y="624"/>
                </a:lnTo>
                <a:lnTo>
                  <a:pt x="1410" y="612"/>
                </a:lnTo>
                <a:lnTo>
                  <a:pt x="1428" y="606"/>
                </a:lnTo>
                <a:lnTo>
                  <a:pt x="1488" y="606"/>
                </a:lnTo>
                <a:lnTo>
                  <a:pt x="1506" y="606"/>
                </a:lnTo>
                <a:lnTo>
                  <a:pt x="1512" y="600"/>
                </a:lnTo>
                <a:lnTo>
                  <a:pt x="1524" y="594"/>
                </a:lnTo>
                <a:lnTo>
                  <a:pt x="1554" y="594"/>
                </a:lnTo>
                <a:lnTo>
                  <a:pt x="1578" y="606"/>
                </a:lnTo>
                <a:lnTo>
                  <a:pt x="1596" y="624"/>
                </a:lnTo>
                <a:lnTo>
                  <a:pt x="1650" y="642"/>
                </a:lnTo>
                <a:lnTo>
                  <a:pt x="1686" y="648"/>
                </a:lnTo>
                <a:lnTo>
                  <a:pt x="1698" y="654"/>
                </a:lnTo>
                <a:lnTo>
                  <a:pt x="1698" y="660"/>
                </a:lnTo>
                <a:lnTo>
                  <a:pt x="1692" y="666"/>
                </a:lnTo>
                <a:lnTo>
                  <a:pt x="1692" y="672"/>
                </a:lnTo>
                <a:lnTo>
                  <a:pt x="1698" y="678"/>
                </a:lnTo>
                <a:lnTo>
                  <a:pt x="1698" y="684"/>
                </a:lnTo>
                <a:lnTo>
                  <a:pt x="1692" y="684"/>
                </a:lnTo>
                <a:lnTo>
                  <a:pt x="1692" y="690"/>
                </a:lnTo>
                <a:lnTo>
                  <a:pt x="1698" y="696"/>
                </a:lnTo>
                <a:lnTo>
                  <a:pt x="1698" y="702"/>
                </a:lnTo>
                <a:lnTo>
                  <a:pt x="1698" y="708"/>
                </a:lnTo>
                <a:lnTo>
                  <a:pt x="1704" y="714"/>
                </a:lnTo>
                <a:lnTo>
                  <a:pt x="1704" y="720"/>
                </a:lnTo>
                <a:lnTo>
                  <a:pt x="1704" y="726"/>
                </a:lnTo>
                <a:lnTo>
                  <a:pt x="1704" y="732"/>
                </a:lnTo>
                <a:lnTo>
                  <a:pt x="1704" y="738"/>
                </a:lnTo>
                <a:lnTo>
                  <a:pt x="1698" y="726"/>
                </a:lnTo>
                <a:lnTo>
                  <a:pt x="1668" y="720"/>
                </a:lnTo>
                <a:lnTo>
                  <a:pt x="1626" y="714"/>
                </a:lnTo>
                <a:lnTo>
                  <a:pt x="1614" y="708"/>
                </a:lnTo>
                <a:lnTo>
                  <a:pt x="1578" y="696"/>
                </a:lnTo>
                <a:lnTo>
                  <a:pt x="1566" y="696"/>
                </a:lnTo>
                <a:lnTo>
                  <a:pt x="1548" y="702"/>
                </a:lnTo>
                <a:lnTo>
                  <a:pt x="1542" y="714"/>
                </a:lnTo>
                <a:lnTo>
                  <a:pt x="1536" y="732"/>
                </a:lnTo>
                <a:lnTo>
                  <a:pt x="1530" y="750"/>
                </a:lnTo>
                <a:lnTo>
                  <a:pt x="1536" y="750"/>
                </a:lnTo>
                <a:lnTo>
                  <a:pt x="1542" y="756"/>
                </a:lnTo>
                <a:lnTo>
                  <a:pt x="1542" y="762"/>
                </a:lnTo>
                <a:lnTo>
                  <a:pt x="1548" y="762"/>
                </a:lnTo>
                <a:lnTo>
                  <a:pt x="1554" y="762"/>
                </a:lnTo>
                <a:lnTo>
                  <a:pt x="1554" y="768"/>
                </a:lnTo>
                <a:lnTo>
                  <a:pt x="1560" y="774"/>
                </a:lnTo>
                <a:lnTo>
                  <a:pt x="1566" y="774"/>
                </a:lnTo>
                <a:lnTo>
                  <a:pt x="1584" y="792"/>
                </a:lnTo>
                <a:lnTo>
                  <a:pt x="1584" y="810"/>
                </a:lnTo>
                <a:lnTo>
                  <a:pt x="1572" y="816"/>
                </a:lnTo>
                <a:lnTo>
                  <a:pt x="1578" y="834"/>
                </a:lnTo>
                <a:lnTo>
                  <a:pt x="1578" y="846"/>
                </a:lnTo>
                <a:lnTo>
                  <a:pt x="1584" y="858"/>
                </a:lnTo>
                <a:lnTo>
                  <a:pt x="1590" y="864"/>
                </a:lnTo>
                <a:lnTo>
                  <a:pt x="1590" y="876"/>
                </a:lnTo>
                <a:lnTo>
                  <a:pt x="1578" y="888"/>
                </a:lnTo>
                <a:lnTo>
                  <a:pt x="1560" y="906"/>
                </a:lnTo>
                <a:lnTo>
                  <a:pt x="1536" y="930"/>
                </a:lnTo>
                <a:lnTo>
                  <a:pt x="1530" y="930"/>
                </a:lnTo>
                <a:lnTo>
                  <a:pt x="1506" y="942"/>
                </a:lnTo>
                <a:lnTo>
                  <a:pt x="1488" y="948"/>
                </a:lnTo>
                <a:lnTo>
                  <a:pt x="1476" y="954"/>
                </a:lnTo>
                <a:lnTo>
                  <a:pt x="1458" y="960"/>
                </a:lnTo>
                <a:lnTo>
                  <a:pt x="1452" y="966"/>
                </a:lnTo>
                <a:lnTo>
                  <a:pt x="1446" y="966"/>
                </a:lnTo>
                <a:lnTo>
                  <a:pt x="1434" y="972"/>
                </a:lnTo>
                <a:lnTo>
                  <a:pt x="1434" y="954"/>
                </a:lnTo>
                <a:lnTo>
                  <a:pt x="1422" y="942"/>
                </a:lnTo>
                <a:lnTo>
                  <a:pt x="1398" y="924"/>
                </a:lnTo>
                <a:lnTo>
                  <a:pt x="1398" y="912"/>
                </a:lnTo>
                <a:lnTo>
                  <a:pt x="1398" y="906"/>
                </a:lnTo>
                <a:lnTo>
                  <a:pt x="1398" y="900"/>
                </a:lnTo>
                <a:lnTo>
                  <a:pt x="1380" y="900"/>
                </a:lnTo>
                <a:lnTo>
                  <a:pt x="1380" y="894"/>
                </a:lnTo>
                <a:lnTo>
                  <a:pt x="1368" y="888"/>
                </a:lnTo>
                <a:lnTo>
                  <a:pt x="1362" y="882"/>
                </a:lnTo>
                <a:lnTo>
                  <a:pt x="1356" y="876"/>
                </a:lnTo>
                <a:lnTo>
                  <a:pt x="1350" y="864"/>
                </a:lnTo>
                <a:lnTo>
                  <a:pt x="1344" y="858"/>
                </a:lnTo>
                <a:lnTo>
                  <a:pt x="1314" y="870"/>
                </a:lnTo>
                <a:lnTo>
                  <a:pt x="1272" y="876"/>
                </a:lnTo>
                <a:lnTo>
                  <a:pt x="1218" y="870"/>
                </a:lnTo>
                <a:lnTo>
                  <a:pt x="1200" y="864"/>
                </a:lnTo>
                <a:lnTo>
                  <a:pt x="1182" y="864"/>
                </a:lnTo>
                <a:lnTo>
                  <a:pt x="1134" y="858"/>
                </a:lnTo>
                <a:lnTo>
                  <a:pt x="1110" y="840"/>
                </a:lnTo>
                <a:lnTo>
                  <a:pt x="1086" y="828"/>
                </a:lnTo>
                <a:lnTo>
                  <a:pt x="1044" y="816"/>
                </a:lnTo>
                <a:lnTo>
                  <a:pt x="1014" y="816"/>
                </a:lnTo>
                <a:lnTo>
                  <a:pt x="990" y="822"/>
                </a:lnTo>
                <a:lnTo>
                  <a:pt x="948" y="858"/>
                </a:lnTo>
                <a:lnTo>
                  <a:pt x="930" y="864"/>
                </a:lnTo>
                <a:lnTo>
                  <a:pt x="924" y="876"/>
                </a:lnTo>
                <a:lnTo>
                  <a:pt x="918" y="906"/>
                </a:lnTo>
                <a:lnTo>
                  <a:pt x="924" y="930"/>
                </a:lnTo>
                <a:lnTo>
                  <a:pt x="948" y="984"/>
                </a:lnTo>
                <a:lnTo>
                  <a:pt x="954" y="1008"/>
                </a:lnTo>
                <a:lnTo>
                  <a:pt x="948" y="1014"/>
                </a:lnTo>
                <a:lnTo>
                  <a:pt x="954" y="1014"/>
                </a:lnTo>
                <a:lnTo>
                  <a:pt x="954" y="1032"/>
                </a:lnTo>
                <a:lnTo>
                  <a:pt x="966" y="1044"/>
                </a:lnTo>
                <a:lnTo>
                  <a:pt x="960" y="1056"/>
                </a:lnTo>
                <a:lnTo>
                  <a:pt x="954" y="1056"/>
                </a:lnTo>
                <a:lnTo>
                  <a:pt x="948" y="1056"/>
                </a:lnTo>
                <a:lnTo>
                  <a:pt x="942" y="1056"/>
                </a:lnTo>
                <a:lnTo>
                  <a:pt x="936" y="1050"/>
                </a:lnTo>
                <a:lnTo>
                  <a:pt x="930" y="1044"/>
                </a:lnTo>
                <a:lnTo>
                  <a:pt x="924" y="1044"/>
                </a:lnTo>
                <a:lnTo>
                  <a:pt x="918" y="1038"/>
                </a:lnTo>
                <a:lnTo>
                  <a:pt x="912" y="1038"/>
                </a:lnTo>
                <a:lnTo>
                  <a:pt x="906" y="1032"/>
                </a:lnTo>
                <a:lnTo>
                  <a:pt x="900" y="1032"/>
                </a:lnTo>
                <a:lnTo>
                  <a:pt x="888" y="1026"/>
                </a:lnTo>
                <a:lnTo>
                  <a:pt x="882" y="1026"/>
                </a:lnTo>
                <a:lnTo>
                  <a:pt x="876" y="1026"/>
                </a:lnTo>
                <a:lnTo>
                  <a:pt x="864" y="1014"/>
                </a:lnTo>
                <a:lnTo>
                  <a:pt x="846" y="1008"/>
                </a:lnTo>
                <a:lnTo>
                  <a:pt x="840" y="996"/>
                </a:lnTo>
                <a:lnTo>
                  <a:pt x="840" y="990"/>
                </a:lnTo>
                <a:lnTo>
                  <a:pt x="834" y="990"/>
                </a:lnTo>
                <a:lnTo>
                  <a:pt x="828" y="990"/>
                </a:lnTo>
                <a:lnTo>
                  <a:pt x="816" y="990"/>
                </a:lnTo>
                <a:lnTo>
                  <a:pt x="810" y="990"/>
                </a:lnTo>
                <a:lnTo>
                  <a:pt x="804" y="984"/>
                </a:lnTo>
                <a:lnTo>
                  <a:pt x="792" y="978"/>
                </a:lnTo>
                <a:lnTo>
                  <a:pt x="786" y="972"/>
                </a:lnTo>
                <a:lnTo>
                  <a:pt x="780" y="972"/>
                </a:lnTo>
                <a:lnTo>
                  <a:pt x="768" y="966"/>
                </a:lnTo>
                <a:lnTo>
                  <a:pt x="762" y="966"/>
                </a:lnTo>
                <a:lnTo>
                  <a:pt x="756" y="966"/>
                </a:lnTo>
                <a:lnTo>
                  <a:pt x="750" y="966"/>
                </a:lnTo>
                <a:lnTo>
                  <a:pt x="744" y="966"/>
                </a:lnTo>
                <a:lnTo>
                  <a:pt x="738" y="960"/>
                </a:lnTo>
                <a:lnTo>
                  <a:pt x="732" y="954"/>
                </a:lnTo>
                <a:lnTo>
                  <a:pt x="720" y="954"/>
                </a:lnTo>
                <a:lnTo>
                  <a:pt x="714" y="948"/>
                </a:lnTo>
                <a:lnTo>
                  <a:pt x="708" y="948"/>
                </a:lnTo>
                <a:lnTo>
                  <a:pt x="696" y="948"/>
                </a:lnTo>
                <a:lnTo>
                  <a:pt x="684" y="942"/>
                </a:lnTo>
                <a:lnTo>
                  <a:pt x="678" y="936"/>
                </a:lnTo>
                <a:lnTo>
                  <a:pt x="660" y="930"/>
                </a:lnTo>
                <a:lnTo>
                  <a:pt x="642" y="924"/>
                </a:lnTo>
                <a:lnTo>
                  <a:pt x="636" y="924"/>
                </a:lnTo>
                <a:lnTo>
                  <a:pt x="630" y="924"/>
                </a:lnTo>
                <a:lnTo>
                  <a:pt x="618" y="924"/>
                </a:lnTo>
                <a:lnTo>
                  <a:pt x="618" y="918"/>
                </a:lnTo>
                <a:lnTo>
                  <a:pt x="606" y="918"/>
                </a:lnTo>
                <a:lnTo>
                  <a:pt x="600" y="918"/>
                </a:lnTo>
                <a:lnTo>
                  <a:pt x="594" y="918"/>
                </a:lnTo>
                <a:lnTo>
                  <a:pt x="594" y="912"/>
                </a:lnTo>
                <a:lnTo>
                  <a:pt x="588" y="912"/>
                </a:lnTo>
                <a:lnTo>
                  <a:pt x="582" y="912"/>
                </a:lnTo>
                <a:lnTo>
                  <a:pt x="582" y="918"/>
                </a:lnTo>
                <a:lnTo>
                  <a:pt x="576" y="918"/>
                </a:lnTo>
                <a:lnTo>
                  <a:pt x="570" y="918"/>
                </a:lnTo>
                <a:lnTo>
                  <a:pt x="570" y="912"/>
                </a:lnTo>
                <a:lnTo>
                  <a:pt x="564" y="912"/>
                </a:lnTo>
                <a:lnTo>
                  <a:pt x="558" y="918"/>
                </a:lnTo>
                <a:lnTo>
                  <a:pt x="552" y="912"/>
                </a:lnTo>
                <a:lnTo>
                  <a:pt x="546" y="912"/>
                </a:lnTo>
                <a:lnTo>
                  <a:pt x="540" y="912"/>
                </a:lnTo>
                <a:lnTo>
                  <a:pt x="528" y="906"/>
                </a:lnTo>
                <a:lnTo>
                  <a:pt x="522" y="906"/>
                </a:lnTo>
                <a:lnTo>
                  <a:pt x="522" y="900"/>
                </a:lnTo>
                <a:lnTo>
                  <a:pt x="516" y="900"/>
                </a:lnTo>
                <a:lnTo>
                  <a:pt x="510" y="900"/>
                </a:lnTo>
                <a:lnTo>
                  <a:pt x="486" y="894"/>
                </a:lnTo>
                <a:lnTo>
                  <a:pt x="474" y="888"/>
                </a:lnTo>
                <a:lnTo>
                  <a:pt x="468" y="888"/>
                </a:lnTo>
                <a:lnTo>
                  <a:pt x="450" y="888"/>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20500" name="Freeform 16"/>
          <p:cNvSpPr>
            <a:spLocks/>
          </p:cNvSpPr>
          <p:nvPr/>
        </p:nvSpPr>
        <p:spPr bwMode="gray">
          <a:xfrm>
            <a:off x="4368800" y="3308350"/>
            <a:ext cx="1065213" cy="1055688"/>
          </a:xfrm>
          <a:custGeom>
            <a:avLst/>
            <a:gdLst>
              <a:gd name="T0" fmla="*/ 34415 w 1362"/>
              <a:gd name="T1" fmla="*/ 85512 h 1308"/>
              <a:gd name="T2" fmla="*/ 25029 w 1362"/>
              <a:gd name="T3" fmla="*/ 87932 h 1308"/>
              <a:gd name="T4" fmla="*/ 19554 w 1362"/>
              <a:gd name="T5" fmla="*/ 84705 h 1308"/>
              <a:gd name="T6" fmla="*/ 17208 w 1362"/>
              <a:gd name="T7" fmla="*/ 78251 h 1308"/>
              <a:gd name="T8" fmla="*/ 16425 w 1362"/>
              <a:gd name="T9" fmla="*/ 76638 h 1308"/>
              <a:gd name="T10" fmla="*/ 15643 w 1362"/>
              <a:gd name="T11" fmla="*/ 72604 h 1308"/>
              <a:gd name="T12" fmla="*/ 17990 w 1362"/>
              <a:gd name="T13" fmla="*/ 70184 h 1308"/>
              <a:gd name="T14" fmla="*/ 22683 w 1362"/>
              <a:gd name="T15" fmla="*/ 65344 h 1308"/>
              <a:gd name="T16" fmla="*/ 23465 w 1362"/>
              <a:gd name="T17" fmla="*/ 62924 h 1308"/>
              <a:gd name="T18" fmla="*/ 21118 w 1362"/>
              <a:gd name="T19" fmla="*/ 60504 h 1308"/>
              <a:gd name="T20" fmla="*/ 11732 w 1362"/>
              <a:gd name="T21" fmla="*/ 58890 h 1308"/>
              <a:gd name="T22" fmla="*/ 9386 w 1362"/>
              <a:gd name="T23" fmla="*/ 55663 h 1308"/>
              <a:gd name="T24" fmla="*/ 3911 w 1362"/>
              <a:gd name="T25" fmla="*/ 52437 h 1308"/>
              <a:gd name="T26" fmla="*/ 4693 w 1362"/>
              <a:gd name="T27" fmla="*/ 50016 h 1308"/>
              <a:gd name="T28" fmla="*/ 5475 w 1362"/>
              <a:gd name="T29" fmla="*/ 45176 h 1308"/>
              <a:gd name="T30" fmla="*/ 1564 w 1362"/>
              <a:gd name="T31" fmla="*/ 39529 h 1308"/>
              <a:gd name="T32" fmla="*/ 0 w 1362"/>
              <a:gd name="T33" fmla="*/ 35496 h 1308"/>
              <a:gd name="T34" fmla="*/ 0 w 1362"/>
              <a:gd name="T35" fmla="*/ 31462 h 1308"/>
              <a:gd name="T36" fmla="*/ 2346 w 1362"/>
              <a:gd name="T37" fmla="*/ 28235 h 1308"/>
              <a:gd name="T38" fmla="*/ 2346 w 1362"/>
              <a:gd name="T39" fmla="*/ 22588 h 1308"/>
              <a:gd name="T40" fmla="*/ 4693 w 1362"/>
              <a:gd name="T41" fmla="*/ 14521 h 1308"/>
              <a:gd name="T42" fmla="*/ 4693 w 1362"/>
              <a:gd name="T43" fmla="*/ 6454 h 1308"/>
              <a:gd name="T44" fmla="*/ 7822 w 1362"/>
              <a:gd name="T45" fmla="*/ 4034 h 1308"/>
              <a:gd name="T46" fmla="*/ 11732 w 1362"/>
              <a:gd name="T47" fmla="*/ 0 h 1308"/>
              <a:gd name="T48" fmla="*/ 16425 w 1362"/>
              <a:gd name="T49" fmla="*/ 5647 h 1308"/>
              <a:gd name="T50" fmla="*/ 19554 w 1362"/>
              <a:gd name="T51" fmla="*/ 12101 h 1308"/>
              <a:gd name="T52" fmla="*/ 18772 w 1362"/>
              <a:gd name="T53" fmla="*/ 15328 h 1308"/>
              <a:gd name="T54" fmla="*/ 25029 w 1362"/>
              <a:gd name="T55" fmla="*/ 15328 h 1308"/>
              <a:gd name="T56" fmla="*/ 27376 w 1362"/>
              <a:gd name="T57" fmla="*/ 16134 h 1308"/>
              <a:gd name="T58" fmla="*/ 31286 w 1362"/>
              <a:gd name="T59" fmla="*/ 18554 h 1308"/>
              <a:gd name="T60" fmla="*/ 31286 w 1362"/>
              <a:gd name="T61" fmla="*/ 20975 h 1308"/>
              <a:gd name="T62" fmla="*/ 26593 w 1362"/>
              <a:gd name="T63" fmla="*/ 28235 h 1308"/>
              <a:gd name="T64" fmla="*/ 32069 w 1362"/>
              <a:gd name="T65" fmla="*/ 29849 h 1308"/>
              <a:gd name="T66" fmla="*/ 33633 w 1362"/>
              <a:gd name="T67" fmla="*/ 35496 h 1308"/>
              <a:gd name="T68" fmla="*/ 37544 w 1362"/>
              <a:gd name="T69" fmla="*/ 37916 h 1308"/>
              <a:gd name="T70" fmla="*/ 44583 w 1362"/>
              <a:gd name="T71" fmla="*/ 38722 h 1308"/>
              <a:gd name="T72" fmla="*/ 54751 w 1362"/>
              <a:gd name="T73" fmla="*/ 35496 h 1308"/>
              <a:gd name="T74" fmla="*/ 62573 w 1362"/>
              <a:gd name="T75" fmla="*/ 27428 h 1308"/>
              <a:gd name="T76" fmla="*/ 74305 w 1362"/>
              <a:gd name="T77" fmla="*/ 33075 h 1308"/>
              <a:gd name="T78" fmla="*/ 85256 w 1362"/>
              <a:gd name="T79" fmla="*/ 37916 h 1308"/>
              <a:gd name="T80" fmla="*/ 86820 w 1362"/>
              <a:gd name="T81" fmla="*/ 40336 h 1308"/>
              <a:gd name="T82" fmla="*/ 88384 w 1362"/>
              <a:gd name="T83" fmla="*/ 42756 h 1308"/>
              <a:gd name="T84" fmla="*/ 88384 w 1362"/>
              <a:gd name="T85" fmla="*/ 44369 h 1308"/>
              <a:gd name="T86" fmla="*/ 88384 w 1362"/>
              <a:gd name="T87" fmla="*/ 47596 h 1308"/>
              <a:gd name="T88" fmla="*/ 88384 w 1362"/>
              <a:gd name="T89" fmla="*/ 50016 h 1308"/>
              <a:gd name="T90" fmla="*/ 89949 w 1362"/>
              <a:gd name="T91" fmla="*/ 52437 h 1308"/>
              <a:gd name="T92" fmla="*/ 89949 w 1362"/>
              <a:gd name="T93" fmla="*/ 54050 h 1308"/>
              <a:gd name="T94" fmla="*/ 90731 w 1362"/>
              <a:gd name="T95" fmla="*/ 55663 h 1308"/>
              <a:gd name="T96" fmla="*/ 90731 w 1362"/>
              <a:gd name="T97" fmla="*/ 57277 h 1308"/>
              <a:gd name="T98" fmla="*/ 92295 w 1362"/>
              <a:gd name="T99" fmla="*/ 60504 h 1308"/>
              <a:gd name="T100" fmla="*/ 90731 w 1362"/>
              <a:gd name="T101" fmla="*/ 62117 h 1308"/>
              <a:gd name="T102" fmla="*/ 90731 w 1362"/>
              <a:gd name="T103" fmla="*/ 63731 h 1308"/>
              <a:gd name="T104" fmla="*/ 78998 w 1362"/>
              <a:gd name="T105" fmla="*/ 70184 h 1308"/>
              <a:gd name="T106" fmla="*/ 66484 w 1362"/>
              <a:gd name="T107" fmla="*/ 83092 h 1308"/>
              <a:gd name="T108" fmla="*/ 52405 w 1362"/>
              <a:gd name="T109" fmla="*/ 91966 h 13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62"/>
              <a:gd name="T166" fmla="*/ 0 h 1308"/>
              <a:gd name="T167" fmla="*/ 1362 w 1362"/>
              <a:gd name="T168" fmla="*/ 1308 h 13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62" h="1308">
                <a:moveTo>
                  <a:pt x="684" y="1278"/>
                </a:moveTo>
                <a:lnTo>
                  <a:pt x="672" y="1272"/>
                </a:lnTo>
                <a:lnTo>
                  <a:pt x="636" y="1266"/>
                </a:lnTo>
                <a:lnTo>
                  <a:pt x="582" y="1248"/>
                </a:lnTo>
                <a:lnTo>
                  <a:pt x="564" y="1230"/>
                </a:lnTo>
                <a:lnTo>
                  <a:pt x="540" y="1218"/>
                </a:lnTo>
                <a:lnTo>
                  <a:pt x="510" y="1218"/>
                </a:lnTo>
                <a:lnTo>
                  <a:pt x="498" y="1224"/>
                </a:lnTo>
                <a:lnTo>
                  <a:pt x="492" y="1230"/>
                </a:lnTo>
                <a:lnTo>
                  <a:pt x="474" y="1230"/>
                </a:lnTo>
                <a:lnTo>
                  <a:pt x="414" y="1230"/>
                </a:lnTo>
                <a:lnTo>
                  <a:pt x="396" y="1236"/>
                </a:lnTo>
                <a:lnTo>
                  <a:pt x="390" y="1248"/>
                </a:lnTo>
                <a:lnTo>
                  <a:pt x="372" y="1248"/>
                </a:lnTo>
                <a:lnTo>
                  <a:pt x="366" y="1242"/>
                </a:lnTo>
                <a:lnTo>
                  <a:pt x="366" y="1224"/>
                </a:lnTo>
                <a:lnTo>
                  <a:pt x="360" y="1224"/>
                </a:lnTo>
                <a:lnTo>
                  <a:pt x="354" y="1218"/>
                </a:lnTo>
                <a:lnTo>
                  <a:pt x="336" y="1206"/>
                </a:lnTo>
                <a:lnTo>
                  <a:pt x="330" y="1194"/>
                </a:lnTo>
                <a:lnTo>
                  <a:pt x="288" y="1200"/>
                </a:lnTo>
                <a:lnTo>
                  <a:pt x="288" y="1194"/>
                </a:lnTo>
                <a:lnTo>
                  <a:pt x="288" y="1182"/>
                </a:lnTo>
                <a:lnTo>
                  <a:pt x="288" y="1170"/>
                </a:lnTo>
                <a:lnTo>
                  <a:pt x="288" y="1164"/>
                </a:lnTo>
                <a:lnTo>
                  <a:pt x="282" y="1140"/>
                </a:lnTo>
                <a:lnTo>
                  <a:pt x="276" y="1134"/>
                </a:lnTo>
                <a:lnTo>
                  <a:pt x="258" y="1116"/>
                </a:lnTo>
                <a:lnTo>
                  <a:pt x="258" y="1110"/>
                </a:lnTo>
                <a:lnTo>
                  <a:pt x="252" y="1110"/>
                </a:lnTo>
                <a:lnTo>
                  <a:pt x="252" y="1104"/>
                </a:lnTo>
                <a:lnTo>
                  <a:pt x="252" y="1098"/>
                </a:lnTo>
                <a:lnTo>
                  <a:pt x="240" y="1092"/>
                </a:lnTo>
                <a:lnTo>
                  <a:pt x="234" y="1092"/>
                </a:lnTo>
                <a:lnTo>
                  <a:pt x="240" y="1086"/>
                </a:lnTo>
                <a:lnTo>
                  <a:pt x="234" y="1080"/>
                </a:lnTo>
                <a:lnTo>
                  <a:pt x="228" y="1080"/>
                </a:lnTo>
                <a:lnTo>
                  <a:pt x="228" y="1068"/>
                </a:lnTo>
                <a:lnTo>
                  <a:pt x="228" y="1056"/>
                </a:lnTo>
                <a:lnTo>
                  <a:pt x="222" y="1056"/>
                </a:lnTo>
                <a:lnTo>
                  <a:pt x="228" y="1044"/>
                </a:lnTo>
                <a:lnTo>
                  <a:pt x="228" y="1038"/>
                </a:lnTo>
                <a:lnTo>
                  <a:pt x="228" y="1032"/>
                </a:lnTo>
                <a:lnTo>
                  <a:pt x="234" y="1026"/>
                </a:lnTo>
                <a:lnTo>
                  <a:pt x="246" y="1020"/>
                </a:lnTo>
                <a:lnTo>
                  <a:pt x="252" y="1020"/>
                </a:lnTo>
                <a:lnTo>
                  <a:pt x="258" y="1014"/>
                </a:lnTo>
                <a:lnTo>
                  <a:pt x="264" y="1008"/>
                </a:lnTo>
                <a:lnTo>
                  <a:pt x="264" y="1002"/>
                </a:lnTo>
                <a:lnTo>
                  <a:pt x="270" y="984"/>
                </a:lnTo>
                <a:lnTo>
                  <a:pt x="276" y="978"/>
                </a:lnTo>
                <a:lnTo>
                  <a:pt x="300" y="978"/>
                </a:lnTo>
                <a:lnTo>
                  <a:pt x="306" y="972"/>
                </a:lnTo>
                <a:lnTo>
                  <a:pt x="312" y="966"/>
                </a:lnTo>
                <a:lnTo>
                  <a:pt x="324" y="936"/>
                </a:lnTo>
                <a:lnTo>
                  <a:pt x="330" y="930"/>
                </a:lnTo>
                <a:lnTo>
                  <a:pt x="330" y="924"/>
                </a:lnTo>
                <a:lnTo>
                  <a:pt x="336" y="918"/>
                </a:lnTo>
                <a:lnTo>
                  <a:pt x="342" y="912"/>
                </a:lnTo>
                <a:lnTo>
                  <a:pt x="342" y="906"/>
                </a:lnTo>
                <a:lnTo>
                  <a:pt x="342" y="900"/>
                </a:lnTo>
                <a:lnTo>
                  <a:pt x="342" y="894"/>
                </a:lnTo>
                <a:lnTo>
                  <a:pt x="342" y="888"/>
                </a:lnTo>
                <a:lnTo>
                  <a:pt x="336" y="876"/>
                </a:lnTo>
                <a:lnTo>
                  <a:pt x="342" y="870"/>
                </a:lnTo>
                <a:lnTo>
                  <a:pt x="336" y="864"/>
                </a:lnTo>
                <a:lnTo>
                  <a:pt x="336" y="858"/>
                </a:lnTo>
                <a:lnTo>
                  <a:pt x="330" y="852"/>
                </a:lnTo>
                <a:lnTo>
                  <a:pt x="318" y="852"/>
                </a:lnTo>
                <a:lnTo>
                  <a:pt x="306" y="858"/>
                </a:lnTo>
                <a:lnTo>
                  <a:pt x="264" y="864"/>
                </a:lnTo>
                <a:lnTo>
                  <a:pt x="234" y="858"/>
                </a:lnTo>
                <a:lnTo>
                  <a:pt x="228" y="858"/>
                </a:lnTo>
                <a:lnTo>
                  <a:pt x="198" y="858"/>
                </a:lnTo>
                <a:lnTo>
                  <a:pt x="174" y="858"/>
                </a:lnTo>
                <a:lnTo>
                  <a:pt x="168" y="852"/>
                </a:lnTo>
                <a:lnTo>
                  <a:pt x="168" y="840"/>
                </a:lnTo>
                <a:lnTo>
                  <a:pt x="168" y="834"/>
                </a:lnTo>
                <a:lnTo>
                  <a:pt x="168" y="822"/>
                </a:lnTo>
                <a:lnTo>
                  <a:pt x="162" y="822"/>
                </a:lnTo>
                <a:lnTo>
                  <a:pt x="150" y="816"/>
                </a:lnTo>
                <a:lnTo>
                  <a:pt x="144" y="810"/>
                </a:lnTo>
                <a:lnTo>
                  <a:pt x="144" y="804"/>
                </a:lnTo>
                <a:lnTo>
                  <a:pt x="144" y="786"/>
                </a:lnTo>
                <a:lnTo>
                  <a:pt x="144" y="780"/>
                </a:lnTo>
                <a:lnTo>
                  <a:pt x="144" y="774"/>
                </a:lnTo>
                <a:lnTo>
                  <a:pt x="132" y="756"/>
                </a:lnTo>
                <a:lnTo>
                  <a:pt x="120" y="756"/>
                </a:lnTo>
                <a:lnTo>
                  <a:pt x="84" y="750"/>
                </a:lnTo>
                <a:lnTo>
                  <a:pt x="78" y="744"/>
                </a:lnTo>
                <a:lnTo>
                  <a:pt x="60" y="744"/>
                </a:lnTo>
                <a:lnTo>
                  <a:pt x="54" y="726"/>
                </a:lnTo>
                <a:lnTo>
                  <a:pt x="60" y="726"/>
                </a:lnTo>
                <a:lnTo>
                  <a:pt x="60" y="720"/>
                </a:lnTo>
                <a:lnTo>
                  <a:pt x="66" y="720"/>
                </a:lnTo>
                <a:lnTo>
                  <a:pt x="66" y="714"/>
                </a:lnTo>
                <a:lnTo>
                  <a:pt x="72" y="714"/>
                </a:lnTo>
                <a:lnTo>
                  <a:pt x="72" y="708"/>
                </a:lnTo>
                <a:lnTo>
                  <a:pt x="78" y="702"/>
                </a:lnTo>
                <a:lnTo>
                  <a:pt x="78" y="696"/>
                </a:lnTo>
                <a:lnTo>
                  <a:pt x="78" y="690"/>
                </a:lnTo>
                <a:lnTo>
                  <a:pt x="84" y="678"/>
                </a:lnTo>
                <a:lnTo>
                  <a:pt x="90" y="666"/>
                </a:lnTo>
                <a:lnTo>
                  <a:pt x="90" y="642"/>
                </a:lnTo>
                <a:lnTo>
                  <a:pt x="84" y="648"/>
                </a:lnTo>
                <a:lnTo>
                  <a:pt x="78" y="642"/>
                </a:lnTo>
                <a:lnTo>
                  <a:pt x="72" y="642"/>
                </a:lnTo>
                <a:lnTo>
                  <a:pt x="66" y="642"/>
                </a:lnTo>
                <a:lnTo>
                  <a:pt x="60" y="642"/>
                </a:lnTo>
                <a:lnTo>
                  <a:pt x="54" y="636"/>
                </a:lnTo>
                <a:lnTo>
                  <a:pt x="30" y="570"/>
                </a:lnTo>
                <a:lnTo>
                  <a:pt x="24" y="564"/>
                </a:lnTo>
                <a:lnTo>
                  <a:pt x="18" y="570"/>
                </a:lnTo>
                <a:lnTo>
                  <a:pt x="12" y="552"/>
                </a:lnTo>
                <a:lnTo>
                  <a:pt x="12" y="546"/>
                </a:lnTo>
                <a:lnTo>
                  <a:pt x="6" y="546"/>
                </a:lnTo>
                <a:lnTo>
                  <a:pt x="6" y="540"/>
                </a:lnTo>
                <a:lnTo>
                  <a:pt x="0" y="522"/>
                </a:lnTo>
                <a:lnTo>
                  <a:pt x="0" y="510"/>
                </a:lnTo>
                <a:lnTo>
                  <a:pt x="6" y="510"/>
                </a:lnTo>
                <a:lnTo>
                  <a:pt x="6" y="498"/>
                </a:lnTo>
                <a:lnTo>
                  <a:pt x="12" y="498"/>
                </a:lnTo>
                <a:lnTo>
                  <a:pt x="12" y="480"/>
                </a:lnTo>
                <a:lnTo>
                  <a:pt x="6" y="480"/>
                </a:lnTo>
                <a:lnTo>
                  <a:pt x="0" y="474"/>
                </a:lnTo>
                <a:lnTo>
                  <a:pt x="0" y="450"/>
                </a:lnTo>
                <a:lnTo>
                  <a:pt x="6" y="450"/>
                </a:lnTo>
                <a:lnTo>
                  <a:pt x="12" y="450"/>
                </a:lnTo>
                <a:lnTo>
                  <a:pt x="18" y="456"/>
                </a:lnTo>
                <a:lnTo>
                  <a:pt x="24" y="450"/>
                </a:lnTo>
                <a:lnTo>
                  <a:pt x="24" y="432"/>
                </a:lnTo>
                <a:lnTo>
                  <a:pt x="30" y="426"/>
                </a:lnTo>
                <a:lnTo>
                  <a:pt x="36" y="402"/>
                </a:lnTo>
                <a:lnTo>
                  <a:pt x="42" y="396"/>
                </a:lnTo>
                <a:lnTo>
                  <a:pt x="42" y="390"/>
                </a:lnTo>
                <a:lnTo>
                  <a:pt x="42" y="366"/>
                </a:lnTo>
                <a:lnTo>
                  <a:pt x="48" y="360"/>
                </a:lnTo>
                <a:lnTo>
                  <a:pt x="48" y="342"/>
                </a:lnTo>
                <a:lnTo>
                  <a:pt x="42" y="330"/>
                </a:lnTo>
                <a:lnTo>
                  <a:pt x="36" y="324"/>
                </a:lnTo>
                <a:lnTo>
                  <a:pt x="42" y="306"/>
                </a:lnTo>
                <a:lnTo>
                  <a:pt x="42" y="270"/>
                </a:lnTo>
                <a:lnTo>
                  <a:pt x="36" y="270"/>
                </a:lnTo>
                <a:lnTo>
                  <a:pt x="30" y="264"/>
                </a:lnTo>
                <a:lnTo>
                  <a:pt x="48" y="258"/>
                </a:lnTo>
                <a:lnTo>
                  <a:pt x="72" y="252"/>
                </a:lnTo>
                <a:lnTo>
                  <a:pt x="66" y="204"/>
                </a:lnTo>
                <a:lnTo>
                  <a:pt x="60" y="198"/>
                </a:lnTo>
                <a:lnTo>
                  <a:pt x="48" y="174"/>
                </a:lnTo>
                <a:lnTo>
                  <a:pt x="42" y="174"/>
                </a:lnTo>
                <a:lnTo>
                  <a:pt x="48" y="138"/>
                </a:lnTo>
                <a:lnTo>
                  <a:pt x="60" y="102"/>
                </a:lnTo>
                <a:lnTo>
                  <a:pt x="66" y="102"/>
                </a:lnTo>
                <a:lnTo>
                  <a:pt x="72" y="96"/>
                </a:lnTo>
                <a:lnTo>
                  <a:pt x="84" y="96"/>
                </a:lnTo>
                <a:lnTo>
                  <a:pt x="90" y="84"/>
                </a:lnTo>
                <a:lnTo>
                  <a:pt x="108" y="72"/>
                </a:lnTo>
                <a:lnTo>
                  <a:pt x="114" y="72"/>
                </a:lnTo>
                <a:lnTo>
                  <a:pt x="114" y="66"/>
                </a:lnTo>
                <a:lnTo>
                  <a:pt x="120" y="60"/>
                </a:lnTo>
                <a:lnTo>
                  <a:pt x="120" y="54"/>
                </a:lnTo>
                <a:lnTo>
                  <a:pt x="120" y="48"/>
                </a:lnTo>
                <a:lnTo>
                  <a:pt x="126" y="48"/>
                </a:lnTo>
                <a:lnTo>
                  <a:pt x="132" y="42"/>
                </a:lnTo>
                <a:lnTo>
                  <a:pt x="132" y="0"/>
                </a:lnTo>
                <a:lnTo>
                  <a:pt x="162" y="0"/>
                </a:lnTo>
                <a:lnTo>
                  <a:pt x="168" y="0"/>
                </a:lnTo>
                <a:lnTo>
                  <a:pt x="174" y="6"/>
                </a:lnTo>
                <a:lnTo>
                  <a:pt x="180" y="12"/>
                </a:lnTo>
                <a:lnTo>
                  <a:pt x="180" y="18"/>
                </a:lnTo>
                <a:lnTo>
                  <a:pt x="240" y="18"/>
                </a:lnTo>
                <a:lnTo>
                  <a:pt x="246" y="42"/>
                </a:lnTo>
                <a:lnTo>
                  <a:pt x="240" y="72"/>
                </a:lnTo>
                <a:lnTo>
                  <a:pt x="246" y="78"/>
                </a:lnTo>
                <a:lnTo>
                  <a:pt x="246" y="84"/>
                </a:lnTo>
                <a:lnTo>
                  <a:pt x="246" y="90"/>
                </a:lnTo>
                <a:lnTo>
                  <a:pt x="258" y="108"/>
                </a:lnTo>
                <a:lnTo>
                  <a:pt x="276" y="114"/>
                </a:lnTo>
                <a:lnTo>
                  <a:pt x="294" y="150"/>
                </a:lnTo>
                <a:lnTo>
                  <a:pt x="294" y="162"/>
                </a:lnTo>
                <a:lnTo>
                  <a:pt x="288" y="162"/>
                </a:lnTo>
                <a:lnTo>
                  <a:pt x="288" y="168"/>
                </a:lnTo>
                <a:lnTo>
                  <a:pt x="288" y="174"/>
                </a:lnTo>
                <a:lnTo>
                  <a:pt x="282" y="180"/>
                </a:lnTo>
                <a:lnTo>
                  <a:pt x="282" y="186"/>
                </a:lnTo>
                <a:lnTo>
                  <a:pt x="282" y="192"/>
                </a:lnTo>
                <a:lnTo>
                  <a:pt x="276" y="204"/>
                </a:lnTo>
                <a:lnTo>
                  <a:pt x="276" y="210"/>
                </a:lnTo>
                <a:lnTo>
                  <a:pt x="276" y="216"/>
                </a:lnTo>
                <a:lnTo>
                  <a:pt x="288" y="240"/>
                </a:lnTo>
                <a:lnTo>
                  <a:pt x="312" y="228"/>
                </a:lnTo>
                <a:lnTo>
                  <a:pt x="324" y="228"/>
                </a:lnTo>
                <a:lnTo>
                  <a:pt x="330" y="228"/>
                </a:lnTo>
                <a:lnTo>
                  <a:pt x="366" y="228"/>
                </a:lnTo>
                <a:lnTo>
                  <a:pt x="372" y="228"/>
                </a:lnTo>
                <a:lnTo>
                  <a:pt x="372" y="222"/>
                </a:lnTo>
                <a:lnTo>
                  <a:pt x="378" y="222"/>
                </a:lnTo>
                <a:lnTo>
                  <a:pt x="384" y="222"/>
                </a:lnTo>
                <a:lnTo>
                  <a:pt x="390" y="222"/>
                </a:lnTo>
                <a:lnTo>
                  <a:pt x="396" y="222"/>
                </a:lnTo>
                <a:lnTo>
                  <a:pt x="402" y="222"/>
                </a:lnTo>
                <a:lnTo>
                  <a:pt x="402" y="228"/>
                </a:lnTo>
                <a:lnTo>
                  <a:pt x="408" y="228"/>
                </a:lnTo>
                <a:lnTo>
                  <a:pt x="414" y="222"/>
                </a:lnTo>
                <a:lnTo>
                  <a:pt x="420" y="216"/>
                </a:lnTo>
                <a:lnTo>
                  <a:pt x="426" y="216"/>
                </a:lnTo>
                <a:lnTo>
                  <a:pt x="438" y="210"/>
                </a:lnTo>
                <a:lnTo>
                  <a:pt x="444" y="210"/>
                </a:lnTo>
                <a:lnTo>
                  <a:pt x="468" y="258"/>
                </a:lnTo>
                <a:lnTo>
                  <a:pt x="462" y="264"/>
                </a:lnTo>
                <a:lnTo>
                  <a:pt x="468" y="264"/>
                </a:lnTo>
                <a:lnTo>
                  <a:pt x="468" y="270"/>
                </a:lnTo>
                <a:lnTo>
                  <a:pt x="474" y="270"/>
                </a:lnTo>
                <a:lnTo>
                  <a:pt x="480" y="276"/>
                </a:lnTo>
                <a:lnTo>
                  <a:pt x="474" y="282"/>
                </a:lnTo>
                <a:lnTo>
                  <a:pt x="474" y="288"/>
                </a:lnTo>
                <a:lnTo>
                  <a:pt x="462" y="294"/>
                </a:lnTo>
                <a:lnTo>
                  <a:pt x="468" y="324"/>
                </a:lnTo>
                <a:lnTo>
                  <a:pt x="462" y="336"/>
                </a:lnTo>
                <a:lnTo>
                  <a:pt x="456" y="354"/>
                </a:lnTo>
                <a:lnTo>
                  <a:pt x="432" y="390"/>
                </a:lnTo>
                <a:lnTo>
                  <a:pt x="420" y="390"/>
                </a:lnTo>
                <a:lnTo>
                  <a:pt x="402" y="390"/>
                </a:lnTo>
                <a:lnTo>
                  <a:pt x="396" y="396"/>
                </a:lnTo>
                <a:lnTo>
                  <a:pt x="390" y="396"/>
                </a:lnTo>
                <a:lnTo>
                  <a:pt x="390" y="402"/>
                </a:lnTo>
                <a:lnTo>
                  <a:pt x="384" y="402"/>
                </a:lnTo>
                <a:lnTo>
                  <a:pt x="408" y="432"/>
                </a:lnTo>
                <a:lnTo>
                  <a:pt x="432" y="438"/>
                </a:lnTo>
                <a:lnTo>
                  <a:pt x="456" y="432"/>
                </a:lnTo>
                <a:lnTo>
                  <a:pt x="468" y="426"/>
                </a:lnTo>
                <a:lnTo>
                  <a:pt x="468" y="444"/>
                </a:lnTo>
                <a:lnTo>
                  <a:pt x="468" y="450"/>
                </a:lnTo>
                <a:lnTo>
                  <a:pt x="468" y="474"/>
                </a:lnTo>
                <a:lnTo>
                  <a:pt x="486" y="480"/>
                </a:lnTo>
                <a:lnTo>
                  <a:pt x="486" y="486"/>
                </a:lnTo>
                <a:lnTo>
                  <a:pt x="492" y="498"/>
                </a:lnTo>
                <a:lnTo>
                  <a:pt x="492" y="504"/>
                </a:lnTo>
                <a:lnTo>
                  <a:pt x="498" y="510"/>
                </a:lnTo>
                <a:lnTo>
                  <a:pt x="498" y="516"/>
                </a:lnTo>
                <a:lnTo>
                  <a:pt x="504" y="516"/>
                </a:lnTo>
                <a:lnTo>
                  <a:pt x="510" y="516"/>
                </a:lnTo>
                <a:lnTo>
                  <a:pt x="522" y="528"/>
                </a:lnTo>
                <a:lnTo>
                  <a:pt x="546" y="540"/>
                </a:lnTo>
                <a:lnTo>
                  <a:pt x="552" y="546"/>
                </a:lnTo>
                <a:lnTo>
                  <a:pt x="570" y="552"/>
                </a:lnTo>
                <a:lnTo>
                  <a:pt x="594" y="552"/>
                </a:lnTo>
                <a:lnTo>
                  <a:pt x="606" y="546"/>
                </a:lnTo>
                <a:lnTo>
                  <a:pt x="612" y="540"/>
                </a:lnTo>
                <a:lnTo>
                  <a:pt x="630" y="540"/>
                </a:lnTo>
                <a:lnTo>
                  <a:pt x="630" y="552"/>
                </a:lnTo>
                <a:lnTo>
                  <a:pt x="654" y="552"/>
                </a:lnTo>
                <a:lnTo>
                  <a:pt x="702" y="558"/>
                </a:lnTo>
                <a:lnTo>
                  <a:pt x="762" y="546"/>
                </a:lnTo>
                <a:lnTo>
                  <a:pt x="780" y="546"/>
                </a:lnTo>
                <a:lnTo>
                  <a:pt x="780" y="528"/>
                </a:lnTo>
                <a:lnTo>
                  <a:pt x="798" y="522"/>
                </a:lnTo>
                <a:lnTo>
                  <a:pt x="810" y="510"/>
                </a:lnTo>
                <a:lnTo>
                  <a:pt x="810" y="504"/>
                </a:lnTo>
                <a:lnTo>
                  <a:pt x="828" y="492"/>
                </a:lnTo>
                <a:lnTo>
                  <a:pt x="888" y="486"/>
                </a:lnTo>
                <a:lnTo>
                  <a:pt x="912" y="486"/>
                </a:lnTo>
                <a:lnTo>
                  <a:pt x="930" y="474"/>
                </a:lnTo>
                <a:lnTo>
                  <a:pt x="918" y="456"/>
                </a:lnTo>
                <a:lnTo>
                  <a:pt x="912" y="450"/>
                </a:lnTo>
                <a:lnTo>
                  <a:pt x="918" y="390"/>
                </a:lnTo>
                <a:lnTo>
                  <a:pt x="954" y="396"/>
                </a:lnTo>
                <a:lnTo>
                  <a:pt x="984" y="402"/>
                </a:lnTo>
                <a:lnTo>
                  <a:pt x="1014" y="420"/>
                </a:lnTo>
                <a:lnTo>
                  <a:pt x="1026" y="432"/>
                </a:lnTo>
                <a:lnTo>
                  <a:pt x="1044" y="450"/>
                </a:lnTo>
                <a:lnTo>
                  <a:pt x="1062" y="462"/>
                </a:lnTo>
                <a:lnTo>
                  <a:pt x="1098" y="468"/>
                </a:lnTo>
                <a:lnTo>
                  <a:pt x="1128" y="480"/>
                </a:lnTo>
                <a:lnTo>
                  <a:pt x="1152" y="486"/>
                </a:lnTo>
                <a:lnTo>
                  <a:pt x="1188" y="498"/>
                </a:lnTo>
                <a:lnTo>
                  <a:pt x="1212" y="504"/>
                </a:lnTo>
                <a:lnTo>
                  <a:pt x="1224" y="528"/>
                </a:lnTo>
                <a:lnTo>
                  <a:pt x="1236" y="540"/>
                </a:lnTo>
                <a:lnTo>
                  <a:pt x="1254" y="540"/>
                </a:lnTo>
                <a:lnTo>
                  <a:pt x="1254" y="546"/>
                </a:lnTo>
                <a:lnTo>
                  <a:pt x="1260" y="552"/>
                </a:lnTo>
                <a:lnTo>
                  <a:pt x="1266" y="552"/>
                </a:lnTo>
                <a:lnTo>
                  <a:pt x="1266" y="558"/>
                </a:lnTo>
                <a:lnTo>
                  <a:pt x="1272" y="564"/>
                </a:lnTo>
                <a:lnTo>
                  <a:pt x="1278" y="564"/>
                </a:lnTo>
                <a:lnTo>
                  <a:pt x="1278" y="570"/>
                </a:lnTo>
                <a:lnTo>
                  <a:pt x="1284" y="576"/>
                </a:lnTo>
                <a:lnTo>
                  <a:pt x="1290" y="582"/>
                </a:lnTo>
                <a:lnTo>
                  <a:pt x="1296" y="582"/>
                </a:lnTo>
                <a:lnTo>
                  <a:pt x="1296" y="588"/>
                </a:lnTo>
                <a:lnTo>
                  <a:pt x="1308" y="594"/>
                </a:lnTo>
                <a:lnTo>
                  <a:pt x="1308" y="600"/>
                </a:lnTo>
                <a:lnTo>
                  <a:pt x="1308" y="606"/>
                </a:lnTo>
                <a:lnTo>
                  <a:pt x="1314" y="612"/>
                </a:lnTo>
                <a:lnTo>
                  <a:pt x="1308" y="618"/>
                </a:lnTo>
                <a:lnTo>
                  <a:pt x="1314" y="618"/>
                </a:lnTo>
                <a:lnTo>
                  <a:pt x="1314" y="624"/>
                </a:lnTo>
                <a:lnTo>
                  <a:pt x="1308" y="624"/>
                </a:lnTo>
                <a:lnTo>
                  <a:pt x="1302" y="630"/>
                </a:lnTo>
                <a:lnTo>
                  <a:pt x="1302" y="636"/>
                </a:lnTo>
                <a:lnTo>
                  <a:pt x="1296" y="642"/>
                </a:lnTo>
                <a:lnTo>
                  <a:pt x="1302" y="648"/>
                </a:lnTo>
                <a:lnTo>
                  <a:pt x="1296" y="654"/>
                </a:lnTo>
                <a:lnTo>
                  <a:pt x="1302" y="660"/>
                </a:lnTo>
                <a:lnTo>
                  <a:pt x="1302" y="666"/>
                </a:lnTo>
                <a:lnTo>
                  <a:pt x="1308" y="666"/>
                </a:lnTo>
                <a:lnTo>
                  <a:pt x="1308" y="672"/>
                </a:lnTo>
                <a:lnTo>
                  <a:pt x="1308" y="678"/>
                </a:lnTo>
                <a:lnTo>
                  <a:pt x="1308" y="684"/>
                </a:lnTo>
                <a:lnTo>
                  <a:pt x="1308" y="690"/>
                </a:lnTo>
                <a:lnTo>
                  <a:pt x="1302" y="696"/>
                </a:lnTo>
                <a:lnTo>
                  <a:pt x="1302" y="702"/>
                </a:lnTo>
                <a:lnTo>
                  <a:pt x="1308" y="702"/>
                </a:lnTo>
                <a:lnTo>
                  <a:pt x="1302" y="708"/>
                </a:lnTo>
                <a:lnTo>
                  <a:pt x="1308" y="714"/>
                </a:lnTo>
                <a:lnTo>
                  <a:pt x="1308" y="720"/>
                </a:lnTo>
                <a:lnTo>
                  <a:pt x="1308" y="726"/>
                </a:lnTo>
                <a:lnTo>
                  <a:pt x="1308" y="732"/>
                </a:lnTo>
                <a:lnTo>
                  <a:pt x="1314" y="732"/>
                </a:lnTo>
                <a:lnTo>
                  <a:pt x="1314" y="738"/>
                </a:lnTo>
                <a:lnTo>
                  <a:pt x="1320" y="744"/>
                </a:lnTo>
                <a:lnTo>
                  <a:pt x="1326" y="750"/>
                </a:lnTo>
                <a:lnTo>
                  <a:pt x="1320" y="750"/>
                </a:lnTo>
                <a:lnTo>
                  <a:pt x="1320" y="756"/>
                </a:lnTo>
                <a:lnTo>
                  <a:pt x="1314" y="756"/>
                </a:lnTo>
                <a:lnTo>
                  <a:pt x="1314" y="762"/>
                </a:lnTo>
                <a:lnTo>
                  <a:pt x="1314" y="768"/>
                </a:lnTo>
                <a:lnTo>
                  <a:pt x="1320" y="768"/>
                </a:lnTo>
                <a:lnTo>
                  <a:pt x="1320" y="762"/>
                </a:lnTo>
                <a:lnTo>
                  <a:pt x="1320" y="768"/>
                </a:lnTo>
                <a:lnTo>
                  <a:pt x="1326" y="774"/>
                </a:lnTo>
                <a:lnTo>
                  <a:pt x="1332" y="774"/>
                </a:lnTo>
                <a:lnTo>
                  <a:pt x="1332" y="780"/>
                </a:lnTo>
                <a:lnTo>
                  <a:pt x="1332" y="786"/>
                </a:lnTo>
                <a:lnTo>
                  <a:pt x="1332" y="792"/>
                </a:lnTo>
                <a:lnTo>
                  <a:pt x="1338" y="786"/>
                </a:lnTo>
                <a:lnTo>
                  <a:pt x="1338" y="792"/>
                </a:lnTo>
                <a:lnTo>
                  <a:pt x="1344" y="798"/>
                </a:lnTo>
                <a:lnTo>
                  <a:pt x="1344" y="804"/>
                </a:lnTo>
                <a:lnTo>
                  <a:pt x="1344" y="810"/>
                </a:lnTo>
                <a:lnTo>
                  <a:pt x="1344" y="816"/>
                </a:lnTo>
                <a:lnTo>
                  <a:pt x="1344" y="822"/>
                </a:lnTo>
                <a:lnTo>
                  <a:pt x="1338" y="828"/>
                </a:lnTo>
                <a:lnTo>
                  <a:pt x="1332" y="828"/>
                </a:lnTo>
                <a:lnTo>
                  <a:pt x="1338" y="840"/>
                </a:lnTo>
                <a:lnTo>
                  <a:pt x="1344" y="846"/>
                </a:lnTo>
                <a:lnTo>
                  <a:pt x="1344" y="852"/>
                </a:lnTo>
                <a:lnTo>
                  <a:pt x="1350" y="852"/>
                </a:lnTo>
                <a:lnTo>
                  <a:pt x="1356" y="858"/>
                </a:lnTo>
                <a:lnTo>
                  <a:pt x="1362" y="858"/>
                </a:lnTo>
                <a:lnTo>
                  <a:pt x="1362" y="870"/>
                </a:lnTo>
                <a:lnTo>
                  <a:pt x="1356" y="870"/>
                </a:lnTo>
                <a:lnTo>
                  <a:pt x="1356" y="876"/>
                </a:lnTo>
                <a:lnTo>
                  <a:pt x="1350" y="876"/>
                </a:lnTo>
                <a:lnTo>
                  <a:pt x="1344" y="876"/>
                </a:lnTo>
                <a:lnTo>
                  <a:pt x="1344" y="882"/>
                </a:lnTo>
                <a:lnTo>
                  <a:pt x="1338" y="882"/>
                </a:lnTo>
                <a:lnTo>
                  <a:pt x="1338" y="888"/>
                </a:lnTo>
                <a:lnTo>
                  <a:pt x="1338" y="894"/>
                </a:lnTo>
                <a:lnTo>
                  <a:pt x="1344" y="900"/>
                </a:lnTo>
                <a:lnTo>
                  <a:pt x="1344" y="906"/>
                </a:lnTo>
                <a:lnTo>
                  <a:pt x="1338" y="906"/>
                </a:lnTo>
                <a:lnTo>
                  <a:pt x="1332" y="912"/>
                </a:lnTo>
                <a:lnTo>
                  <a:pt x="1332" y="918"/>
                </a:lnTo>
                <a:lnTo>
                  <a:pt x="1326" y="918"/>
                </a:lnTo>
                <a:lnTo>
                  <a:pt x="1332" y="924"/>
                </a:lnTo>
                <a:lnTo>
                  <a:pt x="1284" y="942"/>
                </a:lnTo>
                <a:lnTo>
                  <a:pt x="1236" y="948"/>
                </a:lnTo>
                <a:lnTo>
                  <a:pt x="1194" y="966"/>
                </a:lnTo>
                <a:lnTo>
                  <a:pt x="1170" y="1002"/>
                </a:lnTo>
                <a:lnTo>
                  <a:pt x="1134" y="1020"/>
                </a:lnTo>
                <a:lnTo>
                  <a:pt x="1116" y="1032"/>
                </a:lnTo>
                <a:lnTo>
                  <a:pt x="1098" y="1050"/>
                </a:lnTo>
                <a:lnTo>
                  <a:pt x="1074" y="1074"/>
                </a:lnTo>
                <a:lnTo>
                  <a:pt x="1008" y="1134"/>
                </a:lnTo>
                <a:lnTo>
                  <a:pt x="990" y="1158"/>
                </a:lnTo>
                <a:lnTo>
                  <a:pt x="978" y="1182"/>
                </a:lnTo>
                <a:lnTo>
                  <a:pt x="960" y="1194"/>
                </a:lnTo>
                <a:lnTo>
                  <a:pt x="942" y="1212"/>
                </a:lnTo>
                <a:lnTo>
                  <a:pt x="912" y="1242"/>
                </a:lnTo>
                <a:lnTo>
                  <a:pt x="888" y="1254"/>
                </a:lnTo>
                <a:lnTo>
                  <a:pt x="864" y="1278"/>
                </a:lnTo>
                <a:lnTo>
                  <a:pt x="828" y="1296"/>
                </a:lnTo>
                <a:lnTo>
                  <a:pt x="774" y="1308"/>
                </a:lnTo>
                <a:lnTo>
                  <a:pt x="732" y="1302"/>
                </a:lnTo>
                <a:lnTo>
                  <a:pt x="702" y="1284"/>
                </a:lnTo>
                <a:lnTo>
                  <a:pt x="684" y="1278"/>
                </a:lnTo>
                <a:close/>
              </a:path>
            </a:pathLst>
          </a:custGeom>
          <a:solidFill>
            <a:srgbClr val="CD202C"/>
          </a:solidFill>
          <a:ln w="9525">
            <a:solidFill>
              <a:schemeClr val="bg1"/>
            </a:solidFill>
            <a:round/>
            <a:headEnd/>
            <a:tailEnd/>
          </a:ln>
        </p:spPr>
        <p:txBody>
          <a:bodyPr/>
          <a:lstStyle/>
          <a:p>
            <a:endParaRPr lang="en-GB"/>
          </a:p>
        </p:txBody>
      </p:sp>
      <p:sp>
        <p:nvSpPr>
          <p:cNvPr id="20501" name="Freeform 17"/>
          <p:cNvSpPr>
            <a:spLocks/>
          </p:cNvSpPr>
          <p:nvPr/>
        </p:nvSpPr>
        <p:spPr bwMode="gray">
          <a:xfrm>
            <a:off x="4697413" y="3730625"/>
            <a:ext cx="1346200" cy="1574800"/>
          </a:xfrm>
          <a:custGeom>
            <a:avLst/>
            <a:gdLst>
              <a:gd name="T0" fmla="*/ 112575 w 1722"/>
              <a:gd name="T1" fmla="*/ 105517 h 1956"/>
              <a:gd name="T2" fmla="*/ 111011 w 1722"/>
              <a:gd name="T3" fmla="*/ 111960 h 1956"/>
              <a:gd name="T4" fmla="*/ 107102 w 1722"/>
              <a:gd name="T5" fmla="*/ 115182 h 1956"/>
              <a:gd name="T6" fmla="*/ 103975 w 1722"/>
              <a:gd name="T7" fmla="*/ 118404 h 1956"/>
              <a:gd name="T8" fmla="*/ 103194 w 1722"/>
              <a:gd name="T9" fmla="*/ 122432 h 1956"/>
              <a:gd name="T10" fmla="*/ 101630 w 1722"/>
              <a:gd name="T11" fmla="*/ 128070 h 1956"/>
              <a:gd name="T12" fmla="*/ 99285 w 1722"/>
              <a:gd name="T13" fmla="*/ 132097 h 1956"/>
              <a:gd name="T14" fmla="*/ 96158 w 1722"/>
              <a:gd name="T15" fmla="*/ 135319 h 1956"/>
              <a:gd name="T16" fmla="*/ 91467 w 1722"/>
              <a:gd name="T17" fmla="*/ 136125 h 1956"/>
              <a:gd name="T18" fmla="*/ 85995 w 1722"/>
              <a:gd name="T19" fmla="*/ 135319 h 1956"/>
              <a:gd name="T20" fmla="*/ 81304 w 1722"/>
              <a:gd name="T21" fmla="*/ 133708 h 1956"/>
              <a:gd name="T22" fmla="*/ 78959 w 1722"/>
              <a:gd name="T23" fmla="*/ 128070 h 1956"/>
              <a:gd name="T24" fmla="*/ 74268 w 1722"/>
              <a:gd name="T25" fmla="*/ 125653 h 1956"/>
              <a:gd name="T26" fmla="*/ 69577 w 1722"/>
              <a:gd name="T27" fmla="*/ 121626 h 1956"/>
              <a:gd name="T28" fmla="*/ 68014 w 1722"/>
              <a:gd name="T29" fmla="*/ 115988 h 1956"/>
              <a:gd name="T30" fmla="*/ 64105 w 1722"/>
              <a:gd name="T31" fmla="*/ 113571 h 1956"/>
              <a:gd name="T32" fmla="*/ 59414 w 1722"/>
              <a:gd name="T33" fmla="*/ 107933 h 1956"/>
              <a:gd name="T34" fmla="*/ 57851 w 1722"/>
              <a:gd name="T35" fmla="*/ 115182 h 1956"/>
              <a:gd name="T36" fmla="*/ 53160 w 1722"/>
              <a:gd name="T37" fmla="*/ 118404 h 1956"/>
              <a:gd name="T38" fmla="*/ 42216 w 1722"/>
              <a:gd name="T39" fmla="*/ 115988 h 1956"/>
              <a:gd name="T40" fmla="*/ 39870 w 1722"/>
              <a:gd name="T41" fmla="*/ 114377 h 1956"/>
              <a:gd name="T42" fmla="*/ 32834 w 1722"/>
              <a:gd name="T43" fmla="*/ 121626 h 1956"/>
              <a:gd name="T44" fmla="*/ 25798 w 1722"/>
              <a:gd name="T45" fmla="*/ 124042 h 1956"/>
              <a:gd name="T46" fmla="*/ 24235 w 1722"/>
              <a:gd name="T47" fmla="*/ 128070 h 1956"/>
              <a:gd name="T48" fmla="*/ 22671 w 1722"/>
              <a:gd name="T49" fmla="*/ 133708 h 1956"/>
              <a:gd name="T50" fmla="*/ 19544 w 1722"/>
              <a:gd name="T51" fmla="*/ 136125 h 1956"/>
              <a:gd name="T52" fmla="*/ 21108 w 1722"/>
              <a:gd name="T53" fmla="*/ 124042 h 1956"/>
              <a:gd name="T54" fmla="*/ 28925 w 1722"/>
              <a:gd name="T55" fmla="*/ 107128 h 1956"/>
              <a:gd name="T56" fmla="*/ 28144 w 1722"/>
              <a:gd name="T57" fmla="*/ 87796 h 1956"/>
              <a:gd name="T58" fmla="*/ 21108 w 1722"/>
              <a:gd name="T59" fmla="*/ 81353 h 1956"/>
              <a:gd name="T60" fmla="*/ 3909 w 1722"/>
              <a:gd name="T61" fmla="*/ 78936 h 1956"/>
              <a:gd name="T62" fmla="*/ 1564 w 1722"/>
              <a:gd name="T63" fmla="*/ 74909 h 1956"/>
              <a:gd name="T64" fmla="*/ 9381 w 1722"/>
              <a:gd name="T65" fmla="*/ 66049 h 1956"/>
              <a:gd name="T66" fmla="*/ 7036 w 1722"/>
              <a:gd name="T67" fmla="*/ 59605 h 1956"/>
              <a:gd name="T68" fmla="*/ 17981 w 1722"/>
              <a:gd name="T69" fmla="*/ 57994 h 1956"/>
              <a:gd name="T70" fmla="*/ 17199 w 1722"/>
              <a:gd name="T71" fmla="*/ 53967 h 1956"/>
              <a:gd name="T72" fmla="*/ 37525 w 1722"/>
              <a:gd name="T73" fmla="*/ 45912 h 1956"/>
              <a:gd name="T74" fmla="*/ 60978 w 1722"/>
              <a:gd name="T75" fmla="*/ 27386 h 1956"/>
              <a:gd name="T76" fmla="*/ 63323 w 1722"/>
              <a:gd name="T77" fmla="*/ 24970 h 1956"/>
              <a:gd name="T78" fmla="*/ 62542 w 1722"/>
              <a:gd name="T79" fmla="*/ 20942 h 1956"/>
              <a:gd name="T80" fmla="*/ 60978 w 1722"/>
              <a:gd name="T81" fmla="*/ 16915 h 1956"/>
              <a:gd name="T82" fmla="*/ 60196 w 1722"/>
              <a:gd name="T83" fmla="*/ 14498 h 1956"/>
              <a:gd name="T84" fmla="*/ 60196 w 1722"/>
              <a:gd name="T85" fmla="*/ 9666 h 1956"/>
              <a:gd name="T86" fmla="*/ 60196 w 1722"/>
              <a:gd name="T87" fmla="*/ 5638 h 1956"/>
              <a:gd name="T88" fmla="*/ 79740 w 1722"/>
              <a:gd name="T89" fmla="*/ 1611 h 1956"/>
              <a:gd name="T90" fmla="*/ 89903 w 1722"/>
              <a:gd name="T91" fmla="*/ 2416 h 1956"/>
              <a:gd name="T92" fmla="*/ 96158 w 1722"/>
              <a:gd name="T93" fmla="*/ 2416 h 1956"/>
              <a:gd name="T94" fmla="*/ 97721 w 1722"/>
              <a:gd name="T95" fmla="*/ 7249 h 1956"/>
              <a:gd name="T96" fmla="*/ 103975 w 1722"/>
              <a:gd name="T97" fmla="*/ 10471 h 1956"/>
              <a:gd name="T98" fmla="*/ 116484 w 1722"/>
              <a:gd name="T99" fmla="*/ 29802 h 1956"/>
              <a:gd name="T100" fmla="*/ 110229 w 1722"/>
              <a:gd name="T101" fmla="*/ 45912 h 1956"/>
              <a:gd name="T102" fmla="*/ 105539 w 1722"/>
              <a:gd name="T103" fmla="*/ 50745 h 1956"/>
              <a:gd name="T104" fmla="*/ 96939 w 1722"/>
              <a:gd name="T105" fmla="*/ 62021 h 1956"/>
              <a:gd name="T106" fmla="*/ 96158 w 1722"/>
              <a:gd name="T107" fmla="*/ 77325 h 1956"/>
              <a:gd name="T108" fmla="*/ 99285 w 1722"/>
              <a:gd name="T109" fmla="*/ 78131 h 1956"/>
              <a:gd name="T110" fmla="*/ 100848 w 1722"/>
              <a:gd name="T111" fmla="*/ 74103 h 1956"/>
              <a:gd name="T112" fmla="*/ 104757 w 1722"/>
              <a:gd name="T113" fmla="*/ 75714 h 1956"/>
              <a:gd name="T114" fmla="*/ 107884 w 1722"/>
              <a:gd name="T115" fmla="*/ 79742 h 1956"/>
              <a:gd name="T116" fmla="*/ 111011 w 1722"/>
              <a:gd name="T117" fmla="*/ 83769 h 1956"/>
              <a:gd name="T118" fmla="*/ 110229 w 1722"/>
              <a:gd name="T119" fmla="*/ 92629 h 19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22"/>
              <a:gd name="T181" fmla="*/ 0 h 1956"/>
              <a:gd name="T182" fmla="*/ 1722 w 1722"/>
              <a:gd name="T183" fmla="*/ 1956 h 19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22" h="1956">
                <a:moveTo>
                  <a:pt x="1686" y="1404"/>
                </a:moveTo>
                <a:lnTo>
                  <a:pt x="1680" y="1416"/>
                </a:lnTo>
                <a:lnTo>
                  <a:pt x="1674" y="1422"/>
                </a:lnTo>
                <a:lnTo>
                  <a:pt x="1674" y="1428"/>
                </a:lnTo>
                <a:lnTo>
                  <a:pt x="1668" y="1428"/>
                </a:lnTo>
                <a:lnTo>
                  <a:pt x="1668" y="1434"/>
                </a:lnTo>
                <a:lnTo>
                  <a:pt x="1662" y="1446"/>
                </a:lnTo>
                <a:lnTo>
                  <a:pt x="1656" y="1464"/>
                </a:lnTo>
                <a:lnTo>
                  <a:pt x="1656" y="1476"/>
                </a:lnTo>
                <a:lnTo>
                  <a:pt x="1656" y="1488"/>
                </a:lnTo>
                <a:lnTo>
                  <a:pt x="1662" y="1500"/>
                </a:lnTo>
                <a:lnTo>
                  <a:pt x="1662" y="1506"/>
                </a:lnTo>
                <a:lnTo>
                  <a:pt x="1662" y="1524"/>
                </a:lnTo>
                <a:lnTo>
                  <a:pt x="1668" y="1542"/>
                </a:lnTo>
                <a:lnTo>
                  <a:pt x="1674" y="1560"/>
                </a:lnTo>
                <a:lnTo>
                  <a:pt x="1680" y="1578"/>
                </a:lnTo>
                <a:lnTo>
                  <a:pt x="1686" y="1578"/>
                </a:lnTo>
                <a:lnTo>
                  <a:pt x="1686" y="1584"/>
                </a:lnTo>
                <a:lnTo>
                  <a:pt x="1686" y="1590"/>
                </a:lnTo>
                <a:lnTo>
                  <a:pt x="1686" y="1596"/>
                </a:lnTo>
                <a:lnTo>
                  <a:pt x="1680" y="1596"/>
                </a:lnTo>
                <a:lnTo>
                  <a:pt x="1674" y="1602"/>
                </a:lnTo>
                <a:lnTo>
                  <a:pt x="1662" y="1602"/>
                </a:lnTo>
                <a:lnTo>
                  <a:pt x="1638" y="1596"/>
                </a:lnTo>
                <a:lnTo>
                  <a:pt x="1632" y="1596"/>
                </a:lnTo>
                <a:lnTo>
                  <a:pt x="1626" y="1602"/>
                </a:lnTo>
                <a:lnTo>
                  <a:pt x="1620" y="1602"/>
                </a:lnTo>
                <a:lnTo>
                  <a:pt x="1614" y="1602"/>
                </a:lnTo>
                <a:lnTo>
                  <a:pt x="1602" y="1602"/>
                </a:lnTo>
                <a:lnTo>
                  <a:pt x="1602" y="1608"/>
                </a:lnTo>
                <a:lnTo>
                  <a:pt x="1602" y="1620"/>
                </a:lnTo>
                <a:lnTo>
                  <a:pt x="1596" y="1620"/>
                </a:lnTo>
                <a:lnTo>
                  <a:pt x="1590" y="1620"/>
                </a:lnTo>
                <a:lnTo>
                  <a:pt x="1584" y="1626"/>
                </a:lnTo>
                <a:lnTo>
                  <a:pt x="1584" y="1632"/>
                </a:lnTo>
                <a:lnTo>
                  <a:pt x="1578" y="1644"/>
                </a:lnTo>
                <a:lnTo>
                  <a:pt x="1572" y="1644"/>
                </a:lnTo>
                <a:lnTo>
                  <a:pt x="1566" y="1644"/>
                </a:lnTo>
                <a:lnTo>
                  <a:pt x="1566" y="1650"/>
                </a:lnTo>
                <a:lnTo>
                  <a:pt x="1560" y="1650"/>
                </a:lnTo>
                <a:lnTo>
                  <a:pt x="1554" y="1650"/>
                </a:lnTo>
                <a:lnTo>
                  <a:pt x="1548" y="1650"/>
                </a:lnTo>
                <a:lnTo>
                  <a:pt x="1548" y="1656"/>
                </a:lnTo>
                <a:lnTo>
                  <a:pt x="1542" y="1668"/>
                </a:lnTo>
                <a:lnTo>
                  <a:pt x="1542" y="1674"/>
                </a:lnTo>
                <a:lnTo>
                  <a:pt x="1542" y="1692"/>
                </a:lnTo>
                <a:lnTo>
                  <a:pt x="1536" y="1698"/>
                </a:lnTo>
                <a:lnTo>
                  <a:pt x="1530" y="1698"/>
                </a:lnTo>
                <a:lnTo>
                  <a:pt x="1524" y="1698"/>
                </a:lnTo>
                <a:lnTo>
                  <a:pt x="1518" y="1704"/>
                </a:lnTo>
                <a:lnTo>
                  <a:pt x="1512" y="1710"/>
                </a:lnTo>
                <a:lnTo>
                  <a:pt x="1506" y="1722"/>
                </a:lnTo>
                <a:lnTo>
                  <a:pt x="1500" y="1728"/>
                </a:lnTo>
                <a:lnTo>
                  <a:pt x="1500" y="1734"/>
                </a:lnTo>
                <a:lnTo>
                  <a:pt x="1512" y="1734"/>
                </a:lnTo>
                <a:lnTo>
                  <a:pt x="1518" y="1740"/>
                </a:lnTo>
                <a:lnTo>
                  <a:pt x="1518" y="1746"/>
                </a:lnTo>
                <a:lnTo>
                  <a:pt x="1518" y="1752"/>
                </a:lnTo>
                <a:lnTo>
                  <a:pt x="1518" y="1758"/>
                </a:lnTo>
                <a:lnTo>
                  <a:pt x="1524" y="1758"/>
                </a:lnTo>
                <a:lnTo>
                  <a:pt x="1524" y="1764"/>
                </a:lnTo>
                <a:lnTo>
                  <a:pt x="1530" y="1770"/>
                </a:lnTo>
                <a:lnTo>
                  <a:pt x="1518" y="1770"/>
                </a:lnTo>
                <a:lnTo>
                  <a:pt x="1512" y="1782"/>
                </a:lnTo>
                <a:lnTo>
                  <a:pt x="1512" y="1788"/>
                </a:lnTo>
                <a:lnTo>
                  <a:pt x="1518" y="1788"/>
                </a:lnTo>
                <a:lnTo>
                  <a:pt x="1524" y="1800"/>
                </a:lnTo>
                <a:lnTo>
                  <a:pt x="1524" y="1806"/>
                </a:lnTo>
                <a:lnTo>
                  <a:pt x="1518" y="1812"/>
                </a:lnTo>
                <a:lnTo>
                  <a:pt x="1512" y="1818"/>
                </a:lnTo>
                <a:lnTo>
                  <a:pt x="1506" y="1818"/>
                </a:lnTo>
                <a:lnTo>
                  <a:pt x="1500" y="1824"/>
                </a:lnTo>
                <a:lnTo>
                  <a:pt x="1500" y="1836"/>
                </a:lnTo>
                <a:lnTo>
                  <a:pt x="1500" y="1842"/>
                </a:lnTo>
                <a:lnTo>
                  <a:pt x="1500" y="1848"/>
                </a:lnTo>
                <a:lnTo>
                  <a:pt x="1500" y="1854"/>
                </a:lnTo>
                <a:lnTo>
                  <a:pt x="1494" y="1860"/>
                </a:lnTo>
                <a:lnTo>
                  <a:pt x="1488" y="1860"/>
                </a:lnTo>
                <a:lnTo>
                  <a:pt x="1488" y="1866"/>
                </a:lnTo>
                <a:lnTo>
                  <a:pt x="1482" y="1872"/>
                </a:lnTo>
                <a:lnTo>
                  <a:pt x="1482" y="1878"/>
                </a:lnTo>
                <a:lnTo>
                  <a:pt x="1482" y="1884"/>
                </a:lnTo>
                <a:lnTo>
                  <a:pt x="1476" y="1890"/>
                </a:lnTo>
                <a:lnTo>
                  <a:pt x="1470" y="1890"/>
                </a:lnTo>
                <a:lnTo>
                  <a:pt x="1470" y="1896"/>
                </a:lnTo>
                <a:lnTo>
                  <a:pt x="1464" y="1896"/>
                </a:lnTo>
                <a:lnTo>
                  <a:pt x="1458" y="1896"/>
                </a:lnTo>
                <a:lnTo>
                  <a:pt x="1452" y="1896"/>
                </a:lnTo>
                <a:lnTo>
                  <a:pt x="1440" y="1890"/>
                </a:lnTo>
                <a:lnTo>
                  <a:pt x="1434" y="1896"/>
                </a:lnTo>
                <a:lnTo>
                  <a:pt x="1428" y="1896"/>
                </a:lnTo>
                <a:lnTo>
                  <a:pt x="1422" y="1896"/>
                </a:lnTo>
                <a:lnTo>
                  <a:pt x="1422" y="1902"/>
                </a:lnTo>
                <a:lnTo>
                  <a:pt x="1416" y="1902"/>
                </a:lnTo>
                <a:lnTo>
                  <a:pt x="1422" y="1914"/>
                </a:lnTo>
                <a:lnTo>
                  <a:pt x="1422" y="1932"/>
                </a:lnTo>
                <a:lnTo>
                  <a:pt x="1416" y="1938"/>
                </a:lnTo>
                <a:lnTo>
                  <a:pt x="1422" y="1938"/>
                </a:lnTo>
                <a:lnTo>
                  <a:pt x="1404" y="1938"/>
                </a:lnTo>
                <a:lnTo>
                  <a:pt x="1392" y="1944"/>
                </a:lnTo>
                <a:lnTo>
                  <a:pt x="1386" y="1944"/>
                </a:lnTo>
                <a:lnTo>
                  <a:pt x="1374" y="1944"/>
                </a:lnTo>
                <a:lnTo>
                  <a:pt x="1368" y="1950"/>
                </a:lnTo>
                <a:lnTo>
                  <a:pt x="1374" y="1956"/>
                </a:lnTo>
                <a:lnTo>
                  <a:pt x="1368" y="1956"/>
                </a:lnTo>
                <a:lnTo>
                  <a:pt x="1356" y="1956"/>
                </a:lnTo>
                <a:lnTo>
                  <a:pt x="1350" y="1956"/>
                </a:lnTo>
                <a:lnTo>
                  <a:pt x="1350" y="1950"/>
                </a:lnTo>
                <a:lnTo>
                  <a:pt x="1344" y="1944"/>
                </a:lnTo>
                <a:lnTo>
                  <a:pt x="1332" y="1938"/>
                </a:lnTo>
                <a:lnTo>
                  <a:pt x="1326" y="1938"/>
                </a:lnTo>
                <a:lnTo>
                  <a:pt x="1320" y="1938"/>
                </a:lnTo>
                <a:lnTo>
                  <a:pt x="1314" y="1944"/>
                </a:lnTo>
                <a:lnTo>
                  <a:pt x="1308" y="1944"/>
                </a:lnTo>
                <a:lnTo>
                  <a:pt x="1302" y="1944"/>
                </a:lnTo>
                <a:lnTo>
                  <a:pt x="1296" y="1938"/>
                </a:lnTo>
                <a:lnTo>
                  <a:pt x="1284" y="1938"/>
                </a:lnTo>
                <a:lnTo>
                  <a:pt x="1278" y="1938"/>
                </a:lnTo>
                <a:lnTo>
                  <a:pt x="1272" y="1938"/>
                </a:lnTo>
                <a:lnTo>
                  <a:pt x="1266" y="1932"/>
                </a:lnTo>
                <a:lnTo>
                  <a:pt x="1260" y="1932"/>
                </a:lnTo>
                <a:lnTo>
                  <a:pt x="1254" y="1920"/>
                </a:lnTo>
                <a:lnTo>
                  <a:pt x="1248" y="1920"/>
                </a:lnTo>
                <a:lnTo>
                  <a:pt x="1242" y="1920"/>
                </a:lnTo>
                <a:lnTo>
                  <a:pt x="1236" y="1926"/>
                </a:lnTo>
                <a:lnTo>
                  <a:pt x="1236" y="1932"/>
                </a:lnTo>
                <a:lnTo>
                  <a:pt x="1230" y="1932"/>
                </a:lnTo>
                <a:lnTo>
                  <a:pt x="1224" y="1932"/>
                </a:lnTo>
                <a:lnTo>
                  <a:pt x="1218" y="1938"/>
                </a:lnTo>
                <a:lnTo>
                  <a:pt x="1212" y="1932"/>
                </a:lnTo>
                <a:lnTo>
                  <a:pt x="1206" y="1926"/>
                </a:lnTo>
                <a:lnTo>
                  <a:pt x="1206" y="1908"/>
                </a:lnTo>
                <a:lnTo>
                  <a:pt x="1206" y="1884"/>
                </a:lnTo>
                <a:lnTo>
                  <a:pt x="1206" y="1866"/>
                </a:lnTo>
                <a:lnTo>
                  <a:pt x="1212" y="1848"/>
                </a:lnTo>
                <a:lnTo>
                  <a:pt x="1212" y="1842"/>
                </a:lnTo>
                <a:lnTo>
                  <a:pt x="1206" y="1836"/>
                </a:lnTo>
                <a:lnTo>
                  <a:pt x="1200" y="1830"/>
                </a:lnTo>
                <a:lnTo>
                  <a:pt x="1194" y="1824"/>
                </a:lnTo>
                <a:lnTo>
                  <a:pt x="1188" y="1824"/>
                </a:lnTo>
                <a:lnTo>
                  <a:pt x="1182" y="1824"/>
                </a:lnTo>
                <a:lnTo>
                  <a:pt x="1176" y="1824"/>
                </a:lnTo>
                <a:lnTo>
                  <a:pt x="1170" y="1818"/>
                </a:lnTo>
                <a:lnTo>
                  <a:pt x="1164" y="1830"/>
                </a:lnTo>
                <a:lnTo>
                  <a:pt x="1152" y="1836"/>
                </a:lnTo>
                <a:lnTo>
                  <a:pt x="1146" y="1842"/>
                </a:lnTo>
                <a:lnTo>
                  <a:pt x="1140" y="1842"/>
                </a:lnTo>
                <a:lnTo>
                  <a:pt x="1134" y="1842"/>
                </a:lnTo>
                <a:lnTo>
                  <a:pt x="1128" y="1842"/>
                </a:lnTo>
                <a:lnTo>
                  <a:pt x="1116" y="1836"/>
                </a:lnTo>
                <a:lnTo>
                  <a:pt x="1110" y="1842"/>
                </a:lnTo>
                <a:lnTo>
                  <a:pt x="1092" y="1830"/>
                </a:lnTo>
                <a:lnTo>
                  <a:pt x="1092" y="1824"/>
                </a:lnTo>
                <a:lnTo>
                  <a:pt x="1092" y="1806"/>
                </a:lnTo>
                <a:lnTo>
                  <a:pt x="1092" y="1800"/>
                </a:lnTo>
                <a:lnTo>
                  <a:pt x="1092" y="1794"/>
                </a:lnTo>
                <a:lnTo>
                  <a:pt x="1086" y="1788"/>
                </a:lnTo>
                <a:lnTo>
                  <a:pt x="1080" y="1794"/>
                </a:lnTo>
                <a:lnTo>
                  <a:pt x="1074" y="1788"/>
                </a:lnTo>
                <a:lnTo>
                  <a:pt x="1068" y="1770"/>
                </a:lnTo>
                <a:lnTo>
                  <a:pt x="1056" y="1764"/>
                </a:lnTo>
                <a:lnTo>
                  <a:pt x="1050" y="1764"/>
                </a:lnTo>
                <a:lnTo>
                  <a:pt x="1044" y="1764"/>
                </a:lnTo>
                <a:lnTo>
                  <a:pt x="1038" y="1758"/>
                </a:lnTo>
                <a:lnTo>
                  <a:pt x="1032" y="1752"/>
                </a:lnTo>
                <a:lnTo>
                  <a:pt x="1032" y="1746"/>
                </a:lnTo>
                <a:lnTo>
                  <a:pt x="1032" y="1740"/>
                </a:lnTo>
                <a:lnTo>
                  <a:pt x="1032" y="1734"/>
                </a:lnTo>
                <a:lnTo>
                  <a:pt x="1026" y="1734"/>
                </a:lnTo>
                <a:lnTo>
                  <a:pt x="1032" y="1728"/>
                </a:lnTo>
                <a:lnTo>
                  <a:pt x="1032" y="1722"/>
                </a:lnTo>
                <a:lnTo>
                  <a:pt x="1044" y="1686"/>
                </a:lnTo>
                <a:lnTo>
                  <a:pt x="1044" y="1680"/>
                </a:lnTo>
                <a:lnTo>
                  <a:pt x="1032" y="1674"/>
                </a:lnTo>
                <a:lnTo>
                  <a:pt x="1026" y="1674"/>
                </a:lnTo>
                <a:lnTo>
                  <a:pt x="1026" y="1668"/>
                </a:lnTo>
                <a:lnTo>
                  <a:pt x="1020" y="1662"/>
                </a:lnTo>
                <a:lnTo>
                  <a:pt x="1014" y="1668"/>
                </a:lnTo>
                <a:lnTo>
                  <a:pt x="1008" y="1662"/>
                </a:lnTo>
                <a:lnTo>
                  <a:pt x="1002" y="1662"/>
                </a:lnTo>
                <a:lnTo>
                  <a:pt x="1002" y="1668"/>
                </a:lnTo>
                <a:lnTo>
                  <a:pt x="996" y="1668"/>
                </a:lnTo>
                <a:lnTo>
                  <a:pt x="996" y="1662"/>
                </a:lnTo>
                <a:lnTo>
                  <a:pt x="984" y="1662"/>
                </a:lnTo>
                <a:lnTo>
                  <a:pt x="984" y="1656"/>
                </a:lnTo>
                <a:lnTo>
                  <a:pt x="978" y="1650"/>
                </a:lnTo>
                <a:lnTo>
                  <a:pt x="978" y="1644"/>
                </a:lnTo>
                <a:lnTo>
                  <a:pt x="966" y="1650"/>
                </a:lnTo>
                <a:lnTo>
                  <a:pt x="960" y="1638"/>
                </a:lnTo>
                <a:lnTo>
                  <a:pt x="954" y="1632"/>
                </a:lnTo>
                <a:lnTo>
                  <a:pt x="948" y="1632"/>
                </a:lnTo>
                <a:lnTo>
                  <a:pt x="942" y="1626"/>
                </a:lnTo>
                <a:lnTo>
                  <a:pt x="942" y="1614"/>
                </a:lnTo>
                <a:lnTo>
                  <a:pt x="930" y="1608"/>
                </a:lnTo>
                <a:lnTo>
                  <a:pt x="924" y="1614"/>
                </a:lnTo>
                <a:lnTo>
                  <a:pt x="912" y="1608"/>
                </a:lnTo>
                <a:lnTo>
                  <a:pt x="888" y="1590"/>
                </a:lnTo>
                <a:lnTo>
                  <a:pt x="894" y="1578"/>
                </a:lnTo>
                <a:lnTo>
                  <a:pt x="894" y="1572"/>
                </a:lnTo>
                <a:lnTo>
                  <a:pt x="894" y="1566"/>
                </a:lnTo>
                <a:lnTo>
                  <a:pt x="894" y="1548"/>
                </a:lnTo>
                <a:lnTo>
                  <a:pt x="888" y="1548"/>
                </a:lnTo>
                <a:lnTo>
                  <a:pt x="882" y="1542"/>
                </a:lnTo>
                <a:lnTo>
                  <a:pt x="876" y="1542"/>
                </a:lnTo>
                <a:lnTo>
                  <a:pt x="876" y="1536"/>
                </a:lnTo>
                <a:lnTo>
                  <a:pt x="870" y="1542"/>
                </a:lnTo>
                <a:lnTo>
                  <a:pt x="870" y="1554"/>
                </a:lnTo>
                <a:lnTo>
                  <a:pt x="870" y="1566"/>
                </a:lnTo>
                <a:lnTo>
                  <a:pt x="870" y="1578"/>
                </a:lnTo>
                <a:lnTo>
                  <a:pt x="870" y="1584"/>
                </a:lnTo>
                <a:lnTo>
                  <a:pt x="864" y="1584"/>
                </a:lnTo>
                <a:lnTo>
                  <a:pt x="870" y="1602"/>
                </a:lnTo>
                <a:lnTo>
                  <a:pt x="864" y="1608"/>
                </a:lnTo>
                <a:lnTo>
                  <a:pt x="870" y="1614"/>
                </a:lnTo>
                <a:lnTo>
                  <a:pt x="864" y="1644"/>
                </a:lnTo>
                <a:lnTo>
                  <a:pt x="858" y="1650"/>
                </a:lnTo>
                <a:lnTo>
                  <a:pt x="858" y="1656"/>
                </a:lnTo>
                <a:lnTo>
                  <a:pt x="852" y="1662"/>
                </a:lnTo>
                <a:lnTo>
                  <a:pt x="852" y="1680"/>
                </a:lnTo>
                <a:lnTo>
                  <a:pt x="846" y="1686"/>
                </a:lnTo>
                <a:lnTo>
                  <a:pt x="834" y="1692"/>
                </a:lnTo>
                <a:lnTo>
                  <a:pt x="828" y="1692"/>
                </a:lnTo>
                <a:lnTo>
                  <a:pt x="822" y="1698"/>
                </a:lnTo>
                <a:lnTo>
                  <a:pt x="822" y="1704"/>
                </a:lnTo>
                <a:lnTo>
                  <a:pt x="816" y="1704"/>
                </a:lnTo>
                <a:lnTo>
                  <a:pt x="804" y="1692"/>
                </a:lnTo>
                <a:lnTo>
                  <a:pt x="786" y="1698"/>
                </a:lnTo>
                <a:lnTo>
                  <a:pt x="780" y="1698"/>
                </a:lnTo>
                <a:lnTo>
                  <a:pt x="756" y="1698"/>
                </a:lnTo>
                <a:lnTo>
                  <a:pt x="744" y="1698"/>
                </a:lnTo>
                <a:lnTo>
                  <a:pt x="738" y="1698"/>
                </a:lnTo>
                <a:lnTo>
                  <a:pt x="732" y="1704"/>
                </a:lnTo>
                <a:lnTo>
                  <a:pt x="726" y="1704"/>
                </a:lnTo>
                <a:lnTo>
                  <a:pt x="678" y="1710"/>
                </a:lnTo>
                <a:lnTo>
                  <a:pt x="642" y="1710"/>
                </a:lnTo>
                <a:lnTo>
                  <a:pt x="618" y="1680"/>
                </a:lnTo>
                <a:lnTo>
                  <a:pt x="618" y="1674"/>
                </a:lnTo>
                <a:lnTo>
                  <a:pt x="618" y="1668"/>
                </a:lnTo>
                <a:lnTo>
                  <a:pt x="624" y="1662"/>
                </a:lnTo>
                <a:lnTo>
                  <a:pt x="624" y="1656"/>
                </a:lnTo>
                <a:lnTo>
                  <a:pt x="624" y="1650"/>
                </a:lnTo>
                <a:lnTo>
                  <a:pt x="618" y="1650"/>
                </a:lnTo>
                <a:lnTo>
                  <a:pt x="618" y="1644"/>
                </a:lnTo>
                <a:lnTo>
                  <a:pt x="618" y="1638"/>
                </a:lnTo>
                <a:lnTo>
                  <a:pt x="618" y="1632"/>
                </a:lnTo>
                <a:lnTo>
                  <a:pt x="618" y="1626"/>
                </a:lnTo>
                <a:lnTo>
                  <a:pt x="612" y="1626"/>
                </a:lnTo>
                <a:lnTo>
                  <a:pt x="612" y="1620"/>
                </a:lnTo>
                <a:lnTo>
                  <a:pt x="606" y="1614"/>
                </a:lnTo>
                <a:lnTo>
                  <a:pt x="594" y="1626"/>
                </a:lnTo>
                <a:lnTo>
                  <a:pt x="594" y="1632"/>
                </a:lnTo>
                <a:lnTo>
                  <a:pt x="588" y="1638"/>
                </a:lnTo>
                <a:lnTo>
                  <a:pt x="582" y="1638"/>
                </a:lnTo>
                <a:lnTo>
                  <a:pt x="564" y="1656"/>
                </a:lnTo>
                <a:lnTo>
                  <a:pt x="558" y="1662"/>
                </a:lnTo>
                <a:lnTo>
                  <a:pt x="552" y="1662"/>
                </a:lnTo>
                <a:lnTo>
                  <a:pt x="540" y="1674"/>
                </a:lnTo>
                <a:lnTo>
                  <a:pt x="534" y="1680"/>
                </a:lnTo>
                <a:lnTo>
                  <a:pt x="522" y="1692"/>
                </a:lnTo>
                <a:lnTo>
                  <a:pt x="516" y="1704"/>
                </a:lnTo>
                <a:lnTo>
                  <a:pt x="510" y="1704"/>
                </a:lnTo>
                <a:lnTo>
                  <a:pt x="504" y="1704"/>
                </a:lnTo>
                <a:lnTo>
                  <a:pt x="486" y="1722"/>
                </a:lnTo>
                <a:lnTo>
                  <a:pt x="480" y="1740"/>
                </a:lnTo>
                <a:lnTo>
                  <a:pt x="474" y="1740"/>
                </a:lnTo>
                <a:lnTo>
                  <a:pt x="468" y="1746"/>
                </a:lnTo>
                <a:lnTo>
                  <a:pt x="456" y="1758"/>
                </a:lnTo>
                <a:lnTo>
                  <a:pt x="444" y="1770"/>
                </a:lnTo>
                <a:lnTo>
                  <a:pt x="438" y="1782"/>
                </a:lnTo>
                <a:lnTo>
                  <a:pt x="426" y="1788"/>
                </a:lnTo>
                <a:lnTo>
                  <a:pt x="420" y="1788"/>
                </a:lnTo>
                <a:lnTo>
                  <a:pt x="420" y="1782"/>
                </a:lnTo>
                <a:lnTo>
                  <a:pt x="414" y="1782"/>
                </a:lnTo>
                <a:lnTo>
                  <a:pt x="390" y="1782"/>
                </a:lnTo>
                <a:lnTo>
                  <a:pt x="390" y="1776"/>
                </a:lnTo>
                <a:lnTo>
                  <a:pt x="384" y="1776"/>
                </a:lnTo>
                <a:lnTo>
                  <a:pt x="378" y="1776"/>
                </a:lnTo>
                <a:lnTo>
                  <a:pt x="372" y="1776"/>
                </a:lnTo>
                <a:lnTo>
                  <a:pt x="366" y="1770"/>
                </a:lnTo>
                <a:lnTo>
                  <a:pt x="366" y="1776"/>
                </a:lnTo>
                <a:lnTo>
                  <a:pt x="360" y="1788"/>
                </a:lnTo>
                <a:lnTo>
                  <a:pt x="360" y="1794"/>
                </a:lnTo>
                <a:lnTo>
                  <a:pt x="360" y="1800"/>
                </a:lnTo>
                <a:lnTo>
                  <a:pt x="354" y="1806"/>
                </a:lnTo>
                <a:lnTo>
                  <a:pt x="354" y="1812"/>
                </a:lnTo>
                <a:lnTo>
                  <a:pt x="354" y="1824"/>
                </a:lnTo>
                <a:lnTo>
                  <a:pt x="348" y="1830"/>
                </a:lnTo>
                <a:lnTo>
                  <a:pt x="354" y="1836"/>
                </a:lnTo>
                <a:lnTo>
                  <a:pt x="348" y="1842"/>
                </a:lnTo>
                <a:lnTo>
                  <a:pt x="354" y="1848"/>
                </a:lnTo>
                <a:lnTo>
                  <a:pt x="348" y="1854"/>
                </a:lnTo>
                <a:lnTo>
                  <a:pt x="354" y="1854"/>
                </a:lnTo>
                <a:lnTo>
                  <a:pt x="348" y="1860"/>
                </a:lnTo>
                <a:lnTo>
                  <a:pt x="348" y="1866"/>
                </a:lnTo>
                <a:lnTo>
                  <a:pt x="342" y="1866"/>
                </a:lnTo>
                <a:lnTo>
                  <a:pt x="342" y="1872"/>
                </a:lnTo>
                <a:lnTo>
                  <a:pt x="342" y="1878"/>
                </a:lnTo>
                <a:lnTo>
                  <a:pt x="342" y="1884"/>
                </a:lnTo>
                <a:lnTo>
                  <a:pt x="336" y="1896"/>
                </a:lnTo>
                <a:lnTo>
                  <a:pt x="330" y="1914"/>
                </a:lnTo>
                <a:lnTo>
                  <a:pt x="324" y="1920"/>
                </a:lnTo>
                <a:lnTo>
                  <a:pt x="324" y="1926"/>
                </a:lnTo>
                <a:lnTo>
                  <a:pt x="318" y="1944"/>
                </a:lnTo>
                <a:lnTo>
                  <a:pt x="318" y="1950"/>
                </a:lnTo>
                <a:lnTo>
                  <a:pt x="312" y="1956"/>
                </a:lnTo>
                <a:lnTo>
                  <a:pt x="312" y="1950"/>
                </a:lnTo>
                <a:lnTo>
                  <a:pt x="306" y="1950"/>
                </a:lnTo>
                <a:lnTo>
                  <a:pt x="306" y="1956"/>
                </a:lnTo>
                <a:lnTo>
                  <a:pt x="300" y="1950"/>
                </a:lnTo>
                <a:lnTo>
                  <a:pt x="294" y="1956"/>
                </a:lnTo>
                <a:lnTo>
                  <a:pt x="288" y="1950"/>
                </a:lnTo>
                <a:lnTo>
                  <a:pt x="288" y="1944"/>
                </a:lnTo>
                <a:lnTo>
                  <a:pt x="282" y="1938"/>
                </a:lnTo>
                <a:lnTo>
                  <a:pt x="282" y="1932"/>
                </a:lnTo>
                <a:lnTo>
                  <a:pt x="282" y="1890"/>
                </a:lnTo>
                <a:lnTo>
                  <a:pt x="288" y="1860"/>
                </a:lnTo>
                <a:lnTo>
                  <a:pt x="294" y="1842"/>
                </a:lnTo>
                <a:lnTo>
                  <a:pt x="294" y="1836"/>
                </a:lnTo>
                <a:lnTo>
                  <a:pt x="294" y="1824"/>
                </a:lnTo>
                <a:lnTo>
                  <a:pt x="300" y="1818"/>
                </a:lnTo>
                <a:lnTo>
                  <a:pt x="306" y="1794"/>
                </a:lnTo>
                <a:lnTo>
                  <a:pt x="306" y="1788"/>
                </a:lnTo>
                <a:lnTo>
                  <a:pt x="306" y="1782"/>
                </a:lnTo>
                <a:lnTo>
                  <a:pt x="312" y="1776"/>
                </a:lnTo>
                <a:lnTo>
                  <a:pt x="306" y="1776"/>
                </a:lnTo>
                <a:lnTo>
                  <a:pt x="312" y="1770"/>
                </a:lnTo>
                <a:lnTo>
                  <a:pt x="312" y="1740"/>
                </a:lnTo>
                <a:lnTo>
                  <a:pt x="318" y="1722"/>
                </a:lnTo>
                <a:lnTo>
                  <a:pt x="312" y="1722"/>
                </a:lnTo>
                <a:lnTo>
                  <a:pt x="300" y="1716"/>
                </a:lnTo>
                <a:lnTo>
                  <a:pt x="306" y="1716"/>
                </a:lnTo>
                <a:lnTo>
                  <a:pt x="312" y="1710"/>
                </a:lnTo>
                <a:lnTo>
                  <a:pt x="324" y="1674"/>
                </a:lnTo>
                <a:lnTo>
                  <a:pt x="366" y="1590"/>
                </a:lnTo>
                <a:lnTo>
                  <a:pt x="408" y="1548"/>
                </a:lnTo>
                <a:lnTo>
                  <a:pt x="426" y="1530"/>
                </a:lnTo>
                <a:lnTo>
                  <a:pt x="432" y="1500"/>
                </a:lnTo>
                <a:lnTo>
                  <a:pt x="426" y="1494"/>
                </a:lnTo>
                <a:lnTo>
                  <a:pt x="426" y="1482"/>
                </a:lnTo>
                <a:lnTo>
                  <a:pt x="432" y="1464"/>
                </a:lnTo>
                <a:lnTo>
                  <a:pt x="438" y="1428"/>
                </a:lnTo>
                <a:lnTo>
                  <a:pt x="462" y="1398"/>
                </a:lnTo>
                <a:lnTo>
                  <a:pt x="468" y="1362"/>
                </a:lnTo>
                <a:lnTo>
                  <a:pt x="462" y="1314"/>
                </a:lnTo>
                <a:lnTo>
                  <a:pt x="444" y="1284"/>
                </a:lnTo>
                <a:lnTo>
                  <a:pt x="432" y="1260"/>
                </a:lnTo>
                <a:lnTo>
                  <a:pt x="426" y="1260"/>
                </a:lnTo>
                <a:lnTo>
                  <a:pt x="420" y="1254"/>
                </a:lnTo>
                <a:lnTo>
                  <a:pt x="408" y="1260"/>
                </a:lnTo>
                <a:lnTo>
                  <a:pt x="402" y="1260"/>
                </a:lnTo>
                <a:lnTo>
                  <a:pt x="402" y="1254"/>
                </a:lnTo>
                <a:lnTo>
                  <a:pt x="396" y="1254"/>
                </a:lnTo>
                <a:lnTo>
                  <a:pt x="396" y="1248"/>
                </a:lnTo>
                <a:lnTo>
                  <a:pt x="384" y="1248"/>
                </a:lnTo>
                <a:lnTo>
                  <a:pt x="372" y="1230"/>
                </a:lnTo>
                <a:lnTo>
                  <a:pt x="360" y="1212"/>
                </a:lnTo>
                <a:lnTo>
                  <a:pt x="348" y="1188"/>
                </a:lnTo>
                <a:lnTo>
                  <a:pt x="324" y="1170"/>
                </a:lnTo>
                <a:lnTo>
                  <a:pt x="318" y="1170"/>
                </a:lnTo>
                <a:lnTo>
                  <a:pt x="312" y="1158"/>
                </a:lnTo>
                <a:lnTo>
                  <a:pt x="312" y="1152"/>
                </a:lnTo>
                <a:lnTo>
                  <a:pt x="306" y="1146"/>
                </a:lnTo>
                <a:lnTo>
                  <a:pt x="270" y="1122"/>
                </a:lnTo>
                <a:lnTo>
                  <a:pt x="240" y="1122"/>
                </a:lnTo>
                <a:lnTo>
                  <a:pt x="180" y="1116"/>
                </a:lnTo>
                <a:lnTo>
                  <a:pt x="174" y="1122"/>
                </a:lnTo>
                <a:lnTo>
                  <a:pt x="174" y="1128"/>
                </a:lnTo>
                <a:lnTo>
                  <a:pt x="168" y="1122"/>
                </a:lnTo>
                <a:lnTo>
                  <a:pt x="162" y="1116"/>
                </a:lnTo>
                <a:lnTo>
                  <a:pt x="144" y="1122"/>
                </a:lnTo>
                <a:lnTo>
                  <a:pt x="120" y="1122"/>
                </a:lnTo>
                <a:lnTo>
                  <a:pt x="54" y="1134"/>
                </a:lnTo>
                <a:lnTo>
                  <a:pt x="24" y="1152"/>
                </a:lnTo>
                <a:lnTo>
                  <a:pt x="6" y="1146"/>
                </a:lnTo>
                <a:lnTo>
                  <a:pt x="0" y="1134"/>
                </a:lnTo>
                <a:lnTo>
                  <a:pt x="0" y="1128"/>
                </a:lnTo>
                <a:lnTo>
                  <a:pt x="18" y="1110"/>
                </a:lnTo>
                <a:lnTo>
                  <a:pt x="24" y="1104"/>
                </a:lnTo>
                <a:lnTo>
                  <a:pt x="24" y="1098"/>
                </a:lnTo>
                <a:lnTo>
                  <a:pt x="30" y="1086"/>
                </a:lnTo>
                <a:lnTo>
                  <a:pt x="24" y="1086"/>
                </a:lnTo>
                <a:lnTo>
                  <a:pt x="24" y="1080"/>
                </a:lnTo>
                <a:lnTo>
                  <a:pt x="24" y="1074"/>
                </a:lnTo>
                <a:lnTo>
                  <a:pt x="18" y="1068"/>
                </a:lnTo>
                <a:lnTo>
                  <a:pt x="24" y="1062"/>
                </a:lnTo>
                <a:lnTo>
                  <a:pt x="42" y="1056"/>
                </a:lnTo>
                <a:lnTo>
                  <a:pt x="54" y="1050"/>
                </a:lnTo>
                <a:lnTo>
                  <a:pt x="72" y="1044"/>
                </a:lnTo>
                <a:lnTo>
                  <a:pt x="96" y="1032"/>
                </a:lnTo>
                <a:lnTo>
                  <a:pt x="102" y="1032"/>
                </a:lnTo>
                <a:lnTo>
                  <a:pt x="126" y="1008"/>
                </a:lnTo>
                <a:lnTo>
                  <a:pt x="144" y="990"/>
                </a:lnTo>
                <a:lnTo>
                  <a:pt x="156" y="978"/>
                </a:lnTo>
                <a:lnTo>
                  <a:pt x="156" y="966"/>
                </a:lnTo>
                <a:lnTo>
                  <a:pt x="150" y="960"/>
                </a:lnTo>
                <a:lnTo>
                  <a:pt x="144" y="948"/>
                </a:lnTo>
                <a:lnTo>
                  <a:pt x="144" y="936"/>
                </a:lnTo>
                <a:lnTo>
                  <a:pt x="138" y="918"/>
                </a:lnTo>
                <a:lnTo>
                  <a:pt x="150" y="912"/>
                </a:lnTo>
                <a:lnTo>
                  <a:pt x="150" y="894"/>
                </a:lnTo>
                <a:lnTo>
                  <a:pt x="132" y="876"/>
                </a:lnTo>
                <a:lnTo>
                  <a:pt x="126" y="876"/>
                </a:lnTo>
                <a:lnTo>
                  <a:pt x="120" y="870"/>
                </a:lnTo>
                <a:lnTo>
                  <a:pt x="120" y="864"/>
                </a:lnTo>
                <a:lnTo>
                  <a:pt x="114" y="864"/>
                </a:lnTo>
                <a:lnTo>
                  <a:pt x="108" y="864"/>
                </a:lnTo>
                <a:lnTo>
                  <a:pt x="108" y="858"/>
                </a:lnTo>
                <a:lnTo>
                  <a:pt x="102" y="852"/>
                </a:lnTo>
                <a:lnTo>
                  <a:pt x="96" y="852"/>
                </a:lnTo>
                <a:lnTo>
                  <a:pt x="102" y="834"/>
                </a:lnTo>
                <a:lnTo>
                  <a:pt x="108" y="816"/>
                </a:lnTo>
                <a:lnTo>
                  <a:pt x="114" y="804"/>
                </a:lnTo>
                <a:lnTo>
                  <a:pt x="132" y="798"/>
                </a:lnTo>
                <a:lnTo>
                  <a:pt x="144" y="798"/>
                </a:lnTo>
                <a:lnTo>
                  <a:pt x="180" y="810"/>
                </a:lnTo>
                <a:lnTo>
                  <a:pt x="192" y="816"/>
                </a:lnTo>
                <a:lnTo>
                  <a:pt x="234" y="822"/>
                </a:lnTo>
                <a:lnTo>
                  <a:pt x="264" y="828"/>
                </a:lnTo>
                <a:lnTo>
                  <a:pt x="270" y="840"/>
                </a:lnTo>
                <a:lnTo>
                  <a:pt x="270" y="834"/>
                </a:lnTo>
                <a:lnTo>
                  <a:pt x="270" y="828"/>
                </a:lnTo>
                <a:lnTo>
                  <a:pt x="270" y="822"/>
                </a:lnTo>
                <a:lnTo>
                  <a:pt x="270" y="816"/>
                </a:lnTo>
                <a:lnTo>
                  <a:pt x="264" y="810"/>
                </a:lnTo>
                <a:lnTo>
                  <a:pt x="264" y="804"/>
                </a:lnTo>
                <a:lnTo>
                  <a:pt x="264" y="798"/>
                </a:lnTo>
                <a:lnTo>
                  <a:pt x="258" y="792"/>
                </a:lnTo>
                <a:lnTo>
                  <a:pt x="258" y="786"/>
                </a:lnTo>
                <a:lnTo>
                  <a:pt x="264" y="786"/>
                </a:lnTo>
                <a:lnTo>
                  <a:pt x="264" y="780"/>
                </a:lnTo>
                <a:lnTo>
                  <a:pt x="258" y="774"/>
                </a:lnTo>
                <a:lnTo>
                  <a:pt x="258" y="768"/>
                </a:lnTo>
                <a:lnTo>
                  <a:pt x="264" y="762"/>
                </a:lnTo>
                <a:lnTo>
                  <a:pt x="264" y="756"/>
                </a:lnTo>
                <a:lnTo>
                  <a:pt x="282" y="762"/>
                </a:lnTo>
                <a:lnTo>
                  <a:pt x="312" y="780"/>
                </a:lnTo>
                <a:lnTo>
                  <a:pt x="354" y="786"/>
                </a:lnTo>
                <a:lnTo>
                  <a:pt x="408" y="774"/>
                </a:lnTo>
                <a:lnTo>
                  <a:pt x="444" y="756"/>
                </a:lnTo>
                <a:lnTo>
                  <a:pt x="468" y="732"/>
                </a:lnTo>
                <a:lnTo>
                  <a:pt x="492" y="720"/>
                </a:lnTo>
                <a:lnTo>
                  <a:pt x="522" y="690"/>
                </a:lnTo>
                <a:lnTo>
                  <a:pt x="540" y="672"/>
                </a:lnTo>
                <a:lnTo>
                  <a:pt x="558" y="660"/>
                </a:lnTo>
                <a:lnTo>
                  <a:pt x="570" y="636"/>
                </a:lnTo>
                <a:lnTo>
                  <a:pt x="588" y="612"/>
                </a:lnTo>
                <a:lnTo>
                  <a:pt x="654" y="552"/>
                </a:lnTo>
                <a:lnTo>
                  <a:pt x="678" y="528"/>
                </a:lnTo>
                <a:lnTo>
                  <a:pt x="696" y="510"/>
                </a:lnTo>
                <a:lnTo>
                  <a:pt x="714" y="498"/>
                </a:lnTo>
                <a:lnTo>
                  <a:pt x="750" y="480"/>
                </a:lnTo>
                <a:lnTo>
                  <a:pt x="774" y="444"/>
                </a:lnTo>
                <a:lnTo>
                  <a:pt x="816" y="426"/>
                </a:lnTo>
                <a:lnTo>
                  <a:pt x="864" y="420"/>
                </a:lnTo>
                <a:lnTo>
                  <a:pt x="912" y="402"/>
                </a:lnTo>
                <a:lnTo>
                  <a:pt x="906" y="396"/>
                </a:lnTo>
                <a:lnTo>
                  <a:pt x="912" y="396"/>
                </a:lnTo>
                <a:lnTo>
                  <a:pt x="912" y="390"/>
                </a:lnTo>
                <a:lnTo>
                  <a:pt x="918" y="384"/>
                </a:lnTo>
                <a:lnTo>
                  <a:pt x="924" y="384"/>
                </a:lnTo>
                <a:lnTo>
                  <a:pt x="924" y="378"/>
                </a:lnTo>
                <a:lnTo>
                  <a:pt x="918" y="372"/>
                </a:lnTo>
                <a:lnTo>
                  <a:pt x="918" y="366"/>
                </a:lnTo>
                <a:lnTo>
                  <a:pt x="918" y="360"/>
                </a:lnTo>
                <a:lnTo>
                  <a:pt x="924" y="360"/>
                </a:lnTo>
                <a:lnTo>
                  <a:pt x="924" y="354"/>
                </a:lnTo>
                <a:lnTo>
                  <a:pt x="930" y="354"/>
                </a:lnTo>
                <a:lnTo>
                  <a:pt x="936" y="354"/>
                </a:lnTo>
                <a:lnTo>
                  <a:pt x="936" y="348"/>
                </a:lnTo>
                <a:lnTo>
                  <a:pt x="942" y="348"/>
                </a:lnTo>
                <a:lnTo>
                  <a:pt x="942" y="336"/>
                </a:lnTo>
                <a:lnTo>
                  <a:pt x="936" y="336"/>
                </a:lnTo>
                <a:lnTo>
                  <a:pt x="930" y="330"/>
                </a:lnTo>
                <a:lnTo>
                  <a:pt x="924" y="330"/>
                </a:lnTo>
                <a:lnTo>
                  <a:pt x="924" y="324"/>
                </a:lnTo>
                <a:lnTo>
                  <a:pt x="918" y="318"/>
                </a:lnTo>
                <a:lnTo>
                  <a:pt x="912" y="306"/>
                </a:lnTo>
                <a:lnTo>
                  <a:pt x="918" y="306"/>
                </a:lnTo>
                <a:lnTo>
                  <a:pt x="924" y="300"/>
                </a:lnTo>
                <a:lnTo>
                  <a:pt x="924" y="294"/>
                </a:lnTo>
                <a:lnTo>
                  <a:pt x="924" y="288"/>
                </a:lnTo>
                <a:lnTo>
                  <a:pt x="924" y="282"/>
                </a:lnTo>
                <a:lnTo>
                  <a:pt x="924" y="276"/>
                </a:lnTo>
                <a:lnTo>
                  <a:pt x="918" y="270"/>
                </a:lnTo>
                <a:lnTo>
                  <a:pt x="918" y="264"/>
                </a:lnTo>
                <a:lnTo>
                  <a:pt x="912" y="270"/>
                </a:lnTo>
                <a:lnTo>
                  <a:pt x="912" y="264"/>
                </a:lnTo>
                <a:lnTo>
                  <a:pt x="912" y="258"/>
                </a:lnTo>
                <a:lnTo>
                  <a:pt x="912" y="252"/>
                </a:lnTo>
                <a:lnTo>
                  <a:pt x="906" y="252"/>
                </a:lnTo>
                <a:lnTo>
                  <a:pt x="900" y="246"/>
                </a:lnTo>
                <a:lnTo>
                  <a:pt x="900" y="240"/>
                </a:lnTo>
                <a:lnTo>
                  <a:pt x="900" y="246"/>
                </a:lnTo>
                <a:lnTo>
                  <a:pt x="894" y="246"/>
                </a:lnTo>
                <a:lnTo>
                  <a:pt x="894" y="240"/>
                </a:lnTo>
                <a:lnTo>
                  <a:pt x="894" y="234"/>
                </a:lnTo>
                <a:lnTo>
                  <a:pt x="900" y="234"/>
                </a:lnTo>
                <a:lnTo>
                  <a:pt x="900" y="228"/>
                </a:lnTo>
                <a:lnTo>
                  <a:pt x="906" y="228"/>
                </a:lnTo>
                <a:lnTo>
                  <a:pt x="900" y="222"/>
                </a:lnTo>
                <a:lnTo>
                  <a:pt x="894" y="216"/>
                </a:lnTo>
                <a:lnTo>
                  <a:pt x="894" y="210"/>
                </a:lnTo>
                <a:lnTo>
                  <a:pt x="888" y="210"/>
                </a:lnTo>
                <a:lnTo>
                  <a:pt x="888" y="204"/>
                </a:lnTo>
                <a:lnTo>
                  <a:pt x="888" y="198"/>
                </a:lnTo>
                <a:lnTo>
                  <a:pt x="888" y="192"/>
                </a:lnTo>
                <a:lnTo>
                  <a:pt x="882" y="186"/>
                </a:lnTo>
                <a:lnTo>
                  <a:pt x="888" y="180"/>
                </a:lnTo>
                <a:lnTo>
                  <a:pt x="882" y="180"/>
                </a:lnTo>
                <a:lnTo>
                  <a:pt x="882" y="174"/>
                </a:lnTo>
                <a:lnTo>
                  <a:pt x="888" y="168"/>
                </a:lnTo>
                <a:lnTo>
                  <a:pt x="888" y="162"/>
                </a:lnTo>
                <a:lnTo>
                  <a:pt x="888" y="156"/>
                </a:lnTo>
                <a:lnTo>
                  <a:pt x="888" y="150"/>
                </a:lnTo>
                <a:lnTo>
                  <a:pt x="888" y="144"/>
                </a:lnTo>
                <a:lnTo>
                  <a:pt x="882" y="144"/>
                </a:lnTo>
                <a:lnTo>
                  <a:pt x="882" y="138"/>
                </a:lnTo>
                <a:lnTo>
                  <a:pt x="876" y="132"/>
                </a:lnTo>
                <a:lnTo>
                  <a:pt x="882" y="126"/>
                </a:lnTo>
                <a:lnTo>
                  <a:pt x="876" y="120"/>
                </a:lnTo>
                <a:lnTo>
                  <a:pt x="882" y="114"/>
                </a:lnTo>
                <a:lnTo>
                  <a:pt x="882" y="108"/>
                </a:lnTo>
                <a:lnTo>
                  <a:pt x="888" y="102"/>
                </a:lnTo>
                <a:lnTo>
                  <a:pt x="894" y="102"/>
                </a:lnTo>
                <a:lnTo>
                  <a:pt x="894" y="96"/>
                </a:lnTo>
                <a:lnTo>
                  <a:pt x="888" y="96"/>
                </a:lnTo>
                <a:lnTo>
                  <a:pt x="894" y="90"/>
                </a:lnTo>
                <a:lnTo>
                  <a:pt x="888" y="84"/>
                </a:lnTo>
                <a:lnTo>
                  <a:pt x="888" y="78"/>
                </a:lnTo>
                <a:lnTo>
                  <a:pt x="924" y="66"/>
                </a:lnTo>
                <a:lnTo>
                  <a:pt x="966" y="66"/>
                </a:lnTo>
                <a:lnTo>
                  <a:pt x="996" y="48"/>
                </a:lnTo>
                <a:lnTo>
                  <a:pt x="1056" y="12"/>
                </a:lnTo>
                <a:lnTo>
                  <a:pt x="1128" y="0"/>
                </a:lnTo>
                <a:lnTo>
                  <a:pt x="1164" y="6"/>
                </a:lnTo>
                <a:lnTo>
                  <a:pt x="1164" y="12"/>
                </a:lnTo>
                <a:lnTo>
                  <a:pt x="1170" y="12"/>
                </a:lnTo>
                <a:lnTo>
                  <a:pt x="1170" y="18"/>
                </a:lnTo>
                <a:lnTo>
                  <a:pt x="1176" y="24"/>
                </a:lnTo>
                <a:lnTo>
                  <a:pt x="1182" y="24"/>
                </a:lnTo>
                <a:lnTo>
                  <a:pt x="1188" y="30"/>
                </a:lnTo>
                <a:lnTo>
                  <a:pt x="1194" y="30"/>
                </a:lnTo>
                <a:lnTo>
                  <a:pt x="1194" y="36"/>
                </a:lnTo>
                <a:lnTo>
                  <a:pt x="1260" y="30"/>
                </a:lnTo>
                <a:lnTo>
                  <a:pt x="1272" y="30"/>
                </a:lnTo>
                <a:lnTo>
                  <a:pt x="1296" y="24"/>
                </a:lnTo>
                <a:lnTo>
                  <a:pt x="1302" y="30"/>
                </a:lnTo>
                <a:lnTo>
                  <a:pt x="1302" y="36"/>
                </a:lnTo>
                <a:lnTo>
                  <a:pt x="1308" y="36"/>
                </a:lnTo>
                <a:lnTo>
                  <a:pt x="1314" y="36"/>
                </a:lnTo>
                <a:lnTo>
                  <a:pt x="1320" y="36"/>
                </a:lnTo>
                <a:lnTo>
                  <a:pt x="1326" y="30"/>
                </a:lnTo>
                <a:lnTo>
                  <a:pt x="1332" y="30"/>
                </a:lnTo>
                <a:lnTo>
                  <a:pt x="1338" y="30"/>
                </a:lnTo>
                <a:lnTo>
                  <a:pt x="1344" y="30"/>
                </a:lnTo>
                <a:lnTo>
                  <a:pt x="1374" y="30"/>
                </a:lnTo>
                <a:lnTo>
                  <a:pt x="1386" y="30"/>
                </a:lnTo>
                <a:lnTo>
                  <a:pt x="1392" y="24"/>
                </a:lnTo>
                <a:lnTo>
                  <a:pt x="1398" y="12"/>
                </a:lnTo>
                <a:lnTo>
                  <a:pt x="1404" y="6"/>
                </a:lnTo>
                <a:lnTo>
                  <a:pt x="1410" y="6"/>
                </a:lnTo>
                <a:lnTo>
                  <a:pt x="1410" y="12"/>
                </a:lnTo>
                <a:lnTo>
                  <a:pt x="1416" y="18"/>
                </a:lnTo>
                <a:lnTo>
                  <a:pt x="1416" y="36"/>
                </a:lnTo>
                <a:lnTo>
                  <a:pt x="1434" y="54"/>
                </a:lnTo>
                <a:lnTo>
                  <a:pt x="1434" y="60"/>
                </a:lnTo>
                <a:lnTo>
                  <a:pt x="1434" y="66"/>
                </a:lnTo>
                <a:lnTo>
                  <a:pt x="1434" y="72"/>
                </a:lnTo>
                <a:lnTo>
                  <a:pt x="1428" y="72"/>
                </a:lnTo>
                <a:lnTo>
                  <a:pt x="1428" y="78"/>
                </a:lnTo>
                <a:lnTo>
                  <a:pt x="1434" y="78"/>
                </a:lnTo>
                <a:lnTo>
                  <a:pt x="1440" y="84"/>
                </a:lnTo>
                <a:lnTo>
                  <a:pt x="1440" y="90"/>
                </a:lnTo>
                <a:lnTo>
                  <a:pt x="1440" y="96"/>
                </a:lnTo>
                <a:lnTo>
                  <a:pt x="1446" y="96"/>
                </a:lnTo>
                <a:lnTo>
                  <a:pt x="1446" y="108"/>
                </a:lnTo>
                <a:lnTo>
                  <a:pt x="1452" y="108"/>
                </a:lnTo>
                <a:lnTo>
                  <a:pt x="1452" y="114"/>
                </a:lnTo>
                <a:lnTo>
                  <a:pt x="1458" y="114"/>
                </a:lnTo>
                <a:lnTo>
                  <a:pt x="1470" y="120"/>
                </a:lnTo>
                <a:lnTo>
                  <a:pt x="1476" y="120"/>
                </a:lnTo>
                <a:lnTo>
                  <a:pt x="1476" y="114"/>
                </a:lnTo>
                <a:lnTo>
                  <a:pt x="1488" y="120"/>
                </a:lnTo>
                <a:lnTo>
                  <a:pt x="1506" y="120"/>
                </a:lnTo>
                <a:lnTo>
                  <a:pt x="1512" y="120"/>
                </a:lnTo>
                <a:lnTo>
                  <a:pt x="1518" y="120"/>
                </a:lnTo>
                <a:lnTo>
                  <a:pt x="1524" y="126"/>
                </a:lnTo>
                <a:lnTo>
                  <a:pt x="1536" y="150"/>
                </a:lnTo>
                <a:lnTo>
                  <a:pt x="1548" y="162"/>
                </a:lnTo>
                <a:lnTo>
                  <a:pt x="1554" y="168"/>
                </a:lnTo>
                <a:lnTo>
                  <a:pt x="1584" y="228"/>
                </a:lnTo>
                <a:lnTo>
                  <a:pt x="1584" y="234"/>
                </a:lnTo>
                <a:lnTo>
                  <a:pt x="1578" y="312"/>
                </a:lnTo>
                <a:lnTo>
                  <a:pt x="1590" y="318"/>
                </a:lnTo>
                <a:lnTo>
                  <a:pt x="1608" y="330"/>
                </a:lnTo>
                <a:lnTo>
                  <a:pt x="1620" y="342"/>
                </a:lnTo>
                <a:lnTo>
                  <a:pt x="1626" y="342"/>
                </a:lnTo>
                <a:lnTo>
                  <a:pt x="1692" y="360"/>
                </a:lnTo>
                <a:lnTo>
                  <a:pt x="1710" y="408"/>
                </a:lnTo>
                <a:lnTo>
                  <a:pt x="1722" y="426"/>
                </a:lnTo>
                <a:lnTo>
                  <a:pt x="1716" y="468"/>
                </a:lnTo>
                <a:lnTo>
                  <a:pt x="1686" y="486"/>
                </a:lnTo>
                <a:lnTo>
                  <a:pt x="1686" y="492"/>
                </a:lnTo>
                <a:lnTo>
                  <a:pt x="1680" y="498"/>
                </a:lnTo>
                <a:lnTo>
                  <a:pt x="1650" y="558"/>
                </a:lnTo>
                <a:lnTo>
                  <a:pt x="1650" y="570"/>
                </a:lnTo>
                <a:lnTo>
                  <a:pt x="1644" y="570"/>
                </a:lnTo>
                <a:lnTo>
                  <a:pt x="1638" y="582"/>
                </a:lnTo>
                <a:lnTo>
                  <a:pt x="1638" y="624"/>
                </a:lnTo>
                <a:lnTo>
                  <a:pt x="1638" y="636"/>
                </a:lnTo>
                <a:lnTo>
                  <a:pt x="1638" y="642"/>
                </a:lnTo>
                <a:lnTo>
                  <a:pt x="1632" y="660"/>
                </a:lnTo>
                <a:lnTo>
                  <a:pt x="1608" y="678"/>
                </a:lnTo>
                <a:lnTo>
                  <a:pt x="1584" y="690"/>
                </a:lnTo>
                <a:lnTo>
                  <a:pt x="1584" y="696"/>
                </a:lnTo>
                <a:lnTo>
                  <a:pt x="1578" y="702"/>
                </a:lnTo>
                <a:lnTo>
                  <a:pt x="1584" y="702"/>
                </a:lnTo>
                <a:lnTo>
                  <a:pt x="1578" y="714"/>
                </a:lnTo>
                <a:lnTo>
                  <a:pt x="1572" y="714"/>
                </a:lnTo>
                <a:lnTo>
                  <a:pt x="1572" y="720"/>
                </a:lnTo>
                <a:lnTo>
                  <a:pt x="1566" y="720"/>
                </a:lnTo>
                <a:lnTo>
                  <a:pt x="1560" y="726"/>
                </a:lnTo>
                <a:lnTo>
                  <a:pt x="1560" y="732"/>
                </a:lnTo>
                <a:lnTo>
                  <a:pt x="1554" y="732"/>
                </a:lnTo>
                <a:lnTo>
                  <a:pt x="1554" y="738"/>
                </a:lnTo>
                <a:lnTo>
                  <a:pt x="1554" y="744"/>
                </a:lnTo>
                <a:lnTo>
                  <a:pt x="1548" y="744"/>
                </a:lnTo>
                <a:lnTo>
                  <a:pt x="1548" y="738"/>
                </a:lnTo>
                <a:lnTo>
                  <a:pt x="1542" y="738"/>
                </a:lnTo>
                <a:lnTo>
                  <a:pt x="1542" y="744"/>
                </a:lnTo>
                <a:lnTo>
                  <a:pt x="1542" y="750"/>
                </a:lnTo>
                <a:lnTo>
                  <a:pt x="1494" y="804"/>
                </a:lnTo>
                <a:lnTo>
                  <a:pt x="1446" y="876"/>
                </a:lnTo>
                <a:lnTo>
                  <a:pt x="1440" y="876"/>
                </a:lnTo>
                <a:lnTo>
                  <a:pt x="1434" y="876"/>
                </a:lnTo>
                <a:lnTo>
                  <a:pt x="1428" y="882"/>
                </a:lnTo>
                <a:lnTo>
                  <a:pt x="1422" y="882"/>
                </a:lnTo>
                <a:lnTo>
                  <a:pt x="1386" y="924"/>
                </a:lnTo>
                <a:lnTo>
                  <a:pt x="1362" y="954"/>
                </a:lnTo>
                <a:lnTo>
                  <a:pt x="1356" y="984"/>
                </a:lnTo>
                <a:lnTo>
                  <a:pt x="1362" y="1002"/>
                </a:lnTo>
                <a:lnTo>
                  <a:pt x="1368" y="1020"/>
                </a:lnTo>
                <a:lnTo>
                  <a:pt x="1386" y="1056"/>
                </a:lnTo>
                <a:lnTo>
                  <a:pt x="1404" y="1074"/>
                </a:lnTo>
                <a:lnTo>
                  <a:pt x="1416" y="1080"/>
                </a:lnTo>
                <a:lnTo>
                  <a:pt x="1416" y="1086"/>
                </a:lnTo>
                <a:lnTo>
                  <a:pt x="1422" y="1098"/>
                </a:lnTo>
                <a:lnTo>
                  <a:pt x="1422" y="1110"/>
                </a:lnTo>
                <a:lnTo>
                  <a:pt x="1428" y="1116"/>
                </a:lnTo>
                <a:lnTo>
                  <a:pt x="1434" y="1116"/>
                </a:lnTo>
                <a:lnTo>
                  <a:pt x="1434" y="1122"/>
                </a:lnTo>
                <a:lnTo>
                  <a:pt x="1434" y="1128"/>
                </a:lnTo>
                <a:lnTo>
                  <a:pt x="1440" y="1134"/>
                </a:lnTo>
                <a:lnTo>
                  <a:pt x="1446" y="1134"/>
                </a:lnTo>
                <a:lnTo>
                  <a:pt x="1458" y="1134"/>
                </a:lnTo>
                <a:lnTo>
                  <a:pt x="1458" y="1140"/>
                </a:lnTo>
                <a:lnTo>
                  <a:pt x="1464" y="1134"/>
                </a:lnTo>
                <a:lnTo>
                  <a:pt x="1470" y="1134"/>
                </a:lnTo>
                <a:lnTo>
                  <a:pt x="1464" y="1128"/>
                </a:lnTo>
                <a:lnTo>
                  <a:pt x="1464" y="1122"/>
                </a:lnTo>
                <a:lnTo>
                  <a:pt x="1470" y="1116"/>
                </a:lnTo>
                <a:lnTo>
                  <a:pt x="1470" y="1122"/>
                </a:lnTo>
                <a:lnTo>
                  <a:pt x="1476" y="1122"/>
                </a:lnTo>
                <a:lnTo>
                  <a:pt x="1476" y="1116"/>
                </a:lnTo>
                <a:lnTo>
                  <a:pt x="1482" y="1110"/>
                </a:lnTo>
                <a:lnTo>
                  <a:pt x="1476" y="1110"/>
                </a:lnTo>
                <a:lnTo>
                  <a:pt x="1476" y="1104"/>
                </a:lnTo>
                <a:lnTo>
                  <a:pt x="1476" y="1098"/>
                </a:lnTo>
                <a:lnTo>
                  <a:pt x="1482" y="1086"/>
                </a:lnTo>
                <a:lnTo>
                  <a:pt x="1482" y="1074"/>
                </a:lnTo>
                <a:lnTo>
                  <a:pt x="1488" y="1068"/>
                </a:lnTo>
                <a:lnTo>
                  <a:pt x="1488" y="1062"/>
                </a:lnTo>
                <a:lnTo>
                  <a:pt x="1494" y="1062"/>
                </a:lnTo>
                <a:lnTo>
                  <a:pt x="1500" y="1062"/>
                </a:lnTo>
                <a:lnTo>
                  <a:pt x="1506" y="1062"/>
                </a:lnTo>
                <a:lnTo>
                  <a:pt x="1506" y="1056"/>
                </a:lnTo>
                <a:lnTo>
                  <a:pt x="1506" y="1062"/>
                </a:lnTo>
                <a:lnTo>
                  <a:pt x="1518" y="1062"/>
                </a:lnTo>
                <a:lnTo>
                  <a:pt x="1524" y="1062"/>
                </a:lnTo>
                <a:lnTo>
                  <a:pt x="1530" y="1062"/>
                </a:lnTo>
                <a:lnTo>
                  <a:pt x="1536" y="1068"/>
                </a:lnTo>
                <a:lnTo>
                  <a:pt x="1536" y="1074"/>
                </a:lnTo>
                <a:lnTo>
                  <a:pt x="1542" y="1086"/>
                </a:lnTo>
                <a:lnTo>
                  <a:pt x="1548" y="1086"/>
                </a:lnTo>
                <a:lnTo>
                  <a:pt x="1554" y="1086"/>
                </a:lnTo>
                <a:lnTo>
                  <a:pt x="1566" y="1098"/>
                </a:lnTo>
                <a:lnTo>
                  <a:pt x="1572" y="1104"/>
                </a:lnTo>
                <a:lnTo>
                  <a:pt x="1566" y="1110"/>
                </a:lnTo>
                <a:lnTo>
                  <a:pt x="1572" y="1116"/>
                </a:lnTo>
                <a:lnTo>
                  <a:pt x="1578" y="1116"/>
                </a:lnTo>
                <a:lnTo>
                  <a:pt x="1578" y="1122"/>
                </a:lnTo>
                <a:lnTo>
                  <a:pt x="1584" y="1122"/>
                </a:lnTo>
                <a:lnTo>
                  <a:pt x="1584" y="1128"/>
                </a:lnTo>
                <a:lnTo>
                  <a:pt x="1584" y="1134"/>
                </a:lnTo>
                <a:lnTo>
                  <a:pt x="1590" y="1134"/>
                </a:lnTo>
                <a:lnTo>
                  <a:pt x="1596" y="1140"/>
                </a:lnTo>
                <a:lnTo>
                  <a:pt x="1602" y="1146"/>
                </a:lnTo>
                <a:lnTo>
                  <a:pt x="1608" y="1146"/>
                </a:lnTo>
                <a:lnTo>
                  <a:pt x="1614" y="1146"/>
                </a:lnTo>
                <a:lnTo>
                  <a:pt x="1614" y="1152"/>
                </a:lnTo>
                <a:lnTo>
                  <a:pt x="1620" y="1152"/>
                </a:lnTo>
                <a:lnTo>
                  <a:pt x="1626" y="1164"/>
                </a:lnTo>
                <a:lnTo>
                  <a:pt x="1632" y="1170"/>
                </a:lnTo>
                <a:lnTo>
                  <a:pt x="1638" y="1176"/>
                </a:lnTo>
                <a:lnTo>
                  <a:pt x="1638" y="1182"/>
                </a:lnTo>
                <a:lnTo>
                  <a:pt x="1644" y="1194"/>
                </a:lnTo>
                <a:lnTo>
                  <a:pt x="1644" y="1200"/>
                </a:lnTo>
                <a:lnTo>
                  <a:pt x="1638" y="1200"/>
                </a:lnTo>
                <a:lnTo>
                  <a:pt x="1638" y="1206"/>
                </a:lnTo>
                <a:lnTo>
                  <a:pt x="1638" y="1212"/>
                </a:lnTo>
                <a:lnTo>
                  <a:pt x="1638" y="1218"/>
                </a:lnTo>
                <a:lnTo>
                  <a:pt x="1632" y="1242"/>
                </a:lnTo>
                <a:lnTo>
                  <a:pt x="1632" y="1266"/>
                </a:lnTo>
                <a:lnTo>
                  <a:pt x="1638" y="1284"/>
                </a:lnTo>
                <a:lnTo>
                  <a:pt x="1638" y="1296"/>
                </a:lnTo>
                <a:lnTo>
                  <a:pt x="1632" y="1296"/>
                </a:lnTo>
                <a:lnTo>
                  <a:pt x="1632" y="1302"/>
                </a:lnTo>
                <a:lnTo>
                  <a:pt x="1638" y="1314"/>
                </a:lnTo>
                <a:lnTo>
                  <a:pt x="1638" y="1320"/>
                </a:lnTo>
                <a:lnTo>
                  <a:pt x="1632" y="1320"/>
                </a:lnTo>
                <a:lnTo>
                  <a:pt x="1632" y="1326"/>
                </a:lnTo>
                <a:lnTo>
                  <a:pt x="1644" y="1332"/>
                </a:lnTo>
                <a:lnTo>
                  <a:pt x="1644" y="1338"/>
                </a:lnTo>
                <a:lnTo>
                  <a:pt x="1650" y="1344"/>
                </a:lnTo>
                <a:lnTo>
                  <a:pt x="1668" y="1362"/>
                </a:lnTo>
                <a:lnTo>
                  <a:pt x="1668" y="1368"/>
                </a:lnTo>
                <a:lnTo>
                  <a:pt x="1674" y="1392"/>
                </a:lnTo>
                <a:lnTo>
                  <a:pt x="1686" y="1404"/>
                </a:lnTo>
                <a:close/>
              </a:path>
            </a:pathLst>
          </a:custGeom>
          <a:solidFill>
            <a:srgbClr val="33CC33"/>
          </a:solidFill>
          <a:ln w="9525">
            <a:solidFill>
              <a:schemeClr val="bg1"/>
            </a:solidFill>
            <a:round/>
            <a:headEnd/>
            <a:tailEnd/>
          </a:ln>
        </p:spPr>
        <p:txBody>
          <a:bodyPr/>
          <a:lstStyle/>
          <a:p>
            <a:endParaRPr lang="en-GB">
              <a:solidFill>
                <a:schemeClr val="bg1"/>
              </a:solidFill>
            </a:endParaRPr>
          </a:p>
        </p:txBody>
      </p:sp>
      <p:sp>
        <p:nvSpPr>
          <p:cNvPr id="20502" name="Freeform 18"/>
          <p:cNvSpPr>
            <a:spLocks/>
          </p:cNvSpPr>
          <p:nvPr/>
        </p:nvSpPr>
        <p:spPr bwMode="gray">
          <a:xfrm>
            <a:off x="3860800" y="4470400"/>
            <a:ext cx="1201738" cy="869950"/>
          </a:xfrm>
          <a:custGeom>
            <a:avLst/>
            <a:gdLst>
              <a:gd name="T0" fmla="*/ 89944 w 1536"/>
              <a:gd name="T1" fmla="*/ 71663 h 1080"/>
              <a:gd name="T2" fmla="*/ 88380 w 1536"/>
              <a:gd name="T3" fmla="*/ 74078 h 1080"/>
              <a:gd name="T4" fmla="*/ 83687 w 1536"/>
              <a:gd name="T5" fmla="*/ 74884 h 1080"/>
              <a:gd name="T6" fmla="*/ 84469 w 1536"/>
              <a:gd name="T7" fmla="*/ 72468 h 1080"/>
              <a:gd name="T8" fmla="*/ 82123 w 1536"/>
              <a:gd name="T9" fmla="*/ 70052 h 1080"/>
              <a:gd name="T10" fmla="*/ 79776 w 1536"/>
              <a:gd name="T11" fmla="*/ 68442 h 1080"/>
              <a:gd name="T12" fmla="*/ 69609 w 1536"/>
              <a:gd name="T13" fmla="*/ 64416 h 1080"/>
              <a:gd name="T14" fmla="*/ 66480 w 1536"/>
              <a:gd name="T15" fmla="*/ 66026 h 1080"/>
              <a:gd name="T16" fmla="*/ 64134 w 1536"/>
              <a:gd name="T17" fmla="*/ 64416 h 1080"/>
              <a:gd name="T18" fmla="*/ 62570 w 1536"/>
              <a:gd name="T19" fmla="*/ 60390 h 1080"/>
              <a:gd name="T20" fmla="*/ 58659 w 1536"/>
              <a:gd name="T21" fmla="*/ 57974 h 1080"/>
              <a:gd name="T22" fmla="*/ 47709 w 1536"/>
              <a:gd name="T23" fmla="*/ 56364 h 1080"/>
              <a:gd name="T24" fmla="*/ 48492 w 1536"/>
              <a:gd name="T25" fmla="*/ 57974 h 1080"/>
              <a:gd name="T26" fmla="*/ 45363 w 1536"/>
              <a:gd name="T27" fmla="*/ 60390 h 1080"/>
              <a:gd name="T28" fmla="*/ 38324 w 1536"/>
              <a:gd name="T29" fmla="*/ 61195 h 1080"/>
              <a:gd name="T30" fmla="*/ 32067 w 1536"/>
              <a:gd name="T31" fmla="*/ 63611 h 1080"/>
              <a:gd name="T32" fmla="*/ 32067 w 1536"/>
              <a:gd name="T33" fmla="*/ 62000 h 1080"/>
              <a:gd name="T34" fmla="*/ 30503 w 1536"/>
              <a:gd name="T35" fmla="*/ 59585 h 1080"/>
              <a:gd name="T36" fmla="*/ 21899 w 1536"/>
              <a:gd name="T37" fmla="*/ 62806 h 1080"/>
              <a:gd name="T38" fmla="*/ 14078 w 1536"/>
              <a:gd name="T39" fmla="*/ 68442 h 1080"/>
              <a:gd name="T40" fmla="*/ 14078 w 1536"/>
              <a:gd name="T41" fmla="*/ 62000 h 1080"/>
              <a:gd name="T42" fmla="*/ 14860 w 1536"/>
              <a:gd name="T43" fmla="*/ 55559 h 1080"/>
              <a:gd name="T44" fmla="*/ 12514 w 1536"/>
              <a:gd name="T45" fmla="*/ 55559 h 1080"/>
              <a:gd name="T46" fmla="*/ 8603 w 1536"/>
              <a:gd name="T47" fmla="*/ 55559 h 1080"/>
              <a:gd name="T48" fmla="*/ 3911 w 1536"/>
              <a:gd name="T49" fmla="*/ 54754 h 1080"/>
              <a:gd name="T50" fmla="*/ 782 w 1536"/>
              <a:gd name="T51" fmla="*/ 50728 h 1080"/>
              <a:gd name="T52" fmla="*/ 2346 w 1536"/>
              <a:gd name="T53" fmla="*/ 47507 h 1080"/>
              <a:gd name="T54" fmla="*/ 7039 w 1536"/>
              <a:gd name="T55" fmla="*/ 43481 h 1080"/>
              <a:gd name="T56" fmla="*/ 11732 w 1536"/>
              <a:gd name="T57" fmla="*/ 37844 h 1080"/>
              <a:gd name="T58" fmla="*/ 13296 w 1536"/>
              <a:gd name="T59" fmla="*/ 32208 h 1080"/>
              <a:gd name="T60" fmla="*/ 9385 w 1536"/>
              <a:gd name="T61" fmla="*/ 26572 h 1080"/>
              <a:gd name="T62" fmla="*/ 7821 w 1536"/>
              <a:gd name="T63" fmla="*/ 16909 h 1080"/>
              <a:gd name="T64" fmla="*/ 4693 w 1536"/>
              <a:gd name="T65" fmla="*/ 11273 h 1080"/>
              <a:gd name="T66" fmla="*/ 5475 w 1536"/>
              <a:gd name="T67" fmla="*/ 7247 h 1080"/>
              <a:gd name="T68" fmla="*/ 9385 w 1536"/>
              <a:gd name="T69" fmla="*/ 5636 h 1080"/>
              <a:gd name="T70" fmla="*/ 12514 w 1536"/>
              <a:gd name="T71" fmla="*/ 6442 h 1080"/>
              <a:gd name="T72" fmla="*/ 14860 w 1536"/>
              <a:gd name="T73" fmla="*/ 6442 h 1080"/>
              <a:gd name="T74" fmla="*/ 17207 w 1536"/>
              <a:gd name="T75" fmla="*/ 7247 h 1080"/>
              <a:gd name="T76" fmla="*/ 22682 w 1536"/>
              <a:gd name="T77" fmla="*/ 9662 h 1080"/>
              <a:gd name="T78" fmla="*/ 25810 w 1536"/>
              <a:gd name="T79" fmla="*/ 10468 h 1080"/>
              <a:gd name="T80" fmla="*/ 29721 w 1536"/>
              <a:gd name="T81" fmla="*/ 12078 h 1080"/>
              <a:gd name="T82" fmla="*/ 32849 w 1536"/>
              <a:gd name="T83" fmla="*/ 13688 h 1080"/>
              <a:gd name="T84" fmla="*/ 36760 w 1536"/>
              <a:gd name="T85" fmla="*/ 15299 h 1080"/>
              <a:gd name="T86" fmla="*/ 39888 w 1536"/>
              <a:gd name="T87" fmla="*/ 16909 h 1080"/>
              <a:gd name="T88" fmla="*/ 39106 w 1536"/>
              <a:gd name="T89" fmla="*/ 12078 h 1080"/>
              <a:gd name="T90" fmla="*/ 43799 w 1536"/>
              <a:gd name="T91" fmla="*/ 0 h 1080"/>
              <a:gd name="T92" fmla="*/ 57877 w 1536"/>
              <a:gd name="T93" fmla="*/ 4026 h 1080"/>
              <a:gd name="T94" fmla="*/ 68045 w 1536"/>
              <a:gd name="T95" fmla="*/ 4831 h 1080"/>
              <a:gd name="T96" fmla="*/ 71955 w 1536"/>
              <a:gd name="T97" fmla="*/ 8857 h 1080"/>
              <a:gd name="T98" fmla="*/ 74302 w 1536"/>
              <a:gd name="T99" fmla="*/ 12078 h 1080"/>
              <a:gd name="T100" fmla="*/ 72737 w 1536"/>
              <a:gd name="T101" fmla="*/ 16104 h 1080"/>
              <a:gd name="T102" fmla="*/ 84469 w 1536"/>
              <a:gd name="T103" fmla="*/ 14494 h 1080"/>
              <a:gd name="T104" fmla="*/ 93855 w 1536"/>
              <a:gd name="T105" fmla="*/ 16909 h 1080"/>
              <a:gd name="T106" fmla="*/ 99329 w 1536"/>
              <a:gd name="T107" fmla="*/ 23351 h 1080"/>
              <a:gd name="T108" fmla="*/ 101676 w 1536"/>
              <a:gd name="T109" fmla="*/ 24156 h 1080"/>
              <a:gd name="T110" fmla="*/ 101676 w 1536"/>
              <a:gd name="T111" fmla="*/ 39455 h 1080"/>
              <a:gd name="T112" fmla="*/ 93855 w 1536"/>
              <a:gd name="T113" fmla="*/ 55559 h 1080"/>
              <a:gd name="T114" fmla="*/ 93072 w 1536"/>
              <a:gd name="T115" fmla="*/ 59585 h 1080"/>
              <a:gd name="T116" fmla="*/ 92290 w 1536"/>
              <a:gd name="T117" fmla="*/ 64416 h 10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36"/>
              <a:gd name="T178" fmla="*/ 0 h 1080"/>
              <a:gd name="T179" fmla="*/ 1536 w 1536"/>
              <a:gd name="T180" fmla="*/ 1080 h 10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36" h="1080">
                <a:moveTo>
                  <a:pt x="1350" y="1020"/>
                </a:moveTo>
                <a:lnTo>
                  <a:pt x="1350" y="1026"/>
                </a:lnTo>
                <a:lnTo>
                  <a:pt x="1344" y="1026"/>
                </a:lnTo>
                <a:lnTo>
                  <a:pt x="1338" y="1032"/>
                </a:lnTo>
                <a:lnTo>
                  <a:pt x="1332" y="1026"/>
                </a:lnTo>
                <a:lnTo>
                  <a:pt x="1326" y="1026"/>
                </a:lnTo>
                <a:lnTo>
                  <a:pt x="1320" y="1020"/>
                </a:lnTo>
                <a:lnTo>
                  <a:pt x="1314" y="1026"/>
                </a:lnTo>
                <a:lnTo>
                  <a:pt x="1314" y="1032"/>
                </a:lnTo>
                <a:lnTo>
                  <a:pt x="1308" y="1038"/>
                </a:lnTo>
                <a:lnTo>
                  <a:pt x="1308" y="1044"/>
                </a:lnTo>
                <a:lnTo>
                  <a:pt x="1308" y="1050"/>
                </a:lnTo>
                <a:lnTo>
                  <a:pt x="1308" y="1056"/>
                </a:lnTo>
                <a:lnTo>
                  <a:pt x="1308" y="1062"/>
                </a:lnTo>
                <a:lnTo>
                  <a:pt x="1296" y="1068"/>
                </a:lnTo>
                <a:lnTo>
                  <a:pt x="1284" y="1074"/>
                </a:lnTo>
                <a:lnTo>
                  <a:pt x="1272" y="1080"/>
                </a:lnTo>
                <a:lnTo>
                  <a:pt x="1260" y="1080"/>
                </a:lnTo>
                <a:lnTo>
                  <a:pt x="1254" y="1074"/>
                </a:lnTo>
                <a:lnTo>
                  <a:pt x="1236" y="1074"/>
                </a:lnTo>
                <a:lnTo>
                  <a:pt x="1230" y="1074"/>
                </a:lnTo>
                <a:lnTo>
                  <a:pt x="1236" y="1074"/>
                </a:lnTo>
                <a:lnTo>
                  <a:pt x="1236" y="1068"/>
                </a:lnTo>
                <a:lnTo>
                  <a:pt x="1236" y="1062"/>
                </a:lnTo>
                <a:lnTo>
                  <a:pt x="1236" y="1056"/>
                </a:lnTo>
                <a:lnTo>
                  <a:pt x="1242" y="1050"/>
                </a:lnTo>
                <a:lnTo>
                  <a:pt x="1242" y="1044"/>
                </a:lnTo>
                <a:lnTo>
                  <a:pt x="1242" y="1038"/>
                </a:lnTo>
                <a:lnTo>
                  <a:pt x="1248" y="1032"/>
                </a:lnTo>
                <a:lnTo>
                  <a:pt x="1236" y="1026"/>
                </a:lnTo>
                <a:lnTo>
                  <a:pt x="1218" y="1020"/>
                </a:lnTo>
                <a:lnTo>
                  <a:pt x="1224" y="1014"/>
                </a:lnTo>
                <a:lnTo>
                  <a:pt x="1218" y="1008"/>
                </a:lnTo>
                <a:lnTo>
                  <a:pt x="1218" y="1002"/>
                </a:lnTo>
                <a:lnTo>
                  <a:pt x="1212" y="1008"/>
                </a:lnTo>
                <a:lnTo>
                  <a:pt x="1206" y="1002"/>
                </a:lnTo>
                <a:lnTo>
                  <a:pt x="1212" y="1002"/>
                </a:lnTo>
                <a:lnTo>
                  <a:pt x="1212" y="996"/>
                </a:lnTo>
                <a:lnTo>
                  <a:pt x="1200" y="990"/>
                </a:lnTo>
                <a:lnTo>
                  <a:pt x="1200" y="984"/>
                </a:lnTo>
                <a:lnTo>
                  <a:pt x="1188" y="984"/>
                </a:lnTo>
                <a:lnTo>
                  <a:pt x="1176" y="978"/>
                </a:lnTo>
                <a:lnTo>
                  <a:pt x="1164" y="960"/>
                </a:lnTo>
                <a:lnTo>
                  <a:pt x="1152" y="936"/>
                </a:lnTo>
                <a:lnTo>
                  <a:pt x="1146" y="936"/>
                </a:lnTo>
                <a:lnTo>
                  <a:pt x="1128" y="900"/>
                </a:lnTo>
                <a:lnTo>
                  <a:pt x="1038" y="912"/>
                </a:lnTo>
                <a:lnTo>
                  <a:pt x="1038" y="918"/>
                </a:lnTo>
                <a:lnTo>
                  <a:pt x="1032" y="924"/>
                </a:lnTo>
                <a:lnTo>
                  <a:pt x="1026" y="918"/>
                </a:lnTo>
                <a:lnTo>
                  <a:pt x="1020" y="924"/>
                </a:lnTo>
                <a:lnTo>
                  <a:pt x="1008" y="936"/>
                </a:lnTo>
                <a:lnTo>
                  <a:pt x="990" y="936"/>
                </a:lnTo>
                <a:lnTo>
                  <a:pt x="990" y="942"/>
                </a:lnTo>
                <a:lnTo>
                  <a:pt x="996" y="942"/>
                </a:lnTo>
                <a:lnTo>
                  <a:pt x="984" y="948"/>
                </a:lnTo>
                <a:lnTo>
                  <a:pt x="972" y="948"/>
                </a:lnTo>
                <a:lnTo>
                  <a:pt x="960" y="948"/>
                </a:lnTo>
                <a:lnTo>
                  <a:pt x="948" y="942"/>
                </a:lnTo>
                <a:lnTo>
                  <a:pt x="948" y="936"/>
                </a:lnTo>
                <a:lnTo>
                  <a:pt x="942" y="936"/>
                </a:lnTo>
                <a:lnTo>
                  <a:pt x="942" y="930"/>
                </a:lnTo>
                <a:lnTo>
                  <a:pt x="942" y="924"/>
                </a:lnTo>
                <a:lnTo>
                  <a:pt x="930" y="924"/>
                </a:lnTo>
                <a:lnTo>
                  <a:pt x="936" y="918"/>
                </a:lnTo>
                <a:lnTo>
                  <a:pt x="918" y="918"/>
                </a:lnTo>
                <a:lnTo>
                  <a:pt x="918" y="900"/>
                </a:lnTo>
                <a:lnTo>
                  <a:pt x="924" y="900"/>
                </a:lnTo>
                <a:lnTo>
                  <a:pt x="924" y="894"/>
                </a:lnTo>
                <a:lnTo>
                  <a:pt x="924" y="870"/>
                </a:lnTo>
                <a:lnTo>
                  <a:pt x="924" y="864"/>
                </a:lnTo>
                <a:lnTo>
                  <a:pt x="918" y="858"/>
                </a:lnTo>
                <a:lnTo>
                  <a:pt x="918" y="852"/>
                </a:lnTo>
                <a:lnTo>
                  <a:pt x="906" y="840"/>
                </a:lnTo>
                <a:lnTo>
                  <a:pt x="894" y="834"/>
                </a:lnTo>
                <a:lnTo>
                  <a:pt x="876" y="822"/>
                </a:lnTo>
                <a:lnTo>
                  <a:pt x="870" y="828"/>
                </a:lnTo>
                <a:lnTo>
                  <a:pt x="858" y="816"/>
                </a:lnTo>
                <a:lnTo>
                  <a:pt x="810" y="798"/>
                </a:lnTo>
                <a:lnTo>
                  <a:pt x="774" y="792"/>
                </a:lnTo>
                <a:lnTo>
                  <a:pt x="732" y="798"/>
                </a:lnTo>
                <a:lnTo>
                  <a:pt x="726" y="804"/>
                </a:lnTo>
                <a:lnTo>
                  <a:pt x="714" y="810"/>
                </a:lnTo>
                <a:lnTo>
                  <a:pt x="702" y="810"/>
                </a:lnTo>
                <a:lnTo>
                  <a:pt x="690" y="810"/>
                </a:lnTo>
                <a:lnTo>
                  <a:pt x="696" y="816"/>
                </a:lnTo>
                <a:lnTo>
                  <a:pt x="696" y="822"/>
                </a:lnTo>
                <a:lnTo>
                  <a:pt x="702" y="822"/>
                </a:lnTo>
                <a:lnTo>
                  <a:pt x="708" y="822"/>
                </a:lnTo>
                <a:lnTo>
                  <a:pt x="708" y="828"/>
                </a:lnTo>
                <a:lnTo>
                  <a:pt x="708" y="834"/>
                </a:lnTo>
                <a:lnTo>
                  <a:pt x="714" y="834"/>
                </a:lnTo>
                <a:lnTo>
                  <a:pt x="708" y="846"/>
                </a:lnTo>
                <a:lnTo>
                  <a:pt x="708" y="852"/>
                </a:lnTo>
                <a:lnTo>
                  <a:pt x="702" y="852"/>
                </a:lnTo>
                <a:lnTo>
                  <a:pt x="696" y="858"/>
                </a:lnTo>
                <a:lnTo>
                  <a:pt x="690" y="864"/>
                </a:lnTo>
                <a:lnTo>
                  <a:pt x="666" y="870"/>
                </a:lnTo>
                <a:lnTo>
                  <a:pt x="660" y="876"/>
                </a:lnTo>
                <a:lnTo>
                  <a:pt x="642" y="876"/>
                </a:lnTo>
                <a:lnTo>
                  <a:pt x="606" y="882"/>
                </a:lnTo>
                <a:lnTo>
                  <a:pt x="588" y="882"/>
                </a:lnTo>
                <a:lnTo>
                  <a:pt x="582" y="876"/>
                </a:lnTo>
                <a:lnTo>
                  <a:pt x="576" y="876"/>
                </a:lnTo>
                <a:lnTo>
                  <a:pt x="564" y="876"/>
                </a:lnTo>
                <a:lnTo>
                  <a:pt x="552" y="882"/>
                </a:lnTo>
                <a:lnTo>
                  <a:pt x="540" y="894"/>
                </a:lnTo>
                <a:lnTo>
                  <a:pt x="534" y="906"/>
                </a:lnTo>
                <a:lnTo>
                  <a:pt x="528" y="912"/>
                </a:lnTo>
                <a:lnTo>
                  <a:pt x="516" y="924"/>
                </a:lnTo>
                <a:lnTo>
                  <a:pt x="486" y="930"/>
                </a:lnTo>
                <a:lnTo>
                  <a:pt x="474" y="912"/>
                </a:lnTo>
                <a:lnTo>
                  <a:pt x="474" y="906"/>
                </a:lnTo>
                <a:lnTo>
                  <a:pt x="468" y="906"/>
                </a:lnTo>
                <a:lnTo>
                  <a:pt x="468" y="900"/>
                </a:lnTo>
                <a:lnTo>
                  <a:pt x="462" y="894"/>
                </a:lnTo>
                <a:lnTo>
                  <a:pt x="456" y="894"/>
                </a:lnTo>
                <a:lnTo>
                  <a:pt x="462" y="888"/>
                </a:lnTo>
                <a:lnTo>
                  <a:pt x="468" y="888"/>
                </a:lnTo>
                <a:lnTo>
                  <a:pt x="462" y="882"/>
                </a:lnTo>
                <a:lnTo>
                  <a:pt x="462" y="876"/>
                </a:lnTo>
                <a:lnTo>
                  <a:pt x="456" y="870"/>
                </a:lnTo>
                <a:lnTo>
                  <a:pt x="456" y="864"/>
                </a:lnTo>
                <a:lnTo>
                  <a:pt x="450" y="858"/>
                </a:lnTo>
                <a:lnTo>
                  <a:pt x="444" y="858"/>
                </a:lnTo>
                <a:lnTo>
                  <a:pt x="444" y="852"/>
                </a:lnTo>
                <a:lnTo>
                  <a:pt x="438" y="852"/>
                </a:lnTo>
                <a:lnTo>
                  <a:pt x="438" y="858"/>
                </a:lnTo>
                <a:lnTo>
                  <a:pt x="402" y="870"/>
                </a:lnTo>
                <a:lnTo>
                  <a:pt x="390" y="882"/>
                </a:lnTo>
                <a:lnTo>
                  <a:pt x="384" y="900"/>
                </a:lnTo>
                <a:lnTo>
                  <a:pt x="342" y="900"/>
                </a:lnTo>
                <a:lnTo>
                  <a:pt x="324" y="900"/>
                </a:lnTo>
                <a:lnTo>
                  <a:pt x="294" y="906"/>
                </a:lnTo>
                <a:lnTo>
                  <a:pt x="282" y="948"/>
                </a:lnTo>
                <a:lnTo>
                  <a:pt x="282" y="978"/>
                </a:lnTo>
                <a:lnTo>
                  <a:pt x="270" y="1008"/>
                </a:lnTo>
                <a:lnTo>
                  <a:pt x="240" y="1014"/>
                </a:lnTo>
                <a:lnTo>
                  <a:pt x="216" y="996"/>
                </a:lnTo>
                <a:lnTo>
                  <a:pt x="204" y="984"/>
                </a:lnTo>
                <a:lnTo>
                  <a:pt x="192" y="966"/>
                </a:lnTo>
                <a:lnTo>
                  <a:pt x="186" y="948"/>
                </a:lnTo>
                <a:lnTo>
                  <a:pt x="174" y="948"/>
                </a:lnTo>
                <a:lnTo>
                  <a:pt x="174" y="936"/>
                </a:lnTo>
                <a:lnTo>
                  <a:pt x="186" y="924"/>
                </a:lnTo>
                <a:lnTo>
                  <a:pt x="198" y="906"/>
                </a:lnTo>
                <a:lnTo>
                  <a:pt x="204" y="888"/>
                </a:lnTo>
                <a:lnTo>
                  <a:pt x="222" y="870"/>
                </a:lnTo>
                <a:lnTo>
                  <a:pt x="234" y="858"/>
                </a:lnTo>
                <a:lnTo>
                  <a:pt x="234" y="852"/>
                </a:lnTo>
                <a:lnTo>
                  <a:pt x="222" y="852"/>
                </a:lnTo>
                <a:lnTo>
                  <a:pt x="228" y="810"/>
                </a:lnTo>
                <a:lnTo>
                  <a:pt x="222" y="798"/>
                </a:lnTo>
                <a:lnTo>
                  <a:pt x="216" y="798"/>
                </a:lnTo>
                <a:lnTo>
                  <a:pt x="216" y="792"/>
                </a:lnTo>
                <a:lnTo>
                  <a:pt x="210" y="792"/>
                </a:lnTo>
                <a:lnTo>
                  <a:pt x="204" y="798"/>
                </a:lnTo>
                <a:lnTo>
                  <a:pt x="204" y="792"/>
                </a:lnTo>
                <a:lnTo>
                  <a:pt x="198" y="792"/>
                </a:lnTo>
                <a:lnTo>
                  <a:pt x="192" y="792"/>
                </a:lnTo>
                <a:lnTo>
                  <a:pt x="186" y="792"/>
                </a:lnTo>
                <a:lnTo>
                  <a:pt x="180" y="786"/>
                </a:lnTo>
                <a:lnTo>
                  <a:pt x="174" y="792"/>
                </a:lnTo>
                <a:lnTo>
                  <a:pt x="162" y="792"/>
                </a:lnTo>
                <a:lnTo>
                  <a:pt x="156" y="792"/>
                </a:lnTo>
                <a:lnTo>
                  <a:pt x="156" y="798"/>
                </a:lnTo>
                <a:lnTo>
                  <a:pt x="138" y="792"/>
                </a:lnTo>
                <a:lnTo>
                  <a:pt x="126" y="792"/>
                </a:lnTo>
                <a:lnTo>
                  <a:pt x="126" y="798"/>
                </a:lnTo>
                <a:lnTo>
                  <a:pt x="126" y="804"/>
                </a:lnTo>
                <a:lnTo>
                  <a:pt x="102" y="810"/>
                </a:lnTo>
                <a:lnTo>
                  <a:pt x="90" y="810"/>
                </a:lnTo>
                <a:lnTo>
                  <a:pt x="72" y="798"/>
                </a:lnTo>
                <a:lnTo>
                  <a:pt x="66" y="780"/>
                </a:lnTo>
                <a:lnTo>
                  <a:pt x="60" y="780"/>
                </a:lnTo>
                <a:lnTo>
                  <a:pt x="60" y="768"/>
                </a:lnTo>
                <a:lnTo>
                  <a:pt x="54" y="768"/>
                </a:lnTo>
                <a:lnTo>
                  <a:pt x="24" y="756"/>
                </a:lnTo>
                <a:lnTo>
                  <a:pt x="18" y="744"/>
                </a:lnTo>
                <a:lnTo>
                  <a:pt x="12" y="738"/>
                </a:lnTo>
                <a:lnTo>
                  <a:pt x="18" y="732"/>
                </a:lnTo>
                <a:lnTo>
                  <a:pt x="12" y="726"/>
                </a:lnTo>
                <a:lnTo>
                  <a:pt x="6" y="714"/>
                </a:lnTo>
                <a:lnTo>
                  <a:pt x="0" y="702"/>
                </a:lnTo>
                <a:lnTo>
                  <a:pt x="0" y="696"/>
                </a:lnTo>
                <a:lnTo>
                  <a:pt x="18" y="696"/>
                </a:lnTo>
                <a:lnTo>
                  <a:pt x="24" y="708"/>
                </a:lnTo>
                <a:lnTo>
                  <a:pt x="36" y="702"/>
                </a:lnTo>
                <a:lnTo>
                  <a:pt x="36" y="678"/>
                </a:lnTo>
                <a:lnTo>
                  <a:pt x="36" y="660"/>
                </a:lnTo>
                <a:lnTo>
                  <a:pt x="42" y="654"/>
                </a:lnTo>
                <a:lnTo>
                  <a:pt x="48" y="642"/>
                </a:lnTo>
                <a:lnTo>
                  <a:pt x="54" y="642"/>
                </a:lnTo>
                <a:lnTo>
                  <a:pt x="72" y="624"/>
                </a:lnTo>
                <a:lnTo>
                  <a:pt x="90" y="618"/>
                </a:lnTo>
                <a:lnTo>
                  <a:pt x="102" y="618"/>
                </a:lnTo>
                <a:lnTo>
                  <a:pt x="114" y="612"/>
                </a:lnTo>
                <a:lnTo>
                  <a:pt x="138" y="606"/>
                </a:lnTo>
                <a:lnTo>
                  <a:pt x="144" y="606"/>
                </a:lnTo>
                <a:lnTo>
                  <a:pt x="150" y="594"/>
                </a:lnTo>
                <a:lnTo>
                  <a:pt x="156" y="576"/>
                </a:lnTo>
                <a:lnTo>
                  <a:pt x="168" y="552"/>
                </a:lnTo>
                <a:lnTo>
                  <a:pt x="168" y="540"/>
                </a:lnTo>
                <a:lnTo>
                  <a:pt x="180" y="522"/>
                </a:lnTo>
                <a:lnTo>
                  <a:pt x="186" y="498"/>
                </a:lnTo>
                <a:lnTo>
                  <a:pt x="198" y="480"/>
                </a:lnTo>
                <a:lnTo>
                  <a:pt x="204" y="486"/>
                </a:lnTo>
                <a:lnTo>
                  <a:pt x="210" y="480"/>
                </a:lnTo>
                <a:lnTo>
                  <a:pt x="204" y="474"/>
                </a:lnTo>
                <a:lnTo>
                  <a:pt x="198" y="462"/>
                </a:lnTo>
                <a:lnTo>
                  <a:pt x="192" y="456"/>
                </a:lnTo>
                <a:lnTo>
                  <a:pt x="150" y="462"/>
                </a:lnTo>
                <a:lnTo>
                  <a:pt x="144" y="462"/>
                </a:lnTo>
                <a:lnTo>
                  <a:pt x="138" y="450"/>
                </a:lnTo>
                <a:lnTo>
                  <a:pt x="132" y="426"/>
                </a:lnTo>
                <a:lnTo>
                  <a:pt x="132" y="396"/>
                </a:lnTo>
                <a:lnTo>
                  <a:pt x="132" y="378"/>
                </a:lnTo>
                <a:lnTo>
                  <a:pt x="126" y="348"/>
                </a:lnTo>
                <a:lnTo>
                  <a:pt x="132" y="312"/>
                </a:lnTo>
                <a:lnTo>
                  <a:pt x="126" y="288"/>
                </a:lnTo>
                <a:lnTo>
                  <a:pt x="138" y="282"/>
                </a:lnTo>
                <a:lnTo>
                  <a:pt x="126" y="264"/>
                </a:lnTo>
                <a:lnTo>
                  <a:pt x="126" y="258"/>
                </a:lnTo>
                <a:lnTo>
                  <a:pt x="120" y="246"/>
                </a:lnTo>
                <a:lnTo>
                  <a:pt x="126" y="234"/>
                </a:lnTo>
                <a:lnTo>
                  <a:pt x="114" y="228"/>
                </a:lnTo>
                <a:lnTo>
                  <a:pt x="114" y="222"/>
                </a:lnTo>
                <a:lnTo>
                  <a:pt x="96" y="204"/>
                </a:lnTo>
                <a:lnTo>
                  <a:pt x="84" y="180"/>
                </a:lnTo>
                <a:lnTo>
                  <a:pt x="78" y="168"/>
                </a:lnTo>
                <a:lnTo>
                  <a:pt x="72" y="162"/>
                </a:lnTo>
                <a:lnTo>
                  <a:pt x="66" y="144"/>
                </a:lnTo>
                <a:lnTo>
                  <a:pt x="60" y="138"/>
                </a:lnTo>
                <a:lnTo>
                  <a:pt x="66" y="126"/>
                </a:lnTo>
                <a:lnTo>
                  <a:pt x="66" y="114"/>
                </a:lnTo>
                <a:lnTo>
                  <a:pt x="72" y="114"/>
                </a:lnTo>
                <a:lnTo>
                  <a:pt x="72" y="108"/>
                </a:lnTo>
                <a:lnTo>
                  <a:pt x="78" y="102"/>
                </a:lnTo>
                <a:lnTo>
                  <a:pt x="78" y="90"/>
                </a:lnTo>
                <a:lnTo>
                  <a:pt x="78" y="84"/>
                </a:lnTo>
                <a:lnTo>
                  <a:pt x="84" y="72"/>
                </a:lnTo>
                <a:lnTo>
                  <a:pt x="102" y="72"/>
                </a:lnTo>
                <a:lnTo>
                  <a:pt x="108" y="72"/>
                </a:lnTo>
                <a:lnTo>
                  <a:pt x="120" y="78"/>
                </a:lnTo>
                <a:lnTo>
                  <a:pt x="144" y="84"/>
                </a:lnTo>
                <a:lnTo>
                  <a:pt x="150" y="84"/>
                </a:lnTo>
                <a:lnTo>
                  <a:pt x="156" y="84"/>
                </a:lnTo>
                <a:lnTo>
                  <a:pt x="156" y="90"/>
                </a:lnTo>
                <a:lnTo>
                  <a:pt x="162" y="90"/>
                </a:lnTo>
                <a:lnTo>
                  <a:pt x="174" y="96"/>
                </a:lnTo>
                <a:lnTo>
                  <a:pt x="180" y="96"/>
                </a:lnTo>
                <a:lnTo>
                  <a:pt x="186" y="96"/>
                </a:lnTo>
                <a:lnTo>
                  <a:pt x="192" y="102"/>
                </a:lnTo>
                <a:lnTo>
                  <a:pt x="198" y="96"/>
                </a:lnTo>
                <a:lnTo>
                  <a:pt x="204" y="96"/>
                </a:lnTo>
                <a:lnTo>
                  <a:pt x="204" y="102"/>
                </a:lnTo>
                <a:lnTo>
                  <a:pt x="210" y="102"/>
                </a:lnTo>
                <a:lnTo>
                  <a:pt x="216" y="102"/>
                </a:lnTo>
                <a:lnTo>
                  <a:pt x="216" y="96"/>
                </a:lnTo>
                <a:lnTo>
                  <a:pt x="222" y="96"/>
                </a:lnTo>
                <a:lnTo>
                  <a:pt x="228" y="96"/>
                </a:lnTo>
                <a:lnTo>
                  <a:pt x="228" y="102"/>
                </a:lnTo>
                <a:lnTo>
                  <a:pt x="234" y="102"/>
                </a:lnTo>
                <a:lnTo>
                  <a:pt x="240" y="102"/>
                </a:lnTo>
                <a:lnTo>
                  <a:pt x="252" y="102"/>
                </a:lnTo>
                <a:lnTo>
                  <a:pt x="252" y="108"/>
                </a:lnTo>
                <a:lnTo>
                  <a:pt x="264" y="108"/>
                </a:lnTo>
                <a:lnTo>
                  <a:pt x="270" y="108"/>
                </a:lnTo>
                <a:lnTo>
                  <a:pt x="276" y="108"/>
                </a:lnTo>
                <a:lnTo>
                  <a:pt x="294" y="114"/>
                </a:lnTo>
                <a:lnTo>
                  <a:pt x="312" y="120"/>
                </a:lnTo>
                <a:lnTo>
                  <a:pt x="318" y="126"/>
                </a:lnTo>
                <a:lnTo>
                  <a:pt x="330" y="132"/>
                </a:lnTo>
                <a:lnTo>
                  <a:pt x="342" y="132"/>
                </a:lnTo>
                <a:lnTo>
                  <a:pt x="348" y="132"/>
                </a:lnTo>
                <a:lnTo>
                  <a:pt x="354" y="138"/>
                </a:lnTo>
                <a:lnTo>
                  <a:pt x="366" y="138"/>
                </a:lnTo>
                <a:lnTo>
                  <a:pt x="372" y="144"/>
                </a:lnTo>
                <a:lnTo>
                  <a:pt x="378" y="150"/>
                </a:lnTo>
                <a:lnTo>
                  <a:pt x="384" y="150"/>
                </a:lnTo>
                <a:lnTo>
                  <a:pt x="390" y="150"/>
                </a:lnTo>
                <a:lnTo>
                  <a:pt x="396" y="150"/>
                </a:lnTo>
                <a:lnTo>
                  <a:pt x="402" y="150"/>
                </a:lnTo>
                <a:lnTo>
                  <a:pt x="414" y="156"/>
                </a:lnTo>
                <a:lnTo>
                  <a:pt x="420" y="156"/>
                </a:lnTo>
                <a:lnTo>
                  <a:pt x="426" y="162"/>
                </a:lnTo>
                <a:lnTo>
                  <a:pt x="438" y="168"/>
                </a:lnTo>
                <a:lnTo>
                  <a:pt x="444" y="174"/>
                </a:lnTo>
                <a:lnTo>
                  <a:pt x="450" y="174"/>
                </a:lnTo>
                <a:lnTo>
                  <a:pt x="462" y="174"/>
                </a:lnTo>
                <a:lnTo>
                  <a:pt x="468" y="174"/>
                </a:lnTo>
                <a:lnTo>
                  <a:pt x="474" y="174"/>
                </a:lnTo>
                <a:lnTo>
                  <a:pt x="474" y="180"/>
                </a:lnTo>
                <a:lnTo>
                  <a:pt x="480" y="192"/>
                </a:lnTo>
                <a:lnTo>
                  <a:pt x="498" y="198"/>
                </a:lnTo>
                <a:lnTo>
                  <a:pt x="510" y="210"/>
                </a:lnTo>
                <a:lnTo>
                  <a:pt x="516" y="210"/>
                </a:lnTo>
                <a:lnTo>
                  <a:pt x="522" y="210"/>
                </a:lnTo>
                <a:lnTo>
                  <a:pt x="534" y="216"/>
                </a:lnTo>
                <a:lnTo>
                  <a:pt x="540" y="216"/>
                </a:lnTo>
                <a:lnTo>
                  <a:pt x="546" y="222"/>
                </a:lnTo>
                <a:lnTo>
                  <a:pt x="552" y="222"/>
                </a:lnTo>
                <a:lnTo>
                  <a:pt x="558" y="228"/>
                </a:lnTo>
                <a:lnTo>
                  <a:pt x="564" y="228"/>
                </a:lnTo>
                <a:lnTo>
                  <a:pt x="570" y="234"/>
                </a:lnTo>
                <a:lnTo>
                  <a:pt x="576" y="240"/>
                </a:lnTo>
                <a:lnTo>
                  <a:pt x="582" y="240"/>
                </a:lnTo>
                <a:lnTo>
                  <a:pt x="588" y="240"/>
                </a:lnTo>
                <a:lnTo>
                  <a:pt x="594" y="240"/>
                </a:lnTo>
                <a:lnTo>
                  <a:pt x="600" y="228"/>
                </a:lnTo>
                <a:lnTo>
                  <a:pt x="588" y="216"/>
                </a:lnTo>
                <a:lnTo>
                  <a:pt x="588" y="198"/>
                </a:lnTo>
                <a:lnTo>
                  <a:pt x="582" y="198"/>
                </a:lnTo>
                <a:lnTo>
                  <a:pt x="588" y="192"/>
                </a:lnTo>
                <a:lnTo>
                  <a:pt x="582" y="168"/>
                </a:lnTo>
                <a:lnTo>
                  <a:pt x="558" y="114"/>
                </a:lnTo>
                <a:lnTo>
                  <a:pt x="552" y="90"/>
                </a:lnTo>
                <a:lnTo>
                  <a:pt x="558" y="60"/>
                </a:lnTo>
                <a:lnTo>
                  <a:pt x="564" y="48"/>
                </a:lnTo>
                <a:lnTo>
                  <a:pt x="582" y="42"/>
                </a:lnTo>
                <a:lnTo>
                  <a:pt x="624" y="6"/>
                </a:lnTo>
                <a:lnTo>
                  <a:pt x="648" y="0"/>
                </a:lnTo>
                <a:lnTo>
                  <a:pt x="678" y="0"/>
                </a:lnTo>
                <a:lnTo>
                  <a:pt x="720" y="12"/>
                </a:lnTo>
                <a:lnTo>
                  <a:pt x="744" y="24"/>
                </a:lnTo>
                <a:lnTo>
                  <a:pt x="768" y="42"/>
                </a:lnTo>
                <a:lnTo>
                  <a:pt x="816" y="48"/>
                </a:lnTo>
                <a:lnTo>
                  <a:pt x="834" y="48"/>
                </a:lnTo>
                <a:lnTo>
                  <a:pt x="852" y="54"/>
                </a:lnTo>
                <a:lnTo>
                  <a:pt x="906" y="60"/>
                </a:lnTo>
                <a:lnTo>
                  <a:pt x="948" y="54"/>
                </a:lnTo>
                <a:lnTo>
                  <a:pt x="978" y="42"/>
                </a:lnTo>
                <a:lnTo>
                  <a:pt x="984" y="48"/>
                </a:lnTo>
                <a:lnTo>
                  <a:pt x="990" y="60"/>
                </a:lnTo>
                <a:lnTo>
                  <a:pt x="996" y="66"/>
                </a:lnTo>
                <a:lnTo>
                  <a:pt x="1002" y="72"/>
                </a:lnTo>
                <a:lnTo>
                  <a:pt x="1014" y="78"/>
                </a:lnTo>
                <a:lnTo>
                  <a:pt x="1014" y="84"/>
                </a:lnTo>
                <a:lnTo>
                  <a:pt x="1032" y="84"/>
                </a:lnTo>
                <a:lnTo>
                  <a:pt x="1032" y="90"/>
                </a:lnTo>
                <a:lnTo>
                  <a:pt x="1032" y="96"/>
                </a:lnTo>
                <a:lnTo>
                  <a:pt x="1032" y="108"/>
                </a:lnTo>
                <a:lnTo>
                  <a:pt x="1056" y="126"/>
                </a:lnTo>
                <a:lnTo>
                  <a:pt x="1068" y="138"/>
                </a:lnTo>
                <a:lnTo>
                  <a:pt x="1068" y="156"/>
                </a:lnTo>
                <a:lnTo>
                  <a:pt x="1080" y="150"/>
                </a:lnTo>
                <a:lnTo>
                  <a:pt x="1086" y="150"/>
                </a:lnTo>
                <a:lnTo>
                  <a:pt x="1092" y="156"/>
                </a:lnTo>
                <a:lnTo>
                  <a:pt x="1092" y="162"/>
                </a:lnTo>
                <a:lnTo>
                  <a:pt x="1092" y="168"/>
                </a:lnTo>
                <a:lnTo>
                  <a:pt x="1098" y="168"/>
                </a:lnTo>
                <a:lnTo>
                  <a:pt x="1092" y="180"/>
                </a:lnTo>
                <a:lnTo>
                  <a:pt x="1092" y="186"/>
                </a:lnTo>
                <a:lnTo>
                  <a:pt x="1086" y="192"/>
                </a:lnTo>
                <a:lnTo>
                  <a:pt x="1068" y="210"/>
                </a:lnTo>
                <a:lnTo>
                  <a:pt x="1068" y="216"/>
                </a:lnTo>
                <a:lnTo>
                  <a:pt x="1074" y="228"/>
                </a:lnTo>
                <a:lnTo>
                  <a:pt x="1092" y="234"/>
                </a:lnTo>
                <a:lnTo>
                  <a:pt x="1122" y="216"/>
                </a:lnTo>
                <a:lnTo>
                  <a:pt x="1188" y="204"/>
                </a:lnTo>
                <a:lnTo>
                  <a:pt x="1212" y="204"/>
                </a:lnTo>
                <a:lnTo>
                  <a:pt x="1230" y="198"/>
                </a:lnTo>
                <a:lnTo>
                  <a:pt x="1236" y="204"/>
                </a:lnTo>
                <a:lnTo>
                  <a:pt x="1242" y="210"/>
                </a:lnTo>
                <a:lnTo>
                  <a:pt x="1242" y="204"/>
                </a:lnTo>
                <a:lnTo>
                  <a:pt x="1248" y="198"/>
                </a:lnTo>
                <a:lnTo>
                  <a:pt x="1308" y="204"/>
                </a:lnTo>
                <a:lnTo>
                  <a:pt x="1338" y="204"/>
                </a:lnTo>
                <a:lnTo>
                  <a:pt x="1374" y="228"/>
                </a:lnTo>
                <a:lnTo>
                  <a:pt x="1380" y="234"/>
                </a:lnTo>
                <a:lnTo>
                  <a:pt x="1380" y="240"/>
                </a:lnTo>
                <a:lnTo>
                  <a:pt x="1386" y="252"/>
                </a:lnTo>
                <a:lnTo>
                  <a:pt x="1392" y="252"/>
                </a:lnTo>
                <a:lnTo>
                  <a:pt x="1416" y="270"/>
                </a:lnTo>
                <a:lnTo>
                  <a:pt x="1428" y="294"/>
                </a:lnTo>
                <a:lnTo>
                  <a:pt x="1440" y="312"/>
                </a:lnTo>
                <a:lnTo>
                  <a:pt x="1452" y="330"/>
                </a:lnTo>
                <a:lnTo>
                  <a:pt x="1464" y="330"/>
                </a:lnTo>
                <a:lnTo>
                  <a:pt x="1464" y="336"/>
                </a:lnTo>
                <a:lnTo>
                  <a:pt x="1470" y="336"/>
                </a:lnTo>
                <a:lnTo>
                  <a:pt x="1470" y="342"/>
                </a:lnTo>
                <a:lnTo>
                  <a:pt x="1476" y="342"/>
                </a:lnTo>
                <a:lnTo>
                  <a:pt x="1488" y="336"/>
                </a:lnTo>
                <a:lnTo>
                  <a:pt x="1494" y="342"/>
                </a:lnTo>
                <a:lnTo>
                  <a:pt x="1500" y="342"/>
                </a:lnTo>
                <a:lnTo>
                  <a:pt x="1512" y="366"/>
                </a:lnTo>
                <a:lnTo>
                  <a:pt x="1530" y="396"/>
                </a:lnTo>
                <a:lnTo>
                  <a:pt x="1536" y="444"/>
                </a:lnTo>
                <a:lnTo>
                  <a:pt x="1530" y="480"/>
                </a:lnTo>
                <a:lnTo>
                  <a:pt x="1506" y="510"/>
                </a:lnTo>
                <a:lnTo>
                  <a:pt x="1500" y="546"/>
                </a:lnTo>
                <a:lnTo>
                  <a:pt x="1494" y="564"/>
                </a:lnTo>
                <a:lnTo>
                  <a:pt x="1494" y="576"/>
                </a:lnTo>
                <a:lnTo>
                  <a:pt x="1500" y="582"/>
                </a:lnTo>
                <a:lnTo>
                  <a:pt x="1494" y="612"/>
                </a:lnTo>
                <a:lnTo>
                  <a:pt x="1476" y="630"/>
                </a:lnTo>
                <a:lnTo>
                  <a:pt x="1434" y="672"/>
                </a:lnTo>
                <a:lnTo>
                  <a:pt x="1392" y="756"/>
                </a:lnTo>
                <a:lnTo>
                  <a:pt x="1380" y="792"/>
                </a:lnTo>
                <a:lnTo>
                  <a:pt x="1374" y="798"/>
                </a:lnTo>
                <a:lnTo>
                  <a:pt x="1368" y="798"/>
                </a:lnTo>
                <a:lnTo>
                  <a:pt x="1380" y="804"/>
                </a:lnTo>
                <a:lnTo>
                  <a:pt x="1386" y="804"/>
                </a:lnTo>
                <a:lnTo>
                  <a:pt x="1380" y="822"/>
                </a:lnTo>
                <a:lnTo>
                  <a:pt x="1380" y="852"/>
                </a:lnTo>
                <a:lnTo>
                  <a:pt x="1374" y="858"/>
                </a:lnTo>
                <a:lnTo>
                  <a:pt x="1380" y="858"/>
                </a:lnTo>
                <a:lnTo>
                  <a:pt x="1374" y="864"/>
                </a:lnTo>
                <a:lnTo>
                  <a:pt x="1374" y="870"/>
                </a:lnTo>
                <a:lnTo>
                  <a:pt x="1374" y="876"/>
                </a:lnTo>
                <a:lnTo>
                  <a:pt x="1368" y="900"/>
                </a:lnTo>
                <a:lnTo>
                  <a:pt x="1362" y="906"/>
                </a:lnTo>
                <a:lnTo>
                  <a:pt x="1362" y="918"/>
                </a:lnTo>
                <a:lnTo>
                  <a:pt x="1362" y="924"/>
                </a:lnTo>
                <a:lnTo>
                  <a:pt x="1356" y="942"/>
                </a:lnTo>
                <a:lnTo>
                  <a:pt x="1350" y="972"/>
                </a:lnTo>
                <a:lnTo>
                  <a:pt x="1350" y="1014"/>
                </a:lnTo>
                <a:lnTo>
                  <a:pt x="1350" y="1020"/>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20503" name="Freeform 19"/>
          <p:cNvSpPr>
            <a:spLocks noEditPoints="1"/>
          </p:cNvSpPr>
          <p:nvPr/>
        </p:nvSpPr>
        <p:spPr bwMode="gray">
          <a:xfrm>
            <a:off x="4017963" y="5108575"/>
            <a:ext cx="820737" cy="1241425"/>
          </a:xfrm>
          <a:custGeom>
            <a:avLst/>
            <a:gdLst>
              <a:gd name="T0" fmla="*/ 9422 w 1044"/>
              <a:gd name="T1" fmla="*/ 76553 h 1542"/>
              <a:gd name="T2" fmla="*/ 5496 w 1044"/>
              <a:gd name="T3" fmla="*/ 74941 h 1542"/>
              <a:gd name="T4" fmla="*/ 0 w 1044"/>
              <a:gd name="T5" fmla="*/ 70912 h 1542"/>
              <a:gd name="T6" fmla="*/ 2356 w 1044"/>
              <a:gd name="T7" fmla="*/ 59630 h 1542"/>
              <a:gd name="T8" fmla="*/ 3141 w 1044"/>
              <a:gd name="T9" fmla="*/ 47543 h 1542"/>
              <a:gd name="T10" fmla="*/ 5496 w 1044"/>
              <a:gd name="T11" fmla="*/ 41902 h 1542"/>
              <a:gd name="T12" fmla="*/ 15704 w 1044"/>
              <a:gd name="T13" fmla="*/ 40291 h 1542"/>
              <a:gd name="T14" fmla="*/ 18845 w 1044"/>
              <a:gd name="T15" fmla="*/ 37068 h 1542"/>
              <a:gd name="T16" fmla="*/ 22770 w 1044"/>
              <a:gd name="T17" fmla="*/ 26592 h 1542"/>
              <a:gd name="T18" fmla="*/ 25126 w 1044"/>
              <a:gd name="T19" fmla="*/ 20951 h 1542"/>
              <a:gd name="T20" fmla="*/ 23556 w 1044"/>
              <a:gd name="T21" fmla="*/ 16116 h 1542"/>
              <a:gd name="T22" fmla="*/ 20415 w 1044"/>
              <a:gd name="T23" fmla="*/ 13699 h 1542"/>
              <a:gd name="T24" fmla="*/ 21985 w 1044"/>
              <a:gd name="T25" fmla="*/ 9670 h 1542"/>
              <a:gd name="T26" fmla="*/ 34548 w 1044"/>
              <a:gd name="T27" fmla="*/ 4029 h 1542"/>
              <a:gd name="T28" fmla="*/ 44756 w 1044"/>
              <a:gd name="T29" fmla="*/ 1612 h 1542"/>
              <a:gd name="T30" fmla="*/ 51037 w 1044"/>
              <a:gd name="T31" fmla="*/ 9670 h 1542"/>
              <a:gd name="T32" fmla="*/ 63600 w 1044"/>
              <a:gd name="T33" fmla="*/ 7252 h 1542"/>
              <a:gd name="T34" fmla="*/ 71452 w 1044"/>
              <a:gd name="T35" fmla="*/ 16116 h 1542"/>
              <a:gd name="T36" fmla="*/ 69882 w 1044"/>
              <a:gd name="T37" fmla="*/ 22563 h 1542"/>
              <a:gd name="T38" fmla="*/ 65171 w 1044"/>
              <a:gd name="T39" fmla="*/ 26592 h 1542"/>
              <a:gd name="T40" fmla="*/ 58104 w 1044"/>
              <a:gd name="T41" fmla="*/ 33844 h 1542"/>
              <a:gd name="T42" fmla="*/ 45541 w 1044"/>
              <a:gd name="T43" fmla="*/ 45932 h 1542"/>
              <a:gd name="T44" fmla="*/ 42400 w 1044"/>
              <a:gd name="T45" fmla="*/ 52378 h 1542"/>
              <a:gd name="T46" fmla="*/ 46326 w 1044"/>
              <a:gd name="T47" fmla="*/ 59630 h 1542"/>
              <a:gd name="T48" fmla="*/ 43185 w 1044"/>
              <a:gd name="T49" fmla="*/ 67689 h 1542"/>
              <a:gd name="T50" fmla="*/ 40830 w 1044"/>
              <a:gd name="T51" fmla="*/ 78970 h 1542"/>
              <a:gd name="T52" fmla="*/ 36904 w 1044"/>
              <a:gd name="T53" fmla="*/ 84611 h 1542"/>
              <a:gd name="T54" fmla="*/ 32978 w 1044"/>
              <a:gd name="T55" fmla="*/ 89446 h 1542"/>
              <a:gd name="T56" fmla="*/ 33763 w 1044"/>
              <a:gd name="T57" fmla="*/ 96698 h 1542"/>
              <a:gd name="T58" fmla="*/ 35333 w 1044"/>
              <a:gd name="T59" fmla="*/ 100727 h 1542"/>
              <a:gd name="T60" fmla="*/ 34548 w 1044"/>
              <a:gd name="T61" fmla="*/ 104756 h 1542"/>
              <a:gd name="T62" fmla="*/ 35333 w 1044"/>
              <a:gd name="T63" fmla="*/ 105562 h 1542"/>
              <a:gd name="T64" fmla="*/ 37689 w 1044"/>
              <a:gd name="T65" fmla="*/ 107174 h 1542"/>
              <a:gd name="T66" fmla="*/ 30622 w 1044"/>
              <a:gd name="T67" fmla="*/ 107174 h 1542"/>
              <a:gd name="T68" fmla="*/ 32978 w 1044"/>
              <a:gd name="T69" fmla="*/ 106368 h 1542"/>
              <a:gd name="T70" fmla="*/ 29837 w 1044"/>
              <a:gd name="T71" fmla="*/ 107174 h 1542"/>
              <a:gd name="T72" fmla="*/ 29052 w 1044"/>
              <a:gd name="T73" fmla="*/ 103950 h 1542"/>
              <a:gd name="T74" fmla="*/ 31408 w 1044"/>
              <a:gd name="T75" fmla="*/ 100727 h 1542"/>
              <a:gd name="T76" fmla="*/ 31408 w 1044"/>
              <a:gd name="T77" fmla="*/ 96698 h 1542"/>
              <a:gd name="T78" fmla="*/ 31408 w 1044"/>
              <a:gd name="T79" fmla="*/ 94281 h 1542"/>
              <a:gd name="T80" fmla="*/ 29052 w 1044"/>
              <a:gd name="T81" fmla="*/ 96698 h 1542"/>
              <a:gd name="T82" fmla="*/ 26696 w 1044"/>
              <a:gd name="T83" fmla="*/ 98310 h 1542"/>
              <a:gd name="T84" fmla="*/ 28267 w 1044"/>
              <a:gd name="T85" fmla="*/ 96698 h 1542"/>
              <a:gd name="T86" fmla="*/ 23556 w 1044"/>
              <a:gd name="T87" fmla="*/ 96698 h 1542"/>
              <a:gd name="T88" fmla="*/ 24341 w 1044"/>
              <a:gd name="T89" fmla="*/ 91057 h 1542"/>
              <a:gd name="T90" fmla="*/ 22770 w 1044"/>
              <a:gd name="T91" fmla="*/ 90252 h 1542"/>
              <a:gd name="T92" fmla="*/ 24341 w 1044"/>
              <a:gd name="T93" fmla="*/ 94281 h 1542"/>
              <a:gd name="T94" fmla="*/ 21200 w 1044"/>
              <a:gd name="T95" fmla="*/ 93475 h 1542"/>
              <a:gd name="T96" fmla="*/ 19630 w 1044"/>
              <a:gd name="T97" fmla="*/ 90252 h 1542"/>
              <a:gd name="T98" fmla="*/ 16489 w 1044"/>
              <a:gd name="T99" fmla="*/ 87834 h 1542"/>
              <a:gd name="T100" fmla="*/ 16489 w 1044"/>
              <a:gd name="T101" fmla="*/ 91057 h 1542"/>
              <a:gd name="T102" fmla="*/ 31408 w 1044"/>
              <a:gd name="T103" fmla="*/ 96698 h 1542"/>
              <a:gd name="T104" fmla="*/ 31408 w 1044"/>
              <a:gd name="T105" fmla="*/ 97504 h 1542"/>
              <a:gd name="T106" fmla="*/ 31408 w 1044"/>
              <a:gd name="T107" fmla="*/ 93475 h 1542"/>
              <a:gd name="T108" fmla="*/ 29837 w 1044"/>
              <a:gd name="T109" fmla="*/ 96698 h 1542"/>
              <a:gd name="T110" fmla="*/ 18059 w 1044"/>
              <a:gd name="T111" fmla="*/ 88640 h 1542"/>
              <a:gd name="T112" fmla="*/ 29052 w 1044"/>
              <a:gd name="T113" fmla="*/ 99921 h 1542"/>
              <a:gd name="T114" fmla="*/ 31408 w 1044"/>
              <a:gd name="T115" fmla="*/ 100727 h 1542"/>
              <a:gd name="T116" fmla="*/ 29837 w 1044"/>
              <a:gd name="T117" fmla="*/ 103145 h 1542"/>
              <a:gd name="T118" fmla="*/ 19630 w 1044"/>
              <a:gd name="T119" fmla="*/ 94281 h 1542"/>
              <a:gd name="T120" fmla="*/ 21200 w 1044"/>
              <a:gd name="T121" fmla="*/ 102339 h 1542"/>
              <a:gd name="T122" fmla="*/ 18845 w 1044"/>
              <a:gd name="T123" fmla="*/ 91057 h 15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44"/>
              <a:gd name="T187" fmla="*/ 0 h 1542"/>
              <a:gd name="T188" fmla="*/ 1044 w 1044"/>
              <a:gd name="T189" fmla="*/ 1542 h 15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44" h="1542">
                <a:moveTo>
                  <a:pt x="234" y="1278"/>
                </a:moveTo>
                <a:lnTo>
                  <a:pt x="228" y="1272"/>
                </a:lnTo>
                <a:lnTo>
                  <a:pt x="222" y="1266"/>
                </a:lnTo>
                <a:lnTo>
                  <a:pt x="222" y="1260"/>
                </a:lnTo>
                <a:lnTo>
                  <a:pt x="204" y="1248"/>
                </a:lnTo>
                <a:lnTo>
                  <a:pt x="192" y="1248"/>
                </a:lnTo>
                <a:lnTo>
                  <a:pt x="186" y="1236"/>
                </a:lnTo>
                <a:lnTo>
                  <a:pt x="174" y="1218"/>
                </a:lnTo>
                <a:lnTo>
                  <a:pt x="162" y="1194"/>
                </a:lnTo>
                <a:lnTo>
                  <a:pt x="156" y="1182"/>
                </a:lnTo>
                <a:lnTo>
                  <a:pt x="162" y="1146"/>
                </a:lnTo>
                <a:lnTo>
                  <a:pt x="156" y="1134"/>
                </a:lnTo>
                <a:lnTo>
                  <a:pt x="138" y="1122"/>
                </a:lnTo>
                <a:lnTo>
                  <a:pt x="132" y="1116"/>
                </a:lnTo>
                <a:lnTo>
                  <a:pt x="138" y="1098"/>
                </a:lnTo>
                <a:lnTo>
                  <a:pt x="138" y="1092"/>
                </a:lnTo>
                <a:lnTo>
                  <a:pt x="138" y="1086"/>
                </a:lnTo>
                <a:lnTo>
                  <a:pt x="132" y="1074"/>
                </a:lnTo>
                <a:lnTo>
                  <a:pt x="126" y="1074"/>
                </a:lnTo>
                <a:lnTo>
                  <a:pt x="126" y="1068"/>
                </a:lnTo>
                <a:lnTo>
                  <a:pt x="120" y="1062"/>
                </a:lnTo>
                <a:lnTo>
                  <a:pt x="120" y="1056"/>
                </a:lnTo>
                <a:lnTo>
                  <a:pt x="114" y="1050"/>
                </a:lnTo>
                <a:lnTo>
                  <a:pt x="108" y="1050"/>
                </a:lnTo>
                <a:lnTo>
                  <a:pt x="102" y="1056"/>
                </a:lnTo>
                <a:lnTo>
                  <a:pt x="102" y="1062"/>
                </a:lnTo>
                <a:lnTo>
                  <a:pt x="96" y="1062"/>
                </a:lnTo>
                <a:lnTo>
                  <a:pt x="96" y="1068"/>
                </a:lnTo>
                <a:lnTo>
                  <a:pt x="96" y="1074"/>
                </a:lnTo>
                <a:lnTo>
                  <a:pt x="90" y="1074"/>
                </a:lnTo>
                <a:lnTo>
                  <a:pt x="84" y="1080"/>
                </a:lnTo>
                <a:lnTo>
                  <a:pt x="78" y="1074"/>
                </a:lnTo>
                <a:lnTo>
                  <a:pt x="72" y="1074"/>
                </a:lnTo>
                <a:lnTo>
                  <a:pt x="72" y="1068"/>
                </a:lnTo>
                <a:lnTo>
                  <a:pt x="72" y="1062"/>
                </a:lnTo>
                <a:lnTo>
                  <a:pt x="60" y="1056"/>
                </a:lnTo>
                <a:lnTo>
                  <a:pt x="60" y="1044"/>
                </a:lnTo>
                <a:lnTo>
                  <a:pt x="60" y="1032"/>
                </a:lnTo>
                <a:lnTo>
                  <a:pt x="60" y="1026"/>
                </a:lnTo>
                <a:lnTo>
                  <a:pt x="54" y="1026"/>
                </a:lnTo>
                <a:lnTo>
                  <a:pt x="48" y="1014"/>
                </a:lnTo>
                <a:lnTo>
                  <a:pt x="42" y="1008"/>
                </a:lnTo>
                <a:lnTo>
                  <a:pt x="30" y="1008"/>
                </a:lnTo>
                <a:lnTo>
                  <a:pt x="30" y="1002"/>
                </a:lnTo>
                <a:lnTo>
                  <a:pt x="24" y="1008"/>
                </a:lnTo>
                <a:lnTo>
                  <a:pt x="12" y="1008"/>
                </a:lnTo>
                <a:lnTo>
                  <a:pt x="6" y="1008"/>
                </a:lnTo>
                <a:lnTo>
                  <a:pt x="0" y="1008"/>
                </a:lnTo>
                <a:lnTo>
                  <a:pt x="0" y="1002"/>
                </a:lnTo>
                <a:lnTo>
                  <a:pt x="6" y="990"/>
                </a:lnTo>
                <a:lnTo>
                  <a:pt x="6" y="984"/>
                </a:lnTo>
                <a:lnTo>
                  <a:pt x="0" y="978"/>
                </a:lnTo>
                <a:lnTo>
                  <a:pt x="6" y="972"/>
                </a:lnTo>
                <a:lnTo>
                  <a:pt x="12" y="972"/>
                </a:lnTo>
                <a:lnTo>
                  <a:pt x="72" y="978"/>
                </a:lnTo>
                <a:lnTo>
                  <a:pt x="78" y="972"/>
                </a:lnTo>
                <a:lnTo>
                  <a:pt x="72" y="960"/>
                </a:lnTo>
                <a:lnTo>
                  <a:pt x="66" y="960"/>
                </a:lnTo>
                <a:lnTo>
                  <a:pt x="60" y="930"/>
                </a:lnTo>
                <a:lnTo>
                  <a:pt x="54" y="912"/>
                </a:lnTo>
                <a:lnTo>
                  <a:pt x="42" y="906"/>
                </a:lnTo>
                <a:lnTo>
                  <a:pt x="36" y="894"/>
                </a:lnTo>
                <a:lnTo>
                  <a:pt x="30" y="876"/>
                </a:lnTo>
                <a:lnTo>
                  <a:pt x="30" y="858"/>
                </a:lnTo>
                <a:lnTo>
                  <a:pt x="30" y="840"/>
                </a:lnTo>
                <a:lnTo>
                  <a:pt x="36" y="816"/>
                </a:lnTo>
                <a:lnTo>
                  <a:pt x="36" y="792"/>
                </a:lnTo>
                <a:lnTo>
                  <a:pt x="36" y="780"/>
                </a:lnTo>
                <a:lnTo>
                  <a:pt x="12" y="774"/>
                </a:lnTo>
                <a:lnTo>
                  <a:pt x="24" y="756"/>
                </a:lnTo>
                <a:lnTo>
                  <a:pt x="24" y="744"/>
                </a:lnTo>
                <a:lnTo>
                  <a:pt x="30" y="738"/>
                </a:lnTo>
                <a:lnTo>
                  <a:pt x="30" y="732"/>
                </a:lnTo>
                <a:lnTo>
                  <a:pt x="36" y="720"/>
                </a:lnTo>
                <a:lnTo>
                  <a:pt x="42" y="714"/>
                </a:lnTo>
                <a:lnTo>
                  <a:pt x="54" y="708"/>
                </a:lnTo>
                <a:lnTo>
                  <a:pt x="60" y="702"/>
                </a:lnTo>
                <a:lnTo>
                  <a:pt x="48" y="690"/>
                </a:lnTo>
                <a:lnTo>
                  <a:pt x="48" y="684"/>
                </a:lnTo>
                <a:lnTo>
                  <a:pt x="48" y="678"/>
                </a:lnTo>
                <a:lnTo>
                  <a:pt x="48" y="672"/>
                </a:lnTo>
                <a:lnTo>
                  <a:pt x="54" y="672"/>
                </a:lnTo>
                <a:lnTo>
                  <a:pt x="60" y="672"/>
                </a:lnTo>
                <a:lnTo>
                  <a:pt x="66" y="666"/>
                </a:lnTo>
                <a:lnTo>
                  <a:pt x="72" y="654"/>
                </a:lnTo>
                <a:lnTo>
                  <a:pt x="72" y="648"/>
                </a:lnTo>
                <a:lnTo>
                  <a:pt x="84" y="642"/>
                </a:lnTo>
                <a:lnTo>
                  <a:pt x="84" y="636"/>
                </a:lnTo>
                <a:lnTo>
                  <a:pt x="84" y="630"/>
                </a:lnTo>
                <a:lnTo>
                  <a:pt x="90" y="630"/>
                </a:lnTo>
                <a:lnTo>
                  <a:pt x="96" y="630"/>
                </a:lnTo>
                <a:lnTo>
                  <a:pt x="96" y="624"/>
                </a:lnTo>
                <a:lnTo>
                  <a:pt x="90" y="624"/>
                </a:lnTo>
                <a:lnTo>
                  <a:pt x="84" y="612"/>
                </a:lnTo>
                <a:lnTo>
                  <a:pt x="78" y="606"/>
                </a:lnTo>
                <a:lnTo>
                  <a:pt x="78" y="600"/>
                </a:lnTo>
                <a:lnTo>
                  <a:pt x="84" y="600"/>
                </a:lnTo>
                <a:lnTo>
                  <a:pt x="90" y="600"/>
                </a:lnTo>
                <a:lnTo>
                  <a:pt x="84" y="600"/>
                </a:lnTo>
                <a:lnTo>
                  <a:pt x="78" y="594"/>
                </a:lnTo>
                <a:lnTo>
                  <a:pt x="78" y="582"/>
                </a:lnTo>
                <a:lnTo>
                  <a:pt x="78" y="576"/>
                </a:lnTo>
                <a:lnTo>
                  <a:pt x="126" y="564"/>
                </a:lnTo>
                <a:lnTo>
                  <a:pt x="144" y="564"/>
                </a:lnTo>
                <a:lnTo>
                  <a:pt x="156" y="582"/>
                </a:lnTo>
                <a:lnTo>
                  <a:pt x="162" y="600"/>
                </a:lnTo>
                <a:lnTo>
                  <a:pt x="180" y="588"/>
                </a:lnTo>
                <a:lnTo>
                  <a:pt x="192" y="588"/>
                </a:lnTo>
                <a:lnTo>
                  <a:pt x="198" y="588"/>
                </a:lnTo>
                <a:lnTo>
                  <a:pt x="210" y="582"/>
                </a:lnTo>
                <a:lnTo>
                  <a:pt x="216" y="576"/>
                </a:lnTo>
                <a:lnTo>
                  <a:pt x="222" y="570"/>
                </a:lnTo>
                <a:lnTo>
                  <a:pt x="222" y="564"/>
                </a:lnTo>
                <a:lnTo>
                  <a:pt x="228" y="558"/>
                </a:lnTo>
                <a:lnTo>
                  <a:pt x="234" y="558"/>
                </a:lnTo>
                <a:lnTo>
                  <a:pt x="240" y="558"/>
                </a:lnTo>
                <a:lnTo>
                  <a:pt x="246" y="558"/>
                </a:lnTo>
                <a:lnTo>
                  <a:pt x="252" y="558"/>
                </a:lnTo>
                <a:lnTo>
                  <a:pt x="252" y="564"/>
                </a:lnTo>
                <a:lnTo>
                  <a:pt x="258" y="570"/>
                </a:lnTo>
                <a:lnTo>
                  <a:pt x="264" y="570"/>
                </a:lnTo>
                <a:lnTo>
                  <a:pt x="270" y="564"/>
                </a:lnTo>
                <a:lnTo>
                  <a:pt x="276" y="558"/>
                </a:lnTo>
                <a:lnTo>
                  <a:pt x="276" y="552"/>
                </a:lnTo>
                <a:lnTo>
                  <a:pt x="276" y="546"/>
                </a:lnTo>
                <a:lnTo>
                  <a:pt x="276" y="540"/>
                </a:lnTo>
                <a:lnTo>
                  <a:pt x="276" y="534"/>
                </a:lnTo>
                <a:lnTo>
                  <a:pt x="276" y="528"/>
                </a:lnTo>
                <a:lnTo>
                  <a:pt x="282" y="528"/>
                </a:lnTo>
                <a:lnTo>
                  <a:pt x="282" y="522"/>
                </a:lnTo>
                <a:lnTo>
                  <a:pt x="282" y="516"/>
                </a:lnTo>
                <a:lnTo>
                  <a:pt x="282" y="510"/>
                </a:lnTo>
                <a:lnTo>
                  <a:pt x="282" y="504"/>
                </a:lnTo>
                <a:lnTo>
                  <a:pt x="282" y="492"/>
                </a:lnTo>
                <a:lnTo>
                  <a:pt x="288" y="486"/>
                </a:lnTo>
                <a:lnTo>
                  <a:pt x="300" y="480"/>
                </a:lnTo>
                <a:lnTo>
                  <a:pt x="306" y="462"/>
                </a:lnTo>
                <a:lnTo>
                  <a:pt x="318" y="444"/>
                </a:lnTo>
                <a:lnTo>
                  <a:pt x="330" y="444"/>
                </a:lnTo>
                <a:lnTo>
                  <a:pt x="330" y="432"/>
                </a:lnTo>
                <a:lnTo>
                  <a:pt x="342" y="432"/>
                </a:lnTo>
                <a:lnTo>
                  <a:pt x="354" y="402"/>
                </a:lnTo>
                <a:lnTo>
                  <a:pt x="348" y="390"/>
                </a:lnTo>
                <a:lnTo>
                  <a:pt x="336" y="384"/>
                </a:lnTo>
                <a:lnTo>
                  <a:pt x="336" y="360"/>
                </a:lnTo>
                <a:lnTo>
                  <a:pt x="336" y="354"/>
                </a:lnTo>
                <a:lnTo>
                  <a:pt x="336" y="342"/>
                </a:lnTo>
                <a:lnTo>
                  <a:pt x="342" y="336"/>
                </a:lnTo>
                <a:lnTo>
                  <a:pt x="342" y="324"/>
                </a:lnTo>
                <a:lnTo>
                  <a:pt x="372" y="324"/>
                </a:lnTo>
                <a:lnTo>
                  <a:pt x="378" y="324"/>
                </a:lnTo>
                <a:lnTo>
                  <a:pt x="378" y="318"/>
                </a:lnTo>
                <a:lnTo>
                  <a:pt x="372" y="312"/>
                </a:lnTo>
                <a:lnTo>
                  <a:pt x="378" y="312"/>
                </a:lnTo>
                <a:lnTo>
                  <a:pt x="384" y="312"/>
                </a:lnTo>
                <a:lnTo>
                  <a:pt x="384" y="306"/>
                </a:lnTo>
                <a:lnTo>
                  <a:pt x="384" y="300"/>
                </a:lnTo>
                <a:lnTo>
                  <a:pt x="384" y="294"/>
                </a:lnTo>
                <a:lnTo>
                  <a:pt x="378" y="294"/>
                </a:lnTo>
                <a:lnTo>
                  <a:pt x="372" y="294"/>
                </a:lnTo>
                <a:lnTo>
                  <a:pt x="366" y="294"/>
                </a:lnTo>
                <a:lnTo>
                  <a:pt x="366" y="288"/>
                </a:lnTo>
                <a:lnTo>
                  <a:pt x="372" y="288"/>
                </a:lnTo>
                <a:lnTo>
                  <a:pt x="372" y="282"/>
                </a:lnTo>
                <a:lnTo>
                  <a:pt x="366" y="276"/>
                </a:lnTo>
                <a:lnTo>
                  <a:pt x="360" y="270"/>
                </a:lnTo>
                <a:lnTo>
                  <a:pt x="360" y="264"/>
                </a:lnTo>
                <a:lnTo>
                  <a:pt x="354" y="264"/>
                </a:lnTo>
                <a:lnTo>
                  <a:pt x="348" y="258"/>
                </a:lnTo>
                <a:lnTo>
                  <a:pt x="354" y="258"/>
                </a:lnTo>
                <a:lnTo>
                  <a:pt x="354" y="252"/>
                </a:lnTo>
                <a:lnTo>
                  <a:pt x="360" y="246"/>
                </a:lnTo>
                <a:lnTo>
                  <a:pt x="360" y="240"/>
                </a:lnTo>
                <a:lnTo>
                  <a:pt x="354" y="240"/>
                </a:lnTo>
                <a:lnTo>
                  <a:pt x="342" y="234"/>
                </a:lnTo>
                <a:lnTo>
                  <a:pt x="342" y="228"/>
                </a:lnTo>
                <a:lnTo>
                  <a:pt x="348" y="228"/>
                </a:lnTo>
                <a:lnTo>
                  <a:pt x="342" y="228"/>
                </a:lnTo>
                <a:lnTo>
                  <a:pt x="342" y="222"/>
                </a:lnTo>
                <a:lnTo>
                  <a:pt x="342" y="216"/>
                </a:lnTo>
                <a:lnTo>
                  <a:pt x="336" y="216"/>
                </a:lnTo>
                <a:lnTo>
                  <a:pt x="330" y="222"/>
                </a:lnTo>
                <a:lnTo>
                  <a:pt x="330" y="216"/>
                </a:lnTo>
                <a:lnTo>
                  <a:pt x="330" y="210"/>
                </a:lnTo>
                <a:lnTo>
                  <a:pt x="324" y="210"/>
                </a:lnTo>
                <a:lnTo>
                  <a:pt x="318" y="210"/>
                </a:lnTo>
                <a:lnTo>
                  <a:pt x="318" y="204"/>
                </a:lnTo>
                <a:lnTo>
                  <a:pt x="312" y="204"/>
                </a:lnTo>
                <a:lnTo>
                  <a:pt x="306" y="198"/>
                </a:lnTo>
                <a:lnTo>
                  <a:pt x="306" y="192"/>
                </a:lnTo>
                <a:lnTo>
                  <a:pt x="300" y="192"/>
                </a:lnTo>
                <a:lnTo>
                  <a:pt x="300" y="198"/>
                </a:lnTo>
                <a:lnTo>
                  <a:pt x="294" y="192"/>
                </a:lnTo>
                <a:lnTo>
                  <a:pt x="300" y="186"/>
                </a:lnTo>
                <a:lnTo>
                  <a:pt x="294" y="186"/>
                </a:lnTo>
                <a:lnTo>
                  <a:pt x="294" y="180"/>
                </a:lnTo>
                <a:lnTo>
                  <a:pt x="294" y="174"/>
                </a:lnTo>
                <a:lnTo>
                  <a:pt x="300" y="174"/>
                </a:lnTo>
                <a:lnTo>
                  <a:pt x="300" y="168"/>
                </a:lnTo>
                <a:lnTo>
                  <a:pt x="300" y="162"/>
                </a:lnTo>
                <a:lnTo>
                  <a:pt x="294" y="162"/>
                </a:lnTo>
                <a:lnTo>
                  <a:pt x="288" y="162"/>
                </a:lnTo>
                <a:lnTo>
                  <a:pt x="288" y="156"/>
                </a:lnTo>
                <a:lnTo>
                  <a:pt x="288" y="150"/>
                </a:lnTo>
                <a:lnTo>
                  <a:pt x="288" y="144"/>
                </a:lnTo>
                <a:lnTo>
                  <a:pt x="282" y="144"/>
                </a:lnTo>
                <a:lnTo>
                  <a:pt x="282" y="138"/>
                </a:lnTo>
                <a:lnTo>
                  <a:pt x="312" y="132"/>
                </a:lnTo>
                <a:lnTo>
                  <a:pt x="324" y="120"/>
                </a:lnTo>
                <a:lnTo>
                  <a:pt x="330" y="114"/>
                </a:lnTo>
                <a:lnTo>
                  <a:pt x="336" y="102"/>
                </a:lnTo>
                <a:lnTo>
                  <a:pt x="348" y="90"/>
                </a:lnTo>
                <a:lnTo>
                  <a:pt x="360" y="84"/>
                </a:lnTo>
                <a:lnTo>
                  <a:pt x="372" y="84"/>
                </a:lnTo>
                <a:lnTo>
                  <a:pt x="378" y="84"/>
                </a:lnTo>
                <a:lnTo>
                  <a:pt x="384" y="90"/>
                </a:lnTo>
                <a:lnTo>
                  <a:pt x="402" y="90"/>
                </a:lnTo>
                <a:lnTo>
                  <a:pt x="438" y="84"/>
                </a:lnTo>
                <a:lnTo>
                  <a:pt x="456" y="84"/>
                </a:lnTo>
                <a:lnTo>
                  <a:pt x="462" y="78"/>
                </a:lnTo>
                <a:lnTo>
                  <a:pt x="486" y="72"/>
                </a:lnTo>
                <a:lnTo>
                  <a:pt x="492" y="66"/>
                </a:lnTo>
                <a:lnTo>
                  <a:pt x="498" y="60"/>
                </a:lnTo>
                <a:lnTo>
                  <a:pt x="504" y="60"/>
                </a:lnTo>
                <a:lnTo>
                  <a:pt x="504" y="54"/>
                </a:lnTo>
                <a:lnTo>
                  <a:pt x="510" y="42"/>
                </a:lnTo>
                <a:lnTo>
                  <a:pt x="504" y="42"/>
                </a:lnTo>
                <a:lnTo>
                  <a:pt x="504" y="36"/>
                </a:lnTo>
                <a:lnTo>
                  <a:pt x="504" y="30"/>
                </a:lnTo>
                <a:lnTo>
                  <a:pt x="498" y="30"/>
                </a:lnTo>
                <a:lnTo>
                  <a:pt x="492" y="30"/>
                </a:lnTo>
                <a:lnTo>
                  <a:pt x="492" y="24"/>
                </a:lnTo>
                <a:lnTo>
                  <a:pt x="486" y="18"/>
                </a:lnTo>
                <a:lnTo>
                  <a:pt x="498" y="18"/>
                </a:lnTo>
                <a:lnTo>
                  <a:pt x="510" y="18"/>
                </a:lnTo>
                <a:lnTo>
                  <a:pt x="522" y="12"/>
                </a:lnTo>
                <a:lnTo>
                  <a:pt x="528" y="6"/>
                </a:lnTo>
                <a:lnTo>
                  <a:pt x="570" y="0"/>
                </a:lnTo>
                <a:lnTo>
                  <a:pt x="606" y="6"/>
                </a:lnTo>
                <a:lnTo>
                  <a:pt x="654" y="24"/>
                </a:lnTo>
                <a:lnTo>
                  <a:pt x="666" y="36"/>
                </a:lnTo>
                <a:lnTo>
                  <a:pt x="672" y="30"/>
                </a:lnTo>
                <a:lnTo>
                  <a:pt x="690" y="42"/>
                </a:lnTo>
                <a:lnTo>
                  <a:pt x="702" y="48"/>
                </a:lnTo>
                <a:lnTo>
                  <a:pt x="714" y="60"/>
                </a:lnTo>
                <a:lnTo>
                  <a:pt x="714" y="66"/>
                </a:lnTo>
                <a:lnTo>
                  <a:pt x="720" y="72"/>
                </a:lnTo>
                <a:lnTo>
                  <a:pt x="720" y="78"/>
                </a:lnTo>
                <a:lnTo>
                  <a:pt x="720" y="102"/>
                </a:lnTo>
                <a:lnTo>
                  <a:pt x="720" y="108"/>
                </a:lnTo>
                <a:lnTo>
                  <a:pt x="714" y="108"/>
                </a:lnTo>
                <a:lnTo>
                  <a:pt x="714" y="126"/>
                </a:lnTo>
                <a:lnTo>
                  <a:pt x="732" y="126"/>
                </a:lnTo>
                <a:lnTo>
                  <a:pt x="726" y="132"/>
                </a:lnTo>
                <a:lnTo>
                  <a:pt x="738" y="132"/>
                </a:lnTo>
                <a:lnTo>
                  <a:pt x="738" y="138"/>
                </a:lnTo>
                <a:lnTo>
                  <a:pt x="738" y="144"/>
                </a:lnTo>
                <a:lnTo>
                  <a:pt x="744" y="144"/>
                </a:lnTo>
                <a:lnTo>
                  <a:pt x="744" y="150"/>
                </a:lnTo>
                <a:lnTo>
                  <a:pt x="756" y="156"/>
                </a:lnTo>
                <a:lnTo>
                  <a:pt x="768" y="156"/>
                </a:lnTo>
                <a:lnTo>
                  <a:pt x="780" y="156"/>
                </a:lnTo>
                <a:lnTo>
                  <a:pt x="792" y="150"/>
                </a:lnTo>
                <a:lnTo>
                  <a:pt x="786" y="150"/>
                </a:lnTo>
                <a:lnTo>
                  <a:pt x="786" y="144"/>
                </a:lnTo>
                <a:lnTo>
                  <a:pt x="804" y="144"/>
                </a:lnTo>
                <a:lnTo>
                  <a:pt x="816" y="132"/>
                </a:lnTo>
                <a:lnTo>
                  <a:pt x="822" y="126"/>
                </a:lnTo>
                <a:lnTo>
                  <a:pt x="828" y="132"/>
                </a:lnTo>
                <a:lnTo>
                  <a:pt x="834" y="126"/>
                </a:lnTo>
                <a:lnTo>
                  <a:pt x="834" y="120"/>
                </a:lnTo>
                <a:lnTo>
                  <a:pt x="924" y="108"/>
                </a:lnTo>
                <a:lnTo>
                  <a:pt x="942" y="144"/>
                </a:lnTo>
                <a:lnTo>
                  <a:pt x="948" y="144"/>
                </a:lnTo>
                <a:lnTo>
                  <a:pt x="960" y="168"/>
                </a:lnTo>
                <a:lnTo>
                  <a:pt x="972" y="186"/>
                </a:lnTo>
                <a:lnTo>
                  <a:pt x="984" y="192"/>
                </a:lnTo>
                <a:lnTo>
                  <a:pt x="996" y="192"/>
                </a:lnTo>
                <a:lnTo>
                  <a:pt x="996" y="198"/>
                </a:lnTo>
                <a:lnTo>
                  <a:pt x="1008" y="204"/>
                </a:lnTo>
                <a:lnTo>
                  <a:pt x="1008" y="210"/>
                </a:lnTo>
                <a:lnTo>
                  <a:pt x="1002" y="210"/>
                </a:lnTo>
                <a:lnTo>
                  <a:pt x="1008" y="216"/>
                </a:lnTo>
                <a:lnTo>
                  <a:pt x="1014" y="210"/>
                </a:lnTo>
                <a:lnTo>
                  <a:pt x="1014" y="216"/>
                </a:lnTo>
                <a:lnTo>
                  <a:pt x="1020" y="222"/>
                </a:lnTo>
                <a:lnTo>
                  <a:pt x="1014" y="228"/>
                </a:lnTo>
                <a:lnTo>
                  <a:pt x="1032" y="234"/>
                </a:lnTo>
                <a:lnTo>
                  <a:pt x="1044" y="240"/>
                </a:lnTo>
                <a:lnTo>
                  <a:pt x="1038" y="246"/>
                </a:lnTo>
                <a:lnTo>
                  <a:pt x="1038" y="252"/>
                </a:lnTo>
                <a:lnTo>
                  <a:pt x="1038" y="258"/>
                </a:lnTo>
                <a:lnTo>
                  <a:pt x="1032" y="264"/>
                </a:lnTo>
                <a:lnTo>
                  <a:pt x="1032" y="270"/>
                </a:lnTo>
                <a:lnTo>
                  <a:pt x="1032" y="276"/>
                </a:lnTo>
                <a:lnTo>
                  <a:pt x="1032" y="282"/>
                </a:lnTo>
                <a:lnTo>
                  <a:pt x="1026" y="282"/>
                </a:lnTo>
                <a:lnTo>
                  <a:pt x="1026" y="288"/>
                </a:lnTo>
                <a:lnTo>
                  <a:pt x="1026" y="294"/>
                </a:lnTo>
                <a:lnTo>
                  <a:pt x="1026" y="300"/>
                </a:lnTo>
                <a:lnTo>
                  <a:pt x="1026" y="306"/>
                </a:lnTo>
                <a:lnTo>
                  <a:pt x="1020" y="318"/>
                </a:lnTo>
                <a:lnTo>
                  <a:pt x="1020" y="324"/>
                </a:lnTo>
                <a:lnTo>
                  <a:pt x="1014" y="324"/>
                </a:lnTo>
                <a:lnTo>
                  <a:pt x="1014" y="330"/>
                </a:lnTo>
                <a:lnTo>
                  <a:pt x="1014" y="336"/>
                </a:lnTo>
                <a:lnTo>
                  <a:pt x="1008" y="366"/>
                </a:lnTo>
                <a:lnTo>
                  <a:pt x="1002" y="366"/>
                </a:lnTo>
                <a:lnTo>
                  <a:pt x="984" y="354"/>
                </a:lnTo>
                <a:lnTo>
                  <a:pt x="978" y="354"/>
                </a:lnTo>
                <a:lnTo>
                  <a:pt x="972" y="354"/>
                </a:lnTo>
                <a:lnTo>
                  <a:pt x="966" y="348"/>
                </a:lnTo>
                <a:lnTo>
                  <a:pt x="954" y="348"/>
                </a:lnTo>
                <a:lnTo>
                  <a:pt x="948" y="348"/>
                </a:lnTo>
                <a:lnTo>
                  <a:pt x="948" y="360"/>
                </a:lnTo>
                <a:lnTo>
                  <a:pt x="948" y="366"/>
                </a:lnTo>
                <a:lnTo>
                  <a:pt x="948" y="372"/>
                </a:lnTo>
                <a:lnTo>
                  <a:pt x="948" y="378"/>
                </a:lnTo>
                <a:lnTo>
                  <a:pt x="948" y="384"/>
                </a:lnTo>
                <a:lnTo>
                  <a:pt x="942" y="384"/>
                </a:lnTo>
                <a:lnTo>
                  <a:pt x="942" y="390"/>
                </a:lnTo>
                <a:lnTo>
                  <a:pt x="936" y="390"/>
                </a:lnTo>
                <a:lnTo>
                  <a:pt x="942" y="390"/>
                </a:lnTo>
                <a:lnTo>
                  <a:pt x="936" y="396"/>
                </a:lnTo>
                <a:lnTo>
                  <a:pt x="930" y="402"/>
                </a:lnTo>
                <a:lnTo>
                  <a:pt x="918" y="420"/>
                </a:lnTo>
                <a:lnTo>
                  <a:pt x="918" y="426"/>
                </a:lnTo>
                <a:lnTo>
                  <a:pt x="912" y="432"/>
                </a:lnTo>
                <a:lnTo>
                  <a:pt x="900" y="450"/>
                </a:lnTo>
                <a:lnTo>
                  <a:pt x="894" y="456"/>
                </a:lnTo>
                <a:lnTo>
                  <a:pt x="888" y="456"/>
                </a:lnTo>
                <a:lnTo>
                  <a:pt x="882" y="456"/>
                </a:lnTo>
                <a:lnTo>
                  <a:pt x="876" y="456"/>
                </a:lnTo>
                <a:lnTo>
                  <a:pt x="864" y="462"/>
                </a:lnTo>
                <a:lnTo>
                  <a:pt x="852" y="474"/>
                </a:lnTo>
                <a:lnTo>
                  <a:pt x="846" y="480"/>
                </a:lnTo>
                <a:lnTo>
                  <a:pt x="840" y="486"/>
                </a:lnTo>
                <a:lnTo>
                  <a:pt x="834" y="498"/>
                </a:lnTo>
                <a:lnTo>
                  <a:pt x="828" y="510"/>
                </a:lnTo>
                <a:lnTo>
                  <a:pt x="816" y="522"/>
                </a:lnTo>
                <a:lnTo>
                  <a:pt x="798" y="540"/>
                </a:lnTo>
                <a:lnTo>
                  <a:pt x="780" y="558"/>
                </a:lnTo>
                <a:lnTo>
                  <a:pt x="774" y="558"/>
                </a:lnTo>
                <a:lnTo>
                  <a:pt x="756" y="576"/>
                </a:lnTo>
                <a:lnTo>
                  <a:pt x="732" y="600"/>
                </a:lnTo>
                <a:lnTo>
                  <a:pt x="726" y="600"/>
                </a:lnTo>
                <a:lnTo>
                  <a:pt x="720" y="606"/>
                </a:lnTo>
                <a:lnTo>
                  <a:pt x="714" y="612"/>
                </a:lnTo>
                <a:lnTo>
                  <a:pt x="690" y="630"/>
                </a:lnTo>
                <a:lnTo>
                  <a:pt x="678" y="636"/>
                </a:lnTo>
                <a:lnTo>
                  <a:pt x="672" y="642"/>
                </a:lnTo>
                <a:lnTo>
                  <a:pt x="660" y="660"/>
                </a:lnTo>
                <a:lnTo>
                  <a:pt x="642" y="666"/>
                </a:lnTo>
                <a:lnTo>
                  <a:pt x="636" y="678"/>
                </a:lnTo>
                <a:lnTo>
                  <a:pt x="630" y="678"/>
                </a:lnTo>
                <a:lnTo>
                  <a:pt x="630" y="684"/>
                </a:lnTo>
                <a:lnTo>
                  <a:pt x="630" y="690"/>
                </a:lnTo>
                <a:lnTo>
                  <a:pt x="636" y="696"/>
                </a:lnTo>
                <a:lnTo>
                  <a:pt x="642" y="696"/>
                </a:lnTo>
                <a:lnTo>
                  <a:pt x="648" y="702"/>
                </a:lnTo>
                <a:lnTo>
                  <a:pt x="648" y="708"/>
                </a:lnTo>
                <a:lnTo>
                  <a:pt x="642" y="708"/>
                </a:lnTo>
                <a:lnTo>
                  <a:pt x="636" y="714"/>
                </a:lnTo>
                <a:lnTo>
                  <a:pt x="636" y="720"/>
                </a:lnTo>
                <a:lnTo>
                  <a:pt x="642" y="726"/>
                </a:lnTo>
                <a:lnTo>
                  <a:pt x="636" y="738"/>
                </a:lnTo>
                <a:lnTo>
                  <a:pt x="618" y="756"/>
                </a:lnTo>
                <a:lnTo>
                  <a:pt x="612" y="750"/>
                </a:lnTo>
                <a:lnTo>
                  <a:pt x="612" y="756"/>
                </a:lnTo>
                <a:lnTo>
                  <a:pt x="618" y="762"/>
                </a:lnTo>
                <a:lnTo>
                  <a:pt x="618" y="768"/>
                </a:lnTo>
                <a:lnTo>
                  <a:pt x="624" y="774"/>
                </a:lnTo>
                <a:lnTo>
                  <a:pt x="624" y="780"/>
                </a:lnTo>
                <a:lnTo>
                  <a:pt x="636" y="786"/>
                </a:lnTo>
                <a:lnTo>
                  <a:pt x="642" y="792"/>
                </a:lnTo>
                <a:lnTo>
                  <a:pt x="642" y="798"/>
                </a:lnTo>
                <a:lnTo>
                  <a:pt x="648" y="804"/>
                </a:lnTo>
                <a:lnTo>
                  <a:pt x="654" y="810"/>
                </a:lnTo>
                <a:lnTo>
                  <a:pt x="660" y="816"/>
                </a:lnTo>
                <a:lnTo>
                  <a:pt x="666" y="816"/>
                </a:lnTo>
                <a:lnTo>
                  <a:pt x="666" y="822"/>
                </a:lnTo>
                <a:lnTo>
                  <a:pt x="672" y="828"/>
                </a:lnTo>
                <a:lnTo>
                  <a:pt x="672" y="840"/>
                </a:lnTo>
                <a:lnTo>
                  <a:pt x="672" y="846"/>
                </a:lnTo>
                <a:lnTo>
                  <a:pt x="666" y="852"/>
                </a:lnTo>
                <a:lnTo>
                  <a:pt x="660" y="864"/>
                </a:lnTo>
                <a:lnTo>
                  <a:pt x="654" y="876"/>
                </a:lnTo>
                <a:lnTo>
                  <a:pt x="648" y="882"/>
                </a:lnTo>
                <a:lnTo>
                  <a:pt x="642" y="888"/>
                </a:lnTo>
                <a:lnTo>
                  <a:pt x="642" y="894"/>
                </a:lnTo>
                <a:lnTo>
                  <a:pt x="642" y="906"/>
                </a:lnTo>
                <a:lnTo>
                  <a:pt x="630" y="918"/>
                </a:lnTo>
                <a:lnTo>
                  <a:pt x="630" y="924"/>
                </a:lnTo>
                <a:lnTo>
                  <a:pt x="624" y="930"/>
                </a:lnTo>
                <a:lnTo>
                  <a:pt x="630" y="936"/>
                </a:lnTo>
                <a:lnTo>
                  <a:pt x="630" y="942"/>
                </a:lnTo>
                <a:lnTo>
                  <a:pt x="630" y="948"/>
                </a:lnTo>
                <a:lnTo>
                  <a:pt x="630" y="954"/>
                </a:lnTo>
                <a:lnTo>
                  <a:pt x="630" y="960"/>
                </a:lnTo>
                <a:lnTo>
                  <a:pt x="624" y="966"/>
                </a:lnTo>
                <a:lnTo>
                  <a:pt x="618" y="990"/>
                </a:lnTo>
                <a:lnTo>
                  <a:pt x="618" y="1008"/>
                </a:lnTo>
                <a:lnTo>
                  <a:pt x="612" y="1026"/>
                </a:lnTo>
                <a:lnTo>
                  <a:pt x="612" y="1038"/>
                </a:lnTo>
                <a:lnTo>
                  <a:pt x="612" y="1050"/>
                </a:lnTo>
                <a:lnTo>
                  <a:pt x="612" y="1056"/>
                </a:lnTo>
                <a:lnTo>
                  <a:pt x="612" y="1062"/>
                </a:lnTo>
                <a:lnTo>
                  <a:pt x="612" y="1068"/>
                </a:lnTo>
                <a:lnTo>
                  <a:pt x="612" y="1086"/>
                </a:lnTo>
                <a:lnTo>
                  <a:pt x="612" y="1092"/>
                </a:lnTo>
                <a:lnTo>
                  <a:pt x="606" y="1098"/>
                </a:lnTo>
                <a:lnTo>
                  <a:pt x="600" y="1110"/>
                </a:lnTo>
                <a:lnTo>
                  <a:pt x="600" y="1116"/>
                </a:lnTo>
                <a:lnTo>
                  <a:pt x="594" y="1122"/>
                </a:lnTo>
                <a:lnTo>
                  <a:pt x="594" y="1128"/>
                </a:lnTo>
                <a:lnTo>
                  <a:pt x="588" y="1134"/>
                </a:lnTo>
                <a:lnTo>
                  <a:pt x="582" y="1140"/>
                </a:lnTo>
                <a:lnTo>
                  <a:pt x="570" y="1140"/>
                </a:lnTo>
                <a:lnTo>
                  <a:pt x="564" y="1146"/>
                </a:lnTo>
                <a:lnTo>
                  <a:pt x="570" y="1146"/>
                </a:lnTo>
                <a:lnTo>
                  <a:pt x="564" y="1152"/>
                </a:lnTo>
                <a:lnTo>
                  <a:pt x="558" y="1158"/>
                </a:lnTo>
                <a:lnTo>
                  <a:pt x="552" y="1164"/>
                </a:lnTo>
                <a:lnTo>
                  <a:pt x="552" y="1170"/>
                </a:lnTo>
                <a:lnTo>
                  <a:pt x="546" y="1176"/>
                </a:lnTo>
                <a:lnTo>
                  <a:pt x="546" y="1182"/>
                </a:lnTo>
                <a:lnTo>
                  <a:pt x="546" y="1188"/>
                </a:lnTo>
                <a:lnTo>
                  <a:pt x="540" y="1188"/>
                </a:lnTo>
                <a:lnTo>
                  <a:pt x="540" y="1194"/>
                </a:lnTo>
                <a:lnTo>
                  <a:pt x="528" y="1206"/>
                </a:lnTo>
                <a:lnTo>
                  <a:pt x="528" y="1212"/>
                </a:lnTo>
                <a:lnTo>
                  <a:pt x="534" y="1212"/>
                </a:lnTo>
                <a:lnTo>
                  <a:pt x="540" y="1218"/>
                </a:lnTo>
                <a:lnTo>
                  <a:pt x="534" y="1218"/>
                </a:lnTo>
                <a:lnTo>
                  <a:pt x="528" y="1218"/>
                </a:lnTo>
                <a:lnTo>
                  <a:pt x="528" y="1224"/>
                </a:lnTo>
                <a:lnTo>
                  <a:pt x="522" y="1230"/>
                </a:lnTo>
                <a:lnTo>
                  <a:pt x="516" y="1236"/>
                </a:lnTo>
                <a:lnTo>
                  <a:pt x="522" y="1236"/>
                </a:lnTo>
                <a:lnTo>
                  <a:pt x="516" y="1242"/>
                </a:lnTo>
                <a:lnTo>
                  <a:pt x="510" y="1242"/>
                </a:lnTo>
                <a:lnTo>
                  <a:pt x="504" y="1248"/>
                </a:lnTo>
                <a:lnTo>
                  <a:pt x="510" y="1260"/>
                </a:lnTo>
                <a:lnTo>
                  <a:pt x="504" y="1266"/>
                </a:lnTo>
                <a:lnTo>
                  <a:pt x="492" y="1266"/>
                </a:lnTo>
                <a:lnTo>
                  <a:pt x="486" y="1272"/>
                </a:lnTo>
                <a:lnTo>
                  <a:pt x="486" y="1278"/>
                </a:lnTo>
                <a:lnTo>
                  <a:pt x="480" y="1278"/>
                </a:lnTo>
                <a:lnTo>
                  <a:pt x="480" y="1284"/>
                </a:lnTo>
                <a:lnTo>
                  <a:pt x="480" y="1290"/>
                </a:lnTo>
                <a:lnTo>
                  <a:pt x="480" y="1296"/>
                </a:lnTo>
                <a:lnTo>
                  <a:pt x="492" y="1302"/>
                </a:lnTo>
                <a:lnTo>
                  <a:pt x="492" y="1308"/>
                </a:lnTo>
                <a:lnTo>
                  <a:pt x="492" y="1320"/>
                </a:lnTo>
                <a:lnTo>
                  <a:pt x="492" y="1332"/>
                </a:lnTo>
                <a:lnTo>
                  <a:pt x="498" y="1344"/>
                </a:lnTo>
                <a:lnTo>
                  <a:pt x="498" y="1350"/>
                </a:lnTo>
                <a:lnTo>
                  <a:pt x="498" y="1356"/>
                </a:lnTo>
                <a:lnTo>
                  <a:pt x="504" y="1362"/>
                </a:lnTo>
                <a:lnTo>
                  <a:pt x="498" y="1362"/>
                </a:lnTo>
                <a:lnTo>
                  <a:pt x="498" y="1368"/>
                </a:lnTo>
                <a:lnTo>
                  <a:pt x="492" y="1368"/>
                </a:lnTo>
                <a:lnTo>
                  <a:pt x="492" y="1374"/>
                </a:lnTo>
                <a:lnTo>
                  <a:pt x="492" y="1380"/>
                </a:lnTo>
                <a:lnTo>
                  <a:pt x="498" y="1380"/>
                </a:lnTo>
                <a:lnTo>
                  <a:pt x="504" y="1380"/>
                </a:lnTo>
                <a:lnTo>
                  <a:pt x="498" y="1386"/>
                </a:lnTo>
                <a:lnTo>
                  <a:pt x="498" y="1392"/>
                </a:lnTo>
                <a:lnTo>
                  <a:pt x="498" y="1398"/>
                </a:lnTo>
                <a:lnTo>
                  <a:pt x="498" y="1404"/>
                </a:lnTo>
                <a:lnTo>
                  <a:pt x="498" y="1410"/>
                </a:lnTo>
                <a:lnTo>
                  <a:pt x="498" y="1416"/>
                </a:lnTo>
                <a:lnTo>
                  <a:pt x="492" y="1416"/>
                </a:lnTo>
                <a:lnTo>
                  <a:pt x="498" y="1416"/>
                </a:lnTo>
                <a:lnTo>
                  <a:pt x="504" y="1416"/>
                </a:lnTo>
                <a:lnTo>
                  <a:pt x="504" y="1422"/>
                </a:lnTo>
                <a:lnTo>
                  <a:pt x="510" y="1428"/>
                </a:lnTo>
                <a:lnTo>
                  <a:pt x="510" y="1434"/>
                </a:lnTo>
                <a:lnTo>
                  <a:pt x="510" y="1440"/>
                </a:lnTo>
                <a:lnTo>
                  <a:pt x="516" y="1446"/>
                </a:lnTo>
                <a:lnTo>
                  <a:pt x="516" y="1452"/>
                </a:lnTo>
                <a:lnTo>
                  <a:pt x="516" y="1458"/>
                </a:lnTo>
                <a:lnTo>
                  <a:pt x="516" y="1464"/>
                </a:lnTo>
                <a:lnTo>
                  <a:pt x="516" y="1482"/>
                </a:lnTo>
                <a:lnTo>
                  <a:pt x="516" y="1488"/>
                </a:lnTo>
                <a:lnTo>
                  <a:pt x="522" y="1488"/>
                </a:lnTo>
                <a:lnTo>
                  <a:pt x="522" y="1494"/>
                </a:lnTo>
                <a:lnTo>
                  <a:pt x="522" y="1500"/>
                </a:lnTo>
                <a:lnTo>
                  <a:pt x="516" y="1506"/>
                </a:lnTo>
                <a:lnTo>
                  <a:pt x="510" y="1500"/>
                </a:lnTo>
                <a:lnTo>
                  <a:pt x="504" y="1500"/>
                </a:lnTo>
                <a:lnTo>
                  <a:pt x="504" y="1494"/>
                </a:lnTo>
                <a:lnTo>
                  <a:pt x="504" y="1488"/>
                </a:lnTo>
                <a:lnTo>
                  <a:pt x="504" y="1482"/>
                </a:lnTo>
                <a:lnTo>
                  <a:pt x="504" y="1488"/>
                </a:lnTo>
                <a:lnTo>
                  <a:pt x="504" y="1494"/>
                </a:lnTo>
                <a:lnTo>
                  <a:pt x="504" y="1500"/>
                </a:lnTo>
                <a:lnTo>
                  <a:pt x="498" y="1500"/>
                </a:lnTo>
                <a:lnTo>
                  <a:pt x="492" y="1500"/>
                </a:lnTo>
                <a:lnTo>
                  <a:pt x="492" y="1494"/>
                </a:lnTo>
                <a:lnTo>
                  <a:pt x="492" y="1488"/>
                </a:lnTo>
                <a:lnTo>
                  <a:pt x="492" y="1494"/>
                </a:lnTo>
                <a:lnTo>
                  <a:pt x="492" y="1500"/>
                </a:lnTo>
                <a:lnTo>
                  <a:pt x="498" y="1500"/>
                </a:lnTo>
                <a:lnTo>
                  <a:pt x="498" y="1506"/>
                </a:lnTo>
                <a:lnTo>
                  <a:pt x="504" y="1500"/>
                </a:lnTo>
                <a:lnTo>
                  <a:pt x="510" y="1500"/>
                </a:lnTo>
                <a:lnTo>
                  <a:pt x="510" y="1506"/>
                </a:lnTo>
                <a:lnTo>
                  <a:pt x="516" y="1506"/>
                </a:lnTo>
                <a:lnTo>
                  <a:pt x="510" y="1506"/>
                </a:lnTo>
                <a:lnTo>
                  <a:pt x="510" y="1512"/>
                </a:lnTo>
                <a:lnTo>
                  <a:pt x="516" y="1506"/>
                </a:lnTo>
                <a:lnTo>
                  <a:pt x="522" y="1506"/>
                </a:lnTo>
                <a:lnTo>
                  <a:pt x="528" y="1506"/>
                </a:lnTo>
                <a:lnTo>
                  <a:pt x="528" y="1500"/>
                </a:lnTo>
                <a:lnTo>
                  <a:pt x="534" y="1500"/>
                </a:lnTo>
                <a:lnTo>
                  <a:pt x="534" y="1506"/>
                </a:lnTo>
                <a:lnTo>
                  <a:pt x="540" y="1512"/>
                </a:lnTo>
                <a:lnTo>
                  <a:pt x="540" y="1518"/>
                </a:lnTo>
                <a:lnTo>
                  <a:pt x="546" y="1518"/>
                </a:lnTo>
                <a:lnTo>
                  <a:pt x="540" y="1518"/>
                </a:lnTo>
                <a:lnTo>
                  <a:pt x="540" y="1524"/>
                </a:lnTo>
                <a:lnTo>
                  <a:pt x="534" y="1524"/>
                </a:lnTo>
                <a:lnTo>
                  <a:pt x="540" y="1524"/>
                </a:lnTo>
                <a:lnTo>
                  <a:pt x="546" y="1524"/>
                </a:lnTo>
                <a:lnTo>
                  <a:pt x="546" y="1530"/>
                </a:lnTo>
                <a:lnTo>
                  <a:pt x="540" y="1530"/>
                </a:lnTo>
                <a:lnTo>
                  <a:pt x="540" y="1536"/>
                </a:lnTo>
                <a:lnTo>
                  <a:pt x="534" y="1542"/>
                </a:lnTo>
                <a:lnTo>
                  <a:pt x="528" y="1542"/>
                </a:lnTo>
                <a:lnTo>
                  <a:pt x="522" y="1542"/>
                </a:lnTo>
                <a:lnTo>
                  <a:pt x="516" y="1542"/>
                </a:lnTo>
                <a:lnTo>
                  <a:pt x="510" y="1542"/>
                </a:lnTo>
                <a:lnTo>
                  <a:pt x="504" y="1542"/>
                </a:lnTo>
                <a:lnTo>
                  <a:pt x="492" y="1542"/>
                </a:lnTo>
                <a:lnTo>
                  <a:pt x="486" y="1536"/>
                </a:lnTo>
                <a:lnTo>
                  <a:pt x="480" y="1536"/>
                </a:lnTo>
                <a:lnTo>
                  <a:pt x="468" y="1536"/>
                </a:lnTo>
                <a:lnTo>
                  <a:pt x="468" y="1542"/>
                </a:lnTo>
                <a:lnTo>
                  <a:pt x="462" y="1542"/>
                </a:lnTo>
                <a:lnTo>
                  <a:pt x="456" y="1542"/>
                </a:lnTo>
                <a:lnTo>
                  <a:pt x="450" y="1542"/>
                </a:lnTo>
                <a:lnTo>
                  <a:pt x="444" y="1542"/>
                </a:lnTo>
                <a:lnTo>
                  <a:pt x="444" y="1536"/>
                </a:lnTo>
                <a:lnTo>
                  <a:pt x="450" y="1536"/>
                </a:lnTo>
                <a:lnTo>
                  <a:pt x="456" y="1536"/>
                </a:lnTo>
                <a:lnTo>
                  <a:pt x="450" y="1536"/>
                </a:lnTo>
                <a:lnTo>
                  <a:pt x="444" y="1536"/>
                </a:lnTo>
                <a:lnTo>
                  <a:pt x="444" y="1530"/>
                </a:lnTo>
                <a:lnTo>
                  <a:pt x="450" y="1530"/>
                </a:lnTo>
                <a:lnTo>
                  <a:pt x="456" y="1524"/>
                </a:lnTo>
                <a:lnTo>
                  <a:pt x="456" y="1518"/>
                </a:lnTo>
                <a:lnTo>
                  <a:pt x="462" y="1518"/>
                </a:lnTo>
                <a:lnTo>
                  <a:pt x="462" y="1524"/>
                </a:lnTo>
                <a:lnTo>
                  <a:pt x="468" y="1524"/>
                </a:lnTo>
                <a:lnTo>
                  <a:pt x="474" y="1524"/>
                </a:lnTo>
                <a:lnTo>
                  <a:pt x="474" y="1518"/>
                </a:lnTo>
                <a:lnTo>
                  <a:pt x="480" y="1518"/>
                </a:lnTo>
                <a:lnTo>
                  <a:pt x="474" y="1518"/>
                </a:lnTo>
                <a:lnTo>
                  <a:pt x="474" y="1524"/>
                </a:lnTo>
                <a:lnTo>
                  <a:pt x="468" y="1524"/>
                </a:lnTo>
                <a:lnTo>
                  <a:pt x="462" y="1518"/>
                </a:lnTo>
                <a:lnTo>
                  <a:pt x="456" y="1518"/>
                </a:lnTo>
                <a:lnTo>
                  <a:pt x="456" y="1512"/>
                </a:lnTo>
                <a:lnTo>
                  <a:pt x="462" y="1512"/>
                </a:lnTo>
                <a:lnTo>
                  <a:pt x="462" y="1506"/>
                </a:lnTo>
                <a:lnTo>
                  <a:pt x="456" y="1506"/>
                </a:lnTo>
                <a:lnTo>
                  <a:pt x="456" y="1512"/>
                </a:lnTo>
                <a:lnTo>
                  <a:pt x="456" y="1518"/>
                </a:lnTo>
                <a:lnTo>
                  <a:pt x="456" y="1512"/>
                </a:lnTo>
                <a:lnTo>
                  <a:pt x="450" y="1518"/>
                </a:lnTo>
                <a:lnTo>
                  <a:pt x="444" y="1518"/>
                </a:lnTo>
                <a:lnTo>
                  <a:pt x="444" y="1524"/>
                </a:lnTo>
                <a:lnTo>
                  <a:pt x="438" y="1524"/>
                </a:lnTo>
                <a:lnTo>
                  <a:pt x="438" y="1530"/>
                </a:lnTo>
                <a:lnTo>
                  <a:pt x="432" y="1530"/>
                </a:lnTo>
                <a:lnTo>
                  <a:pt x="432" y="1536"/>
                </a:lnTo>
                <a:lnTo>
                  <a:pt x="426" y="1530"/>
                </a:lnTo>
                <a:lnTo>
                  <a:pt x="420" y="1530"/>
                </a:lnTo>
                <a:lnTo>
                  <a:pt x="414" y="1530"/>
                </a:lnTo>
                <a:lnTo>
                  <a:pt x="414" y="1524"/>
                </a:lnTo>
                <a:lnTo>
                  <a:pt x="408" y="1518"/>
                </a:lnTo>
                <a:lnTo>
                  <a:pt x="414" y="1512"/>
                </a:lnTo>
                <a:lnTo>
                  <a:pt x="408" y="1512"/>
                </a:lnTo>
                <a:lnTo>
                  <a:pt x="408" y="1506"/>
                </a:lnTo>
                <a:lnTo>
                  <a:pt x="408" y="1500"/>
                </a:lnTo>
                <a:lnTo>
                  <a:pt x="408" y="1494"/>
                </a:lnTo>
                <a:lnTo>
                  <a:pt x="408" y="1488"/>
                </a:lnTo>
                <a:lnTo>
                  <a:pt x="408" y="1494"/>
                </a:lnTo>
                <a:lnTo>
                  <a:pt x="414" y="1494"/>
                </a:lnTo>
                <a:lnTo>
                  <a:pt x="420" y="1494"/>
                </a:lnTo>
                <a:lnTo>
                  <a:pt x="420" y="1488"/>
                </a:lnTo>
                <a:lnTo>
                  <a:pt x="426" y="1494"/>
                </a:lnTo>
                <a:lnTo>
                  <a:pt x="426" y="1488"/>
                </a:lnTo>
                <a:lnTo>
                  <a:pt x="426" y="1494"/>
                </a:lnTo>
                <a:lnTo>
                  <a:pt x="426" y="1488"/>
                </a:lnTo>
                <a:lnTo>
                  <a:pt x="426" y="1482"/>
                </a:lnTo>
                <a:lnTo>
                  <a:pt x="426" y="1476"/>
                </a:lnTo>
                <a:lnTo>
                  <a:pt x="432" y="1476"/>
                </a:lnTo>
                <a:lnTo>
                  <a:pt x="432" y="1470"/>
                </a:lnTo>
                <a:lnTo>
                  <a:pt x="438" y="1470"/>
                </a:lnTo>
                <a:lnTo>
                  <a:pt x="444" y="1464"/>
                </a:lnTo>
                <a:lnTo>
                  <a:pt x="450" y="1458"/>
                </a:lnTo>
                <a:lnTo>
                  <a:pt x="456" y="1458"/>
                </a:lnTo>
                <a:lnTo>
                  <a:pt x="462" y="1452"/>
                </a:lnTo>
                <a:lnTo>
                  <a:pt x="468" y="1452"/>
                </a:lnTo>
                <a:lnTo>
                  <a:pt x="468" y="1446"/>
                </a:lnTo>
                <a:lnTo>
                  <a:pt x="462" y="1440"/>
                </a:lnTo>
                <a:lnTo>
                  <a:pt x="456" y="1434"/>
                </a:lnTo>
                <a:lnTo>
                  <a:pt x="456" y="1428"/>
                </a:lnTo>
                <a:lnTo>
                  <a:pt x="456" y="1422"/>
                </a:lnTo>
                <a:lnTo>
                  <a:pt x="456" y="1416"/>
                </a:lnTo>
                <a:lnTo>
                  <a:pt x="450" y="1410"/>
                </a:lnTo>
                <a:lnTo>
                  <a:pt x="444" y="1410"/>
                </a:lnTo>
                <a:lnTo>
                  <a:pt x="450" y="1410"/>
                </a:lnTo>
                <a:lnTo>
                  <a:pt x="450" y="1404"/>
                </a:lnTo>
                <a:lnTo>
                  <a:pt x="456" y="1404"/>
                </a:lnTo>
                <a:lnTo>
                  <a:pt x="462" y="1404"/>
                </a:lnTo>
                <a:lnTo>
                  <a:pt x="468" y="1398"/>
                </a:lnTo>
                <a:lnTo>
                  <a:pt x="462" y="1398"/>
                </a:lnTo>
                <a:lnTo>
                  <a:pt x="462" y="1392"/>
                </a:lnTo>
                <a:lnTo>
                  <a:pt x="456" y="1392"/>
                </a:lnTo>
                <a:lnTo>
                  <a:pt x="456" y="1386"/>
                </a:lnTo>
                <a:lnTo>
                  <a:pt x="462" y="1386"/>
                </a:lnTo>
                <a:lnTo>
                  <a:pt x="468" y="1386"/>
                </a:lnTo>
                <a:lnTo>
                  <a:pt x="474" y="1386"/>
                </a:lnTo>
                <a:lnTo>
                  <a:pt x="468" y="1386"/>
                </a:lnTo>
                <a:lnTo>
                  <a:pt x="462" y="1386"/>
                </a:lnTo>
                <a:lnTo>
                  <a:pt x="456" y="1380"/>
                </a:lnTo>
                <a:lnTo>
                  <a:pt x="456" y="1374"/>
                </a:lnTo>
                <a:lnTo>
                  <a:pt x="462" y="1374"/>
                </a:lnTo>
                <a:lnTo>
                  <a:pt x="462" y="1368"/>
                </a:lnTo>
                <a:lnTo>
                  <a:pt x="456" y="1374"/>
                </a:lnTo>
                <a:lnTo>
                  <a:pt x="456" y="1368"/>
                </a:lnTo>
                <a:lnTo>
                  <a:pt x="456" y="1362"/>
                </a:lnTo>
                <a:lnTo>
                  <a:pt x="450" y="1362"/>
                </a:lnTo>
                <a:lnTo>
                  <a:pt x="450" y="1356"/>
                </a:lnTo>
                <a:lnTo>
                  <a:pt x="450" y="1350"/>
                </a:lnTo>
                <a:lnTo>
                  <a:pt x="450" y="1344"/>
                </a:lnTo>
                <a:lnTo>
                  <a:pt x="456" y="1344"/>
                </a:lnTo>
                <a:lnTo>
                  <a:pt x="456" y="1338"/>
                </a:lnTo>
                <a:lnTo>
                  <a:pt x="462" y="1338"/>
                </a:lnTo>
                <a:lnTo>
                  <a:pt x="462" y="1332"/>
                </a:lnTo>
                <a:lnTo>
                  <a:pt x="456" y="1332"/>
                </a:lnTo>
                <a:lnTo>
                  <a:pt x="456" y="1326"/>
                </a:lnTo>
                <a:lnTo>
                  <a:pt x="450" y="1326"/>
                </a:lnTo>
                <a:lnTo>
                  <a:pt x="444" y="1326"/>
                </a:lnTo>
                <a:lnTo>
                  <a:pt x="444" y="1332"/>
                </a:lnTo>
                <a:lnTo>
                  <a:pt x="438" y="1332"/>
                </a:lnTo>
                <a:lnTo>
                  <a:pt x="438" y="1338"/>
                </a:lnTo>
                <a:lnTo>
                  <a:pt x="432" y="1338"/>
                </a:lnTo>
                <a:lnTo>
                  <a:pt x="432" y="1344"/>
                </a:lnTo>
                <a:lnTo>
                  <a:pt x="432" y="1350"/>
                </a:lnTo>
                <a:lnTo>
                  <a:pt x="426" y="1356"/>
                </a:lnTo>
                <a:lnTo>
                  <a:pt x="426" y="1368"/>
                </a:lnTo>
                <a:lnTo>
                  <a:pt x="426" y="1374"/>
                </a:lnTo>
                <a:lnTo>
                  <a:pt x="426" y="1380"/>
                </a:lnTo>
                <a:lnTo>
                  <a:pt x="432" y="1386"/>
                </a:lnTo>
                <a:lnTo>
                  <a:pt x="432" y="1392"/>
                </a:lnTo>
                <a:lnTo>
                  <a:pt x="432" y="1398"/>
                </a:lnTo>
                <a:lnTo>
                  <a:pt x="426" y="1398"/>
                </a:lnTo>
                <a:lnTo>
                  <a:pt x="420" y="1398"/>
                </a:lnTo>
                <a:lnTo>
                  <a:pt x="414" y="1398"/>
                </a:lnTo>
                <a:lnTo>
                  <a:pt x="420" y="1398"/>
                </a:lnTo>
                <a:lnTo>
                  <a:pt x="414" y="1404"/>
                </a:lnTo>
                <a:lnTo>
                  <a:pt x="420" y="1404"/>
                </a:lnTo>
                <a:lnTo>
                  <a:pt x="414" y="1404"/>
                </a:lnTo>
                <a:lnTo>
                  <a:pt x="408" y="1404"/>
                </a:lnTo>
                <a:lnTo>
                  <a:pt x="402" y="1410"/>
                </a:lnTo>
                <a:lnTo>
                  <a:pt x="402" y="1404"/>
                </a:lnTo>
                <a:lnTo>
                  <a:pt x="396" y="1404"/>
                </a:lnTo>
                <a:lnTo>
                  <a:pt x="390" y="1404"/>
                </a:lnTo>
                <a:lnTo>
                  <a:pt x="384" y="1404"/>
                </a:lnTo>
                <a:lnTo>
                  <a:pt x="384" y="1398"/>
                </a:lnTo>
                <a:lnTo>
                  <a:pt x="384" y="1392"/>
                </a:lnTo>
                <a:lnTo>
                  <a:pt x="390" y="1392"/>
                </a:lnTo>
                <a:lnTo>
                  <a:pt x="390" y="1386"/>
                </a:lnTo>
                <a:lnTo>
                  <a:pt x="390" y="1380"/>
                </a:lnTo>
                <a:lnTo>
                  <a:pt x="396" y="1380"/>
                </a:lnTo>
                <a:lnTo>
                  <a:pt x="402" y="1380"/>
                </a:lnTo>
                <a:lnTo>
                  <a:pt x="408" y="1380"/>
                </a:lnTo>
                <a:lnTo>
                  <a:pt x="408" y="1374"/>
                </a:lnTo>
                <a:lnTo>
                  <a:pt x="414" y="1374"/>
                </a:lnTo>
                <a:lnTo>
                  <a:pt x="414" y="1368"/>
                </a:lnTo>
                <a:lnTo>
                  <a:pt x="414" y="1362"/>
                </a:lnTo>
                <a:lnTo>
                  <a:pt x="414" y="1368"/>
                </a:lnTo>
                <a:lnTo>
                  <a:pt x="414" y="1374"/>
                </a:lnTo>
                <a:lnTo>
                  <a:pt x="408" y="1374"/>
                </a:lnTo>
                <a:lnTo>
                  <a:pt x="402" y="1380"/>
                </a:lnTo>
                <a:lnTo>
                  <a:pt x="396" y="1380"/>
                </a:lnTo>
                <a:lnTo>
                  <a:pt x="396" y="1374"/>
                </a:lnTo>
                <a:lnTo>
                  <a:pt x="390" y="1374"/>
                </a:lnTo>
                <a:lnTo>
                  <a:pt x="390" y="1368"/>
                </a:lnTo>
                <a:lnTo>
                  <a:pt x="384" y="1368"/>
                </a:lnTo>
                <a:lnTo>
                  <a:pt x="384" y="1374"/>
                </a:lnTo>
                <a:lnTo>
                  <a:pt x="378" y="1374"/>
                </a:lnTo>
                <a:lnTo>
                  <a:pt x="378" y="1380"/>
                </a:lnTo>
                <a:lnTo>
                  <a:pt x="372" y="1380"/>
                </a:lnTo>
                <a:lnTo>
                  <a:pt x="366" y="1386"/>
                </a:lnTo>
                <a:lnTo>
                  <a:pt x="360" y="1386"/>
                </a:lnTo>
                <a:lnTo>
                  <a:pt x="354" y="1386"/>
                </a:lnTo>
                <a:lnTo>
                  <a:pt x="354" y="1380"/>
                </a:lnTo>
                <a:lnTo>
                  <a:pt x="348" y="1380"/>
                </a:lnTo>
                <a:lnTo>
                  <a:pt x="342" y="1380"/>
                </a:lnTo>
                <a:lnTo>
                  <a:pt x="342" y="1374"/>
                </a:lnTo>
                <a:lnTo>
                  <a:pt x="336" y="1368"/>
                </a:lnTo>
                <a:lnTo>
                  <a:pt x="342" y="1368"/>
                </a:lnTo>
                <a:lnTo>
                  <a:pt x="342" y="1362"/>
                </a:lnTo>
                <a:lnTo>
                  <a:pt x="348" y="1362"/>
                </a:lnTo>
                <a:lnTo>
                  <a:pt x="354" y="1362"/>
                </a:lnTo>
                <a:lnTo>
                  <a:pt x="354" y="1356"/>
                </a:lnTo>
                <a:lnTo>
                  <a:pt x="348" y="1356"/>
                </a:lnTo>
                <a:lnTo>
                  <a:pt x="348" y="1350"/>
                </a:lnTo>
                <a:lnTo>
                  <a:pt x="348" y="1344"/>
                </a:lnTo>
                <a:lnTo>
                  <a:pt x="354" y="1338"/>
                </a:lnTo>
                <a:lnTo>
                  <a:pt x="354" y="1332"/>
                </a:lnTo>
                <a:lnTo>
                  <a:pt x="354" y="1326"/>
                </a:lnTo>
                <a:lnTo>
                  <a:pt x="354" y="1320"/>
                </a:lnTo>
                <a:lnTo>
                  <a:pt x="354" y="1314"/>
                </a:lnTo>
                <a:lnTo>
                  <a:pt x="354" y="1308"/>
                </a:lnTo>
                <a:lnTo>
                  <a:pt x="348" y="1308"/>
                </a:lnTo>
                <a:lnTo>
                  <a:pt x="348" y="1302"/>
                </a:lnTo>
                <a:lnTo>
                  <a:pt x="342" y="1296"/>
                </a:lnTo>
                <a:lnTo>
                  <a:pt x="336" y="1296"/>
                </a:lnTo>
                <a:lnTo>
                  <a:pt x="336" y="1290"/>
                </a:lnTo>
                <a:lnTo>
                  <a:pt x="330" y="1290"/>
                </a:lnTo>
                <a:lnTo>
                  <a:pt x="324" y="1290"/>
                </a:lnTo>
                <a:lnTo>
                  <a:pt x="324" y="1284"/>
                </a:lnTo>
                <a:lnTo>
                  <a:pt x="318" y="1284"/>
                </a:lnTo>
                <a:lnTo>
                  <a:pt x="318" y="1278"/>
                </a:lnTo>
                <a:lnTo>
                  <a:pt x="312" y="1278"/>
                </a:lnTo>
                <a:lnTo>
                  <a:pt x="312" y="1272"/>
                </a:lnTo>
                <a:lnTo>
                  <a:pt x="312" y="1278"/>
                </a:lnTo>
                <a:lnTo>
                  <a:pt x="318" y="1284"/>
                </a:lnTo>
                <a:lnTo>
                  <a:pt x="324" y="1290"/>
                </a:lnTo>
                <a:lnTo>
                  <a:pt x="330" y="1290"/>
                </a:lnTo>
                <a:lnTo>
                  <a:pt x="330" y="1296"/>
                </a:lnTo>
                <a:lnTo>
                  <a:pt x="336" y="1296"/>
                </a:lnTo>
                <a:lnTo>
                  <a:pt x="336" y="1302"/>
                </a:lnTo>
                <a:lnTo>
                  <a:pt x="342" y="1302"/>
                </a:lnTo>
                <a:lnTo>
                  <a:pt x="348" y="1302"/>
                </a:lnTo>
                <a:lnTo>
                  <a:pt x="348" y="1308"/>
                </a:lnTo>
                <a:lnTo>
                  <a:pt x="348" y="1314"/>
                </a:lnTo>
                <a:lnTo>
                  <a:pt x="354" y="1314"/>
                </a:lnTo>
                <a:lnTo>
                  <a:pt x="354" y="1320"/>
                </a:lnTo>
                <a:lnTo>
                  <a:pt x="354" y="1326"/>
                </a:lnTo>
                <a:lnTo>
                  <a:pt x="348" y="1326"/>
                </a:lnTo>
                <a:lnTo>
                  <a:pt x="348" y="1332"/>
                </a:lnTo>
                <a:lnTo>
                  <a:pt x="348" y="1338"/>
                </a:lnTo>
                <a:lnTo>
                  <a:pt x="348" y="1344"/>
                </a:lnTo>
                <a:lnTo>
                  <a:pt x="342" y="1344"/>
                </a:lnTo>
                <a:lnTo>
                  <a:pt x="348" y="1344"/>
                </a:lnTo>
                <a:lnTo>
                  <a:pt x="342" y="1344"/>
                </a:lnTo>
                <a:lnTo>
                  <a:pt x="342" y="1350"/>
                </a:lnTo>
                <a:lnTo>
                  <a:pt x="336" y="1350"/>
                </a:lnTo>
                <a:lnTo>
                  <a:pt x="330" y="1350"/>
                </a:lnTo>
                <a:lnTo>
                  <a:pt x="330" y="1356"/>
                </a:lnTo>
                <a:lnTo>
                  <a:pt x="330" y="1350"/>
                </a:lnTo>
                <a:lnTo>
                  <a:pt x="324" y="1350"/>
                </a:lnTo>
                <a:lnTo>
                  <a:pt x="318" y="1344"/>
                </a:lnTo>
                <a:lnTo>
                  <a:pt x="318" y="1350"/>
                </a:lnTo>
                <a:lnTo>
                  <a:pt x="312" y="1344"/>
                </a:lnTo>
                <a:lnTo>
                  <a:pt x="312" y="1338"/>
                </a:lnTo>
                <a:lnTo>
                  <a:pt x="306" y="1338"/>
                </a:lnTo>
                <a:lnTo>
                  <a:pt x="300" y="1332"/>
                </a:lnTo>
                <a:lnTo>
                  <a:pt x="306" y="1332"/>
                </a:lnTo>
                <a:lnTo>
                  <a:pt x="300" y="1332"/>
                </a:lnTo>
                <a:lnTo>
                  <a:pt x="306" y="1332"/>
                </a:lnTo>
                <a:lnTo>
                  <a:pt x="306" y="1326"/>
                </a:lnTo>
                <a:lnTo>
                  <a:pt x="306" y="1320"/>
                </a:lnTo>
                <a:lnTo>
                  <a:pt x="306" y="1326"/>
                </a:lnTo>
                <a:lnTo>
                  <a:pt x="312" y="1326"/>
                </a:lnTo>
                <a:lnTo>
                  <a:pt x="312" y="1320"/>
                </a:lnTo>
                <a:lnTo>
                  <a:pt x="306" y="1320"/>
                </a:lnTo>
                <a:lnTo>
                  <a:pt x="300" y="1320"/>
                </a:lnTo>
                <a:lnTo>
                  <a:pt x="294" y="1320"/>
                </a:lnTo>
                <a:lnTo>
                  <a:pt x="294" y="1314"/>
                </a:lnTo>
                <a:lnTo>
                  <a:pt x="288" y="1314"/>
                </a:lnTo>
                <a:lnTo>
                  <a:pt x="288" y="1308"/>
                </a:lnTo>
                <a:lnTo>
                  <a:pt x="288" y="1302"/>
                </a:lnTo>
                <a:lnTo>
                  <a:pt x="294" y="1302"/>
                </a:lnTo>
                <a:lnTo>
                  <a:pt x="294" y="1296"/>
                </a:lnTo>
                <a:lnTo>
                  <a:pt x="288" y="1296"/>
                </a:lnTo>
                <a:lnTo>
                  <a:pt x="288" y="1290"/>
                </a:lnTo>
                <a:lnTo>
                  <a:pt x="288" y="1296"/>
                </a:lnTo>
                <a:lnTo>
                  <a:pt x="294" y="1302"/>
                </a:lnTo>
                <a:lnTo>
                  <a:pt x="288" y="1302"/>
                </a:lnTo>
                <a:lnTo>
                  <a:pt x="282" y="1296"/>
                </a:lnTo>
                <a:lnTo>
                  <a:pt x="276" y="1296"/>
                </a:lnTo>
                <a:lnTo>
                  <a:pt x="276" y="1290"/>
                </a:lnTo>
                <a:lnTo>
                  <a:pt x="270" y="1290"/>
                </a:lnTo>
                <a:lnTo>
                  <a:pt x="264" y="1284"/>
                </a:lnTo>
                <a:lnTo>
                  <a:pt x="264" y="1278"/>
                </a:lnTo>
                <a:lnTo>
                  <a:pt x="264" y="1272"/>
                </a:lnTo>
                <a:lnTo>
                  <a:pt x="264" y="1266"/>
                </a:lnTo>
                <a:lnTo>
                  <a:pt x="258" y="1266"/>
                </a:lnTo>
                <a:lnTo>
                  <a:pt x="252" y="1266"/>
                </a:lnTo>
                <a:lnTo>
                  <a:pt x="246" y="1260"/>
                </a:lnTo>
                <a:lnTo>
                  <a:pt x="240" y="1254"/>
                </a:lnTo>
                <a:lnTo>
                  <a:pt x="240" y="1260"/>
                </a:lnTo>
                <a:lnTo>
                  <a:pt x="240" y="1266"/>
                </a:lnTo>
                <a:lnTo>
                  <a:pt x="240" y="1272"/>
                </a:lnTo>
                <a:lnTo>
                  <a:pt x="246" y="1272"/>
                </a:lnTo>
                <a:lnTo>
                  <a:pt x="246" y="1278"/>
                </a:lnTo>
                <a:lnTo>
                  <a:pt x="246" y="1284"/>
                </a:lnTo>
                <a:lnTo>
                  <a:pt x="252" y="1284"/>
                </a:lnTo>
                <a:lnTo>
                  <a:pt x="252" y="1290"/>
                </a:lnTo>
                <a:lnTo>
                  <a:pt x="258" y="1296"/>
                </a:lnTo>
                <a:lnTo>
                  <a:pt x="264" y="1302"/>
                </a:lnTo>
                <a:lnTo>
                  <a:pt x="264" y="1308"/>
                </a:lnTo>
                <a:lnTo>
                  <a:pt x="264" y="1314"/>
                </a:lnTo>
                <a:lnTo>
                  <a:pt x="258" y="1314"/>
                </a:lnTo>
                <a:lnTo>
                  <a:pt x="258" y="1308"/>
                </a:lnTo>
                <a:lnTo>
                  <a:pt x="252" y="1308"/>
                </a:lnTo>
                <a:lnTo>
                  <a:pt x="252" y="1302"/>
                </a:lnTo>
                <a:lnTo>
                  <a:pt x="246" y="1302"/>
                </a:lnTo>
                <a:lnTo>
                  <a:pt x="246" y="1296"/>
                </a:lnTo>
                <a:lnTo>
                  <a:pt x="240" y="1296"/>
                </a:lnTo>
                <a:lnTo>
                  <a:pt x="240" y="1290"/>
                </a:lnTo>
                <a:lnTo>
                  <a:pt x="234" y="1284"/>
                </a:lnTo>
                <a:lnTo>
                  <a:pt x="234" y="1278"/>
                </a:lnTo>
                <a:close/>
                <a:moveTo>
                  <a:pt x="444" y="1332"/>
                </a:moveTo>
                <a:lnTo>
                  <a:pt x="450" y="1326"/>
                </a:lnTo>
                <a:lnTo>
                  <a:pt x="456" y="1326"/>
                </a:lnTo>
                <a:lnTo>
                  <a:pt x="456" y="1332"/>
                </a:lnTo>
                <a:lnTo>
                  <a:pt x="456" y="1338"/>
                </a:lnTo>
                <a:lnTo>
                  <a:pt x="450" y="1338"/>
                </a:lnTo>
                <a:lnTo>
                  <a:pt x="444" y="1338"/>
                </a:lnTo>
                <a:lnTo>
                  <a:pt x="444" y="1332"/>
                </a:lnTo>
                <a:close/>
                <a:moveTo>
                  <a:pt x="444" y="1368"/>
                </a:moveTo>
                <a:lnTo>
                  <a:pt x="456" y="1368"/>
                </a:lnTo>
                <a:lnTo>
                  <a:pt x="456" y="1374"/>
                </a:lnTo>
                <a:lnTo>
                  <a:pt x="444" y="1374"/>
                </a:lnTo>
                <a:lnTo>
                  <a:pt x="444" y="1368"/>
                </a:lnTo>
                <a:close/>
                <a:moveTo>
                  <a:pt x="444" y="1386"/>
                </a:moveTo>
                <a:lnTo>
                  <a:pt x="444" y="1380"/>
                </a:lnTo>
                <a:lnTo>
                  <a:pt x="444" y="1374"/>
                </a:lnTo>
                <a:lnTo>
                  <a:pt x="444" y="1380"/>
                </a:lnTo>
                <a:lnTo>
                  <a:pt x="450" y="1380"/>
                </a:lnTo>
                <a:lnTo>
                  <a:pt x="456" y="1380"/>
                </a:lnTo>
                <a:lnTo>
                  <a:pt x="456" y="1386"/>
                </a:lnTo>
                <a:lnTo>
                  <a:pt x="456" y="1392"/>
                </a:lnTo>
                <a:lnTo>
                  <a:pt x="462" y="1392"/>
                </a:lnTo>
                <a:lnTo>
                  <a:pt x="462" y="1398"/>
                </a:lnTo>
                <a:lnTo>
                  <a:pt x="462" y="1404"/>
                </a:lnTo>
                <a:lnTo>
                  <a:pt x="456" y="1404"/>
                </a:lnTo>
                <a:lnTo>
                  <a:pt x="450" y="1404"/>
                </a:lnTo>
                <a:lnTo>
                  <a:pt x="450" y="1398"/>
                </a:lnTo>
                <a:lnTo>
                  <a:pt x="444" y="1398"/>
                </a:lnTo>
                <a:lnTo>
                  <a:pt x="444" y="1392"/>
                </a:lnTo>
                <a:lnTo>
                  <a:pt x="444" y="1386"/>
                </a:lnTo>
                <a:close/>
                <a:moveTo>
                  <a:pt x="438" y="1362"/>
                </a:moveTo>
                <a:lnTo>
                  <a:pt x="444" y="1356"/>
                </a:lnTo>
                <a:lnTo>
                  <a:pt x="450" y="1356"/>
                </a:lnTo>
                <a:lnTo>
                  <a:pt x="450" y="1362"/>
                </a:lnTo>
                <a:lnTo>
                  <a:pt x="450" y="1368"/>
                </a:lnTo>
                <a:lnTo>
                  <a:pt x="444" y="1368"/>
                </a:lnTo>
                <a:lnTo>
                  <a:pt x="444" y="1362"/>
                </a:lnTo>
                <a:lnTo>
                  <a:pt x="438" y="1362"/>
                </a:lnTo>
                <a:close/>
                <a:moveTo>
                  <a:pt x="438" y="1350"/>
                </a:moveTo>
                <a:lnTo>
                  <a:pt x="438" y="1344"/>
                </a:lnTo>
                <a:lnTo>
                  <a:pt x="438" y="1338"/>
                </a:lnTo>
                <a:lnTo>
                  <a:pt x="444" y="1338"/>
                </a:lnTo>
                <a:lnTo>
                  <a:pt x="450" y="1338"/>
                </a:lnTo>
                <a:lnTo>
                  <a:pt x="456" y="1338"/>
                </a:lnTo>
                <a:lnTo>
                  <a:pt x="450" y="1344"/>
                </a:lnTo>
                <a:lnTo>
                  <a:pt x="444" y="1350"/>
                </a:lnTo>
                <a:lnTo>
                  <a:pt x="438" y="1350"/>
                </a:lnTo>
                <a:close/>
                <a:moveTo>
                  <a:pt x="432" y="1380"/>
                </a:moveTo>
                <a:lnTo>
                  <a:pt x="432" y="1368"/>
                </a:lnTo>
                <a:lnTo>
                  <a:pt x="432" y="1362"/>
                </a:lnTo>
                <a:lnTo>
                  <a:pt x="432" y="1356"/>
                </a:lnTo>
                <a:lnTo>
                  <a:pt x="438" y="1356"/>
                </a:lnTo>
                <a:lnTo>
                  <a:pt x="438" y="1362"/>
                </a:lnTo>
                <a:lnTo>
                  <a:pt x="438" y="1368"/>
                </a:lnTo>
                <a:lnTo>
                  <a:pt x="438" y="1374"/>
                </a:lnTo>
                <a:lnTo>
                  <a:pt x="438" y="1380"/>
                </a:lnTo>
                <a:lnTo>
                  <a:pt x="438" y="1386"/>
                </a:lnTo>
                <a:lnTo>
                  <a:pt x="438" y="1380"/>
                </a:lnTo>
                <a:lnTo>
                  <a:pt x="432" y="1380"/>
                </a:lnTo>
                <a:close/>
                <a:moveTo>
                  <a:pt x="246" y="1272"/>
                </a:moveTo>
                <a:lnTo>
                  <a:pt x="252" y="1272"/>
                </a:lnTo>
                <a:lnTo>
                  <a:pt x="252" y="1278"/>
                </a:lnTo>
                <a:lnTo>
                  <a:pt x="246" y="1278"/>
                </a:lnTo>
                <a:lnTo>
                  <a:pt x="246" y="1272"/>
                </a:lnTo>
                <a:close/>
                <a:moveTo>
                  <a:pt x="426" y="1416"/>
                </a:moveTo>
                <a:lnTo>
                  <a:pt x="432" y="1410"/>
                </a:lnTo>
                <a:lnTo>
                  <a:pt x="438" y="1410"/>
                </a:lnTo>
                <a:lnTo>
                  <a:pt x="438" y="1416"/>
                </a:lnTo>
                <a:lnTo>
                  <a:pt x="438" y="1422"/>
                </a:lnTo>
                <a:lnTo>
                  <a:pt x="432" y="1422"/>
                </a:lnTo>
                <a:lnTo>
                  <a:pt x="426" y="1422"/>
                </a:lnTo>
                <a:lnTo>
                  <a:pt x="426" y="1416"/>
                </a:lnTo>
                <a:close/>
                <a:moveTo>
                  <a:pt x="246" y="1266"/>
                </a:moveTo>
                <a:lnTo>
                  <a:pt x="252" y="1266"/>
                </a:lnTo>
                <a:lnTo>
                  <a:pt x="258" y="1272"/>
                </a:lnTo>
                <a:lnTo>
                  <a:pt x="258" y="1278"/>
                </a:lnTo>
                <a:lnTo>
                  <a:pt x="258" y="1284"/>
                </a:lnTo>
                <a:lnTo>
                  <a:pt x="252" y="1284"/>
                </a:lnTo>
                <a:lnTo>
                  <a:pt x="252" y="1278"/>
                </a:lnTo>
                <a:lnTo>
                  <a:pt x="252" y="1272"/>
                </a:lnTo>
                <a:lnTo>
                  <a:pt x="252" y="1266"/>
                </a:lnTo>
                <a:lnTo>
                  <a:pt x="246" y="1266"/>
                </a:lnTo>
                <a:close/>
                <a:moveTo>
                  <a:pt x="408" y="1458"/>
                </a:moveTo>
                <a:lnTo>
                  <a:pt x="408" y="1452"/>
                </a:lnTo>
                <a:lnTo>
                  <a:pt x="414" y="1452"/>
                </a:lnTo>
                <a:lnTo>
                  <a:pt x="414" y="1446"/>
                </a:lnTo>
                <a:lnTo>
                  <a:pt x="414" y="1440"/>
                </a:lnTo>
                <a:lnTo>
                  <a:pt x="420" y="1440"/>
                </a:lnTo>
                <a:lnTo>
                  <a:pt x="420" y="1434"/>
                </a:lnTo>
                <a:lnTo>
                  <a:pt x="420" y="1428"/>
                </a:lnTo>
                <a:lnTo>
                  <a:pt x="420" y="1422"/>
                </a:lnTo>
                <a:lnTo>
                  <a:pt x="426" y="1422"/>
                </a:lnTo>
                <a:lnTo>
                  <a:pt x="432" y="1428"/>
                </a:lnTo>
                <a:lnTo>
                  <a:pt x="438" y="1428"/>
                </a:lnTo>
                <a:lnTo>
                  <a:pt x="438" y="1434"/>
                </a:lnTo>
                <a:lnTo>
                  <a:pt x="438" y="1428"/>
                </a:lnTo>
                <a:lnTo>
                  <a:pt x="438" y="1422"/>
                </a:lnTo>
                <a:lnTo>
                  <a:pt x="444" y="1416"/>
                </a:lnTo>
                <a:lnTo>
                  <a:pt x="444" y="1410"/>
                </a:lnTo>
                <a:lnTo>
                  <a:pt x="450" y="1416"/>
                </a:lnTo>
                <a:lnTo>
                  <a:pt x="456" y="1416"/>
                </a:lnTo>
                <a:lnTo>
                  <a:pt x="456" y="1422"/>
                </a:lnTo>
                <a:lnTo>
                  <a:pt x="456" y="1428"/>
                </a:lnTo>
                <a:lnTo>
                  <a:pt x="456" y="1434"/>
                </a:lnTo>
                <a:lnTo>
                  <a:pt x="456" y="1440"/>
                </a:lnTo>
                <a:lnTo>
                  <a:pt x="462" y="1440"/>
                </a:lnTo>
                <a:lnTo>
                  <a:pt x="462" y="1446"/>
                </a:lnTo>
                <a:lnTo>
                  <a:pt x="462" y="1452"/>
                </a:lnTo>
                <a:lnTo>
                  <a:pt x="456" y="1452"/>
                </a:lnTo>
                <a:lnTo>
                  <a:pt x="450" y="1452"/>
                </a:lnTo>
                <a:lnTo>
                  <a:pt x="444" y="1446"/>
                </a:lnTo>
                <a:lnTo>
                  <a:pt x="444" y="1452"/>
                </a:lnTo>
                <a:lnTo>
                  <a:pt x="450" y="1452"/>
                </a:lnTo>
                <a:lnTo>
                  <a:pt x="450" y="1458"/>
                </a:lnTo>
                <a:lnTo>
                  <a:pt x="444" y="1458"/>
                </a:lnTo>
                <a:lnTo>
                  <a:pt x="438" y="1464"/>
                </a:lnTo>
                <a:lnTo>
                  <a:pt x="438" y="1458"/>
                </a:lnTo>
                <a:lnTo>
                  <a:pt x="432" y="1458"/>
                </a:lnTo>
                <a:lnTo>
                  <a:pt x="426" y="1458"/>
                </a:lnTo>
                <a:lnTo>
                  <a:pt x="432" y="1458"/>
                </a:lnTo>
                <a:lnTo>
                  <a:pt x="438" y="1464"/>
                </a:lnTo>
                <a:lnTo>
                  <a:pt x="432" y="1464"/>
                </a:lnTo>
                <a:lnTo>
                  <a:pt x="432" y="1470"/>
                </a:lnTo>
                <a:lnTo>
                  <a:pt x="426" y="1470"/>
                </a:lnTo>
                <a:lnTo>
                  <a:pt x="420" y="1476"/>
                </a:lnTo>
                <a:lnTo>
                  <a:pt x="420" y="1470"/>
                </a:lnTo>
                <a:lnTo>
                  <a:pt x="414" y="1470"/>
                </a:lnTo>
                <a:lnTo>
                  <a:pt x="414" y="1464"/>
                </a:lnTo>
                <a:lnTo>
                  <a:pt x="414" y="1458"/>
                </a:lnTo>
                <a:lnTo>
                  <a:pt x="408" y="1458"/>
                </a:lnTo>
                <a:close/>
                <a:moveTo>
                  <a:pt x="270" y="1326"/>
                </a:moveTo>
                <a:lnTo>
                  <a:pt x="270" y="1320"/>
                </a:lnTo>
                <a:lnTo>
                  <a:pt x="276" y="1320"/>
                </a:lnTo>
                <a:lnTo>
                  <a:pt x="282" y="1326"/>
                </a:lnTo>
                <a:lnTo>
                  <a:pt x="288" y="1326"/>
                </a:lnTo>
                <a:lnTo>
                  <a:pt x="288" y="1332"/>
                </a:lnTo>
                <a:lnTo>
                  <a:pt x="288" y="1338"/>
                </a:lnTo>
                <a:lnTo>
                  <a:pt x="288" y="1344"/>
                </a:lnTo>
                <a:lnTo>
                  <a:pt x="282" y="1344"/>
                </a:lnTo>
                <a:lnTo>
                  <a:pt x="282" y="1338"/>
                </a:lnTo>
                <a:lnTo>
                  <a:pt x="276" y="1338"/>
                </a:lnTo>
                <a:lnTo>
                  <a:pt x="276" y="1332"/>
                </a:lnTo>
                <a:lnTo>
                  <a:pt x="270" y="1332"/>
                </a:lnTo>
                <a:lnTo>
                  <a:pt x="270" y="1326"/>
                </a:lnTo>
                <a:close/>
                <a:moveTo>
                  <a:pt x="288" y="1458"/>
                </a:moveTo>
                <a:lnTo>
                  <a:pt x="294" y="1458"/>
                </a:lnTo>
                <a:lnTo>
                  <a:pt x="294" y="1452"/>
                </a:lnTo>
                <a:lnTo>
                  <a:pt x="294" y="1446"/>
                </a:lnTo>
                <a:lnTo>
                  <a:pt x="300" y="1446"/>
                </a:lnTo>
                <a:lnTo>
                  <a:pt x="300" y="1440"/>
                </a:lnTo>
                <a:lnTo>
                  <a:pt x="306" y="1440"/>
                </a:lnTo>
                <a:lnTo>
                  <a:pt x="306" y="1446"/>
                </a:lnTo>
                <a:lnTo>
                  <a:pt x="312" y="1452"/>
                </a:lnTo>
                <a:lnTo>
                  <a:pt x="306" y="1452"/>
                </a:lnTo>
                <a:lnTo>
                  <a:pt x="306" y="1458"/>
                </a:lnTo>
                <a:lnTo>
                  <a:pt x="312" y="1464"/>
                </a:lnTo>
                <a:lnTo>
                  <a:pt x="306" y="1464"/>
                </a:lnTo>
                <a:lnTo>
                  <a:pt x="306" y="1470"/>
                </a:lnTo>
                <a:lnTo>
                  <a:pt x="300" y="1476"/>
                </a:lnTo>
                <a:lnTo>
                  <a:pt x="294" y="1476"/>
                </a:lnTo>
                <a:lnTo>
                  <a:pt x="294" y="1470"/>
                </a:lnTo>
                <a:lnTo>
                  <a:pt x="288" y="1470"/>
                </a:lnTo>
                <a:lnTo>
                  <a:pt x="288" y="1464"/>
                </a:lnTo>
                <a:lnTo>
                  <a:pt x="288" y="1458"/>
                </a:lnTo>
                <a:close/>
                <a:moveTo>
                  <a:pt x="270" y="1296"/>
                </a:moveTo>
                <a:lnTo>
                  <a:pt x="276" y="1296"/>
                </a:lnTo>
                <a:lnTo>
                  <a:pt x="282" y="1296"/>
                </a:lnTo>
                <a:lnTo>
                  <a:pt x="288" y="1296"/>
                </a:lnTo>
                <a:lnTo>
                  <a:pt x="288" y="1302"/>
                </a:lnTo>
                <a:lnTo>
                  <a:pt x="282" y="1308"/>
                </a:lnTo>
                <a:lnTo>
                  <a:pt x="276" y="1308"/>
                </a:lnTo>
                <a:lnTo>
                  <a:pt x="276" y="1302"/>
                </a:lnTo>
                <a:lnTo>
                  <a:pt x="270" y="1296"/>
                </a:lnTo>
                <a:close/>
              </a:path>
            </a:pathLst>
          </a:custGeom>
          <a:solidFill>
            <a:srgbClr val="CD202C"/>
          </a:solidFill>
          <a:ln w="9525">
            <a:solidFill>
              <a:schemeClr val="bg1"/>
            </a:solidFill>
            <a:round/>
            <a:headEnd/>
            <a:tailEnd/>
          </a:ln>
        </p:spPr>
        <p:txBody>
          <a:bodyPr/>
          <a:lstStyle/>
          <a:p>
            <a:endParaRPr lang="en-GB"/>
          </a:p>
        </p:txBody>
      </p:sp>
      <p:sp>
        <p:nvSpPr>
          <p:cNvPr id="20504" name="Freeform 20"/>
          <p:cNvSpPr>
            <a:spLocks/>
          </p:cNvSpPr>
          <p:nvPr/>
        </p:nvSpPr>
        <p:spPr bwMode="gray">
          <a:xfrm>
            <a:off x="3556000" y="4999038"/>
            <a:ext cx="487363" cy="603250"/>
          </a:xfrm>
          <a:custGeom>
            <a:avLst/>
            <a:gdLst>
              <a:gd name="T0" fmla="*/ 23442 w 624"/>
              <a:gd name="T1" fmla="*/ 49125 h 750"/>
              <a:gd name="T2" fmla="*/ 21098 w 624"/>
              <a:gd name="T3" fmla="*/ 49931 h 750"/>
              <a:gd name="T4" fmla="*/ 17973 w 624"/>
              <a:gd name="T5" fmla="*/ 47515 h 750"/>
              <a:gd name="T6" fmla="*/ 15628 w 624"/>
              <a:gd name="T7" fmla="*/ 46709 h 750"/>
              <a:gd name="T8" fmla="*/ 14847 w 624"/>
              <a:gd name="T9" fmla="*/ 45099 h 750"/>
              <a:gd name="T10" fmla="*/ 13284 w 624"/>
              <a:gd name="T11" fmla="*/ 44293 h 750"/>
              <a:gd name="T12" fmla="*/ 12503 w 624"/>
              <a:gd name="T13" fmla="*/ 41072 h 750"/>
              <a:gd name="T14" fmla="*/ 10940 w 624"/>
              <a:gd name="T15" fmla="*/ 38656 h 750"/>
              <a:gd name="T16" fmla="*/ 9377 w 624"/>
              <a:gd name="T17" fmla="*/ 37045 h 750"/>
              <a:gd name="T18" fmla="*/ 9377 w 624"/>
              <a:gd name="T19" fmla="*/ 35435 h 750"/>
              <a:gd name="T20" fmla="*/ 8596 w 624"/>
              <a:gd name="T21" fmla="*/ 33019 h 750"/>
              <a:gd name="T22" fmla="*/ 6251 w 624"/>
              <a:gd name="T23" fmla="*/ 30603 h 750"/>
              <a:gd name="T24" fmla="*/ 4688 w 624"/>
              <a:gd name="T25" fmla="*/ 30603 h 750"/>
              <a:gd name="T26" fmla="*/ 4688 w 624"/>
              <a:gd name="T27" fmla="*/ 28187 h 750"/>
              <a:gd name="T28" fmla="*/ 5470 w 624"/>
              <a:gd name="T29" fmla="*/ 24965 h 750"/>
              <a:gd name="T30" fmla="*/ 7814 w 624"/>
              <a:gd name="T31" fmla="*/ 21744 h 750"/>
              <a:gd name="T32" fmla="*/ 6251 w 624"/>
              <a:gd name="T33" fmla="*/ 18523 h 750"/>
              <a:gd name="T34" fmla="*/ 4688 w 624"/>
              <a:gd name="T35" fmla="*/ 18523 h 750"/>
              <a:gd name="T36" fmla="*/ 2344 w 624"/>
              <a:gd name="T37" fmla="*/ 17717 h 750"/>
              <a:gd name="T38" fmla="*/ 0 w 624"/>
              <a:gd name="T39" fmla="*/ 17717 h 750"/>
              <a:gd name="T40" fmla="*/ 0 w 624"/>
              <a:gd name="T41" fmla="*/ 15301 h 750"/>
              <a:gd name="T42" fmla="*/ 781 w 624"/>
              <a:gd name="T43" fmla="*/ 14496 h 750"/>
              <a:gd name="T44" fmla="*/ 1563 w 624"/>
              <a:gd name="T45" fmla="*/ 11275 h 750"/>
              <a:gd name="T46" fmla="*/ 3126 w 624"/>
              <a:gd name="T47" fmla="*/ 13691 h 750"/>
              <a:gd name="T48" fmla="*/ 4688 w 624"/>
              <a:gd name="T49" fmla="*/ 13691 h 750"/>
              <a:gd name="T50" fmla="*/ 5470 w 624"/>
              <a:gd name="T51" fmla="*/ 13691 h 750"/>
              <a:gd name="T52" fmla="*/ 7033 w 624"/>
              <a:gd name="T53" fmla="*/ 12080 h 750"/>
              <a:gd name="T54" fmla="*/ 7814 w 624"/>
              <a:gd name="T55" fmla="*/ 11275 h 750"/>
              <a:gd name="T56" fmla="*/ 8596 w 624"/>
              <a:gd name="T57" fmla="*/ 9664 h 750"/>
              <a:gd name="T58" fmla="*/ 10158 w 624"/>
              <a:gd name="T59" fmla="*/ 9664 h 750"/>
              <a:gd name="T60" fmla="*/ 14065 w 624"/>
              <a:gd name="T61" fmla="*/ 8053 h 750"/>
              <a:gd name="T62" fmla="*/ 17191 w 624"/>
              <a:gd name="T63" fmla="*/ 3221 h 750"/>
              <a:gd name="T64" fmla="*/ 18754 w 624"/>
              <a:gd name="T65" fmla="*/ 3221 h 750"/>
              <a:gd name="T66" fmla="*/ 20317 w 624"/>
              <a:gd name="T67" fmla="*/ 1611 h 750"/>
              <a:gd name="T68" fmla="*/ 22661 w 624"/>
              <a:gd name="T69" fmla="*/ 0 h 750"/>
              <a:gd name="T70" fmla="*/ 25005 w 624"/>
              <a:gd name="T71" fmla="*/ 1611 h 750"/>
              <a:gd name="T72" fmla="*/ 26568 w 624"/>
              <a:gd name="T73" fmla="*/ 4027 h 750"/>
              <a:gd name="T74" fmla="*/ 27349 w 624"/>
              <a:gd name="T75" fmla="*/ 6443 h 750"/>
              <a:gd name="T76" fmla="*/ 30475 w 624"/>
              <a:gd name="T77" fmla="*/ 8859 h 750"/>
              <a:gd name="T78" fmla="*/ 32819 w 624"/>
              <a:gd name="T79" fmla="*/ 11275 h 750"/>
              <a:gd name="T80" fmla="*/ 35945 w 624"/>
              <a:gd name="T81" fmla="*/ 9664 h 750"/>
              <a:gd name="T82" fmla="*/ 38289 w 624"/>
              <a:gd name="T83" fmla="*/ 9664 h 750"/>
              <a:gd name="T84" fmla="*/ 39852 w 624"/>
              <a:gd name="T85" fmla="*/ 9664 h 750"/>
              <a:gd name="T86" fmla="*/ 41415 w 624"/>
              <a:gd name="T87" fmla="*/ 9664 h 750"/>
              <a:gd name="T88" fmla="*/ 41415 w 624"/>
              <a:gd name="T89" fmla="*/ 13691 h 750"/>
              <a:gd name="T90" fmla="*/ 39852 w 624"/>
              <a:gd name="T91" fmla="*/ 16107 h 750"/>
              <a:gd name="T92" fmla="*/ 38289 w 624"/>
              <a:gd name="T93" fmla="*/ 20939 h 750"/>
              <a:gd name="T94" fmla="*/ 36726 w 624"/>
              <a:gd name="T95" fmla="*/ 20939 h 750"/>
              <a:gd name="T96" fmla="*/ 34382 w 624"/>
              <a:gd name="T97" fmla="*/ 20939 h 750"/>
              <a:gd name="T98" fmla="*/ 33601 w 624"/>
              <a:gd name="T99" fmla="*/ 21744 h 750"/>
              <a:gd name="T100" fmla="*/ 35164 w 624"/>
              <a:gd name="T101" fmla="*/ 25771 h 750"/>
              <a:gd name="T102" fmla="*/ 34382 w 624"/>
              <a:gd name="T103" fmla="*/ 34629 h 750"/>
              <a:gd name="T104" fmla="*/ 34382 w 624"/>
              <a:gd name="T105" fmla="*/ 37851 h 750"/>
              <a:gd name="T106" fmla="*/ 34382 w 624"/>
              <a:gd name="T107" fmla="*/ 43488 h 750"/>
              <a:gd name="T108" fmla="*/ 32038 w 624"/>
              <a:gd name="T109" fmla="*/ 48320 h 750"/>
              <a:gd name="T110" fmla="*/ 32819 w 624"/>
              <a:gd name="T111" fmla="*/ 49931 h 750"/>
              <a:gd name="T112" fmla="*/ 33601 w 624"/>
              <a:gd name="T113" fmla="*/ 52347 h 750"/>
              <a:gd name="T114" fmla="*/ 30475 w 624"/>
              <a:gd name="T115" fmla="*/ 50736 h 750"/>
              <a:gd name="T116" fmla="*/ 27349 w 624"/>
              <a:gd name="T117" fmla="*/ 49931 h 7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24"/>
              <a:gd name="T178" fmla="*/ 0 h 750"/>
              <a:gd name="T179" fmla="*/ 624 w 624"/>
              <a:gd name="T180" fmla="*/ 750 h 75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24" h="750">
                <a:moveTo>
                  <a:pt x="390" y="702"/>
                </a:moveTo>
                <a:lnTo>
                  <a:pt x="372" y="696"/>
                </a:lnTo>
                <a:lnTo>
                  <a:pt x="360" y="702"/>
                </a:lnTo>
                <a:lnTo>
                  <a:pt x="348" y="702"/>
                </a:lnTo>
                <a:lnTo>
                  <a:pt x="336" y="702"/>
                </a:lnTo>
                <a:lnTo>
                  <a:pt x="330" y="702"/>
                </a:lnTo>
                <a:lnTo>
                  <a:pt x="318" y="708"/>
                </a:lnTo>
                <a:lnTo>
                  <a:pt x="306" y="708"/>
                </a:lnTo>
                <a:lnTo>
                  <a:pt x="294" y="690"/>
                </a:lnTo>
                <a:lnTo>
                  <a:pt x="294" y="684"/>
                </a:lnTo>
                <a:lnTo>
                  <a:pt x="276" y="684"/>
                </a:lnTo>
                <a:lnTo>
                  <a:pt x="270" y="678"/>
                </a:lnTo>
                <a:lnTo>
                  <a:pt x="240" y="672"/>
                </a:lnTo>
                <a:lnTo>
                  <a:pt x="234" y="672"/>
                </a:lnTo>
                <a:lnTo>
                  <a:pt x="228" y="672"/>
                </a:lnTo>
                <a:lnTo>
                  <a:pt x="228" y="666"/>
                </a:lnTo>
                <a:lnTo>
                  <a:pt x="222" y="666"/>
                </a:lnTo>
                <a:lnTo>
                  <a:pt x="216" y="660"/>
                </a:lnTo>
                <a:lnTo>
                  <a:pt x="216" y="654"/>
                </a:lnTo>
                <a:lnTo>
                  <a:pt x="216" y="642"/>
                </a:lnTo>
                <a:lnTo>
                  <a:pt x="210" y="642"/>
                </a:lnTo>
                <a:lnTo>
                  <a:pt x="204" y="636"/>
                </a:lnTo>
                <a:lnTo>
                  <a:pt x="198" y="636"/>
                </a:lnTo>
                <a:lnTo>
                  <a:pt x="192" y="636"/>
                </a:lnTo>
                <a:lnTo>
                  <a:pt x="192" y="624"/>
                </a:lnTo>
                <a:lnTo>
                  <a:pt x="186" y="612"/>
                </a:lnTo>
                <a:lnTo>
                  <a:pt x="186" y="600"/>
                </a:lnTo>
                <a:lnTo>
                  <a:pt x="186" y="588"/>
                </a:lnTo>
                <a:lnTo>
                  <a:pt x="180" y="582"/>
                </a:lnTo>
                <a:lnTo>
                  <a:pt x="180" y="570"/>
                </a:lnTo>
                <a:lnTo>
                  <a:pt x="174" y="558"/>
                </a:lnTo>
                <a:lnTo>
                  <a:pt x="162" y="558"/>
                </a:lnTo>
                <a:lnTo>
                  <a:pt x="144" y="564"/>
                </a:lnTo>
                <a:lnTo>
                  <a:pt x="138" y="552"/>
                </a:lnTo>
                <a:lnTo>
                  <a:pt x="144" y="540"/>
                </a:lnTo>
                <a:lnTo>
                  <a:pt x="138" y="534"/>
                </a:lnTo>
                <a:lnTo>
                  <a:pt x="138" y="528"/>
                </a:lnTo>
                <a:lnTo>
                  <a:pt x="132" y="522"/>
                </a:lnTo>
                <a:lnTo>
                  <a:pt x="144" y="522"/>
                </a:lnTo>
                <a:lnTo>
                  <a:pt x="144" y="510"/>
                </a:lnTo>
                <a:lnTo>
                  <a:pt x="144" y="504"/>
                </a:lnTo>
                <a:lnTo>
                  <a:pt x="138" y="492"/>
                </a:lnTo>
                <a:lnTo>
                  <a:pt x="138" y="474"/>
                </a:lnTo>
                <a:lnTo>
                  <a:pt x="126" y="468"/>
                </a:lnTo>
                <a:lnTo>
                  <a:pt x="120" y="456"/>
                </a:lnTo>
                <a:lnTo>
                  <a:pt x="114" y="450"/>
                </a:lnTo>
                <a:lnTo>
                  <a:pt x="108" y="438"/>
                </a:lnTo>
                <a:lnTo>
                  <a:pt x="96" y="432"/>
                </a:lnTo>
                <a:lnTo>
                  <a:pt x="84" y="432"/>
                </a:lnTo>
                <a:lnTo>
                  <a:pt x="78" y="432"/>
                </a:lnTo>
                <a:lnTo>
                  <a:pt x="72" y="432"/>
                </a:lnTo>
                <a:lnTo>
                  <a:pt x="66" y="432"/>
                </a:lnTo>
                <a:lnTo>
                  <a:pt x="60" y="426"/>
                </a:lnTo>
                <a:lnTo>
                  <a:pt x="66" y="420"/>
                </a:lnTo>
                <a:lnTo>
                  <a:pt x="66" y="408"/>
                </a:lnTo>
                <a:lnTo>
                  <a:pt x="72" y="408"/>
                </a:lnTo>
                <a:lnTo>
                  <a:pt x="72" y="384"/>
                </a:lnTo>
                <a:lnTo>
                  <a:pt x="72" y="366"/>
                </a:lnTo>
                <a:lnTo>
                  <a:pt x="78" y="354"/>
                </a:lnTo>
                <a:lnTo>
                  <a:pt x="84" y="354"/>
                </a:lnTo>
                <a:lnTo>
                  <a:pt x="90" y="348"/>
                </a:lnTo>
                <a:lnTo>
                  <a:pt x="102" y="336"/>
                </a:lnTo>
                <a:lnTo>
                  <a:pt x="114" y="324"/>
                </a:lnTo>
                <a:lnTo>
                  <a:pt x="120" y="312"/>
                </a:lnTo>
                <a:lnTo>
                  <a:pt x="126" y="294"/>
                </a:lnTo>
                <a:lnTo>
                  <a:pt x="126" y="288"/>
                </a:lnTo>
                <a:lnTo>
                  <a:pt x="120" y="276"/>
                </a:lnTo>
                <a:lnTo>
                  <a:pt x="96" y="270"/>
                </a:lnTo>
                <a:lnTo>
                  <a:pt x="84" y="270"/>
                </a:lnTo>
                <a:lnTo>
                  <a:pt x="78" y="270"/>
                </a:lnTo>
                <a:lnTo>
                  <a:pt x="72" y="270"/>
                </a:lnTo>
                <a:lnTo>
                  <a:pt x="72" y="264"/>
                </a:lnTo>
                <a:lnTo>
                  <a:pt x="60" y="252"/>
                </a:lnTo>
                <a:lnTo>
                  <a:pt x="42" y="252"/>
                </a:lnTo>
                <a:lnTo>
                  <a:pt x="42" y="258"/>
                </a:lnTo>
                <a:lnTo>
                  <a:pt x="36" y="258"/>
                </a:lnTo>
                <a:lnTo>
                  <a:pt x="36" y="252"/>
                </a:lnTo>
                <a:lnTo>
                  <a:pt x="18" y="252"/>
                </a:lnTo>
                <a:lnTo>
                  <a:pt x="6" y="258"/>
                </a:lnTo>
                <a:lnTo>
                  <a:pt x="0" y="258"/>
                </a:lnTo>
                <a:lnTo>
                  <a:pt x="0" y="252"/>
                </a:lnTo>
                <a:lnTo>
                  <a:pt x="6" y="240"/>
                </a:lnTo>
                <a:lnTo>
                  <a:pt x="6" y="234"/>
                </a:lnTo>
                <a:lnTo>
                  <a:pt x="6" y="222"/>
                </a:lnTo>
                <a:lnTo>
                  <a:pt x="6" y="216"/>
                </a:lnTo>
                <a:lnTo>
                  <a:pt x="6" y="210"/>
                </a:lnTo>
                <a:lnTo>
                  <a:pt x="6" y="204"/>
                </a:lnTo>
                <a:lnTo>
                  <a:pt x="12" y="204"/>
                </a:lnTo>
                <a:lnTo>
                  <a:pt x="12" y="198"/>
                </a:lnTo>
                <a:lnTo>
                  <a:pt x="12" y="186"/>
                </a:lnTo>
                <a:lnTo>
                  <a:pt x="12" y="180"/>
                </a:lnTo>
                <a:lnTo>
                  <a:pt x="24" y="162"/>
                </a:lnTo>
                <a:lnTo>
                  <a:pt x="30" y="162"/>
                </a:lnTo>
                <a:lnTo>
                  <a:pt x="30" y="156"/>
                </a:lnTo>
                <a:lnTo>
                  <a:pt x="42" y="156"/>
                </a:lnTo>
                <a:lnTo>
                  <a:pt x="48" y="198"/>
                </a:lnTo>
                <a:lnTo>
                  <a:pt x="48" y="204"/>
                </a:lnTo>
                <a:lnTo>
                  <a:pt x="54" y="198"/>
                </a:lnTo>
                <a:lnTo>
                  <a:pt x="60" y="204"/>
                </a:lnTo>
                <a:lnTo>
                  <a:pt x="66" y="198"/>
                </a:lnTo>
                <a:lnTo>
                  <a:pt x="66" y="204"/>
                </a:lnTo>
                <a:lnTo>
                  <a:pt x="72" y="204"/>
                </a:lnTo>
                <a:lnTo>
                  <a:pt x="78" y="204"/>
                </a:lnTo>
                <a:lnTo>
                  <a:pt x="78" y="192"/>
                </a:lnTo>
                <a:lnTo>
                  <a:pt x="84" y="192"/>
                </a:lnTo>
                <a:lnTo>
                  <a:pt x="90" y="192"/>
                </a:lnTo>
                <a:lnTo>
                  <a:pt x="96" y="186"/>
                </a:lnTo>
                <a:lnTo>
                  <a:pt x="102" y="180"/>
                </a:lnTo>
                <a:lnTo>
                  <a:pt x="102" y="174"/>
                </a:lnTo>
                <a:lnTo>
                  <a:pt x="108" y="168"/>
                </a:lnTo>
                <a:lnTo>
                  <a:pt x="108" y="162"/>
                </a:lnTo>
                <a:lnTo>
                  <a:pt x="114" y="156"/>
                </a:lnTo>
                <a:lnTo>
                  <a:pt x="120" y="156"/>
                </a:lnTo>
                <a:lnTo>
                  <a:pt x="126" y="156"/>
                </a:lnTo>
                <a:lnTo>
                  <a:pt x="132" y="150"/>
                </a:lnTo>
                <a:lnTo>
                  <a:pt x="132" y="144"/>
                </a:lnTo>
                <a:lnTo>
                  <a:pt x="138" y="138"/>
                </a:lnTo>
                <a:lnTo>
                  <a:pt x="144" y="138"/>
                </a:lnTo>
                <a:lnTo>
                  <a:pt x="150" y="138"/>
                </a:lnTo>
                <a:lnTo>
                  <a:pt x="150" y="132"/>
                </a:lnTo>
                <a:lnTo>
                  <a:pt x="150" y="126"/>
                </a:lnTo>
                <a:lnTo>
                  <a:pt x="156" y="126"/>
                </a:lnTo>
                <a:lnTo>
                  <a:pt x="174" y="126"/>
                </a:lnTo>
                <a:lnTo>
                  <a:pt x="204" y="120"/>
                </a:lnTo>
                <a:lnTo>
                  <a:pt x="210" y="78"/>
                </a:lnTo>
                <a:lnTo>
                  <a:pt x="246" y="60"/>
                </a:lnTo>
                <a:lnTo>
                  <a:pt x="258" y="60"/>
                </a:lnTo>
                <a:lnTo>
                  <a:pt x="258" y="48"/>
                </a:lnTo>
                <a:lnTo>
                  <a:pt x="264" y="48"/>
                </a:lnTo>
                <a:lnTo>
                  <a:pt x="270" y="54"/>
                </a:lnTo>
                <a:lnTo>
                  <a:pt x="276" y="54"/>
                </a:lnTo>
                <a:lnTo>
                  <a:pt x="276" y="48"/>
                </a:lnTo>
                <a:lnTo>
                  <a:pt x="282" y="48"/>
                </a:lnTo>
                <a:lnTo>
                  <a:pt x="288" y="42"/>
                </a:lnTo>
                <a:lnTo>
                  <a:pt x="294" y="42"/>
                </a:lnTo>
                <a:lnTo>
                  <a:pt x="294" y="18"/>
                </a:lnTo>
                <a:lnTo>
                  <a:pt x="312" y="6"/>
                </a:lnTo>
                <a:lnTo>
                  <a:pt x="318" y="6"/>
                </a:lnTo>
                <a:lnTo>
                  <a:pt x="324" y="6"/>
                </a:lnTo>
                <a:lnTo>
                  <a:pt x="330" y="0"/>
                </a:lnTo>
                <a:lnTo>
                  <a:pt x="336" y="0"/>
                </a:lnTo>
                <a:lnTo>
                  <a:pt x="342" y="0"/>
                </a:lnTo>
                <a:lnTo>
                  <a:pt x="354" y="6"/>
                </a:lnTo>
                <a:lnTo>
                  <a:pt x="366" y="18"/>
                </a:lnTo>
                <a:lnTo>
                  <a:pt x="378" y="36"/>
                </a:lnTo>
                <a:lnTo>
                  <a:pt x="390" y="42"/>
                </a:lnTo>
                <a:lnTo>
                  <a:pt x="390" y="48"/>
                </a:lnTo>
                <a:lnTo>
                  <a:pt x="396" y="60"/>
                </a:lnTo>
                <a:lnTo>
                  <a:pt x="402" y="72"/>
                </a:lnTo>
                <a:lnTo>
                  <a:pt x="408" y="78"/>
                </a:lnTo>
                <a:lnTo>
                  <a:pt x="402" y="84"/>
                </a:lnTo>
                <a:lnTo>
                  <a:pt x="408" y="90"/>
                </a:lnTo>
                <a:lnTo>
                  <a:pt x="414" y="102"/>
                </a:lnTo>
                <a:lnTo>
                  <a:pt x="444" y="114"/>
                </a:lnTo>
                <a:lnTo>
                  <a:pt x="450" y="114"/>
                </a:lnTo>
                <a:lnTo>
                  <a:pt x="450" y="126"/>
                </a:lnTo>
                <a:lnTo>
                  <a:pt x="456" y="126"/>
                </a:lnTo>
                <a:lnTo>
                  <a:pt x="462" y="144"/>
                </a:lnTo>
                <a:lnTo>
                  <a:pt x="480" y="156"/>
                </a:lnTo>
                <a:lnTo>
                  <a:pt x="492" y="156"/>
                </a:lnTo>
                <a:lnTo>
                  <a:pt x="516" y="150"/>
                </a:lnTo>
                <a:lnTo>
                  <a:pt x="516" y="144"/>
                </a:lnTo>
                <a:lnTo>
                  <a:pt x="516" y="138"/>
                </a:lnTo>
                <a:lnTo>
                  <a:pt x="528" y="138"/>
                </a:lnTo>
                <a:lnTo>
                  <a:pt x="546" y="144"/>
                </a:lnTo>
                <a:lnTo>
                  <a:pt x="546" y="138"/>
                </a:lnTo>
                <a:lnTo>
                  <a:pt x="552" y="138"/>
                </a:lnTo>
                <a:lnTo>
                  <a:pt x="564" y="138"/>
                </a:lnTo>
                <a:lnTo>
                  <a:pt x="570" y="132"/>
                </a:lnTo>
                <a:lnTo>
                  <a:pt x="576" y="138"/>
                </a:lnTo>
                <a:lnTo>
                  <a:pt x="582" y="138"/>
                </a:lnTo>
                <a:lnTo>
                  <a:pt x="588" y="138"/>
                </a:lnTo>
                <a:lnTo>
                  <a:pt x="594" y="138"/>
                </a:lnTo>
                <a:lnTo>
                  <a:pt x="594" y="144"/>
                </a:lnTo>
                <a:lnTo>
                  <a:pt x="600" y="138"/>
                </a:lnTo>
                <a:lnTo>
                  <a:pt x="606" y="138"/>
                </a:lnTo>
                <a:lnTo>
                  <a:pt x="606" y="144"/>
                </a:lnTo>
                <a:lnTo>
                  <a:pt x="612" y="144"/>
                </a:lnTo>
                <a:lnTo>
                  <a:pt x="618" y="156"/>
                </a:lnTo>
                <a:lnTo>
                  <a:pt x="612" y="198"/>
                </a:lnTo>
                <a:lnTo>
                  <a:pt x="624" y="198"/>
                </a:lnTo>
                <a:lnTo>
                  <a:pt x="624" y="204"/>
                </a:lnTo>
                <a:lnTo>
                  <a:pt x="612" y="216"/>
                </a:lnTo>
                <a:lnTo>
                  <a:pt x="594" y="234"/>
                </a:lnTo>
                <a:lnTo>
                  <a:pt x="588" y="252"/>
                </a:lnTo>
                <a:lnTo>
                  <a:pt x="576" y="270"/>
                </a:lnTo>
                <a:lnTo>
                  <a:pt x="564" y="282"/>
                </a:lnTo>
                <a:lnTo>
                  <a:pt x="564" y="294"/>
                </a:lnTo>
                <a:lnTo>
                  <a:pt x="558" y="282"/>
                </a:lnTo>
                <a:lnTo>
                  <a:pt x="552" y="282"/>
                </a:lnTo>
                <a:lnTo>
                  <a:pt x="546" y="288"/>
                </a:lnTo>
                <a:lnTo>
                  <a:pt x="546" y="294"/>
                </a:lnTo>
                <a:lnTo>
                  <a:pt x="540" y="294"/>
                </a:lnTo>
                <a:lnTo>
                  <a:pt x="534" y="294"/>
                </a:lnTo>
                <a:lnTo>
                  <a:pt x="522" y="300"/>
                </a:lnTo>
                <a:lnTo>
                  <a:pt x="510" y="294"/>
                </a:lnTo>
                <a:lnTo>
                  <a:pt x="492" y="300"/>
                </a:lnTo>
                <a:lnTo>
                  <a:pt x="492" y="306"/>
                </a:lnTo>
                <a:lnTo>
                  <a:pt x="498" y="312"/>
                </a:lnTo>
                <a:lnTo>
                  <a:pt x="498" y="318"/>
                </a:lnTo>
                <a:lnTo>
                  <a:pt x="498" y="324"/>
                </a:lnTo>
                <a:lnTo>
                  <a:pt x="504" y="336"/>
                </a:lnTo>
                <a:lnTo>
                  <a:pt x="510" y="348"/>
                </a:lnTo>
                <a:lnTo>
                  <a:pt x="516" y="366"/>
                </a:lnTo>
                <a:lnTo>
                  <a:pt x="522" y="432"/>
                </a:lnTo>
                <a:lnTo>
                  <a:pt x="522" y="456"/>
                </a:lnTo>
                <a:lnTo>
                  <a:pt x="504" y="492"/>
                </a:lnTo>
                <a:lnTo>
                  <a:pt x="504" y="498"/>
                </a:lnTo>
                <a:lnTo>
                  <a:pt x="498" y="504"/>
                </a:lnTo>
                <a:lnTo>
                  <a:pt x="498" y="522"/>
                </a:lnTo>
                <a:lnTo>
                  <a:pt x="504" y="534"/>
                </a:lnTo>
                <a:lnTo>
                  <a:pt x="510" y="546"/>
                </a:lnTo>
                <a:lnTo>
                  <a:pt x="516" y="558"/>
                </a:lnTo>
                <a:lnTo>
                  <a:pt x="516" y="588"/>
                </a:lnTo>
                <a:lnTo>
                  <a:pt x="516" y="600"/>
                </a:lnTo>
                <a:lnTo>
                  <a:pt x="510" y="618"/>
                </a:lnTo>
                <a:lnTo>
                  <a:pt x="504" y="636"/>
                </a:lnTo>
                <a:lnTo>
                  <a:pt x="504" y="642"/>
                </a:lnTo>
                <a:lnTo>
                  <a:pt x="474" y="654"/>
                </a:lnTo>
                <a:lnTo>
                  <a:pt x="474" y="690"/>
                </a:lnTo>
                <a:lnTo>
                  <a:pt x="474" y="696"/>
                </a:lnTo>
                <a:lnTo>
                  <a:pt x="480" y="702"/>
                </a:lnTo>
                <a:lnTo>
                  <a:pt x="486" y="708"/>
                </a:lnTo>
                <a:lnTo>
                  <a:pt x="492" y="708"/>
                </a:lnTo>
                <a:lnTo>
                  <a:pt x="498" y="726"/>
                </a:lnTo>
                <a:lnTo>
                  <a:pt x="504" y="726"/>
                </a:lnTo>
                <a:lnTo>
                  <a:pt x="504" y="738"/>
                </a:lnTo>
                <a:lnTo>
                  <a:pt x="498" y="744"/>
                </a:lnTo>
                <a:lnTo>
                  <a:pt x="486" y="750"/>
                </a:lnTo>
                <a:lnTo>
                  <a:pt x="474" y="744"/>
                </a:lnTo>
                <a:lnTo>
                  <a:pt x="462" y="744"/>
                </a:lnTo>
                <a:lnTo>
                  <a:pt x="456" y="732"/>
                </a:lnTo>
                <a:lnTo>
                  <a:pt x="444" y="732"/>
                </a:lnTo>
                <a:lnTo>
                  <a:pt x="432" y="726"/>
                </a:lnTo>
                <a:lnTo>
                  <a:pt x="420" y="720"/>
                </a:lnTo>
                <a:lnTo>
                  <a:pt x="408" y="708"/>
                </a:lnTo>
                <a:lnTo>
                  <a:pt x="402" y="708"/>
                </a:lnTo>
                <a:lnTo>
                  <a:pt x="390" y="702"/>
                </a:lnTo>
                <a:close/>
              </a:path>
            </a:pathLst>
          </a:custGeom>
          <a:solidFill>
            <a:srgbClr val="FF9900"/>
          </a:solidFill>
          <a:ln w="9525">
            <a:solidFill>
              <a:schemeClr val="bg1"/>
            </a:solidFill>
            <a:round/>
            <a:headEnd/>
            <a:tailEnd/>
          </a:ln>
        </p:spPr>
        <p:txBody>
          <a:bodyPr/>
          <a:lstStyle/>
          <a:p>
            <a:endParaRPr lang="en-GB"/>
          </a:p>
        </p:txBody>
      </p:sp>
      <p:sp>
        <p:nvSpPr>
          <p:cNvPr id="20505" name="Freeform 21"/>
          <p:cNvSpPr>
            <a:spLocks/>
          </p:cNvSpPr>
          <p:nvPr/>
        </p:nvSpPr>
        <p:spPr bwMode="gray">
          <a:xfrm>
            <a:off x="3860800" y="5157788"/>
            <a:ext cx="460375" cy="574675"/>
          </a:xfrm>
          <a:custGeom>
            <a:avLst/>
            <a:gdLst>
              <a:gd name="T0" fmla="*/ 11718 w 588"/>
              <a:gd name="T1" fmla="*/ 47505 h 714"/>
              <a:gd name="T2" fmla="*/ 10937 w 588"/>
              <a:gd name="T3" fmla="*/ 46700 h 714"/>
              <a:gd name="T4" fmla="*/ 7031 w 588"/>
              <a:gd name="T5" fmla="*/ 43479 h 714"/>
              <a:gd name="T6" fmla="*/ 3125 w 588"/>
              <a:gd name="T7" fmla="*/ 43479 h 714"/>
              <a:gd name="T8" fmla="*/ 0 w 588"/>
              <a:gd name="T9" fmla="*/ 40259 h 714"/>
              <a:gd name="T10" fmla="*/ 0 w 588"/>
              <a:gd name="T11" fmla="*/ 35428 h 714"/>
              <a:gd name="T12" fmla="*/ 3125 w 588"/>
              <a:gd name="T13" fmla="*/ 37038 h 714"/>
              <a:gd name="T14" fmla="*/ 5468 w 588"/>
              <a:gd name="T15" fmla="*/ 37843 h 714"/>
              <a:gd name="T16" fmla="*/ 7812 w 588"/>
              <a:gd name="T17" fmla="*/ 37038 h 714"/>
              <a:gd name="T18" fmla="*/ 6249 w 588"/>
              <a:gd name="T19" fmla="*/ 35428 h 714"/>
              <a:gd name="T20" fmla="*/ 7812 w 588"/>
              <a:gd name="T21" fmla="*/ 31402 h 714"/>
              <a:gd name="T22" fmla="*/ 8593 w 588"/>
              <a:gd name="T23" fmla="*/ 27376 h 714"/>
              <a:gd name="T24" fmla="*/ 7031 w 588"/>
              <a:gd name="T25" fmla="*/ 22545 h 714"/>
              <a:gd name="T26" fmla="*/ 8593 w 588"/>
              <a:gd name="T27" fmla="*/ 17714 h 714"/>
              <a:gd name="T28" fmla="*/ 7812 w 588"/>
              <a:gd name="T29" fmla="*/ 9662 h 714"/>
              <a:gd name="T30" fmla="*/ 7031 w 588"/>
              <a:gd name="T31" fmla="*/ 7247 h 714"/>
              <a:gd name="T32" fmla="*/ 9374 w 588"/>
              <a:gd name="T33" fmla="*/ 6441 h 714"/>
              <a:gd name="T34" fmla="*/ 10937 w 588"/>
              <a:gd name="T35" fmla="*/ 5636 h 714"/>
              <a:gd name="T36" fmla="*/ 13280 w 588"/>
              <a:gd name="T37" fmla="*/ 8052 h 714"/>
              <a:gd name="T38" fmla="*/ 17967 w 588"/>
              <a:gd name="T39" fmla="*/ 11272 h 714"/>
              <a:gd name="T40" fmla="*/ 21873 w 588"/>
              <a:gd name="T41" fmla="*/ 3221 h 714"/>
              <a:gd name="T42" fmla="*/ 27341 w 588"/>
              <a:gd name="T43" fmla="*/ 1610 h 714"/>
              <a:gd name="T44" fmla="*/ 29685 w 588"/>
              <a:gd name="T45" fmla="*/ 0 h 714"/>
              <a:gd name="T46" fmla="*/ 31247 w 588"/>
              <a:gd name="T47" fmla="*/ 1610 h 714"/>
              <a:gd name="T48" fmla="*/ 30466 w 588"/>
              <a:gd name="T49" fmla="*/ 3221 h 714"/>
              <a:gd name="T50" fmla="*/ 32029 w 588"/>
              <a:gd name="T51" fmla="*/ 4026 h 714"/>
              <a:gd name="T52" fmla="*/ 32810 w 588"/>
              <a:gd name="T53" fmla="*/ 5636 h 714"/>
              <a:gd name="T54" fmla="*/ 33591 w 588"/>
              <a:gd name="T55" fmla="*/ 7247 h 714"/>
              <a:gd name="T56" fmla="*/ 33591 w 588"/>
              <a:gd name="T57" fmla="*/ 8052 h 714"/>
              <a:gd name="T58" fmla="*/ 33591 w 588"/>
              <a:gd name="T59" fmla="*/ 9662 h 714"/>
              <a:gd name="T60" fmla="*/ 34372 w 588"/>
              <a:gd name="T61" fmla="*/ 9662 h 714"/>
              <a:gd name="T62" fmla="*/ 35934 w 588"/>
              <a:gd name="T63" fmla="*/ 10467 h 714"/>
              <a:gd name="T64" fmla="*/ 36716 w 588"/>
              <a:gd name="T65" fmla="*/ 11272 h 714"/>
              <a:gd name="T66" fmla="*/ 37497 w 588"/>
              <a:gd name="T67" fmla="*/ 12078 h 714"/>
              <a:gd name="T68" fmla="*/ 38278 w 588"/>
              <a:gd name="T69" fmla="*/ 12078 h 714"/>
              <a:gd name="T70" fmla="*/ 37497 w 588"/>
              <a:gd name="T71" fmla="*/ 13688 h 714"/>
              <a:gd name="T72" fmla="*/ 38278 w 588"/>
              <a:gd name="T73" fmla="*/ 15298 h 714"/>
              <a:gd name="T74" fmla="*/ 38278 w 588"/>
              <a:gd name="T75" fmla="*/ 16103 h 714"/>
              <a:gd name="T76" fmla="*/ 39840 w 588"/>
              <a:gd name="T77" fmla="*/ 16909 h 714"/>
              <a:gd name="T78" fmla="*/ 39059 w 588"/>
              <a:gd name="T79" fmla="*/ 17714 h 714"/>
              <a:gd name="T80" fmla="*/ 36716 w 588"/>
              <a:gd name="T81" fmla="*/ 18519 h 714"/>
              <a:gd name="T82" fmla="*/ 36716 w 588"/>
              <a:gd name="T83" fmla="*/ 20935 h 714"/>
              <a:gd name="T84" fmla="*/ 36716 w 588"/>
              <a:gd name="T85" fmla="*/ 25766 h 714"/>
              <a:gd name="T86" fmla="*/ 34372 w 588"/>
              <a:gd name="T87" fmla="*/ 28181 h 714"/>
              <a:gd name="T88" fmla="*/ 32810 w 588"/>
              <a:gd name="T89" fmla="*/ 31402 h 714"/>
              <a:gd name="T90" fmla="*/ 32810 w 588"/>
              <a:gd name="T91" fmla="*/ 33012 h 714"/>
              <a:gd name="T92" fmla="*/ 32810 w 588"/>
              <a:gd name="T93" fmla="*/ 33817 h 714"/>
              <a:gd name="T94" fmla="*/ 32029 w 588"/>
              <a:gd name="T95" fmla="*/ 35428 h 714"/>
              <a:gd name="T96" fmla="*/ 30466 w 588"/>
              <a:gd name="T97" fmla="*/ 34622 h 714"/>
              <a:gd name="T98" fmla="*/ 28904 w 588"/>
              <a:gd name="T99" fmla="*/ 35428 h 714"/>
              <a:gd name="T100" fmla="*/ 27341 w 588"/>
              <a:gd name="T101" fmla="*/ 37038 h 714"/>
              <a:gd name="T102" fmla="*/ 24217 w 588"/>
              <a:gd name="T103" fmla="*/ 36233 h 714"/>
              <a:gd name="T104" fmla="*/ 18748 w 588"/>
              <a:gd name="T105" fmla="*/ 36233 h 714"/>
              <a:gd name="T106" fmla="*/ 19530 w 588"/>
              <a:gd name="T107" fmla="*/ 37843 h 714"/>
              <a:gd name="T108" fmla="*/ 19530 w 588"/>
              <a:gd name="T109" fmla="*/ 39454 h 714"/>
              <a:gd name="T110" fmla="*/ 19530 w 588"/>
              <a:gd name="T111" fmla="*/ 40259 h 714"/>
              <a:gd name="T112" fmla="*/ 18748 w 588"/>
              <a:gd name="T113" fmla="*/ 41064 h 714"/>
              <a:gd name="T114" fmla="*/ 17186 w 588"/>
              <a:gd name="T115" fmla="*/ 42674 h 714"/>
              <a:gd name="T116" fmla="*/ 17967 w 588"/>
              <a:gd name="T117" fmla="*/ 45090 h 714"/>
              <a:gd name="T118" fmla="*/ 15624 w 588"/>
              <a:gd name="T119" fmla="*/ 46700 h 714"/>
              <a:gd name="T120" fmla="*/ 14842 w 588"/>
              <a:gd name="T121" fmla="*/ 49921 h 7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88"/>
              <a:gd name="T184" fmla="*/ 0 h 714"/>
              <a:gd name="T185" fmla="*/ 588 w 588"/>
              <a:gd name="T186" fmla="*/ 714 h 7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88" h="714">
                <a:moveTo>
                  <a:pt x="216" y="714"/>
                </a:moveTo>
                <a:lnTo>
                  <a:pt x="198" y="702"/>
                </a:lnTo>
                <a:lnTo>
                  <a:pt x="186" y="696"/>
                </a:lnTo>
                <a:lnTo>
                  <a:pt x="180" y="684"/>
                </a:lnTo>
                <a:lnTo>
                  <a:pt x="174" y="684"/>
                </a:lnTo>
                <a:lnTo>
                  <a:pt x="174" y="678"/>
                </a:lnTo>
                <a:lnTo>
                  <a:pt x="168" y="672"/>
                </a:lnTo>
                <a:lnTo>
                  <a:pt x="162" y="666"/>
                </a:lnTo>
                <a:lnTo>
                  <a:pt x="156" y="636"/>
                </a:lnTo>
                <a:lnTo>
                  <a:pt x="144" y="630"/>
                </a:lnTo>
                <a:lnTo>
                  <a:pt x="108" y="630"/>
                </a:lnTo>
                <a:lnTo>
                  <a:pt x="102" y="624"/>
                </a:lnTo>
                <a:lnTo>
                  <a:pt x="96" y="624"/>
                </a:lnTo>
                <a:lnTo>
                  <a:pt x="72" y="624"/>
                </a:lnTo>
                <a:lnTo>
                  <a:pt x="54" y="624"/>
                </a:lnTo>
                <a:lnTo>
                  <a:pt x="42" y="618"/>
                </a:lnTo>
                <a:lnTo>
                  <a:pt x="30" y="612"/>
                </a:lnTo>
                <a:lnTo>
                  <a:pt x="6" y="606"/>
                </a:lnTo>
                <a:lnTo>
                  <a:pt x="0" y="606"/>
                </a:lnTo>
                <a:lnTo>
                  <a:pt x="0" y="570"/>
                </a:lnTo>
                <a:lnTo>
                  <a:pt x="6" y="552"/>
                </a:lnTo>
                <a:lnTo>
                  <a:pt x="6" y="522"/>
                </a:lnTo>
                <a:lnTo>
                  <a:pt x="0" y="510"/>
                </a:lnTo>
                <a:lnTo>
                  <a:pt x="0" y="504"/>
                </a:lnTo>
                <a:lnTo>
                  <a:pt x="12" y="510"/>
                </a:lnTo>
                <a:lnTo>
                  <a:pt x="18" y="510"/>
                </a:lnTo>
                <a:lnTo>
                  <a:pt x="30" y="522"/>
                </a:lnTo>
                <a:lnTo>
                  <a:pt x="42" y="528"/>
                </a:lnTo>
                <a:lnTo>
                  <a:pt x="54" y="534"/>
                </a:lnTo>
                <a:lnTo>
                  <a:pt x="66" y="534"/>
                </a:lnTo>
                <a:lnTo>
                  <a:pt x="72" y="546"/>
                </a:lnTo>
                <a:lnTo>
                  <a:pt x="84" y="546"/>
                </a:lnTo>
                <a:lnTo>
                  <a:pt x="96" y="552"/>
                </a:lnTo>
                <a:lnTo>
                  <a:pt x="108" y="546"/>
                </a:lnTo>
                <a:lnTo>
                  <a:pt x="114" y="540"/>
                </a:lnTo>
                <a:lnTo>
                  <a:pt x="114" y="528"/>
                </a:lnTo>
                <a:lnTo>
                  <a:pt x="108" y="528"/>
                </a:lnTo>
                <a:lnTo>
                  <a:pt x="102" y="510"/>
                </a:lnTo>
                <a:lnTo>
                  <a:pt x="96" y="510"/>
                </a:lnTo>
                <a:lnTo>
                  <a:pt x="90" y="504"/>
                </a:lnTo>
                <a:lnTo>
                  <a:pt x="84" y="498"/>
                </a:lnTo>
                <a:lnTo>
                  <a:pt x="84" y="492"/>
                </a:lnTo>
                <a:lnTo>
                  <a:pt x="84" y="456"/>
                </a:lnTo>
                <a:lnTo>
                  <a:pt x="114" y="444"/>
                </a:lnTo>
                <a:lnTo>
                  <a:pt x="114" y="438"/>
                </a:lnTo>
                <a:lnTo>
                  <a:pt x="120" y="420"/>
                </a:lnTo>
                <a:lnTo>
                  <a:pt x="126" y="402"/>
                </a:lnTo>
                <a:lnTo>
                  <a:pt x="126" y="390"/>
                </a:lnTo>
                <a:lnTo>
                  <a:pt x="126" y="360"/>
                </a:lnTo>
                <a:lnTo>
                  <a:pt x="120" y="348"/>
                </a:lnTo>
                <a:lnTo>
                  <a:pt x="114" y="336"/>
                </a:lnTo>
                <a:lnTo>
                  <a:pt x="108" y="324"/>
                </a:lnTo>
                <a:lnTo>
                  <a:pt x="108" y="306"/>
                </a:lnTo>
                <a:lnTo>
                  <a:pt x="114" y="300"/>
                </a:lnTo>
                <a:lnTo>
                  <a:pt x="114" y="294"/>
                </a:lnTo>
                <a:lnTo>
                  <a:pt x="132" y="258"/>
                </a:lnTo>
                <a:lnTo>
                  <a:pt x="132" y="234"/>
                </a:lnTo>
                <a:lnTo>
                  <a:pt x="126" y="168"/>
                </a:lnTo>
                <a:lnTo>
                  <a:pt x="120" y="150"/>
                </a:lnTo>
                <a:lnTo>
                  <a:pt x="114" y="138"/>
                </a:lnTo>
                <a:lnTo>
                  <a:pt x="108" y="126"/>
                </a:lnTo>
                <a:lnTo>
                  <a:pt x="108" y="120"/>
                </a:lnTo>
                <a:lnTo>
                  <a:pt x="108" y="114"/>
                </a:lnTo>
                <a:lnTo>
                  <a:pt x="102" y="108"/>
                </a:lnTo>
                <a:lnTo>
                  <a:pt x="102" y="102"/>
                </a:lnTo>
                <a:lnTo>
                  <a:pt x="120" y="96"/>
                </a:lnTo>
                <a:lnTo>
                  <a:pt x="132" y="102"/>
                </a:lnTo>
                <a:lnTo>
                  <a:pt x="144" y="96"/>
                </a:lnTo>
                <a:lnTo>
                  <a:pt x="150" y="96"/>
                </a:lnTo>
                <a:lnTo>
                  <a:pt x="156" y="96"/>
                </a:lnTo>
                <a:lnTo>
                  <a:pt x="156" y="90"/>
                </a:lnTo>
                <a:lnTo>
                  <a:pt x="162" y="84"/>
                </a:lnTo>
                <a:lnTo>
                  <a:pt x="168" y="84"/>
                </a:lnTo>
                <a:lnTo>
                  <a:pt x="174" y="96"/>
                </a:lnTo>
                <a:lnTo>
                  <a:pt x="186" y="96"/>
                </a:lnTo>
                <a:lnTo>
                  <a:pt x="192" y="114"/>
                </a:lnTo>
                <a:lnTo>
                  <a:pt x="204" y="132"/>
                </a:lnTo>
                <a:lnTo>
                  <a:pt x="216" y="144"/>
                </a:lnTo>
                <a:lnTo>
                  <a:pt x="240" y="162"/>
                </a:lnTo>
                <a:lnTo>
                  <a:pt x="270" y="156"/>
                </a:lnTo>
                <a:lnTo>
                  <a:pt x="282" y="126"/>
                </a:lnTo>
                <a:lnTo>
                  <a:pt x="282" y="96"/>
                </a:lnTo>
                <a:lnTo>
                  <a:pt x="294" y="54"/>
                </a:lnTo>
                <a:lnTo>
                  <a:pt x="324" y="48"/>
                </a:lnTo>
                <a:lnTo>
                  <a:pt x="342" y="48"/>
                </a:lnTo>
                <a:lnTo>
                  <a:pt x="384" y="48"/>
                </a:lnTo>
                <a:lnTo>
                  <a:pt x="390" y="30"/>
                </a:lnTo>
                <a:lnTo>
                  <a:pt x="402" y="18"/>
                </a:lnTo>
                <a:lnTo>
                  <a:pt x="438" y="6"/>
                </a:lnTo>
                <a:lnTo>
                  <a:pt x="438" y="0"/>
                </a:lnTo>
                <a:lnTo>
                  <a:pt x="444" y="0"/>
                </a:lnTo>
                <a:lnTo>
                  <a:pt x="444" y="6"/>
                </a:lnTo>
                <a:lnTo>
                  <a:pt x="450" y="6"/>
                </a:lnTo>
                <a:lnTo>
                  <a:pt x="456" y="12"/>
                </a:lnTo>
                <a:lnTo>
                  <a:pt x="456" y="18"/>
                </a:lnTo>
                <a:lnTo>
                  <a:pt x="462" y="24"/>
                </a:lnTo>
                <a:lnTo>
                  <a:pt x="462" y="30"/>
                </a:lnTo>
                <a:lnTo>
                  <a:pt x="468" y="36"/>
                </a:lnTo>
                <a:lnTo>
                  <a:pt x="462" y="36"/>
                </a:lnTo>
                <a:lnTo>
                  <a:pt x="456" y="42"/>
                </a:lnTo>
                <a:lnTo>
                  <a:pt x="462" y="42"/>
                </a:lnTo>
                <a:lnTo>
                  <a:pt x="468" y="48"/>
                </a:lnTo>
                <a:lnTo>
                  <a:pt x="468" y="54"/>
                </a:lnTo>
                <a:lnTo>
                  <a:pt x="474" y="54"/>
                </a:lnTo>
                <a:lnTo>
                  <a:pt x="474" y="60"/>
                </a:lnTo>
                <a:lnTo>
                  <a:pt x="486" y="78"/>
                </a:lnTo>
                <a:lnTo>
                  <a:pt x="486" y="84"/>
                </a:lnTo>
                <a:lnTo>
                  <a:pt x="492" y="84"/>
                </a:lnTo>
                <a:lnTo>
                  <a:pt x="492" y="90"/>
                </a:lnTo>
                <a:lnTo>
                  <a:pt x="492" y="96"/>
                </a:lnTo>
                <a:lnTo>
                  <a:pt x="492" y="102"/>
                </a:lnTo>
                <a:lnTo>
                  <a:pt x="498" y="102"/>
                </a:lnTo>
                <a:lnTo>
                  <a:pt x="504" y="102"/>
                </a:lnTo>
                <a:lnTo>
                  <a:pt x="504" y="108"/>
                </a:lnTo>
                <a:lnTo>
                  <a:pt x="504" y="114"/>
                </a:lnTo>
                <a:lnTo>
                  <a:pt x="498" y="114"/>
                </a:lnTo>
                <a:lnTo>
                  <a:pt x="498" y="120"/>
                </a:lnTo>
                <a:lnTo>
                  <a:pt x="498" y="126"/>
                </a:lnTo>
                <a:lnTo>
                  <a:pt x="504" y="126"/>
                </a:lnTo>
                <a:lnTo>
                  <a:pt x="498" y="132"/>
                </a:lnTo>
                <a:lnTo>
                  <a:pt x="504" y="138"/>
                </a:lnTo>
                <a:lnTo>
                  <a:pt x="504" y="132"/>
                </a:lnTo>
                <a:lnTo>
                  <a:pt x="510" y="132"/>
                </a:lnTo>
                <a:lnTo>
                  <a:pt x="510" y="138"/>
                </a:lnTo>
                <a:lnTo>
                  <a:pt x="516" y="144"/>
                </a:lnTo>
                <a:lnTo>
                  <a:pt x="522" y="144"/>
                </a:lnTo>
                <a:lnTo>
                  <a:pt x="522" y="150"/>
                </a:lnTo>
                <a:lnTo>
                  <a:pt x="528" y="150"/>
                </a:lnTo>
                <a:lnTo>
                  <a:pt x="534" y="150"/>
                </a:lnTo>
                <a:lnTo>
                  <a:pt x="534" y="156"/>
                </a:lnTo>
                <a:lnTo>
                  <a:pt x="534" y="162"/>
                </a:lnTo>
                <a:lnTo>
                  <a:pt x="540" y="156"/>
                </a:lnTo>
                <a:lnTo>
                  <a:pt x="546" y="156"/>
                </a:lnTo>
                <a:lnTo>
                  <a:pt x="546" y="162"/>
                </a:lnTo>
                <a:lnTo>
                  <a:pt x="546" y="168"/>
                </a:lnTo>
                <a:lnTo>
                  <a:pt x="552" y="168"/>
                </a:lnTo>
                <a:lnTo>
                  <a:pt x="546" y="168"/>
                </a:lnTo>
                <a:lnTo>
                  <a:pt x="546" y="174"/>
                </a:lnTo>
                <a:lnTo>
                  <a:pt x="558" y="180"/>
                </a:lnTo>
                <a:lnTo>
                  <a:pt x="564" y="180"/>
                </a:lnTo>
                <a:lnTo>
                  <a:pt x="564" y="186"/>
                </a:lnTo>
                <a:lnTo>
                  <a:pt x="558" y="192"/>
                </a:lnTo>
                <a:lnTo>
                  <a:pt x="558" y="198"/>
                </a:lnTo>
                <a:lnTo>
                  <a:pt x="552" y="198"/>
                </a:lnTo>
                <a:lnTo>
                  <a:pt x="558" y="204"/>
                </a:lnTo>
                <a:lnTo>
                  <a:pt x="564" y="204"/>
                </a:lnTo>
                <a:lnTo>
                  <a:pt x="564" y="210"/>
                </a:lnTo>
                <a:lnTo>
                  <a:pt x="570" y="216"/>
                </a:lnTo>
                <a:lnTo>
                  <a:pt x="576" y="222"/>
                </a:lnTo>
                <a:lnTo>
                  <a:pt x="576" y="228"/>
                </a:lnTo>
                <a:lnTo>
                  <a:pt x="570" y="228"/>
                </a:lnTo>
                <a:lnTo>
                  <a:pt x="570" y="234"/>
                </a:lnTo>
                <a:lnTo>
                  <a:pt x="576" y="234"/>
                </a:lnTo>
                <a:lnTo>
                  <a:pt x="582" y="234"/>
                </a:lnTo>
                <a:lnTo>
                  <a:pt x="588" y="234"/>
                </a:lnTo>
                <a:lnTo>
                  <a:pt x="588" y="240"/>
                </a:lnTo>
                <a:lnTo>
                  <a:pt x="588" y="246"/>
                </a:lnTo>
                <a:lnTo>
                  <a:pt x="588" y="252"/>
                </a:lnTo>
                <a:lnTo>
                  <a:pt x="582" y="252"/>
                </a:lnTo>
                <a:lnTo>
                  <a:pt x="576" y="252"/>
                </a:lnTo>
                <a:lnTo>
                  <a:pt x="582" y="258"/>
                </a:lnTo>
                <a:lnTo>
                  <a:pt x="582" y="264"/>
                </a:lnTo>
                <a:lnTo>
                  <a:pt x="576" y="264"/>
                </a:lnTo>
                <a:lnTo>
                  <a:pt x="546" y="264"/>
                </a:lnTo>
                <a:lnTo>
                  <a:pt x="546" y="276"/>
                </a:lnTo>
                <a:lnTo>
                  <a:pt x="540" y="282"/>
                </a:lnTo>
                <a:lnTo>
                  <a:pt x="540" y="294"/>
                </a:lnTo>
                <a:lnTo>
                  <a:pt x="540" y="300"/>
                </a:lnTo>
                <a:lnTo>
                  <a:pt x="540" y="324"/>
                </a:lnTo>
                <a:lnTo>
                  <a:pt x="552" y="330"/>
                </a:lnTo>
                <a:lnTo>
                  <a:pt x="558" y="342"/>
                </a:lnTo>
                <a:lnTo>
                  <a:pt x="546" y="372"/>
                </a:lnTo>
                <a:lnTo>
                  <a:pt x="534" y="372"/>
                </a:lnTo>
                <a:lnTo>
                  <a:pt x="534" y="384"/>
                </a:lnTo>
                <a:lnTo>
                  <a:pt x="522" y="384"/>
                </a:lnTo>
                <a:lnTo>
                  <a:pt x="510" y="402"/>
                </a:lnTo>
                <a:lnTo>
                  <a:pt x="504" y="420"/>
                </a:lnTo>
                <a:lnTo>
                  <a:pt x="492" y="426"/>
                </a:lnTo>
                <a:lnTo>
                  <a:pt x="486" y="432"/>
                </a:lnTo>
                <a:lnTo>
                  <a:pt x="486" y="444"/>
                </a:lnTo>
                <a:lnTo>
                  <a:pt x="486" y="450"/>
                </a:lnTo>
                <a:lnTo>
                  <a:pt x="486" y="456"/>
                </a:lnTo>
                <a:lnTo>
                  <a:pt x="486" y="462"/>
                </a:lnTo>
                <a:lnTo>
                  <a:pt x="486" y="468"/>
                </a:lnTo>
                <a:lnTo>
                  <a:pt x="480" y="468"/>
                </a:lnTo>
                <a:lnTo>
                  <a:pt x="480" y="474"/>
                </a:lnTo>
                <a:lnTo>
                  <a:pt x="480" y="480"/>
                </a:lnTo>
                <a:lnTo>
                  <a:pt x="480" y="486"/>
                </a:lnTo>
                <a:lnTo>
                  <a:pt x="480" y="492"/>
                </a:lnTo>
                <a:lnTo>
                  <a:pt x="480" y="498"/>
                </a:lnTo>
                <a:lnTo>
                  <a:pt x="474" y="504"/>
                </a:lnTo>
                <a:lnTo>
                  <a:pt x="468" y="510"/>
                </a:lnTo>
                <a:lnTo>
                  <a:pt x="462" y="510"/>
                </a:lnTo>
                <a:lnTo>
                  <a:pt x="456" y="504"/>
                </a:lnTo>
                <a:lnTo>
                  <a:pt x="456" y="498"/>
                </a:lnTo>
                <a:lnTo>
                  <a:pt x="450" y="498"/>
                </a:lnTo>
                <a:lnTo>
                  <a:pt x="444" y="498"/>
                </a:lnTo>
                <a:lnTo>
                  <a:pt x="438" y="498"/>
                </a:lnTo>
                <a:lnTo>
                  <a:pt x="432" y="498"/>
                </a:lnTo>
                <a:lnTo>
                  <a:pt x="426" y="504"/>
                </a:lnTo>
                <a:lnTo>
                  <a:pt x="426" y="510"/>
                </a:lnTo>
                <a:lnTo>
                  <a:pt x="420" y="516"/>
                </a:lnTo>
                <a:lnTo>
                  <a:pt x="414" y="522"/>
                </a:lnTo>
                <a:lnTo>
                  <a:pt x="402" y="528"/>
                </a:lnTo>
                <a:lnTo>
                  <a:pt x="396" y="528"/>
                </a:lnTo>
                <a:lnTo>
                  <a:pt x="384" y="528"/>
                </a:lnTo>
                <a:lnTo>
                  <a:pt x="366" y="540"/>
                </a:lnTo>
                <a:lnTo>
                  <a:pt x="360" y="522"/>
                </a:lnTo>
                <a:lnTo>
                  <a:pt x="348" y="504"/>
                </a:lnTo>
                <a:lnTo>
                  <a:pt x="330" y="504"/>
                </a:lnTo>
                <a:lnTo>
                  <a:pt x="282" y="516"/>
                </a:lnTo>
                <a:lnTo>
                  <a:pt x="282" y="522"/>
                </a:lnTo>
                <a:lnTo>
                  <a:pt x="282" y="534"/>
                </a:lnTo>
                <a:lnTo>
                  <a:pt x="288" y="540"/>
                </a:lnTo>
                <a:lnTo>
                  <a:pt x="294" y="540"/>
                </a:lnTo>
                <a:lnTo>
                  <a:pt x="288" y="540"/>
                </a:lnTo>
                <a:lnTo>
                  <a:pt x="282" y="540"/>
                </a:lnTo>
                <a:lnTo>
                  <a:pt x="282" y="546"/>
                </a:lnTo>
                <a:lnTo>
                  <a:pt x="288" y="552"/>
                </a:lnTo>
                <a:lnTo>
                  <a:pt x="294" y="564"/>
                </a:lnTo>
                <a:lnTo>
                  <a:pt x="300" y="564"/>
                </a:lnTo>
                <a:lnTo>
                  <a:pt x="300" y="570"/>
                </a:lnTo>
                <a:lnTo>
                  <a:pt x="294" y="570"/>
                </a:lnTo>
                <a:lnTo>
                  <a:pt x="288" y="570"/>
                </a:lnTo>
                <a:lnTo>
                  <a:pt x="288" y="576"/>
                </a:lnTo>
                <a:lnTo>
                  <a:pt x="288" y="582"/>
                </a:lnTo>
                <a:lnTo>
                  <a:pt x="276" y="588"/>
                </a:lnTo>
                <a:lnTo>
                  <a:pt x="276" y="594"/>
                </a:lnTo>
                <a:lnTo>
                  <a:pt x="270" y="606"/>
                </a:lnTo>
                <a:lnTo>
                  <a:pt x="264" y="612"/>
                </a:lnTo>
                <a:lnTo>
                  <a:pt x="258" y="612"/>
                </a:lnTo>
                <a:lnTo>
                  <a:pt x="252" y="612"/>
                </a:lnTo>
                <a:lnTo>
                  <a:pt x="252" y="618"/>
                </a:lnTo>
                <a:lnTo>
                  <a:pt x="252" y="624"/>
                </a:lnTo>
                <a:lnTo>
                  <a:pt x="252" y="630"/>
                </a:lnTo>
                <a:lnTo>
                  <a:pt x="264" y="642"/>
                </a:lnTo>
                <a:lnTo>
                  <a:pt x="258" y="648"/>
                </a:lnTo>
                <a:lnTo>
                  <a:pt x="246" y="654"/>
                </a:lnTo>
                <a:lnTo>
                  <a:pt x="240" y="660"/>
                </a:lnTo>
                <a:lnTo>
                  <a:pt x="234" y="672"/>
                </a:lnTo>
                <a:lnTo>
                  <a:pt x="234" y="678"/>
                </a:lnTo>
                <a:lnTo>
                  <a:pt x="228" y="684"/>
                </a:lnTo>
                <a:lnTo>
                  <a:pt x="228" y="696"/>
                </a:lnTo>
                <a:lnTo>
                  <a:pt x="216" y="714"/>
                </a:lnTo>
                <a:close/>
              </a:path>
            </a:pathLst>
          </a:custGeom>
          <a:solidFill>
            <a:srgbClr val="FF9900"/>
          </a:solidFill>
          <a:ln w="9525">
            <a:solidFill>
              <a:schemeClr val="bg1"/>
            </a:solidFill>
            <a:round/>
            <a:headEnd/>
            <a:tailEnd/>
          </a:ln>
        </p:spPr>
        <p:txBody>
          <a:bodyPr/>
          <a:lstStyle/>
          <a:p>
            <a:endParaRPr lang="en-GB"/>
          </a:p>
        </p:txBody>
      </p:sp>
      <p:sp>
        <p:nvSpPr>
          <p:cNvPr id="20506" name="Freeform 22"/>
          <p:cNvSpPr>
            <a:spLocks/>
          </p:cNvSpPr>
          <p:nvPr/>
        </p:nvSpPr>
        <p:spPr bwMode="gray">
          <a:xfrm>
            <a:off x="3403600" y="5151438"/>
            <a:ext cx="368300" cy="561975"/>
          </a:xfrm>
          <a:custGeom>
            <a:avLst/>
            <a:gdLst>
              <a:gd name="T0" fmla="*/ 0 w 468"/>
              <a:gd name="T1" fmla="*/ 49270 h 696"/>
              <a:gd name="T2" fmla="*/ 785 w 468"/>
              <a:gd name="T3" fmla="*/ 46846 h 696"/>
              <a:gd name="T4" fmla="*/ 1570 w 468"/>
              <a:gd name="T5" fmla="*/ 43616 h 696"/>
              <a:gd name="T6" fmla="*/ 2356 w 468"/>
              <a:gd name="T7" fmla="*/ 41193 h 696"/>
              <a:gd name="T8" fmla="*/ 3141 w 468"/>
              <a:gd name="T9" fmla="*/ 38770 h 696"/>
              <a:gd name="T10" fmla="*/ 4711 w 468"/>
              <a:gd name="T11" fmla="*/ 35539 h 696"/>
              <a:gd name="T12" fmla="*/ 3926 w 468"/>
              <a:gd name="T13" fmla="*/ 33116 h 696"/>
              <a:gd name="T14" fmla="*/ 5496 w 468"/>
              <a:gd name="T15" fmla="*/ 30693 h 696"/>
              <a:gd name="T16" fmla="*/ 6282 w 468"/>
              <a:gd name="T17" fmla="*/ 29077 h 696"/>
              <a:gd name="T18" fmla="*/ 5496 w 468"/>
              <a:gd name="T19" fmla="*/ 26654 h 696"/>
              <a:gd name="T20" fmla="*/ 4711 w 468"/>
              <a:gd name="T21" fmla="*/ 23423 h 696"/>
              <a:gd name="T22" fmla="*/ 3141 w 468"/>
              <a:gd name="T23" fmla="*/ 17769 h 696"/>
              <a:gd name="T24" fmla="*/ 1570 w 468"/>
              <a:gd name="T25" fmla="*/ 11308 h 696"/>
              <a:gd name="T26" fmla="*/ 9422 w 468"/>
              <a:gd name="T27" fmla="*/ 8885 h 696"/>
              <a:gd name="T28" fmla="*/ 10993 w 468"/>
              <a:gd name="T29" fmla="*/ 1615 h 696"/>
              <a:gd name="T30" fmla="*/ 12563 w 468"/>
              <a:gd name="T31" fmla="*/ 0 h 696"/>
              <a:gd name="T32" fmla="*/ 13348 w 468"/>
              <a:gd name="T33" fmla="*/ 0 h 696"/>
              <a:gd name="T34" fmla="*/ 14133 w 468"/>
              <a:gd name="T35" fmla="*/ 808 h 696"/>
              <a:gd name="T36" fmla="*/ 13348 w 468"/>
              <a:gd name="T37" fmla="*/ 1615 h 696"/>
              <a:gd name="T38" fmla="*/ 13348 w 468"/>
              <a:gd name="T39" fmla="*/ 3231 h 696"/>
              <a:gd name="T40" fmla="*/ 13348 w 468"/>
              <a:gd name="T41" fmla="*/ 4846 h 696"/>
              <a:gd name="T42" fmla="*/ 15704 w 468"/>
              <a:gd name="T43" fmla="*/ 4846 h 696"/>
              <a:gd name="T44" fmla="*/ 17274 w 468"/>
              <a:gd name="T45" fmla="*/ 4038 h 696"/>
              <a:gd name="T46" fmla="*/ 18845 w 468"/>
              <a:gd name="T47" fmla="*/ 5654 h 696"/>
              <a:gd name="T48" fmla="*/ 21985 w 468"/>
              <a:gd name="T49" fmla="*/ 5654 h 696"/>
              <a:gd name="T50" fmla="*/ 21985 w 468"/>
              <a:gd name="T51" fmla="*/ 8885 h 696"/>
              <a:gd name="T52" fmla="*/ 19630 w 468"/>
              <a:gd name="T53" fmla="*/ 11308 h 696"/>
              <a:gd name="T54" fmla="*/ 18059 w 468"/>
              <a:gd name="T55" fmla="*/ 12115 h 696"/>
              <a:gd name="T56" fmla="*/ 18059 w 468"/>
              <a:gd name="T57" fmla="*/ 15346 h 696"/>
              <a:gd name="T58" fmla="*/ 18059 w 468"/>
              <a:gd name="T59" fmla="*/ 16962 h 696"/>
              <a:gd name="T60" fmla="*/ 18845 w 468"/>
              <a:gd name="T61" fmla="*/ 16962 h 696"/>
              <a:gd name="T62" fmla="*/ 21200 w 468"/>
              <a:gd name="T63" fmla="*/ 18577 h 696"/>
              <a:gd name="T64" fmla="*/ 22771 w 468"/>
              <a:gd name="T65" fmla="*/ 19385 h 696"/>
              <a:gd name="T66" fmla="*/ 22771 w 468"/>
              <a:gd name="T67" fmla="*/ 22616 h 696"/>
              <a:gd name="T68" fmla="*/ 22771 w 468"/>
              <a:gd name="T69" fmla="*/ 23423 h 696"/>
              <a:gd name="T70" fmla="*/ 22771 w 468"/>
              <a:gd name="T71" fmla="*/ 25846 h 696"/>
              <a:gd name="T72" fmla="*/ 25126 w 468"/>
              <a:gd name="T73" fmla="*/ 25846 h 696"/>
              <a:gd name="T74" fmla="*/ 25911 w 468"/>
              <a:gd name="T75" fmla="*/ 28269 h 696"/>
              <a:gd name="T76" fmla="*/ 26696 w 468"/>
              <a:gd name="T77" fmla="*/ 30693 h 696"/>
              <a:gd name="T78" fmla="*/ 27482 w 468"/>
              <a:gd name="T79" fmla="*/ 31500 h 696"/>
              <a:gd name="T80" fmla="*/ 28267 w 468"/>
              <a:gd name="T81" fmla="*/ 32308 h 696"/>
              <a:gd name="T82" fmla="*/ 29052 w 468"/>
              <a:gd name="T83" fmla="*/ 33116 h 696"/>
              <a:gd name="T84" fmla="*/ 29837 w 468"/>
              <a:gd name="T85" fmla="*/ 33923 h 696"/>
              <a:gd name="T86" fmla="*/ 32193 w 468"/>
              <a:gd name="T87" fmla="*/ 35539 h 696"/>
              <a:gd name="T88" fmla="*/ 31408 w 468"/>
              <a:gd name="T89" fmla="*/ 35539 h 696"/>
              <a:gd name="T90" fmla="*/ 29052 w 468"/>
              <a:gd name="T91" fmla="*/ 36346 h 696"/>
              <a:gd name="T92" fmla="*/ 28267 w 468"/>
              <a:gd name="T93" fmla="*/ 38770 h 696"/>
              <a:gd name="T94" fmla="*/ 26696 w 468"/>
              <a:gd name="T95" fmla="*/ 39577 h 696"/>
              <a:gd name="T96" fmla="*/ 25126 w 468"/>
              <a:gd name="T97" fmla="*/ 41193 h 696"/>
              <a:gd name="T98" fmla="*/ 24341 w 468"/>
              <a:gd name="T99" fmla="*/ 41193 h 696"/>
              <a:gd name="T100" fmla="*/ 20415 w 468"/>
              <a:gd name="T101" fmla="*/ 39577 h 696"/>
              <a:gd name="T102" fmla="*/ 18059 w 468"/>
              <a:gd name="T103" fmla="*/ 41193 h 696"/>
              <a:gd name="T104" fmla="*/ 16489 w 468"/>
              <a:gd name="T105" fmla="*/ 41193 h 696"/>
              <a:gd name="T106" fmla="*/ 15704 w 468"/>
              <a:gd name="T107" fmla="*/ 42000 h 696"/>
              <a:gd name="T108" fmla="*/ 13348 w 468"/>
              <a:gd name="T109" fmla="*/ 44423 h 696"/>
              <a:gd name="T110" fmla="*/ 11778 w 468"/>
              <a:gd name="T111" fmla="*/ 45231 h 696"/>
              <a:gd name="T112" fmla="*/ 11778 w 468"/>
              <a:gd name="T113" fmla="*/ 47654 h 696"/>
              <a:gd name="T114" fmla="*/ 10993 w 468"/>
              <a:gd name="T115" fmla="*/ 47654 h 696"/>
              <a:gd name="T116" fmla="*/ 9422 w 468"/>
              <a:gd name="T117" fmla="*/ 47654 h 696"/>
              <a:gd name="T118" fmla="*/ 8637 w 468"/>
              <a:gd name="T119" fmla="*/ 46039 h 696"/>
              <a:gd name="T120" fmla="*/ 7067 w 468"/>
              <a:gd name="T121" fmla="*/ 46039 h 696"/>
              <a:gd name="T122" fmla="*/ 4711 w 468"/>
              <a:gd name="T123" fmla="*/ 46846 h 696"/>
              <a:gd name="T124" fmla="*/ 3141 w 468"/>
              <a:gd name="T125" fmla="*/ 48462 h 6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8"/>
              <a:gd name="T190" fmla="*/ 0 h 696"/>
              <a:gd name="T191" fmla="*/ 468 w 468"/>
              <a:gd name="T192" fmla="*/ 696 h 6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8" h="696">
                <a:moveTo>
                  <a:pt x="30" y="696"/>
                </a:moveTo>
                <a:lnTo>
                  <a:pt x="18" y="696"/>
                </a:lnTo>
                <a:lnTo>
                  <a:pt x="6" y="696"/>
                </a:lnTo>
                <a:lnTo>
                  <a:pt x="0" y="690"/>
                </a:lnTo>
                <a:lnTo>
                  <a:pt x="6" y="678"/>
                </a:lnTo>
                <a:lnTo>
                  <a:pt x="12" y="666"/>
                </a:lnTo>
                <a:lnTo>
                  <a:pt x="18" y="654"/>
                </a:lnTo>
                <a:lnTo>
                  <a:pt x="18" y="642"/>
                </a:lnTo>
                <a:lnTo>
                  <a:pt x="18" y="618"/>
                </a:lnTo>
                <a:lnTo>
                  <a:pt x="24" y="606"/>
                </a:lnTo>
                <a:lnTo>
                  <a:pt x="30" y="594"/>
                </a:lnTo>
                <a:lnTo>
                  <a:pt x="30" y="582"/>
                </a:lnTo>
                <a:lnTo>
                  <a:pt x="36" y="576"/>
                </a:lnTo>
                <a:lnTo>
                  <a:pt x="42" y="564"/>
                </a:lnTo>
                <a:lnTo>
                  <a:pt x="48" y="546"/>
                </a:lnTo>
                <a:lnTo>
                  <a:pt x="48" y="528"/>
                </a:lnTo>
                <a:lnTo>
                  <a:pt x="60" y="516"/>
                </a:lnTo>
                <a:lnTo>
                  <a:pt x="66" y="504"/>
                </a:lnTo>
                <a:lnTo>
                  <a:pt x="66" y="492"/>
                </a:lnTo>
                <a:lnTo>
                  <a:pt x="60" y="480"/>
                </a:lnTo>
                <a:lnTo>
                  <a:pt x="54" y="468"/>
                </a:lnTo>
                <a:lnTo>
                  <a:pt x="60" y="456"/>
                </a:lnTo>
                <a:lnTo>
                  <a:pt x="72" y="450"/>
                </a:lnTo>
                <a:lnTo>
                  <a:pt x="84" y="438"/>
                </a:lnTo>
                <a:lnTo>
                  <a:pt x="90" y="426"/>
                </a:lnTo>
                <a:lnTo>
                  <a:pt x="90" y="420"/>
                </a:lnTo>
                <a:lnTo>
                  <a:pt x="90" y="408"/>
                </a:lnTo>
                <a:lnTo>
                  <a:pt x="90" y="402"/>
                </a:lnTo>
                <a:lnTo>
                  <a:pt x="84" y="396"/>
                </a:lnTo>
                <a:lnTo>
                  <a:pt x="78" y="378"/>
                </a:lnTo>
                <a:lnTo>
                  <a:pt x="72" y="360"/>
                </a:lnTo>
                <a:lnTo>
                  <a:pt x="66" y="348"/>
                </a:lnTo>
                <a:lnTo>
                  <a:pt x="72" y="336"/>
                </a:lnTo>
                <a:lnTo>
                  <a:pt x="66" y="306"/>
                </a:lnTo>
                <a:lnTo>
                  <a:pt x="54" y="276"/>
                </a:lnTo>
                <a:lnTo>
                  <a:pt x="42" y="252"/>
                </a:lnTo>
                <a:lnTo>
                  <a:pt x="36" y="222"/>
                </a:lnTo>
                <a:lnTo>
                  <a:pt x="30" y="192"/>
                </a:lnTo>
                <a:lnTo>
                  <a:pt x="24" y="162"/>
                </a:lnTo>
                <a:lnTo>
                  <a:pt x="42" y="174"/>
                </a:lnTo>
                <a:lnTo>
                  <a:pt x="120" y="138"/>
                </a:lnTo>
                <a:lnTo>
                  <a:pt x="132" y="126"/>
                </a:lnTo>
                <a:lnTo>
                  <a:pt x="120" y="54"/>
                </a:lnTo>
                <a:lnTo>
                  <a:pt x="156" y="30"/>
                </a:lnTo>
                <a:lnTo>
                  <a:pt x="162" y="24"/>
                </a:lnTo>
                <a:lnTo>
                  <a:pt x="168" y="18"/>
                </a:lnTo>
                <a:lnTo>
                  <a:pt x="174" y="6"/>
                </a:lnTo>
                <a:lnTo>
                  <a:pt x="180" y="0"/>
                </a:lnTo>
                <a:lnTo>
                  <a:pt x="180" y="6"/>
                </a:lnTo>
                <a:lnTo>
                  <a:pt x="186" y="6"/>
                </a:lnTo>
                <a:lnTo>
                  <a:pt x="192" y="0"/>
                </a:lnTo>
                <a:lnTo>
                  <a:pt x="192" y="6"/>
                </a:lnTo>
                <a:lnTo>
                  <a:pt x="198" y="12"/>
                </a:lnTo>
                <a:lnTo>
                  <a:pt x="204" y="12"/>
                </a:lnTo>
                <a:lnTo>
                  <a:pt x="198" y="12"/>
                </a:lnTo>
                <a:lnTo>
                  <a:pt x="198" y="18"/>
                </a:lnTo>
                <a:lnTo>
                  <a:pt x="198" y="24"/>
                </a:lnTo>
                <a:lnTo>
                  <a:pt x="198" y="30"/>
                </a:lnTo>
                <a:lnTo>
                  <a:pt x="198" y="42"/>
                </a:lnTo>
                <a:lnTo>
                  <a:pt x="198" y="48"/>
                </a:lnTo>
                <a:lnTo>
                  <a:pt x="192" y="60"/>
                </a:lnTo>
                <a:lnTo>
                  <a:pt x="192" y="66"/>
                </a:lnTo>
                <a:lnTo>
                  <a:pt x="198" y="66"/>
                </a:lnTo>
                <a:lnTo>
                  <a:pt x="210" y="60"/>
                </a:lnTo>
                <a:lnTo>
                  <a:pt x="228" y="60"/>
                </a:lnTo>
                <a:lnTo>
                  <a:pt x="228" y="66"/>
                </a:lnTo>
                <a:lnTo>
                  <a:pt x="234" y="66"/>
                </a:lnTo>
                <a:lnTo>
                  <a:pt x="234" y="60"/>
                </a:lnTo>
                <a:lnTo>
                  <a:pt x="252" y="60"/>
                </a:lnTo>
                <a:lnTo>
                  <a:pt x="264" y="72"/>
                </a:lnTo>
                <a:lnTo>
                  <a:pt x="264" y="78"/>
                </a:lnTo>
                <a:lnTo>
                  <a:pt x="270" y="78"/>
                </a:lnTo>
                <a:lnTo>
                  <a:pt x="276" y="78"/>
                </a:lnTo>
                <a:lnTo>
                  <a:pt x="288" y="78"/>
                </a:lnTo>
                <a:lnTo>
                  <a:pt x="312" y="84"/>
                </a:lnTo>
                <a:lnTo>
                  <a:pt x="318" y="96"/>
                </a:lnTo>
                <a:lnTo>
                  <a:pt x="318" y="102"/>
                </a:lnTo>
                <a:lnTo>
                  <a:pt x="312" y="120"/>
                </a:lnTo>
                <a:lnTo>
                  <a:pt x="306" y="132"/>
                </a:lnTo>
                <a:lnTo>
                  <a:pt x="294" y="144"/>
                </a:lnTo>
                <a:lnTo>
                  <a:pt x="282" y="156"/>
                </a:lnTo>
                <a:lnTo>
                  <a:pt x="276" y="162"/>
                </a:lnTo>
                <a:lnTo>
                  <a:pt x="270" y="162"/>
                </a:lnTo>
                <a:lnTo>
                  <a:pt x="264" y="174"/>
                </a:lnTo>
                <a:lnTo>
                  <a:pt x="264" y="192"/>
                </a:lnTo>
                <a:lnTo>
                  <a:pt x="264" y="216"/>
                </a:lnTo>
                <a:lnTo>
                  <a:pt x="258" y="216"/>
                </a:lnTo>
                <a:lnTo>
                  <a:pt x="258" y="228"/>
                </a:lnTo>
                <a:lnTo>
                  <a:pt x="252" y="234"/>
                </a:lnTo>
                <a:lnTo>
                  <a:pt x="258" y="240"/>
                </a:lnTo>
                <a:lnTo>
                  <a:pt x="264" y="240"/>
                </a:lnTo>
                <a:lnTo>
                  <a:pt x="270" y="240"/>
                </a:lnTo>
                <a:lnTo>
                  <a:pt x="276" y="240"/>
                </a:lnTo>
                <a:lnTo>
                  <a:pt x="288" y="240"/>
                </a:lnTo>
                <a:lnTo>
                  <a:pt x="300" y="246"/>
                </a:lnTo>
                <a:lnTo>
                  <a:pt x="306" y="258"/>
                </a:lnTo>
                <a:lnTo>
                  <a:pt x="312" y="264"/>
                </a:lnTo>
                <a:lnTo>
                  <a:pt x="318" y="276"/>
                </a:lnTo>
                <a:lnTo>
                  <a:pt x="330" y="282"/>
                </a:lnTo>
                <a:lnTo>
                  <a:pt x="330" y="300"/>
                </a:lnTo>
                <a:lnTo>
                  <a:pt x="336" y="312"/>
                </a:lnTo>
                <a:lnTo>
                  <a:pt x="336" y="318"/>
                </a:lnTo>
                <a:lnTo>
                  <a:pt x="336" y="330"/>
                </a:lnTo>
                <a:lnTo>
                  <a:pt x="324" y="330"/>
                </a:lnTo>
                <a:lnTo>
                  <a:pt x="330" y="336"/>
                </a:lnTo>
                <a:lnTo>
                  <a:pt x="330" y="342"/>
                </a:lnTo>
                <a:lnTo>
                  <a:pt x="336" y="348"/>
                </a:lnTo>
                <a:lnTo>
                  <a:pt x="330" y="360"/>
                </a:lnTo>
                <a:lnTo>
                  <a:pt x="336" y="372"/>
                </a:lnTo>
                <a:lnTo>
                  <a:pt x="354" y="366"/>
                </a:lnTo>
                <a:lnTo>
                  <a:pt x="366" y="366"/>
                </a:lnTo>
                <a:lnTo>
                  <a:pt x="372" y="378"/>
                </a:lnTo>
                <a:lnTo>
                  <a:pt x="372" y="390"/>
                </a:lnTo>
                <a:lnTo>
                  <a:pt x="378" y="396"/>
                </a:lnTo>
                <a:lnTo>
                  <a:pt x="378" y="408"/>
                </a:lnTo>
                <a:lnTo>
                  <a:pt x="378" y="420"/>
                </a:lnTo>
                <a:lnTo>
                  <a:pt x="384" y="432"/>
                </a:lnTo>
                <a:lnTo>
                  <a:pt x="384" y="444"/>
                </a:lnTo>
                <a:lnTo>
                  <a:pt x="390" y="444"/>
                </a:lnTo>
                <a:lnTo>
                  <a:pt x="396" y="444"/>
                </a:lnTo>
                <a:lnTo>
                  <a:pt x="402" y="450"/>
                </a:lnTo>
                <a:lnTo>
                  <a:pt x="408" y="450"/>
                </a:lnTo>
                <a:lnTo>
                  <a:pt x="408" y="462"/>
                </a:lnTo>
                <a:lnTo>
                  <a:pt x="408" y="468"/>
                </a:lnTo>
                <a:lnTo>
                  <a:pt x="414" y="474"/>
                </a:lnTo>
                <a:lnTo>
                  <a:pt x="420" y="474"/>
                </a:lnTo>
                <a:lnTo>
                  <a:pt x="420" y="480"/>
                </a:lnTo>
                <a:lnTo>
                  <a:pt x="426" y="480"/>
                </a:lnTo>
                <a:lnTo>
                  <a:pt x="432" y="480"/>
                </a:lnTo>
                <a:lnTo>
                  <a:pt x="462" y="486"/>
                </a:lnTo>
                <a:lnTo>
                  <a:pt x="468" y="492"/>
                </a:lnTo>
                <a:lnTo>
                  <a:pt x="468" y="498"/>
                </a:lnTo>
                <a:lnTo>
                  <a:pt x="462" y="498"/>
                </a:lnTo>
                <a:lnTo>
                  <a:pt x="456" y="498"/>
                </a:lnTo>
                <a:lnTo>
                  <a:pt x="456" y="504"/>
                </a:lnTo>
                <a:lnTo>
                  <a:pt x="456" y="510"/>
                </a:lnTo>
                <a:lnTo>
                  <a:pt x="450" y="516"/>
                </a:lnTo>
                <a:lnTo>
                  <a:pt x="426" y="516"/>
                </a:lnTo>
                <a:lnTo>
                  <a:pt x="408" y="528"/>
                </a:lnTo>
                <a:lnTo>
                  <a:pt x="408" y="546"/>
                </a:lnTo>
                <a:lnTo>
                  <a:pt x="414" y="552"/>
                </a:lnTo>
                <a:lnTo>
                  <a:pt x="408" y="558"/>
                </a:lnTo>
                <a:lnTo>
                  <a:pt x="402" y="564"/>
                </a:lnTo>
                <a:lnTo>
                  <a:pt x="384" y="564"/>
                </a:lnTo>
                <a:lnTo>
                  <a:pt x="372" y="564"/>
                </a:lnTo>
                <a:lnTo>
                  <a:pt x="372" y="576"/>
                </a:lnTo>
                <a:lnTo>
                  <a:pt x="366" y="576"/>
                </a:lnTo>
                <a:lnTo>
                  <a:pt x="366" y="582"/>
                </a:lnTo>
                <a:lnTo>
                  <a:pt x="360" y="582"/>
                </a:lnTo>
                <a:lnTo>
                  <a:pt x="348" y="576"/>
                </a:lnTo>
                <a:lnTo>
                  <a:pt x="336" y="570"/>
                </a:lnTo>
                <a:lnTo>
                  <a:pt x="324" y="570"/>
                </a:lnTo>
                <a:lnTo>
                  <a:pt x="300" y="564"/>
                </a:lnTo>
                <a:lnTo>
                  <a:pt x="282" y="564"/>
                </a:lnTo>
                <a:lnTo>
                  <a:pt x="270" y="570"/>
                </a:lnTo>
                <a:lnTo>
                  <a:pt x="264" y="576"/>
                </a:lnTo>
                <a:lnTo>
                  <a:pt x="258" y="576"/>
                </a:lnTo>
                <a:lnTo>
                  <a:pt x="240" y="582"/>
                </a:lnTo>
                <a:lnTo>
                  <a:pt x="240" y="588"/>
                </a:lnTo>
                <a:lnTo>
                  <a:pt x="240" y="594"/>
                </a:lnTo>
                <a:lnTo>
                  <a:pt x="234" y="594"/>
                </a:lnTo>
                <a:lnTo>
                  <a:pt x="228" y="600"/>
                </a:lnTo>
                <a:lnTo>
                  <a:pt x="210" y="618"/>
                </a:lnTo>
                <a:lnTo>
                  <a:pt x="210" y="624"/>
                </a:lnTo>
                <a:lnTo>
                  <a:pt x="192" y="630"/>
                </a:lnTo>
                <a:lnTo>
                  <a:pt x="186" y="630"/>
                </a:lnTo>
                <a:lnTo>
                  <a:pt x="180" y="636"/>
                </a:lnTo>
                <a:lnTo>
                  <a:pt x="174" y="642"/>
                </a:lnTo>
                <a:lnTo>
                  <a:pt x="168" y="642"/>
                </a:lnTo>
                <a:lnTo>
                  <a:pt x="168" y="654"/>
                </a:lnTo>
                <a:lnTo>
                  <a:pt x="168" y="678"/>
                </a:lnTo>
                <a:lnTo>
                  <a:pt x="162" y="684"/>
                </a:lnTo>
                <a:lnTo>
                  <a:pt x="156" y="684"/>
                </a:lnTo>
                <a:lnTo>
                  <a:pt x="156" y="678"/>
                </a:lnTo>
                <a:lnTo>
                  <a:pt x="150" y="678"/>
                </a:lnTo>
                <a:lnTo>
                  <a:pt x="144" y="672"/>
                </a:lnTo>
                <a:lnTo>
                  <a:pt x="138" y="672"/>
                </a:lnTo>
                <a:lnTo>
                  <a:pt x="138" y="666"/>
                </a:lnTo>
                <a:lnTo>
                  <a:pt x="132" y="660"/>
                </a:lnTo>
                <a:lnTo>
                  <a:pt x="120" y="654"/>
                </a:lnTo>
                <a:lnTo>
                  <a:pt x="114" y="654"/>
                </a:lnTo>
                <a:lnTo>
                  <a:pt x="108" y="648"/>
                </a:lnTo>
                <a:lnTo>
                  <a:pt x="102" y="654"/>
                </a:lnTo>
                <a:lnTo>
                  <a:pt x="90" y="654"/>
                </a:lnTo>
                <a:lnTo>
                  <a:pt x="84" y="654"/>
                </a:lnTo>
                <a:lnTo>
                  <a:pt x="72" y="660"/>
                </a:lnTo>
                <a:lnTo>
                  <a:pt x="60" y="672"/>
                </a:lnTo>
                <a:lnTo>
                  <a:pt x="54" y="678"/>
                </a:lnTo>
                <a:lnTo>
                  <a:pt x="42" y="684"/>
                </a:lnTo>
                <a:lnTo>
                  <a:pt x="36" y="684"/>
                </a:lnTo>
                <a:lnTo>
                  <a:pt x="30" y="696"/>
                </a:lnTo>
                <a:close/>
              </a:path>
            </a:pathLst>
          </a:custGeom>
          <a:solidFill>
            <a:srgbClr val="33CC33"/>
          </a:solidFill>
          <a:ln w="9525">
            <a:solidFill>
              <a:schemeClr val="bg1"/>
            </a:solidFill>
            <a:round/>
            <a:headEnd/>
            <a:tailEnd/>
          </a:ln>
        </p:spPr>
        <p:txBody>
          <a:bodyPr/>
          <a:lstStyle/>
          <a:p>
            <a:endParaRPr lang="en-GB"/>
          </a:p>
        </p:txBody>
      </p:sp>
      <p:sp>
        <p:nvSpPr>
          <p:cNvPr id="20507" name="Freeform 23"/>
          <p:cNvSpPr>
            <a:spLocks noEditPoints="1"/>
          </p:cNvSpPr>
          <p:nvPr/>
        </p:nvSpPr>
        <p:spPr bwMode="gray">
          <a:xfrm>
            <a:off x="2576513" y="5305425"/>
            <a:ext cx="900112" cy="768350"/>
          </a:xfrm>
          <a:custGeom>
            <a:avLst/>
            <a:gdLst>
              <a:gd name="T0" fmla="*/ 68267 w 1146"/>
              <a:gd name="T1" fmla="*/ 45066 h 954"/>
              <a:gd name="T2" fmla="*/ 65128 w 1146"/>
              <a:gd name="T3" fmla="*/ 53114 h 954"/>
              <a:gd name="T4" fmla="*/ 58066 w 1146"/>
              <a:gd name="T5" fmla="*/ 55528 h 954"/>
              <a:gd name="T6" fmla="*/ 52573 w 1146"/>
              <a:gd name="T7" fmla="*/ 60357 h 954"/>
              <a:gd name="T8" fmla="*/ 46296 w 1146"/>
              <a:gd name="T9" fmla="*/ 62771 h 954"/>
              <a:gd name="T10" fmla="*/ 40803 w 1146"/>
              <a:gd name="T11" fmla="*/ 61966 h 954"/>
              <a:gd name="T12" fmla="*/ 37664 w 1146"/>
              <a:gd name="T13" fmla="*/ 63576 h 954"/>
              <a:gd name="T14" fmla="*/ 32172 w 1146"/>
              <a:gd name="T15" fmla="*/ 65990 h 954"/>
              <a:gd name="T16" fmla="*/ 22756 w 1146"/>
              <a:gd name="T17" fmla="*/ 62771 h 954"/>
              <a:gd name="T18" fmla="*/ 21971 w 1146"/>
              <a:gd name="T19" fmla="*/ 61162 h 954"/>
              <a:gd name="T20" fmla="*/ 21971 w 1146"/>
              <a:gd name="T21" fmla="*/ 57943 h 954"/>
              <a:gd name="T22" fmla="*/ 21971 w 1146"/>
              <a:gd name="T23" fmla="*/ 59552 h 954"/>
              <a:gd name="T24" fmla="*/ 16478 w 1146"/>
              <a:gd name="T25" fmla="*/ 59552 h 954"/>
              <a:gd name="T26" fmla="*/ 15693 w 1146"/>
              <a:gd name="T27" fmla="*/ 53919 h 954"/>
              <a:gd name="T28" fmla="*/ 18048 w 1146"/>
              <a:gd name="T29" fmla="*/ 51504 h 954"/>
              <a:gd name="T30" fmla="*/ 21971 w 1146"/>
              <a:gd name="T31" fmla="*/ 52309 h 954"/>
              <a:gd name="T32" fmla="*/ 25110 w 1146"/>
              <a:gd name="T33" fmla="*/ 49895 h 954"/>
              <a:gd name="T34" fmla="*/ 24325 w 1146"/>
              <a:gd name="T35" fmla="*/ 45066 h 954"/>
              <a:gd name="T36" fmla="*/ 28248 w 1146"/>
              <a:gd name="T37" fmla="*/ 43457 h 954"/>
              <a:gd name="T38" fmla="*/ 29818 w 1146"/>
              <a:gd name="T39" fmla="*/ 43457 h 954"/>
              <a:gd name="T40" fmla="*/ 25110 w 1146"/>
              <a:gd name="T41" fmla="*/ 43457 h 954"/>
              <a:gd name="T42" fmla="*/ 22756 w 1146"/>
              <a:gd name="T43" fmla="*/ 47481 h 954"/>
              <a:gd name="T44" fmla="*/ 20402 w 1146"/>
              <a:gd name="T45" fmla="*/ 47481 h 954"/>
              <a:gd name="T46" fmla="*/ 19617 w 1146"/>
              <a:gd name="T47" fmla="*/ 49090 h 954"/>
              <a:gd name="T48" fmla="*/ 15693 w 1146"/>
              <a:gd name="T49" fmla="*/ 49090 h 954"/>
              <a:gd name="T50" fmla="*/ 8631 w 1146"/>
              <a:gd name="T51" fmla="*/ 43457 h 954"/>
              <a:gd name="T52" fmla="*/ 10985 w 1146"/>
              <a:gd name="T53" fmla="*/ 40238 h 954"/>
              <a:gd name="T54" fmla="*/ 16478 w 1146"/>
              <a:gd name="T55" fmla="*/ 41043 h 954"/>
              <a:gd name="T56" fmla="*/ 18832 w 1146"/>
              <a:gd name="T57" fmla="*/ 40238 h 954"/>
              <a:gd name="T58" fmla="*/ 21971 w 1146"/>
              <a:gd name="T59" fmla="*/ 38628 h 954"/>
              <a:gd name="T60" fmla="*/ 23540 w 1146"/>
              <a:gd name="T61" fmla="*/ 39433 h 954"/>
              <a:gd name="T62" fmla="*/ 20402 w 1146"/>
              <a:gd name="T63" fmla="*/ 37824 h 954"/>
              <a:gd name="T64" fmla="*/ 15693 w 1146"/>
              <a:gd name="T65" fmla="*/ 40238 h 954"/>
              <a:gd name="T66" fmla="*/ 15693 w 1146"/>
              <a:gd name="T67" fmla="*/ 35409 h 954"/>
              <a:gd name="T68" fmla="*/ 14909 w 1146"/>
              <a:gd name="T69" fmla="*/ 37019 h 954"/>
              <a:gd name="T70" fmla="*/ 11770 w 1146"/>
              <a:gd name="T71" fmla="*/ 39433 h 954"/>
              <a:gd name="T72" fmla="*/ 6277 w 1146"/>
              <a:gd name="T73" fmla="*/ 38628 h 954"/>
              <a:gd name="T74" fmla="*/ 4708 w 1146"/>
              <a:gd name="T75" fmla="*/ 32995 h 954"/>
              <a:gd name="T76" fmla="*/ 7847 w 1146"/>
              <a:gd name="T77" fmla="*/ 32995 h 954"/>
              <a:gd name="T78" fmla="*/ 7062 w 1146"/>
              <a:gd name="T79" fmla="*/ 31386 h 954"/>
              <a:gd name="T80" fmla="*/ 10985 w 1146"/>
              <a:gd name="T81" fmla="*/ 28166 h 954"/>
              <a:gd name="T82" fmla="*/ 14909 w 1146"/>
              <a:gd name="T83" fmla="*/ 25752 h 954"/>
              <a:gd name="T84" fmla="*/ 15693 w 1146"/>
              <a:gd name="T85" fmla="*/ 23338 h 954"/>
              <a:gd name="T86" fmla="*/ 21186 w 1146"/>
              <a:gd name="T87" fmla="*/ 21728 h 954"/>
              <a:gd name="T88" fmla="*/ 25894 w 1146"/>
              <a:gd name="T89" fmla="*/ 22533 h 954"/>
              <a:gd name="T90" fmla="*/ 34526 w 1146"/>
              <a:gd name="T91" fmla="*/ 21728 h 954"/>
              <a:gd name="T92" fmla="*/ 40803 w 1146"/>
              <a:gd name="T93" fmla="*/ 32995 h 954"/>
              <a:gd name="T94" fmla="*/ 47865 w 1146"/>
              <a:gd name="T95" fmla="*/ 32190 h 954"/>
              <a:gd name="T96" fmla="*/ 54143 w 1146"/>
              <a:gd name="T97" fmla="*/ 27362 h 954"/>
              <a:gd name="T98" fmla="*/ 48650 w 1146"/>
              <a:gd name="T99" fmla="*/ 9657 h 954"/>
              <a:gd name="T100" fmla="*/ 58066 w 1146"/>
              <a:gd name="T101" fmla="*/ 6438 h 954"/>
              <a:gd name="T102" fmla="*/ 68267 w 1146"/>
              <a:gd name="T103" fmla="*/ 805 h 954"/>
              <a:gd name="T104" fmla="*/ 77683 w 1146"/>
              <a:gd name="T105" fmla="*/ 9657 h 954"/>
              <a:gd name="T106" fmla="*/ 76898 w 1146"/>
              <a:gd name="T107" fmla="*/ 21728 h 954"/>
              <a:gd name="T108" fmla="*/ 12555 w 1146"/>
              <a:gd name="T109" fmla="*/ 26557 h 954"/>
              <a:gd name="T110" fmla="*/ 8631 w 1146"/>
              <a:gd name="T111" fmla="*/ 28971 h 954"/>
              <a:gd name="T112" fmla="*/ 3923 w 1146"/>
              <a:gd name="T113" fmla="*/ 32995 h 954"/>
              <a:gd name="T114" fmla="*/ 1569 w 1146"/>
              <a:gd name="T115" fmla="*/ 28971 h 954"/>
              <a:gd name="T116" fmla="*/ 3923 w 1146"/>
              <a:gd name="T117" fmla="*/ 20924 h 954"/>
              <a:gd name="T118" fmla="*/ 7847 w 1146"/>
              <a:gd name="T119" fmla="*/ 16095 h 954"/>
              <a:gd name="T120" fmla="*/ 10201 w 1146"/>
              <a:gd name="T121" fmla="*/ 16095 h 954"/>
              <a:gd name="T122" fmla="*/ 11770 w 1146"/>
              <a:gd name="T123" fmla="*/ 21728 h 9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46"/>
              <a:gd name="T187" fmla="*/ 0 h 954"/>
              <a:gd name="T188" fmla="*/ 1146 w 1146"/>
              <a:gd name="T189" fmla="*/ 954 h 9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46" h="954">
                <a:moveTo>
                  <a:pt x="1056" y="498"/>
                </a:moveTo>
                <a:lnTo>
                  <a:pt x="1044" y="510"/>
                </a:lnTo>
                <a:lnTo>
                  <a:pt x="1032" y="516"/>
                </a:lnTo>
                <a:lnTo>
                  <a:pt x="1038" y="528"/>
                </a:lnTo>
                <a:lnTo>
                  <a:pt x="1050" y="540"/>
                </a:lnTo>
                <a:lnTo>
                  <a:pt x="1050" y="546"/>
                </a:lnTo>
                <a:lnTo>
                  <a:pt x="1050" y="564"/>
                </a:lnTo>
                <a:lnTo>
                  <a:pt x="1038" y="576"/>
                </a:lnTo>
                <a:lnTo>
                  <a:pt x="1032" y="588"/>
                </a:lnTo>
                <a:lnTo>
                  <a:pt x="1020" y="594"/>
                </a:lnTo>
                <a:lnTo>
                  <a:pt x="1008" y="594"/>
                </a:lnTo>
                <a:lnTo>
                  <a:pt x="1002" y="600"/>
                </a:lnTo>
                <a:lnTo>
                  <a:pt x="996" y="612"/>
                </a:lnTo>
                <a:lnTo>
                  <a:pt x="996" y="624"/>
                </a:lnTo>
                <a:lnTo>
                  <a:pt x="996" y="648"/>
                </a:lnTo>
                <a:lnTo>
                  <a:pt x="996" y="660"/>
                </a:lnTo>
                <a:lnTo>
                  <a:pt x="1002" y="672"/>
                </a:lnTo>
                <a:lnTo>
                  <a:pt x="1002" y="684"/>
                </a:lnTo>
                <a:lnTo>
                  <a:pt x="996" y="684"/>
                </a:lnTo>
                <a:lnTo>
                  <a:pt x="984" y="690"/>
                </a:lnTo>
                <a:lnTo>
                  <a:pt x="972" y="690"/>
                </a:lnTo>
                <a:lnTo>
                  <a:pt x="966" y="696"/>
                </a:lnTo>
                <a:lnTo>
                  <a:pt x="966" y="702"/>
                </a:lnTo>
                <a:lnTo>
                  <a:pt x="966" y="714"/>
                </a:lnTo>
                <a:lnTo>
                  <a:pt x="972" y="726"/>
                </a:lnTo>
                <a:lnTo>
                  <a:pt x="978" y="744"/>
                </a:lnTo>
                <a:lnTo>
                  <a:pt x="978" y="750"/>
                </a:lnTo>
                <a:lnTo>
                  <a:pt x="972" y="756"/>
                </a:lnTo>
                <a:lnTo>
                  <a:pt x="966" y="756"/>
                </a:lnTo>
                <a:lnTo>
                  <a:pt x="942" y="762"/>
                </a:lnTo>
                <a:lnTo>
                  <a:pt x="930" y="768"/>
                </a:lnTo>
                <a:lnTo>
                  <a:pt x="924" y="774"/>
                </a:lnTo>
                <a:lnTo>
                  <a:pt x="918" y="768"/>
                </a:lnTo>
                <a:lnTo>
                  <a:pt x="906" y="768"/>
                </a:lnTo>
                <a:lnTo>
                  <a:pt x="894" y="762"/>
                </a:lnTo>
                <a:lnTo>
                  <a:pt x="882" y="756"/>
                </a:lnTo>
                <a:lnTo>
                  <a:pt x="876" y="756"/>
                </a:lnTo>
                <a:lnTo>
                  <a:pt x="876" y="762"/>
                </a:lnTo>
                <a:lnTo>
                  <a:pt x="864" y="768"/>
                </a:lnTo>
                <a:lnTo>
                  <a:pt x="858" y="774"/>
                </a:lnTo>
                <a:lnTo>
                  <a:pt x="852" y="774"/>
                </a:lnTo>
                <a:lnTo>
                  <a:pt x="840" y="780"/>
                </a:lnTo>
                <a:lnTo>
                  <a:pt x="840" y="786"/>
                </a:lnTo>
                <a:lnTo>
                  <a:pt x="840" y="792"/>
                </a:lnTo>
                <a:lnTo>
                  <a:pt x="840" y="804"/>
                </a:lnTo>
                <a:lnTo>
                  <a:pt x="840" y="810"/>
                </a:lnTo>
                <a:lnTo>
                  <a:pt x="828" y="816"/>
                </a:lnTo>
                <a:lnTo>
                  <a:pt x="810" y="810"/>
                </a:lnTo>
                <a:lnTo>
                  <a:pt x="792" y="810"/>
                </a:lnTo>
                <a:lnTo>
                  <a:pt x="786" y="816"/>
                </a:lnTo>
                <a:lnTo>
                  <a:pt x="780" y="816"/>
                </a:lnTo>
                <a:lnTo>
                  <a:pt x="780" y="822"/>
                </a:lnTo>
                <a:lnTo>
                  <a:pt x="780" y="828"/>
                </a:lnTo>
                <a:lnTo>
                  <a:pt x="780" y="834"/>
                </a:lnTo>
                <a:lnTo>
                  <a:pt x="786" y="840"/>
                </a:lnTo>
                <a:lnTo>
                  <a:pt x="786" y="846"/>
                </a:lnTo>
                <a:lnTo>
                  <a:pt x="786" y="852"/>
                </a:lnTo>
                <a:lnTo>
                  <a:pt x="780" y="858"/>
                </a:lnTo>
                <a:lnTo>
                  <a:pt x="768" y="858"/>
                </a:lnTo>
                <a:lnTo>
                  <a:pt x="762" y="864"/>
                </a:lnTo>
                <a:lnTo>
                  <a:pt x="756" y="864"/>
                </a:lnTo>
                <a:lnTo>
                  <a:pt x="750" y="870"/>
                </a:lnTo>
                <a:lnTo>
                  <a:pt x="744" y="876"/>
                </a:lnTo>
                <a:lnTo>
                  <a:pt x="732" y="876"/>
                </a:lnTo>
                <a:lnTo>
                  <a:pt x="726" y="876"/>
                </a:lnTo>
                <a:lnTo>
                  <a:pt x="720" y="870"/>
                </a:lnTo>
                <a:lnTo>
                  <a:pt x="714" y="864"/>
                </a:lnTo>
                <a:lnTo>
                  <a:pt x="708" y="870"/>
                </a:lnTo>
                <a:lnTo>
                  <a:pt x="702" y="870"/>
                </a:lnTo>
                <a:lnTo>
                  <a:pt x="696" y="876"/>
                </a:lnTo>
                <a:lnTo>
                  <a:pt x="696" y="882"/>
                </a:lnTo>
                <a:lnTo>
                  <a:pt x="696" y="894"/>
                </a:lnTo>
                <a:lnTo>
                  <a:pt x="690" y="900"/>
                </a:lnTo>
                <a:lnTo>
                  <a:pt x="684" y="900"/>
                </a:lnTo>
                <a:lnTo>
                  <a:pt x="672" y="900"/>
                </a:lnTo>
                <a:lnTo>
                  <a:pt x="666" y="900"/>
                </a:lnTo>
                <a:lnTo>
                  <a:pt x="654" y="888"/>
                </a:lnTo>
                <a:lnTo>
                  <a:pt x="654" y="882"/>
                </a:lnTo>
                <a:lnTo>
                  <a:pt x="642" y="876"/>
                </a:lnTo>
                <a:lnTo>
                  <a:pt x="636" y="876"/>
                </a:lnTo>
                <a:lnTo>
                  <a:pt x="630" y="876"/>
                </a:lnTo>
                <a:lnTo>
                  <a:pt x="630" y="870"/>
                </a:lnTo>
                <a:lnTo>
                  <a:pt x="618" y="858"/>
                </a:lnTo>
                <a:lnTo>
                  <a:pt x="612" y="858"/>
                </a:lnTo>
                <a:lnTo>
                  <a:pt x="612" y="864"/>
                </a:lnTo>
                <a:lnTo>
                  <a:pt x="612" y="870"/>
                </a:lnTo>
                <a:lnTo>
                  <a:pt x="606" y="876"/>
                </a:lnTo>
                <a:lnTo>
                  <a:pt x="606" y="882"/>
                </a:lnTo>
                <a:lnTo>
                  <a:pt x="606" y="888"/>
                </a:lnTo>
                <a:lnTo>
                  <a:pt x="600" y="894"/>
                </a:lnTo>
                <a:lnTo>
                  <a:pt x="594" y="894"/>
                </a:lnTo>
                <a:lnTo>
                  <a:pt x="588" y="900"/>
                </a:lnTo>
                <a:lnTo>
                  <a:pt x="582" y="894"/>
                </a:lnTo>
                <a:lnTo>
                  <a:pt x="576" y="894"/>
                </a:lnTo>
                <a:lnTo>
                  <a:pt x="582" y="900"/>
                </a:lnTo>
                <a:lnTo>
                  <a:pt x="576" y="906"/>
                </a:lnTo>
                <a:lnTo>
                  <a:pt x="576" y="918"/>
                </a:lnTo>
                <a:lnTo>
                  <a:pt x="570" y="918"/>
                </a:lnTo>
                <a:lnTo>
                  <a:pt x="570" y="912"/>
                </a:lnTo>
                <a:lnTo>
                  <a:pt x="564" y="912"/>
                </a:lnTo>
                <a:lnTo>
                  <a:pt x="564" y="918"/>
                </a:lnTo>
                <a:lnTo>
                  <a:pt x="558" y="918"/>
                </a:lnTo>
                <a:lnTo>
                  <a:pt x="558" y="912"/>
                </a:lnTo>
                <a:lnTo>
                  <a:pt x="552" y="906"/>
                </a:lnTo>
                <a:lnTo>
                  <a:pt x="552" y="912"/>
                </a:lnTo>
                <a:lnTo>
                  <a:pt x="546" y="912"/>
                </a:lnTo>
                <a:lnTo>
                  <a:pt x="540" y="906"/>
                </a:lnTo>
                <a:lnTo>
                  <a:pt x="534" y="906"/>
                </a:lnTo>
                <a:lnTo>
                  <a:pt x="528" y="906"/>
                </a:lnTo>
                <a:lnTo>
                  <a:pt x="522" y="906"/>
                </a:lnTo>
                <a:lnTo>
                  <a:pt x="522" y="918"/>
                </a:lnTo>
                <a:lnTo>
                  <a:pt x="516" y="918"/>
                </a:lnTo>
                <a:lnTo>
                  <a:pt x="516" y="924"/>
                </a:lnTo>
                <a:lnTo>
                  <a:pt x="510" y="924"/>
                </a:lnTo>
                <a:lnTo>
                  <a:pt x="504" y="924"/>
                </a:lnTo>
                <a:lnTo>
                  <a:pt x="498" y="930"/>
                </a:lnTo>
                <a:lnTo>
                  <a:pt x="492" y="924"/>
                </a:lnTo>
                <a:lnTo>
                  <a:pt x="486" y="930"/>
                </a:lnTo>
                <a:lnTo>
                  <a:pt x="480" y="942"/>
                </a:lnTo>
                <a:lnTo>
                  <a:pt x="468" y="948"/>
                </a:lnTo>
                <a:lnTo>
                  <a:pt x="444" y="942"/>
                </a:lnTo>
                <a:lnTo>
                  <a:pt x="438" y="954"/>
                </a:lnTo>
                <a:lnTo>
                  <a:pt x="426" y="954"/>
                </a:lnTo>
                <a:lnTo>
                  <a:pt x="420" y="948"/>
                </a:lnTo>
                <a:lnTo>
                  <a:pt x="408" y="936"/>
                </a:lnTo>
                <a:lnTo>
                  <a:pt x="396" y="936"/>
                </a:lnTo>
                <a:lnTo>
                  <a:pt x="390" y="930"/>
                </a:lnTo>
                <a:lnTo>
                  <a:pt x="390" y="924"/>
                </a:lnTo>
                <a:lnTo>
                  <a:pt x="384" y="924"/>
                </a:lnTo>
                <a:lnTo>
                  <a:pt x="378" y="924"/>
                </a:lnTo>
                <a:lnTo>
                  <a:pt x="366" y="924"/>
                </a:lnTo>
                <a:lnTo>
                  <a:pt x="360" y="924"/>
                </a:lnTo>
                <a:lnTo>
                  <a:pt x="348" y="918"/>
                </a:lnTo>
                <a:lnTo>
                  <a:pt x="342" y="906"/>
                </a:lnTo>
                <a:lnTo>
                  <a:pt x="336" y="906"/>
                </a:lnTo>
                <a:lnTo>
                  <a:pt x="330" y="906"/>
                </a:lnTo>
                <a:lnTo>
                  <a:pt x="312" y="906"/>
                </a:lnTo>
                <a:lnTo>
                  <a:pt x="312" y="900"/>
                </a:lnTo>
                <a:lnTo>
                  <a:pt x="318" y="900"/>
                </a:lnTo>
                <a:lnTo>
                  <a:pt x="318" y="894"/>
                </a:lnTo>
                <a:lnTo>
                  <a:pt x="318" y="900"/>
                </a:lnTo>
                <a:lnTo>
                  <a:pt x="318" y="894"/>
                </a:lnTo>
                <a:lnTo>
                  <a:pt x="318" y="888"/>
                </a:lnTo>
                <a:lnTo>
                  <a:pt x="312" y="882"/>
                </a:lnTo>
                <a:lnTo>
                  <a:pt x="306" y="876"/>
                </a:lnTo>
                <a:lnTo>
                  <a:pt x="312" y="876"/>
                </a:lnTo>
                <a:lnTo>
                  <a:pt x="312" y="870"/>
                </a:lnTo>
                <a:lnTo>
                  <a:pt x="318" y="876"/>
                </a:lnTo>
                <a:lnTo>
                  <a:pt x="318" y="870"/>
                </a:lnTo>
                <a:lnTo>
                  <a:pt x="324" y="876"/>
                </a:lnTo>
                <a:lnTo>
                  <a:pt x="330" y="876"/>
                </a:lnTo>
                <a:lnTo>
                  <a:pt x="336" y="876"/>
                </a:lnTo>
                <a:lnTo>
                  <a:pt x="342" y="876"/>
                </a:lnTo>
                <a:lnTo>
                  <a:pt x="336" y="876"/>
                </a:lnTo>
                <a:lnTo>
                  <a:pt x="330" y="870"/>
                </a:lnTo>
                <a:lnTo>
                  <a:pt x="324" y="870"/>
                </a:lnTo>
                <a:lnTo>
                  <a:pt x="318" y="870"/>
                </a:lnTo>
                <a:lnTo>
                  <a:pt x="312" y="870"/>
                </a:lnTo>
                <a:lnTo>
                  <a:pt x="318" y="864"/>
                </a:lnTo>
                <a:lnTo>
                  <a:pt x="318" y="858"/>
                </a:lnTo>
                <a:lnTo>
                  <a:pt x="318" y="852"/>
                </a:lnTo>
                <a:lnTo>
                  <a:pt x="312" y="852"/>
                </a:lnTo>
                <a:lnTo>
                  <a:pt x="306" y="852"/>
                </a:lnTo>
                <a:lnTo>
                  <a:pt x="306" y="846"/>
                </a:lnTo>
                <a:lnTo>
                  <a:pt x="312" y="828"/>
                </a:lnTo>
                <a:lnTo>
                  <a:pt x="312" y="822"/>
                </a:lnTo>
                <a:lnTo>
                  <a:pt x="318" y="822"/>
                </a:lnTo>
                <a:lnTo>
                  <a:pt x="312" y="816"/>
                </a:lnTo>
                <a:lnTo>
                  <a:pt x="306" y="816"/>
                </a:lnTo>
                <a:lnTo>
                  <a:pt x="306" y="810"/>
                </a:lnTo>
                <a:lnTo>
                  <a:pt x="306" y="816"/>
                </a:lnTo>
                <a:lnTo>
                  <a:pt x="312" y="822"/>
                </a:lnTo>
                <a:lnTo>
                  <a:pt x="306" y="822"/>
                </a:lnTo>
                <a:lnTo>
                  <a:pt x="306" y="828"/>
                </a:lnTo>
                <a:lnTo>
                  <a:pt x="306" y="834"/>
                </a:lnTo>
                <a:lnTo>
                  <a:pt x="300" y="840"/>
                </a:lnTo>
                <a:lnTo>
                  <a:pt x="300" y="846"/>
                </a:lnTo>
                <a:lnTo>
                  <a:pt x="306" y="852"/>
                </a:lnTo>
                <a:lnTo>
                  <a:pt x="306" y="858"/>
                </a:lnTo>
                <a:lnTo>
                  <a:pt x="312" y="858"/>
                </a:lnTo>
                <a:lnTo>
                  <a:pt x="312" y="864"/>
                </a:lnTo>
                <a:lnTo>
                  <a:pt x="306" y="864"/>
                </a:lnTo>
                <a:lnTo>
                  <a:pt x="300" y="864"/>
                </a:lnTo>
                <a:lnTo>
                  <a:pt x="294" y="864"/>
                </a:lnTo>
                <a:lnTo>
                  <a:pt x="288" y="864"/>
                </a:lnTo>
                <a:lnTo>
                  <a:pt x="282" y="870"/>
                </a:lnTo>
                <a:lnTo>
                  <a:pt x="276" y="870"/>
                </a:lnTo>
                <a:lnTo>
                  <a:pt x="270" y="876"/>
                </a:lnTo>
                <a:lnTo>
                  <a:pt x="264" y="876"/>
                </a:lnTo>
                <a:lnTo>
                  <a:pt x="258" y="876"/>
                </a:lnTo>
                <a:lnTo>
                  <a:pt x="258" y="870"/>
                </a:lnTo>
                <a:lnTo>
                  <a:pt x="252" y="870"/>
                </a:lnTo>
                <a:lnTo>
                  <a:pt x="252" y="864"/>
                </a:lnTo>
                <a:lnTo>
                  <a:pt x="246" y="858"/>
                </a:lnTo>
                <a:lnTo>
                  <a:pt x="246" y="852"/>
                </a:lnTo>
                <a:lnTo>
                  <a:pt x="246" y="846"/>
                </a:lnTo>
                <a:lnTo>
                  <a:pt x="246" y="840"/>
                </a:lnTo>
                <a:lnTo>
                  <a:pt x="246" y="834"/>
                </a:lnTo>
                <a:lnTo>
                  <a:pt x="246" y="828"/>
                </a:lnTo>
                <a:lnTo>
                  <a:pt x="246" y="822"/>
                </a:lnTo>
                <a:lnTo>
                  <a:pt x="240" y="816"/>
                </a:lnTo>
                <a:lnTo>
                  <a:pt x="240" y="810"/>
                </a:lnTo>
                <a:lnTo>
                  <a:pt x="240" y="804"/>
                </a:lnTo>
                <a:lnTo>
                  <a:pt x="240" y="798"/>
                </a:lnTo>
                <a:lnTo>
                  <a:pt x="234" y="798"/>
                </a:lnTo>
                <a:lnTo>
                  <a:pt x="234" y="792"/>
                </a:lnTo>
                <a:lnTo>
                  <a:pt x="234" y="786"/>
                </a:lnTo>
                <a:lnTo>
                  <a:pt x="234" y="780"/>
                </a:lnTo>
                <a:lnTo>
                  <a:pt x="228" y="780"/>
                </a:lnTo>
                <a:lnTo>
                  <a:pt x="228" y="774"/>
                </a:lnTo>
                <a:lnTo>
                  <a:pt x="228" y="768"/>
                </a:lnTo>
                <a:lnTo>
                  <a:pt x="222" y="762"/>
                </a:lnTo>
                <a:lnTo>
                  <a:pt x="222" y="756"/>
                </a:lnTo>
                <a:lnTo>
                  <a:pt x="222" y="750"/>
                </a:lnTo>
                <a:lnTo>
                  <a:pt x="222" y="744"/>
                </a:lnTo>
                <a:lnTo>
                  <a:pt x="222" y="738"/>
                </a:lnTo>
                <a:lnTo>
                  <a:pt x="216" y="732"/>
                </a:lnTo>
                <a:lnTo>
                  <a:pt x="222" y="732"/>
                </a:lnTo>
                <a:lnTo>
                  <a:pt x="228" y="732"/>
                </a:lnTo>
                <a:lnTo>
                  <a:pt x="234" y="732"/>
                </a:lnTo>
                <a:lnTo>
                  <a:pt x="240" y="732"/>
                </a:lnTo>
                <a:lnTo>
                  <a:pt x="246" y="732"/>
                </a:lnTo>
                <a:lnTo>
                  <a:pt x="246" y="738"/>
                </a:lnTo>
                <a:lnTo>
                  <a:pt x="252" y="738"/>
                </a:lnTo>
                <a:lnTo>
                  <a:pt x="258" y="738"/>
                </a:lnTo>
                <a:lnTo>
                  <a:pt x="258" y="732"/>
                </a:lnTo>
                <a:lnTo>
                  <a:pt x="264" y="732"/>
                </a:lnTo>
                <a:lnTo>
                  <a:pt x="270" y="732"/>
                </a:lnTo>
                <a:lnTo>
                  <a:pt x="276" y="732"/>
                </a:lnTo>
                <a:lnTo>
                  <a:pt x="282" y="732"/>
                </a:lnTo>
                <a:lnTo>
                  <a:pt x="288" y="732"/>
                </a:lnTo>
                <a:lnTo>
                  <a:pt x="294" y="732"/>
                </a:lnTo>
                <a:lnTo>
                  <a:pt x="300" y="732"/>
                </a:lnTo>
                <a:lnTo>
                  <a:pt x="300" y="738"/>
                </a:lnTo>
                <a:lnTo>
                  <a:pt x="306" y="738"/>
                </a:lnTo>
                <a:lnTo>
                  <a:pt x="306" y="744"/>
                </a:lnTo>
                <a:lnTo>
                  <a:pt x="306" y="750"/>
                </a:lnTo>
                <a:lnTo>
                  <a:pt x="312" y="750"/>
                </a:lnTo>
                <a:lnTo>
                  <a:pt x="312" y="756"/>
                </a:lnTo>
                <a:lnTo>
                  <a:pt x="318" y="756"/>
                </a:lnTo>
                <a:lnTo>
                  <a:pt x="318" y="750"/>
                </a:lnTo>
                <a:lnTo>
                  <a:pt x="312" y="750"/>
                </a:lnTo>
                <a:lnTo>
                  <a:pt x="312" y="744"/>
                </a:lnTo>
                <a:lnTo>
                  <a:pt x="318" y="738"/>
                </a:lnTo>
                <a:lnTo>
                  <a:pt x="324" y="738"/>
                </a:lnTo>
                <a:lnTo>
                  <a:pt x="330" y="738"/>
                </a:lnTo>
                <a:lnTo>
                  <a:pt x="336" y="738"/>
                </a:lnTo>
                <a:lnTo>
                  <a:pt x="342" y="738"/>
                </a:lnTo>
                <a:lnTo>
                  <a:pt x="348" y="732"/>
                </a:lnTo>
                <a:lnTo>
                  <a:pt x="354" y="732"/>
                </a:lnTo>
                <a:lnTo>
                  <a:pt x="360" y="732"/>
                </a:lnTo>
                <a:lnTo>
                  <a:pt x="360" y="726"/>
                </a:lnTo>
                <a:lnTo>
                  <a:pt x="366" y="726"/>
                </a:lnTo>
                <a:lnTo>
                  <a:pt x="366" y="720"/>
                </a:lnTo>
                <a:lnTo>
                  <a:pt x="366" y="714"/>
                </a:lnTo>
                <a:lnTo>
                  <a:pt x="360" y="708"/>
                </a:lnTo>
                <a:lnTo>
                  <a:pt x="354" y="708"/>
                </a:lnTo>
                <a:lnTo>
                  <a:pt x="348" y="702"/>
                </a:lnTo>
                <a:lnTo>
                  <a:pt x="354" y="702"/>
                </a:lnTo>
                <a:lnTo>
                  <a:pt x="354" y="696"/>
                </a:lnTo>
                <a:lnTo>
                  <a:pt x="348" y="696"/>
                </a:lnTo>
                <a:lnTo>
                  <a:pt x="348" y="690"/>
                </a:lnTo>
                <a:lnTo>
                  <a:pt x="342" y="690"/>
                </a:lnTo>
                <a:lnTo>
                  <a:pt x="342" y="684"/>
                </a:lnTo>
                <a:lnTo>
                  <a:pt x="342" y="678"/>
                </a:lnTo>
                <a:lnTo>
                  <a:pt x="342" y="666"/>
                </a:lnTo>
                <a:lnTo>
                  <a:pt x="342" y="660"/>
                </a:lnTo>
                <a:lnTo>
                  <a:pt x="348" y="654"/>
                </a:lnTo>
                <a:lnTo>
                  <a:pt x="348" y="642"/>
                </a:lnTo>
                <a:lnTo>
                  <a:pt x="354" y="642"/>
                </a:lnTo>
                <a:lnTo>
                  <a:pt x="360" y="642"/>
                </a:lnTo>
                <a:lnTo>
                  <a:pt x="366" y="642"/>
                </a:lnTo>
                <a:lnTo>
                  <a:pt x="372" y="648"/>
                </a:lnTo>
                <a:lnTo>
                  <a:pt x="366" y="642"/>
                </a:lnTo>
                <a:lnTo>
                  <a:pt x="372" y="642"/>
                </a:lnTo>
                <a:lnTo>
                  <a:pt x="378" y="642"/>
                </a:lnTo>
                <a:lnTo>
                  <a:pt x="384" y="642"/>
                </a:lnTo>
                <a:lnTo>
                  <a:pt x="390" y="642"/>
                </a:lnTo>
                <a:lnTo>
                  <a:pt x="396" y="642"/>
                </a:lnTo>
                <a:lnTo>
                  <a:pt x="396" y="636"/>
                </a:lnTo>
                <a:lnTo>
                  <a:pt x="402" y="636"/>
                </a:lnTo>
                <a:lnTo>
                  <a:pt x="408" y="636"/>
                </a:lnTo>
                <a:lnTo>
                  <a:pt x="402" y="636"/>
                </a:lnTo>
                <a:lnTo>
                  <a:pt x="402" y="630"/>
                </a:lnTo>
                <a:lnTo>
                  <a:pt x="408" y="630"/>
                </a:lnTo>
                <a:lnTo>
                  <a:pt x="408" y="624"/>
                </a:lnTo>
                <a:lnTo>
                  <a:pt x="408" y="618"/>
                </a:lnTo>
                <a:lnTo>
                  <a:pt x="414" y="618"/>
                </a:lnTo>
                <a:lnTo>
                  <a:pt x="420" y="618"/>
                </a:lnTo>
                <a:lnTo>
                  <a:pt x="426" y="624"/>
                </a:lnTo>
                <a:lnTo>
                  <a:pt x="432" y="624"/>
                </a:lnTo>
                <a:lnTo>
                  <a:pt x="438" y="624"/>
                </a:lnTo>
                <a:lnTo>
                  <a:pt x="438" y="618"/>
                </a:lnTo>
                <a:lnTo>
                  <a:pt x="444" y="618"/>
                </a:lnTo>
                <a:lnTo>
                  <a:pt x="450" y="618"/>
                </a:lnTo>
                <a:lnTo>
                  <a:pt x="444" y="618"/>
                </a:lnTo>
                <a:lnTo>
                  <a:pt x="438" y="618"/>
                </a:lnTo>
                <a:lnTo>
                  <a:pt x="438" y="612"/>
                </a:lnTo>
                <a:lnTo>
                  <a:pt x="438" y="618"/>
                </a:lnTo>
                <a:lnTo>
                  <a:pt x="432" y="624"/>
                </a:lnTo>
                <a:lnTo>
                  <a:pt x="426" y="618"/>
                </a:lnTo>
                <a:lnTo>
                  <a:pt x="420" y="612"/>
                </a:lnTo>
                <a:lnTo>
                  <a:pt x="414" y="612"/>
                </a:lnTo>
                <a:lnTo>
                  <a:pt x="408" y="612"/>
                </a:lnTo>
                <a:lnTo>
                  <a:pt x="402" y="612"/>
                </a:lnTo>
                <a:lnTo>
                  <a:pt x="402" y="618"/>
                </a:lnTo>
                <a:lnTo>
                  <a:pt x="402" y="624"/>
                </a:lnTo>
                <a:lnTo>
                  <a:pt x="396" y="630"/>
                </a:lnTo>
                <a:lnTo>
                  <a:pt x="390" y="630"/>
                </a:lnTo>
                <a:lnTo>
                  <a:pt x="384" y="630"/>
                </a:lnTo>
                <a:lnTo>
                  <a:pt x="390" y="630"/>
                </a:lnTo>
                <a:lnTo>
                  <a:pt x="384" y="630"/>
                </a:lnTo>
                <a:lnTo>
                  <a:pt x="378" y="630"/>
                </a:lnTo>
                <a:lnTo>
                  <a:pt x="378" y="636"/>
                </a:lnTo>
                <a:lnTo>
                  <a:pt x="372" y="630"/>
                </a:lnTo>
                <a:lnTo>
                  <a:pt x="366" y="630"/>
                </a:lnTo>
                <a:lnTo>
                  <a:pt x="360" y="630"/>
                </a:lnTo>
                <a:lnTo>
                  <a:pt x="354" y="630"/>
                </a:lnTo>
                <a:lnTo>
                  <a:pt x="354" y="636"/>
                </a:lnTo>
                <a:lnTo>
                  <a:pt x="348" y="636"/>
                </a:lnTo>
                <a:lnTo>
                  <a:pt x="348" y="642"/>
                </a:lnTo>
                <a:lnTo>
                  <a:pt x="342" y="642"/>
                </a:lnTo>
                <a:lnTo>
                  <a:pt x="342" y="648"/>
                </a:lnTo>
                <a:lnTo>
                  <a:pt x="342" y="654"/>
                </a:lnTo>
                <a:lnTo>
                  <a:pt x="336" y="654"/>
                </a:lnTo>
                <a:lnTo>
                  <a:pt x="336" y="660"/>
                </a:lnTo>
                <a:lnTo>
                  <a:pt x="336" y="666"/>
                </a:lnTo>
                <a:lnTo>
                  <a:pt x="330" y="672"/>
                </a:lnTo>
                <a:lnTo>
                  <a:pt x="330" y="678"/>
                </a:lnTo>
                <a:lnTo>
                  <a:pt x="330" y="684"/>
                </a:lnTo>
                <a:lnTo>
                  <a:pt x="330" y="690"/>
                </a:lnTo>
                <a:lnTo>
                  <a:pt x="324" y="696"/>
                </a:lnTo>
                <a:lnTo>
                  <a:pt x="324" y="702"/>
                </a:lnTo>
                <a:lnTo>
                  <a:pt x="318" y="702"/>
                </a:lnTo>
                <a:lnTo>
                  <a:pt x="318" y="708"/>
                </a:lnTo>
                <a:lnTo>
                  <a:pt x="312" y="708"/>
                </a:lnTo>
                <a:lnTo>
                  <a:pt x="312" y="702"/>
                </a:lnTo>
                <a:lnTo>
                  <a:pt x="306" y="702"/>
                </a:lnTo>
                <a:lnTo>
                  <a:pt x="300" y="702"/>
                </a:lnTo>
                <a:lnTo>
                  <a:pt x="294" y="696"/>
                </a:lnTo>
                <a:lnTo>
                  <a:pt x="288" y="696"/>
                </a:lnTo>
                <a:lnTo>
                  <a:pt x="282" y="690"/>
                </a:lnTo>
                <a:lnTo>
                  <a:pt x="288" y="684"/>
                </a:lnTo>
                <a:lnTo>
                  <a:pt x="294" y="684"/>
                </a:lnTo>
                <a:lnTo>
                  <a:pt x="294" y="678"/>
                </a:lnTo>
                <a:lnTo>
                  <a:pt x="300" y="678"/>
                </a:lnTo>
                <a:lnTo>
                  <a:pt x="294" y="678"/>
                </a:lnTo>
                <a:lnTo>
                  <a:pt x="294" y="672"/>
                </a:lnTo>
                <a:lnTo>
                  <a:pt x="294" y="666"/>
                </a:lnTo>
                <a:lnTo>
                  <a:pt x="288" y="666"/>
                </a:lnTo>
                <a:lnTo>
                  <a:pt x="288" y="672"/>
                </a:lnTo>
                <a:lnTo>
                  <a:pt x="294" y="672"/>
                </a:lnTo>
                <a:lnTo>
                  <a:pt x="288" y="678"/>
                </a:lnTo>
                <a:lnTo>
                  <a:pt x="282" y="684"/>
                </a:lnTo>
                <a:lnTo>
                  <a:pt x="282" y="678"/>
                </a:lnTo>
                <a:lnTo>
                  <a:pt x="276" y="678"/>
                </a:lnTo>
                <a:lnTo>
                  <a:pt x="282" y="684"/>
                </a:lnTo>
                <a:lnTo>
                  <a:pt x="282" y="690"/>
                </a:lnTo>
                <a:lnTo>
                  <a:pt x="282" y="696"/>
                </a:lnTo>
                <a:lnTo>
                  <a:pt x="288" y="702"/>
                </a:lnTo>
                <a:lnTo>
                  <a:pt x="294" y="708"/>
                </a:lnTo>
                <a:lnTo>
                  <a:pt x="294" y="714"/>
                </a:lnTo>
                <a:lnTo>
                  <a:pt x="288" y="714"/>
                </a:lnTo>
                <a:lnTo>
                  <a:pt x="282" y="714"/>
                </a:lnTo>
                <a:lnTo>
                  <a:pt x="276" y="714"/>
                </a:lnTo>
                <a:lnTo>
                  <a:pt x="270" y="714"/>
                </a:lnTo>
                <a:lnTo>
                  <a:pt x="276" y="714"/>
                </a:lnTo>
                <a:lnTo>
                  <a:pt x="270" y="714"/>
                </a:lnTo>
                <a:lnTo>
                  <a:pt x="264" y="714"/>
                </a:lnTo>
                <a:lnTo>
                  <a:pt x="258" y="714"/>
                </a:lnTo>
                <a:lnTo>
                  <a:pt x="252" y="714"/>
                </a:lnTo>
                <a:lnTo>
                  <a:pt x="246" y="714"/>
                </a:lnTo>
                <a:lnTo>
                  <a:pt x="240" y="714"/>
                </a:lnTo>
                <a:lnTo>
                  <a:pt x="240" y="708"/>
                </a:lnTo>
                <a:lnTo>
                  <a:pt x="234" y="708"/>
                </a:lnTo>
                <a:lnTo>
                  <a:pt x="228" y="708"/>
                </a:lnTo>
                <a:lnTo>
                  <a:pt x="222" y="702"/>
                </a:lnTo>
                <a:lnTo>
                  <a:pt x="216" y="702"/>
                </a:lnTo>
                <a:lnTo>
                  <a:pt x="210" y="702"/>
                </a:lnTo>
                <a:lnTo>
                  <a:pt x="198" y="696"/>
                </a:lnTo>
                <a:lnTo>
                  <a:pt x="192" y="690"/>
                </a:lnTo>
                <a:lnTo>
                  <a:pt x="186" y="690"/>
                </a:lnTo>
                <a:lnTo>
                  <a:pt x="180" y="684"/>
                </a:lnTo>
                <a:lnTo>
                  <a:pt x="174" y="684"/>
                </a:lnTo>
                <a:lnTo>
                  <a:pt x="168" y="684"/>
                </a:lnTo>
                <a:lnTo>
                  <a:pt x="168" y="678"/>
                </a:lnTo>
                <a:lnTo>
                  <a:pt x="156" y="672"/>
                </a:lnTo>
                <a:lnTo>
                  <a:pt x="150" y="660"/>
                </a:lnTo>
                <a:lnTo>
                  <a:pt x="126" y="630"/>
                </a:lnTo>
                <a:lnTo>
                  <a:pt x="126" y="624"/>
                </a:lnTo>
                <a:lnTo>
                  <a:pt x="126" y="618"/>
                </a:lnTo>
                <a:lnTo>
                  <a:pt x="126" y="624"/>
                </a:lnTo>
                <a:lnTo>
                  <a:pt x="126" y="618"/>
                </a:lnTo>
                <a:lnTo>
                  <a:pt x="126" y="612"/>
                </a:lnTo>
                <a:lnTo>
                  <a:pt x="126" y="606"/>
                </a:lnTo>
                <a:lnTo>
                  <a:pt x="126" y="600"/>
                </a:lnTo>
                <a:lnTo>
                  <a:pt x="132" y="594"/>
                </a:lnTo>
                <a:lnTo>
                  <a:pt x="138" y="594"/>
                </a:lnTo>
                <a:lnTo>
                  <a:pt x="144" y="588"/>
                </a:lnTo>
                <a:lnTo>
                  <a:pt x="144" y="582"/>
                </a:lnTo>
                <a:lnTo>
                  <a:pt x="150" y="582"/>
                </a:lnTo>
                <a:lnTo>
                  <a:pt x="150" y="576"/>
                </a:lnTo>
                <a:lnTo>
                  <a:pt x="156" y="576"/>
                </a:lnTo>
                <a:lnTo>
                  <a:pt x="156" y="582"/>
                </a:lnTo>
                <a:lnTo>
                  <a:pt x="156" y="576"/>
                </a:lnTo>
                <a:lnTo>
                  <a:pt x="162" y="576"/>
                </a:lnTo>
                <a:lnTo>
                  <a:pt x="168" y="576"/>
                </a:lnTo>
                <a:lnTo>
                  <a:pt x="174" y="576"/>
                </a:lnTo>
                <a:lnTo>
                  <a:pt x="180" y="582"/>
                </a:lnTo>
                <a:lnTo>
                  <a:pt x="192" y="582"/>
                </a:lnTo>
                <a:lnTo>
                  <a:pt x="198" y="582"/>
                </a:lnTo>
                <a:lnTo>
                  <a:pt x="204" y="582"/>
                </a:lnTo>
                <a:lnTo>
                  <a:pt x="210" y="582"/>
                </a:lnTo>
                <a:lnTo>
                  <a:pt x="216" y="588"/>
                </a:lnTo>
                <a:lnTo>
                  <a:pt x="222" y="588"/>
                </a:lnTo>
                <a:lnTo>
                  <a:pt x="234" y="588"/>
                </a:lnTo>
                <a:lnTo>
                  <a:pt x="240" y="588"/>
                </a:lnTo>
                <a:lnTo>
                  <a:pt x="240" y="594"/>
                </a:lnTo>
                <a:lnTo>
                  <a:pt x="240" y="588"/>
                </a:lnTo>
                <a:lnTo>
                  <a:pt x="246" y="588"/>
                </a:lnTo>
                <a:lnTo>
                  <a:pt x="246" y="594"/>
                </a:lnTo>
                <a:lnTo>
                  <a:pt x="252" y="588"/>
                </a:lnTo>
                <a:lnTo>
                  <a:pt x="258" y="588"/>
                </a:lnTo>
                <a:lnTo>
                  <a:pt x="258" y="594"/>
                </a:lnTo>
                <a:lnTo>
                  <a:pt x="252" y="594"/>
                </a:lnTo>
                <a:lnTo>
                  <a:pt x="252" y="600"/>
                </a:lnTo>
                <a:lnTo>
                  <a:pt x="246" y="600"/>
                </a:lnTo>
                <a:lnTo>
                  <a:pt x="246" y="606"/>
                </a:lnTo>
                <a:lnTo>
                  <a:pt x="246" y="600"/>
                </a:lnTo>
                <a:lnTo>
                  <a:pt x="252" y="600"/>
                </a:lnTo>
                <a:lnTo>
                  <a:pt x="258" y="594"/>
                </a:lnTo>
                <a:lnTo>
                  <a:pt x="264" y="594"/>
                </a:lnTo>
                <a:lnTo>
                  <a:pt x="264" y="588"/>
                </a:lnTo>
                <a:lnTo>
                  <a:pt x="270" y="588"/>
                </a:lnTo>
                <a:lnTo>
                  <a:pt x="270" y="582"/>
                </a:lnTo>
                <a:lnTo>
                  <a:pt x="270" y="576"/>
                </a:lnTo>
                <a:lnTo>
                  <a:pt x="276" y="576"/>
                </a:lnTo>
                <a:lnTo>
                  <a:pt x="276" y="570"/>
                </a:lnTo>
                <a:lnTo>
                  <a:pt x="276" y="564"/>
                </a:lnTo>
                <a:lnTo>
                  <a:pt x="270" y="558"/>
                </a:lnTo>
                <a:lnTo>
                  <a:pt x="276" y="558"/>
                </a:lnTo>
                <a:lnTo>
                  <a:pt x="276" y="552"/>
                </a:lnTo>
                <a:lnTo>
                  <a:pt x="276" y="558"/>
                </a:lnTo>
                <a:lnTo>
                  <a:pt x="282" y="558"/>
                </a:lnTo>
                <a:lnTo>
                  <a:pt x="288" y="558"/>
                </a:lnTo>
                <a:lnTo>
                  <a:pt x="294" y="558"/>
                </a:lnTo>
                <a:lnTo>
                  <a:pt x="300" y="558"/>
                </a:lnTo>
                <a:lnTo>
                  <a:pt x="306" y="558"/>
                </a:lnTo>
                <a:lnTo>
                  <a:pt x="312" y="558"/>
                </a:lnTo>
                <a:lnTo>
                  <a:pt x="318" y="558"/>
                </a:lnTo>
                <a:lnTo>
                  <a:pt x="318" y="564"/>
                </a:lnTo>
                <a:lnTo>
                  <a:pt x="324" y="564"/>
                </a:lnTo>
                <a:lnTo>
                  <a:pt x="324" y="570"/>
                </a:lnTo>
                <a:lnTo>
                  <a:pt x="330" y="570"/>
                </a:lnTo>
                <a:lnTo>
                  <a:pt x="336" y="570"/>
                </a:lnTo>
                <a:lnTo>
                  <a:pt x="342" y="570"/>
                </a:lnTo>
                <a:lnTo>
                  <a:pt x="348" y="570"/>
                </a:lnTo>
                <a:lnTo>
                  <a:pt x="354" y="570"/>
                </a:lnTo>
                <a:lnTo>
                  <a:pt x="360" y="570"/>
                </a:lnTo>
                <a:lnTo>
                  <a:pt x="366" y="570"/>
                </a:lnTo>
                <a:lnTo>
                  <a:pt x="360" y="570"/>
                </a:lnTo>
                <a:lnTo>
                  <a:pt x="360" y="564"/>
                </a:lnTo>
                <a:lnTo>
                  <a:pt x="354" y="564"/>
                </a:lnTo>
                <a:lnTo>
                  <a:pt x="348" y="564"/>
                </a:lnTo>
                <a:lnTo>
                  <a:pt x="342" y="564"/>
                </a:lnTo>
                <a:lnTo>
                  <a:pt x="342" y="570"/>
                </a:lnTo>
                <a:lnTo>
                  <a:pt x="336" y="564"/>
                </a:lnTo>
                <a:lnTo>
                  <a:pt x="336" y="570"/>
                </a:lnTo>
                <a:lnTo>
                  <a:pt x="336" y="564"/>
                </a:lnTo>
                <a:lnTo>
                  <a:pt x="330" y="564"/>
                </a:lnTo>
                <a:lnTo>
                  <a:pt x="324" y="558"/>
                </a:lnTo>
                <a:lnTo>
                  <a:pt x="324" y="564"/>
                </a:lnTo>
                <a:lnTo>
                  <a:pt x="324" y="558"/>
                </a:lnTo>
                <a:lnTo>
                  <a:pt x="318" y="558"/>
                </a:lnTo>
                <a:lnTo>
                  <a:pt x="312" y="552"/>
                </a:lnTo>
                <a:lnTo>
                  <a:pt x="312" y="558"/>
                </a:lnTo>
                <a:lnTo>
                  <a:pt x="312" y="552"/>
                </a:lnTo>
                <a:lnTo>
                  <a:pt x="306" y="552"/>
                </a:lnTo>
                <a:lnTo>
                  <a:pt x="300" y="546"/>
                </a:lnTo>
                <a:lnTo>
                  <a:pt x="294" y="546"/>
                </a:lnTo>
                <a:lnTo>
                  <a:pt x="288" y="546"/>
                </a:lnTo>
                <a:lnTo>
                  <a:pt x="282" y="546"/>
                </a:lnTo>
                <a:lnTo>
                  <a:pt x="276" y="546"/>
                </a:lnTo>
                <a:lnTo>
                  <a:pt x="276" y="552"/>
                </a:lnTo>
                <a:lnTo>
                  <a:pt x="270" y="552"/>
                </a:lnTo>
                <a:lnTo>
                  <a:pt x="270" y="558"/>
                </a:lnTo>
                <a:lnTo>
                  <a:pt x="270" y="564"/>
                </a:lnTo>
                <a:lnTo>
                  <a:pt x="264" y="570"/>
                </a:lnTo>
                <a:lnTo>
                  <a:pt x="258" y="576"/>
                </a:lnTo>
                <a:lnTo>
                  <a:pt x="258" y="582"/>
                </a:lnTo>
                <a:lnTo>
                  <a:pt x="252" y="582"/>
                </a:lnTo>
                <a:lnTo>
                  <a:pt x="246" y="582"/>
                </a:lnTo>
                <a:lnTo>
                  <a:pt x="240" y="582"/>
                </a:lnTo>
                <a:lnTo>
                  <a:pt x="234" y="576"/>
                </a:lnTo>
                <a:lnTo>
                  <a:pt x="228" y="576"/>
                </a:lnTo>
                <a:lnTo>
                  <a:pt x="222" y="576"/>
                </a:lnTo>
                <a:lnTo>
                  <a:pt x="222" y="570"/>
                </a:lnTo>
                <a:lnTo>
                  <a:pt x="216" y="564"/>
                </a:lnTo>
                <a:lnTo>
                  <a:pt x="216" y="558"/>
                </a:lnTo>
                <a:lnTo>
                  <a:pt x="210" y="558"/>
                </a:lnTo>
                <a:lnTo>
                  <a:pt x="210" y="552"/>
                </a:lnTo>
                <a:lnTo>
                  <a:pt x="216" y="552"/>
                </a:lnTo>
                <a:lnTo>
                  <a:pt x="216" y="546"/>
                </a:lnTo>
                <a:lnTo>
                  <a:pt x="216" y="540"/>
                </a:lnTo>
                <a:lnTo>
                  <a:pt x="222" y="534"/>
                </a:lnTo>
                <a:lnTo>
                  <a:pt x="222" y="528"/>
                </a:lnTo>
                <a:lnTo>
                  <a:pt x="228" y="522"/>
                </a:lnTo>
                <a:lnTo>
                  <a:pt x="228" y="516"/>
                </a:lnTo>
                <a:lnTo>
                  <a:pt x="228" y="510"/>
                </a:lnTo>
                <a:lnTo>
                  <a:pt x="234" y="510"/>
                </a:lnTo>
                <a:lnTo>
                  <a:pt x="240" y="516"/>
                </a:lnTo>
                <a:lnTo>
                  <a:pt x="246" y="522"/>
                </a:lnTo>
                <a:lnTo>
                  <a:pt x="246" y="516"/>
                </a:lnTo>
                <a:lnTo>
                  <a:pt x="240" y="516"/>
                </a:lnTo>
                <a:lnTo>
                  <a:pt x="240" y="510"/>
                </a:lnTo>
                <a:lnTo>
                  <a:pt x="234" y="510"/>
                </a:lnTo>
                <a:lnTo>
                  <a:pt x="234" y="504"/>
                </a:lnTo>
                <a:lnTo>
                  <a:pt x="228" y="504"/>
                </a:lnTo>
                <a:lnTo>
                  <a:pt x="222" y="504"/>
                </a:lnTo>
                <a:lnTo>
                  <a:pt x="222" y="498"/>
                </a:lnTo>
                <a:lnTo>
                  <a:pt x="222" y="504"/>
                </a:lnTo>
                <a:lnTo>
                  <a:pt x="222" y="510"/>
                </a:lnTo>
                <a:lnTo>
                  <a:pt x="222" y="516"/>
                </a:lnTo>
                <a:lnTo>
                  <a:pt x="216" y="522"/>
                </a:lnTo>
                <a:lnTo>
                  <a:pt x="216" y="528"/>
                </a:lnTo>
                <a:lnTo>
                  <a:pt x="210" y="528"/>
                </a:lnTo>
                <a:lnTo>
                  <a:pt x="216" y="528"/>
                </a:lnTo>
                <a:lnTo>
                  <a:pt x="210" y="534"/>
                </a:lnTo>
                <a:lnTo>
                  <a:pt x="210" y="540"/>
                </a:lnTo>
                <a:lnTo>
                  <a:pt x="210" y="546"/>
                </a:lnTo>
                <a:lnTo>
                  <a:pt x="204" y="546"/>
                </a:lnTo>
                <a:lnTo>
                  <a:pt x="204" y="552"/>
                </a:lnTo>
                <a:lnTo>
                  <a:pt x="204" y="558"/>
                </a:lnTo>
                <a:lnTo>
                  <a:pt x="204" y="564"/>
                </a:lnTo>
                <a:lnTo>
                  <a:pt x="198" y="570"/>
                </a:lnTo>
                <a:lnTo>
                  <a:pt x="192" y="564"/>
                </a:lnTo>
                <a:lnTo>
                  <a:pt x="186" y="564"/>
                </a:lnTo>
                <a:lnTo>
                  <a:pt x="180" y="564"/>
                </a:lnTo>
                <a:lnTo>
                  <a:pt x="174" y="564"/>
                </a:lnTo>
                <a:lnTo>
                  <a:pt x="168" y="564"/>
                </a:lnTo>
                <a:lnTo>
                  <a:pt x="162" y="564"/>
                </a:lnTo>
                <a:lnTo>
                  <a:pt x="156" y="570"/>
                </a:lnTo>
                <a:lnTo>
                  <a:pt x="150" y="570"/>
                </a:lnTo>
                <a:lnTo>
                  <a:pt x="150" y="564"/>
                </a:lnTo>
                <a:lnTo>
                  <a:pt x="150" y="570"/>
                </a:lnTo>
                <a:lnTo>
                  <a:pt x="150" y="576"/>
                </a:lnTo>
                <a:lnTo>
                  <a:pt x="144" y="576"/>
                </a:lnTo>
                <a:lnTo>
                  <a:pt x="138" y="576"/>
                </a:lnTo>
                <a:lnTo>
                  <a:pt x="132" y="582"/>
                </a:lnTo>
                <a:lnTo>
                  <a:pt x="126" y="582"/>
                </a:lnTo>
                <a:lnTo>
                  <a:pt x="120" y="582"/>
                </a:lnTo>
                <a:lnTo>
                  <a:pt x="114" y="576"/>
                </a:lnTo>
                <a:lnTo>
                  <a:pt x="108" y="564"/>
                </a:lnTo>
                <a:lnTo>
                  <a:pt x="102" y="558"/>
                </a:lnTo>
                <a:lnTo>
                  <a:pt x="96" y="552"/>
                </a:lnTo>
                <a:lnTo>
                  <a:pt x="90" y="546"/>
                </a:lnTo>
                <a:lnTo>
                  <a:pt x="90" y="540"/>
                </a:lnTo>
                <a:lnTo>
                  <a:pt x="84" y="534"/>
                </a:lnTo>
                <a:lnTo>
                  <a:pt x="84" y="528"/>
                </a:lnTo>
                <a:lnTo>
                  <a:pt x="78" y="522"/>
                </a:lnTo>
                <a:lnTo>
                  <a:pt x="78" y="516"/>
                </a:lnTo>
                <a:lnTo>
                  <a:pt x="72" y="510"/>
                </a:lnTo>
                <a:lnTo>
                  <a:pt x="66" y="504"/>
                </a:lnTo>
                <a:lnTo>
                  <a:pt x="66" y="498"/>
                </a:lnTo>
                <a:lnTo>
                  <a:pt x="66" y="492"/>
                </a:lnTo>
                <a:lnTo>
                  <a:pt x="66" y="486"/>
                </a:lnTo>
                <a:lnTo>
                  <a:pt x="66" y="480"/>
                </a:lnTo>
                <a:lnTo>
                  <a:pt x="66" y="474"/>
                </a:lnTo>
                <a:lnTo>
                  <a:pt x="72" y="474"/>
                </a:lnTo>
                <a:lnTo>
                  <a:pt x="72" y="468"/>
                </a:lnTo>
                <a:lnTo>
                  <a:pt x="78" y="462"/>
                </a:lnTo>
                <a:lnTo>
                  <a:pt x="78" y="456"/>
                </a:lnTo>
                <a:lnTo>
                  <a:pt x="84" y="456"/>
                </a:lnTo>
                <a:lnTo>
                  <a:pt x="84" y="450"/>
                </a:lnTo>
                <a:lnTo>
                  <a:pt x="84" y="444"/>
                </a:lnTo>
                <a:lnTo>
                  <a:pt x="90" y="444"/>
                </a:lnTo>
                <a:lnTo>
                  <a:pt x="96" y="444"/>
                </a:lnTo>
                <a:lnTo>
                  <a:pt x="96" y="450"/>
                </a:lnTo>
                <a:lnTo>
                  <a:pt x="102" y="450"/>
                </a:lnTo>
                <a:lnTo>
                  <a:pt x="108" y="450"/>
                </a:lnTo>
                <a:lnTo>
                  <a:pt x="108" y="456"/>
                </a:lnTo>
                <a:lnTo>
                  <a:pt x="108" y="462"/>
                </a:lnTo>
                <a:lnTo>
                  <a:pt x="114" y="462"/>
                </a:lnTo>
                <a:lnTo>
                  <a:pt x="114" y="468"/>
                </a:lnTo>
                <a:lnTo>
                  <a:pt x="114" y="474"/>
                </a:lnTo>
                <a:lnTo>
                  <a:pt x="114" y="480"/>
                </a:lnTo>
                <a:lnTo>
                  <a:pt x="114" y="486"/>
                </a:lnTo>
                <a:lnTo>
                  <a:pt x="120" y="486"/>
                </a:lnTo>
                <a:lnTo>
                  <a:pt x="126" y="486"/>
                </a:lnTo>
                <a:lnTo>
                  <a:pt x="132" y="486"/>
                </a:lnTo>
                <a:lnTo>
                  <a:pt x="126" y="480"/>
                </a:lnTo>
                <a:lnTo>
                  <a:pt x="120" y="480"/>
                </a:lnTo>
                <a:lnTo>
                  <a:pt x="114" y="480"/>
                </a:lnTo>
                <a:lnTo>
                  <a:pt x="120" y="480"/>
                </a:lnTo>
                <a:lnTo>
                  <a:pt x="120" y="474"/>
                </a:lnTo>
                <a:lnTo>
                  <a:pt x="120" y="468"/>
                </a:lnTo>
                <a:lnTo>
                  <a:pt x="114" y="468"/>
                </a:lnTo>
                <a:lnTo>
                  <a:pt x="114" y="462"/>
                </a:lnTo>
                <a:lnTo>
                  <a:pt x="114" y="456"/>
                </a:lnTo>
                <a:lnTo>
                  <a:pt x="108" y="456"/>
                </a:lnTo>
                <a:lnTo>
                  <a:pt x="108" y="450"/>
                </a:lnTo>
                <a:lnTo>
                  <a:pt x="108" y="444"/>
                </a:lnTo>
                <a:lnTo>
                  <a:pt x="114" y="438"/>
                </a:lnTo>
                <a:lnTo>
                  <a:pt x="120" y="438"/>
                </a:lnTo>
                <a:lnTo>
                  <a:pt x="120" y="432"/>
                </a:lnTo>
                <a:lnTo>
                  <a:pt x="132" y="426"/>
                </a:lnTo>
                <a:lnTo>
                  <a:pt x="138" y="420"/>
                </a:lnTo>
                <a:lnTo>
                  <a:pt x="144" y="420"/>
                </a:lnTo>
                <a:lnTo>
                  <a:pt x="144" y="414"/>
                </a:lnTo>
                <a:lnTo>
                  <a:pt x="144" y="420"/>
                </a:lnTo>
                <a:lnTo>
                  <a:pt x="150" y="420"/>
                </a:lnTo>
                <a:lnTo>
                  <a:pt x="150" y="414"/>
                </a:lnTo>
                <a:lnTo>
                  <a:pt x="156" y="414"/>
                </a:lnTo>
                <a:lnTo>
                  <a:pt x="162" y="414"/>
                </a:lnTo>
                <a:lnTo>
                  <a:pt x="162" y="408"/>
                </a:lnTo>
                <a:lnTo>
                  <a:pt x="168" y="408"/>
                </a:lnTo>
                <a:lnTo>
                  <a:pt x="174" y="414"/>
                </a:lnTo>
                <a:lnTo>
                  <a:pt x="174" y="408"/>
                </a:lnTo>
                <a:lnTo>
                  <a:pt x="180" y="402"/>
                </a:lnTo>
                <a:lnTo>
                  <a:pt x="180" y="396"/>
                </a:lnTo>
                <a:lnTo>
                  <a:pt x="186" y="396"/>
                </a:lnTo>
                <a:lnTo>
                  <a:pt x="186" y="390"/>
                </a:lnTo>
                <a:lnTo>
                  <a:pt x="192" y="390"/>
                </a:lnTo>
                <a:lnTo>
                  <a:pt x="198" y="384"/>
                </a:lnTo>
                <a:lnTo>
                  <a:pt x="204" y="384"/>
                </a:lnTo>
                <a:lnTo>
                  <a:pt x="204" y="390"/>
                </a:lnTo>
                <a:lnTo>
                  <a:pt x="204" y="384"/>
                </a:lnTo>
                <a:lnTo>
                  <a:pt x="210" y="378"/>
                </a:lnTo>
                <a:lnTo>
                  <a:pt x="210" y="372"/>
                </a:lnTo>
                <a:lnTo>
                  <a:pt x="216" y="372"/>
                </a:lnTo>
                <a:lnTo>
                  <a:pt x="222" y="366"/>
                </a:lnTo>
                <a:lnTo>
                  <a:pt x="228" y="360"/>
                </a:lnTo>
                <a:lnTo>
                  <a:pt x="234" y="360"/>
                </a:lnTo>
                <a:lnTo>
                  <a:pt x="234" y="354"/>
                </a:lnTo>
                <a:lnTo>
                  <a:pt x="240" y="354"/>
                </a:lnTo>
                <a:lnTo>
                  <a:pt x="246" y="348"/>
                </a:lnTo>
                <a:lnTo>
                  <a:pt x="252" y="348"/>
                </a:lnTo>
                <a:lnTo>
                  <a:pt x="252" y="342"/>
                </a:lnTo>
                <a:lnTo>
                  <a:pt x="246" y="342"/>
                </a:lnTo>
                <a:lnTo>
                  <a:pt x="240" y="342"/>
                </a:lnTo>
                <a:lnTo>
                  <a:pt x="240" y="348"/>
                </a:lnTo>
                <a:lnTo>
                  <a:pt x="240" y="342"/>
                </a:lnTo>
                <a:lnTo>
                  <a:pt x="234" y="342"/>
                </a:lnTo>
                <a:lnTo>
                  <a:pt x="228" y="336"/>
                </a:lnTo>
                <a:lnTo>
                  <a:pt x="222" y="336"/>
                </a:lnTo>
                <a:lnTo>
                  <a:pt x="216" y="336"/>
                </a:lnTo>
                <a:lnTo>
                  <a:pt x="222" y="324"/>
                </a:lnTo>
                <a:lnTo>
                  <a:pt x="222" y="318"/>
                </a:lnTo>
                <a:lnTo>
                  <a:pt x="222" y="312"/>
                </a:lnTo>
                <a:lnTo>
                  <a:pt x="234" y="318"/>
                </a:lnTo>
                <a:lnTo>
                  <a:pt x="246" y="318"/>
                </a:lnTo>
                <a:lnTo>
                  <a:pt x="258" y="318"/>
                </a:lnTo>
                <a:lnTo>
                  <a:pt x="270" y="312"/>
                </a:lnTo>
                <a:lnTo>
                  <a:pt x="276" y="312"/>
                </a:lnTo>
                <a:lnTo>
                  <a:pt x="288" y="324"/>
                </a:lnTo>
                <a:lnTo>
                  <a:pt x="294" y="318"/>
                </a:lnTo>
                <a:lnTo>
                  <a:pt x="294" y="312"/>
                </a:lnTo>
                <a:lnTo>
                  <a:pt x="294" y="306"/>
                </a:lnTo>
                <a:lnTo>
                  <a:pt x="300" y="300"/>
                </a:lnTo>
                <a:lnTo>
                  <a:pt x="306" y="306"/>
                </a:lnTo>
                <a:lnTo>
                  <a:pt x="312" y="318"/>
                </a:lnTo>
                <a:lnTo>
                  <a:pt x="318" y="312"/>
                </a:lnTo>
                <a:lnTo>
                  <a:pt x="324" y="312"/>
                </a:lnTo>
                <a:lnTo>
                  <a:pt x="330" y="312"/>
                </a:lnTo>
                <a:lnTo>
                  <a:pt x="342" y="306"/>
                </a:lnTo>
                <a:lnTo>
                  <a:pt x="348" y="306"/>
                </a:lnTo>
                <a:lnTo>
                  <a:pt x="348" y="312"/>
                </a:lnTo>
                <a:lnTo>
                  <a:pt x="348" y="318"/>
                </a:lnTo>
                <a:lnTo>
                  <a:pt x="354" y="318"/>
                </a:lnTo>
                <a:lnTo>
                  <a:pt x="354" y="324"/>
                </a:lnTo>
                <a:lnTo>
                  <a:pt x="354" y="330"/>
                </a:lnTo>
                <a:lnTo>
                  <a:pt x="360" y="330"/>
                </a:lnTo>
                <a:lnTo>
                  <a:pt x="360" y="336"/>
                </a:lnTo>
                <a:lnTo>
                  <a:pt x="366" y="330"/>
                </a:lnTo>
                <a:lnTo>
                  <a:pt x="378" y="324"/>
                </a:lnTo>
                <a:lnTo>
                  <a:pt x="384" y="324"/>
                </a:lnTo>
                <a:lnTo>
                  <a:pt x="384" y="318"/>
                </a:lnTo>
                <a:lnTo>
                  <a:pt x="390" y="312"/>
                </a:lnTo>
                <a:lnTo>
                  <a:pt x="396" y="312"/>
                </a:lnTo>
                <a:lnTo>
                  <a:pt x="396" y="306"/>
                </a:lnTo>
                <a:lnTo>
                  <a:pt x="402" y="306"/>
                </a:lnTo>
                <a:lnTo>
                  <a:pt x="408" y="306"/>
                </a:lnTo>
                <a:lnTo>
                  <a:pt x="414" y="300"/>
                </a:lnTo>
                <a:lnTo>
                  <a:pt x="420" y="300"/>
                </a:lnTo>
                <a:lnTo>
                  <a:pt x="426" y="300"/>
                </a:lnTo>
                <a:lnTo>
                  <a:pt x="432" y="300"/>
                </a:lnTo>
                <a:lnTo>
                  <a:pt x="444" y="288"/>
                </a:lnTo>
                <a:lnTo>
                  <a:pt x="450" y="294"/>
                </a:lnTo>
                <a:lnTo>
                  <a:pt x="468" y="300"/>
                </a:lnTo>
                <a:lnTo>
                  <a:pt x="498" y="312"/>
                </a:lnTo>
                <a:lnTo>
                  <a:pt x="504" y="324"/>
                </a:lnTo>
                <a:lnTo>
                  <a:pt x="516" y="330"/>
                </a:lnTo>
                <a:lnTo>
                  <a:pt x="516" y="336"/>
                </a:lnTo>
                <a:lnTo>
                  <a:pt x="540" y="342"/>
                </a:lnTo>
                <a:lnTo>
                  <a:pt x="558" y="372"/>
                </a:lnTo>
                <a:lnTo>
                  <a:pt x="594" y="384"/>
                </a:lnTo>
                <a:lnTo>
                  <a:pt x="606" y="402"/>
                </a:lnTo>
                <a:lnTo>
                  <a:pt x="600" y="420"/>
                </a:lnTo>
                <a:lnTo>
                  <a:pt x="588" y="444"/>
                </a:lnTo>
                <a:lnTo>
                  <a:pt x="588" y="450"/>
                </a:lnTo>
                <a:lnTo>
                  <a:pt x="588" y="456"/>
                </a:lnTo>
                <a:lnTo>
                  <a:pt x="594" y="456"/>
                </a:lnTo>
                <a:lnTo>
                  <a:pt x="594" y="462"/>
                </a:lnTo>
                <a:lnTo>
                  <a:pt x="594" y="468"/>
                </a:lnTo>
                <a:lnTo>
                  <a:pt x="594" y="474"/>
                </a:lnTo>
                <a:lnTo>
                  <a:pt x="600" y="474"/>
                </a:lnTo>
                <a:lnTo>
                  <a:pt x="606" y="480"/>
                </a:lnTo>
                <a:lnTo>
                  <a:pt x="606" y="486"/>
                </a:lnTo>
                <a:lnTo>
                  <a:pt x="612" y="486"/>
                </a:lnTo>
                <a:lnTo>
                  <a:pt x="618" y="486"/>
                </a:lnTo>
                <a:lnTo>
                  <a:pt x="624" y="486"/>
                </a:lnTo>
                <a:lnTo>
                  <a:pt x="636" y="486"/>
                </a:lnTo>
                <a:lnTo>
                  <a:pt x="642" y="486"/>
                </a:lnTo>
                <a:lnTo>
                  <a:pt x="648" y="480"/>
                </a:lnTo>
                <a:lnTo>
                  <a:pt x="654" y="474"/>
                </a:lnTo>
                <a:lnTo>
                  <a:pt x="660" y="468"/>
                </a:lnTo>
                <a:lnTo>
                  <a:pt x="666" y="468"/>
                </a:lnTo>
                <a:lnTo>
                  <a:pt x="684" y="468"/>
                </a:lnTo>
                <a:lnTo>
                  <a:pt x="696" y="468"/>
                </a:lnTo>
                <a:lnTo>
                  <a:pt x="696" y="462"/>
                </a:lnTo>
                <a:lnTo>
                  <a:pt x="702" y="456"/>
                </a:lnTo>
                <a:lnTo>
                  <a:pt x="708" y="450"/>
                </a:lnTo>
                <a:lnTo>
                  <a:pt x="714" y="450"/>
                </a:lnTo>
                <a:lnTo>
                  <a:pt x="720" y="450"/>
                </a:lnTo>
                <a:lnTo>
                  <a:pt x="720" y="438"/>
                </a:lnTo>
                <a:lnTo>
                  <a:pt x="726" y="432"/>
                </a:lnTo>
                <a:lnTo>
                  <a:pt x="738" y="420"/>
                </a:lnTo>
                <a:lnTo>
                  <a:pt x="744" y="420"/>
                </a:lnTo>
                <a:lnTo>
                  <a:pt x="750" y="414"/>
                </a:lnTo>
                <a:lnTo>
                  <a:pt x="762" y="408"/>
                </a:lnTo>
                <a:lnTo>
                  <a:pt x="768" y="408"/>
                </a:lnTo>
                <a:lnTo>
                  <a:pt x="768" y="402"/>
                </a:lnTo>
                <a:lnTo>
                  <a:pt x="780" y="396"/>
                </a:lnTo>
                <a:lnTo>
                  <a:pt x="786" y="396"/>
                </a:lnTo>
                <a:lnTo>
                  <a:pt x="786" y="390"/>
                </a:lnTo>
                <a:lnTo>
                  <a:pt x="792" y="384"/>
                </a:lnTo>
                <a:lnTo>
                  <a:pt x="792" y="378"/>
                </a:lnTo>
                <a:lnTo>
                  <a:pt x="798" y="366"/>
                </a:lnTo>
                <a:lnTo>
                  <a:pt x="804" y="360"/>
                </a:lnTo>
                <a:lnTo>
                  <a:pt x="816" y="342"/>
                </a:lnTo>
                <a:lnTo>
                  <a:pt x="816" y="312"/>
                </a:lnTo>
                <a:lnTo>
                  <a:pt x="804" y="300"/>
                </a:lnTo>
                <a:lnTo>
                  <a:pt x="798" y="288"/>
                </a:lnTo>
                <a:lnTo>
                  <a:pt x="762" y="264"/>
                </a:lnTo>
                <a:lnTo>
                  <a:pt x="738" y="234"/>
                </a:lnTo>
                <a:lnTo>
                  <a:pt x="738" y="222"/>
                </a:lnTo>
                <a:lnTo>
                  <a:pt x="744" y="210"/>
                </a:lnTo>
                <a:lnTo>
                  <a:pt x="732" y="174"/>
                </a:lnTo>
                <a:lnTo>
                  <a:pt x="714" y="156"/>
                </a:lnTo>
                <a:lnTo>
                  <a:pt x="708" y="144"/>
                </a:lnTo>
                <a:lnTo>
                  <a:pt x="714" y="126"/>
                </a:lnTo>
                <a:lnTo>
                  <a:pt x="720" y="114"/>
                </a:lnTo>
                <a:lnTo>
                  <a:pt x="732" y="102"/>
                </a:lnTo>
                <a:lnTo>
                  <a:pt x="744" y="102"/>
                </a:lnTo>
                <a:lnTo>
                  <a:pt x="762" y="108"/>
                </a:lnTo>
                <a:lnTo>
                  <a:pt x="774" y="114"/>
                </a:lnTo>
                <a:lnTo>
                  <a:pt x="780" y="138"/>
                </a:lnTo>
                <a:lnTo>
                  <a:pt x="786" y="144"/>
                </a:lnTo>
                <a:lnTo>
                  <a:pt x="798" y="138"/>
                </a:lnTo>
                <a:lnTo>
                  <a:pt x="804" y="132"/>
                </a:lnTo>
                <a:lnTo>
                  <a:pt x="816" y="120"/>
                </a:lnTo>
                <a:lnTo>
                  <a:pt x="816" y="108"/>
                </a:lnTo>
                <a:lnTo>
                  <a:pt x="828" y="102"/>
                </a:lnTo>
                <a:lnTo>
                  <a:pt x="828" y="96"/>
                </a:lnTo>
                <a:lnTo>
                  <a:pt x="840" y="96"/>
                </a:lnTo>
                <a:lnTo>
                  <a:pt x="840" y="84"/>
                </a:lnTo>
                <a:lnTo>
                  <a:pt x="852" y="90"/>
                </a:lnTo>
                <a:lnTo>
                  <a:pt x="852" y="96"/>
                </a:lnTo>
                <a:lnTo>
                  <a:pt x="870" y="90"/>
                </a:lnTo>
                <a:lnTo>
                  <a:pt x="894" y="78"/>
                </a:lnTo>
                <a:lnTo>
                  <a:pt x="912" y="78"/>
                </a:lnTo>
                <a:lnTo>
                  <a:pt x="942" y="66"/>
                </a:lnTo>
                <a:lnTo>
                  <a:pt x="942" y="60"/>
                </a:lnTo>
                <a:lnTo>
                  <a:pt x="954" y="48"/>
                </a:lnTo>
                <a:lnTo>
                  <a:pt x="966" y="30"/>
                </a:lnTo>
                <a:lnTo>
                  <a:pt x="978" y="30"/>
                </a:lnTo>
                <a:lnTo>
                  <a:pt x="978" y="24"/>
                </a:lnTo>
                <a:lnTo>
                  <a:pt x="984" y="12"/>
                </a:lnTo>
                <a:lnTo>
                  <a:pt x="990" y="12"/>
                </a:lnTo>
                <a:lnTo>
                  <a:pt x="996" y="12"/>
                </a:lnTo>
                <a:lnTo>
                  <a:pt x="1014" y="6"/>
                </a:lnTo>
                <a:lnTo>
                  <a:pt x="1026" y="6"/>
                </a:lnTo>
                <a:lnTo>
                  <a:pt x="1044" y="6"/>
                </a:lnTo>
                <a:lnTo>
                  <a:pt x="1050" y="6"/>
                </a:lnTo>
                <a:lnTo>
                  <a:pt x="1056" y="6"/>
                </a:lnTo>
                <a:lnTo>
                  <a:pt x="1062" y="6"/>
                </a:lnTo>
                <a:lnTo>
                  <a:pt x="1068" y="6"/>
                </a:lnTo>
                <a:lnTo>
                  <a:pt x="1074" y="6"/>
                </a:lnTo>
                <a:lnTo>
                  <a:pt x="1080" y="6"/>
                </a:lnTo>
                <a:lnTo>
                  <a:pt x="1086" y="0"/>
                </a:lnTo>
                <a:lnTo>
                  <a:pt x="1092" y="30"/>
                </a:lnTo>
                <a:lnTo>
                  <a:pt x="1098" y="60"/>
                </a:lnTo>
                <a:lnTo>
                  <a:pt x="1110" y="84"/>
                </a:lnTo>
                <a:lnTo>
                  <a:pt x="1122" y="114"/>
                </a:lnTo>
                <a:lnTo>
                  <a:pt x="1128" y="144"/>
                </a:lnTo>
                <a:lnTo>
                  <a:pt x="1122" y="156"/>
                </a:lnTo>
                <a:lnTo>
                  <a:pt x="1128" y="168"/>
                </a:lnTo>
                <a:lnTo>
                  <a:pt x="1134" y="186"/>
                </a:lnTo>
                <a:lnTo>
                  <a:pt x="1140" y="204"/>
                </a:lnTo>
                <a:lnTo>
                  <a:pt x="1146" y="210"/>
                </a:lnTo>
                <a:lnTo>
                  <a:pt x="1146" y="216"/>
                </a:lnTo>
                <a:lnTo>
                  <a:pt x="1146" y="228"/>
                </a:lnTo>
                <a:lnTo>
                  <a:pt x="1146" y="234"/>
                </a:lnTo>
                <a:lnTo>
                  <a:pt x="1140" y="246"/>
                </a:lnTo>
                <a:lnTo>
                  <a:pt x="1128" y="258"/>
                </a:lnTo>
                <a:lnTo>
                  <a:pt x="1116" y="264"/>
                </a:lnTo>
                <a:lnTo>
                  <a:pt x="1110" y="276"/>
                </a:lnTo>
                <a:lnTo>
                  <a:pt x="1116" y="288"/>
                </a:lnTo>
                <a:lnTo>
                  <a:pt x="1122" y="300"/>
                </a:lnTo>
                <a:lnTo>
                  <a:pt x="1122" y="312"/>
                </a:lnTo>
                <a:lnTo>
                  <a:pt x="1116" y="324"/>
                </a:lnTo>
                <a:lnTo>
                  <a:pt x="1104" y="336"/>
                </a:lnTo>
                <a:lnTo>
                  <a:pt x="1104" y="354"/>
                </a:lnTo>
                <a:lnTo>
                  <a:pt x="1098" y="372"/>
                </a:lnTo>
                <a:lnTo>
                  <a:pt x="1092" y="384"/>
                </a:lnTo>
                <a:lnTo>
                  <a:pt x="1086" y="390"/>
                </a:lnTo>
                <a:lnTo>
                  <a:pt x="1086" y="402"/>
                </a:lnTo>
                <a:lnTo>
                  <a:pt x="1080" y="414"/>
                </a:lnTo>
                <a:lnTo>
                  <a:pt x="1074" y="426"/>
                </a:lnTo>
                <a:lnTo>
                  <a:pt x="1074" y="450"/>
                </a:lnTo>
                <a:lnTo>
                  <a:pt x="1074" y="462"/>
                </a:lnTo>
                <a:lnTo>
                  <a:pt x="1068" y="474"/>
                </a:lnTo>
                <a:lnTo>
                  <a:pt x="1062" y="486"/>
                </a:lnTo>
                <a:lnTo>
                  <a:pt x="1056" y="498"/>
                </a:lnTo>
                <a:close/>
                <a:moveTo>
                  <a:pt x="186" y="378"/>
                </a:moveTo>
                <a:lnTo>
                  <a:pt x="186" y="384"/>
                </a:lnTo>
                <a:lnTo>
                  <a:pt x="180" y="390"/>
                </a:lnTo>
                <a:lnTo>
                  <a:pt x="174" y="396"/>
                </a:lnTo>
                <a:lnTo>
                  <a:pt x="168" y="396"/>
                </a:lnTo>
                <a:lnTo>
                  <a:pt x="162" y="396"/>
                </a:lnTo>
                <a:lnTo>
                  <a:pt x="156" y="396"/>
                </a:lnTo>
                <a:lnTo>
                  <a:pt x="156" y="402"/>
                </a:lnTo>
                <a:lnTo>
                  <a:pt x="150" y="402"/>
                </a:lnTo>
                <a:lnTo>
                  <a:pt x="144" y="402"/>
                </a:lnTo>
                <a:lnTo>
                  <a:pt x="144" y="408"/>
                </a:lnTo>
                <a:lnTo>
                  <a:pt x="138" y="408"/>
                </a:lnTo>
                <a:lnTo>
                  <a:pt x="132" y="414"/>
                </a:lnTo>
                <a:lnTo>
                  <a:pt x="126" y="414"/>
                </a:lnTo>
                <a:lnTo>
                  <a:pt x="120" y="414"/>
                </a:lnTo>
                <a:lnTo>
                  <a:pt x="120" y="420"/>
                </a:lnTo>
                <a:lnTo>
                  <a:pt x="114" y="426"/>
                </a:lnTo>
                <a:lnTo>
                  <a:pt x="108" y="426"/>
                </a:lnTo>
                <a:lnTo>
                  <a:pt x="102" y="426"/>
                </a:lnTo>
                <a:lnTo>
                  <a:pt x="102" y="432"/>
                </a:lnTo>
                <a:lnTo>
                  <a:pt x="96" y="432"/>
                </a:lnTo>
                <a:lnTo>
                  <a:pt x="90" y="432"/>
                </a:lnTo>
                <a:lnTo>
                  <a:pt x="84" y="438"/>
                </a:lnTo>
                <a:lnTo>
                  <a:pt x="78" y="438"/>
                </a:lnTo>
                <a:lnTo>
                  <a:pt x="78" y="444"/>
                </a:lnTo>
                <a:lnTo>
                  <a:pt x="72" y="444"/>
                </a:lnTo>
                <a:lnTo>
                  <a:pt x="72" y="450"/>
                </a:lnTo>
                <a:lnTo>
                  <a:pt x="66" y="456"/>
                </a:lnTo>
                <a:lnTo>
                  <a:pt x="66" y="462"/>
                </a:lnTo>
                <a:lnTo>
                  <a:pt x="60" y="462"/>
                </a:lnTo>
                <a:lnTo>
                  <a:pt x="60" y="468"/>
                </a:lnTo>
                <a:lnTo>
                  <a:pt x="60" y="474"/>
                </a:lnTo>
                <a:lnTo>
                  <a:pt x="54" y="474"/>
                </a:lnTo>
                <a:lnTo>
                  <a:pt x="48" y="468"/>
                </a:lnTo>
                <a:lnTo>
                  <a:pt x="42" y="468"/>
                </a:lnTo>
                <a:lnTo>
                  <a:pt x="42" y="462"/>
                </a:lnTo>
                <a:lnTo>
                  <a:pt x="42" y="456"/>
                </a:lnTo>
                <a:lnTo>
                  <a:pt x="36" y="456"/>
                </a:lnTo>
                <a:lnTo>
                  <a:pt x="36" y="450"/>
                </a:lnTo>
                <a:lnTo>
                  <a:pt x="36" y="444"/>
                </a:lnTo>
                <a:lnTo>
                  <a:pt x="30" y="444"/>
                </a:lnTo>
                <a:lnTo>
                  <a:pt x="30" y="438"/>
                </a:lnTo>
                <a:lnTo>
                  <a:pt x="30" y="432"/>
                </a:lnTo>
                <a:lnTo>
                  <a:pt x="24" y="432"/>
                </a:lnTo>
                <a:lnTo>
                  <a:pt x="24" y="426"/>
                </a:lnTo>
                <a:lnTo>
                  <a:pt x="18" y="420"/>
                </a:lnTo>
                <a:lnTo>
                  <a:pt x="18" y="414"/>
                </a:lnTo>
                <a:lnTo>
                  <a:pt x="12" y="414"/>
                </a:lnTo>
                <a:lnTo>
                  <a:pt x="12" y="408"/>
                </a:lnTo>
                <a:lnTo>
                  <a:pt x="6" y="402"/>
                </a:lnTo>
                <a:lnTo>
                  <a:pt x="6" y="396"/>
                </a:lnTo>
                <a:lnTo>
                  <a:pt x="0" y="396"/>
                </a:lnTo>
                <a:lnTo>
                  <a:pt x="6" y="384"/>
                </a:lnTo>
                <a:lnTo>
                  <a:pt x="18" y="372"/>
                </a:lnTo>
                <a:lnTo>
                  <a:pt x="30" y="348"/>
                </a:lnTo>
                <a:lnTo>
                  <a:pt x="30" y="342"/>
                </a:lnTo>
                <a:lnTo>
                  <a:pt x="42" y="330"/>
                </a:lnTo>
                <a:lnTo>
                  <a:pt x="42" y="324"/>
                </a:lnTo>
                <a:lnTo>
                  <a:pt x="48" y="318"/>
                </a:lnTo>
                <a:lnTo>
                  <a:pt x="54" y="306"/>
                </a:lnTo>
                <a:lnTo>
                  <a:pt x="54" y="294"/>
                </a:lnTo>
                <a:lnTo>
                  <a:pt x="60" y="282"/>
                </a:lnTo>
                <a:lnTo>
                  <a:pt x="60" y="276"/>
                </a:lnTo>
                <a:lnTo>
                  <a:pt x="60" y="270"/>
                </a:lnTo>
                <a:lnTo>
                  <a:pt x="66" y="270"/>
                </a:lnTo>
                <a:lnTo>
                  <a:pt x="72" y="258"/>
                </a:lnTo>
                <a:lnTo>
                  <a:pt x="84" y="246"/>
                </a:lnTo>
                <a:lnTo>
                  <a:pt x="90" y="234"/>
                </a:lnTo>
                <a:lnTo>
                  <a:pt x="96" y="234"/>
                </a:lnTo>
                <a:lnTo>
                  <a:pt x="96" y="228"/>
                </a:lnTo>
                <a:lnTo>
                  <a:pt x="102" y="222"/>
                </a:lnTo>
                <a:lnTo>
                  <a:pt x="102" y="228"/>
                </a:lnTo>
                <a:lnTo>
                  <a:pt x="102" y="234"/>
                </a:lnTo>
                <a:lnTo>
                  <a:pt x="108" y="234"/>
                </a:lnTo>
                <a:lnTo>
                  <a:pt x="108" y="228"/>
                </a:lnTo>
                <a:lnTo>
                  <a:pt x="114" y="228"/>
                </a:lnTo>
                <a:lnTo>
                  <a:pt x="114" y="234"/>
                </a:lnTo>
                <a:lnTo>
                  <a:pt x="120" y="228"/>
                </a:lnTo>
                <a:lnTo>
                  <a:pt x="120" y="222"/>
                </a:lnTo>
                <a:lnTo>
                  <a:pt x="126" y="222"/>
                </a:lnTo>
                <a:lnTo>
                  <a:pt x="132" y="222"/>
                </a:lnTo>
                <a:lnTo>
                  <a:pt x="126" y="228"/>
                </a:lnTo>
                <a:lnTo>
                  <a:pt x="132" y="228"/>
                </a:lnTo>
                <a:lnTo>
                  <a:pt x="138" y="228"/>
                </a:lnTo>
                <a:lnTo>
                  <a:pt x="138" y="234"/>
                </a:lnTo>
                <a:lnTo>
                  <a:pt x="144" y="234"/>
                </a:lnTo>
                <a:lnTo>
                  <a:pt x="144" y="228"/>
                </a:lnTo>
                <a:lnTo>
                  <a:pt x="150" y="228"/>
                </a:lnTo>
                <a:lnTo>
                  <a:pt x="156" y="228"/>
                </a:lnTo>
                <a:lnTo>
                  <a:pt x="156" y="234"/>
                </a:lnTo>
                <a:lnTo>
                  <a:pt x="150" y="234"/>
                </a:lnTo>
                <a:lnTo>
                  <a:pt x="156" y="240"/>
                </a:lnTo>
                <a:lnTo>
                  <a:pt x="156" y="246"/>
                </a:lnTo>
                <a:lnTo>
                  <a:pt x="162" y="240"/>
                </a:lnTo>
                <a:lnTo>
                  <a:pt x="162" y="246"/>
                </a:lnTo>
                <a:lnTo>
                  <a:pt x="162" y="258"/>
                </a:lnTo>
                <a:lnTo>
                  <a:pt x="162" y="264"/>
                </a:lnTo>
                <a:lnTo>
                  <a:pt x="156" y="270"/>
                </a:lnTo>
                <a:lnTo>
                  <a:pt x="162" y="270"/>
                </a:lnTo>
                <a:lnTo>
                  <a:pt x="162" y="282"/>
                </a:lnTo>
                <a:lnTo>
                  <a:pt x="168" y="282"/>
                </a:lnTo>
                <a:lnTo>
                  <a:pt x="174" y="282"/>
                </a:lnTo>
                <a:lnTo>
                  <a:pt x="186" y="288"/>
                </a:lnTo>
                <a:lnTo>
                  <a:pt x="186" y="294"/>
                </a:lnTo>
                <a:lnTo>
                  <a:pt x="180" y="300"/>
                </a:lnTo>
                <a:lnTo>
                  <a:pt x="174" y="318"/>
                </a:lnTo>
                <a:lnTo>
                  <a:pt x="174" y="324"/>
                </a:lnTo>
                <a:lnTo>
                  <a:pt x="168" y="330"/>
                </a:lnTo>
                <a:lnTo>
                  <a:pt x="168" y="342"/>
                </a:lnTo>
                <a:lnTo>
                  <a:pt x="168" y="348"/>
                </a:lnTo>
                <a:lnTo>
                  <a:pt x="174" y="354"/>
                </a:lnTo>
                <a:lnTo>
                  <a:pt x="174" y="360"/>
                </a:lnTo>
                <a:lnTo>
                  <a:pt x="180" y="366"/>
                </a:lnTo>
                <a:lnTo>
                  <a:pt x="186" y="378"/>
                </a:lnTo>
                <a:close/>
              </a:path>
            </a:pathLst>
          </a:custGeom>
          <a:solidFill>
            <a:srgbClr val="FF9900"/>
          </a:solidFill>
          <a:ln w="9525">
            <a:solidFill>
              <a:schemeClr val="bg1"/>
            </a:solidFill>
            <a:round/>
            <a:headEnd/>
            <a:tailEnd/>
          </a:ln>
        </p:spPr>
        <p:txBody>
          <a:bodyPr/>
          <a:lstStyle/>
          <a:p>
            <a:endParaRPr lang="en-GB"/>
          </a:p>
        </p:txBody>
      </p:sp>
      <p:sp>
        <p:nvSpPr>
          <p:cNvPr id="20508" name="Freeform 24"/>
          <p:cNvSpPr>
            <a:spLocks/>
          </p:cNvSpPr>
          <p:nvPr/>
        </p:nvSpPr>
        <p:spPr bwMode="gray">
          <a:xfrm>
            <a:off x="2597150" y="4754563"/>
            <a:ext cx="854075" cy="942975"/>
          </a:xfrm>
          <a:custGeom>
            <a:avLst/>
            <a:gdLst>
              <a:gd name="T0" fmla="*/ 70473 w 1092"/>
              <a:gd name="T1" fmla="*/ 48328 h 1170"/>
              <a:gd name="T2" fmla="*/ 64992 w 1092"/>
              <a:gd name="T3" fmla="*/ 49939 h 1170"/>
              <a:gd name="T4" fmla="*/ 56378 w 1092"/>
              <a:gd name="T5" fmla="*/ 54771 h 1170"/>
              <a:gd name="T6" fmla="*/ 53246 w 1092"/>
              <a:gd name="T7" fmla="*/ 57188 h 1170"/>
              <a:gd name="T8" fmla="*/ 47765 w 1092"/>
              <a:gd name="T9" fmla="*/ 55577 h 1170"/>
              <a:gd name="T10" fmla="*/ 50114 w 1092"/>
              <a:gd name="T11" fmla="*/ 66048 h 1170"/>
              <a:gd name="T12" fmla="*/ 52463 w 1092"/>
              <a:gd name="T13" fmla="*/ 74908 h 1170"/>
              <a:gd name="T14" fmla="*/ 48548 w 1092"/>
              <a:gd name="T15" fmla="*/ 77324 h 1170"/>
              <a:gd name="T16" fmla="*/ 46199 w 1092"/>
              <a:gd name="T17" fmla="*/ 79741 h 1170"/>
              <a:gd name="T18" fmla="*/ 41501 w 1092"/>
              <a:gd name="T19" fmla="*/ 81352 h 1170"/>
              <a:gd name="T20" fmla="*/ 39152 w 1092"/>
              <a:gd name="T21" fmla="*/ 80546 h 1170"/>
              <a:gd name="T22" fmla="*/ 39152 w 1092"/>
              <a:gd name="T23" fmla="*/ 74908 h 1170"/>
              <a:gd name="T24" fmla="*/ 28972 w 1092"/>
              <a:gd name="T25" fmla="*/ 68464 h 1170"/>
              <a:gd name="T26" fmla="*/ 25057 w 1092"/>
              <a:gd name="T27" fmla="*/ 69270 h 1170"/>
              <a:gd name="T28" fmla="*/ 22708 w 1092"/>
              <a:gd name="T29" fmla="*/ 70881 h 1170"/>
              <a:gd name="T30" fmla="*/ 21142 w 1092"/>
              <a:gd name="T31" fmla="*/ 69270 h 1170"/>
              <a:gd name="T32" fmla="*/ 18010 w 1092"/>
              <a:gd name="T33" fmla="*/ 70075 h 1170"/>
              <a:gd name="T34" fmla="*/ 13312 w 1092"/>
              <a:gd name="T35" fmla="*/ 70075 h 1170"/>
              <a:gd name="T36" fmla="*/ 14095 w 1092"/>
              <a:gd name="T37" fmla="*/ 71686 h 1170"/>
              <a:gd name="T38" fmla="*/ 12528 w 1092"/>
              <a:gd name="T39" fmla="*/ 74102 h 1170"/>
              <a:gd name="T40" fmla="*/ 9396 w 1092"/>
              <a:gd name="T41" fmla="*/ 71686 h 1170"/>
              <a:gd name="T42" fmla="*/ 10179 w 1092"/>
              <a:gd name="T43" fmla="*/ 67659 h 1170"/>
              <a:gd name="T44" fmla="*/ 9396 w 1092"/>
              <a:gd name="T45" fmla="*/ 64437 h 1170"/>
              <a:gd name="T46" fmla="*/ 7830 w 1092"/>
              <a:gd name="T47" fmla="*/ 64437 h 1170"/>
              <a:gd name="T48" fmla="*/ 6264 w 1092"/>
              <a:gd name="T49" fmla="*/ 63631 h 1170"/>
              <a:gd name="T50" fmla="*/ 4698 w 1092"/>
              <a:gd name="T51" fmla="*/ 62826 h 1170"/>
              <a:gd name="T52" fmla="*/ 4698 w 1092"/>
              <a:gd name="T53" fmla="*/ 62020 h 1170"/>
              <a:gd name="T54" fmla="*/ 3132 w 1092"/>
              <a:gd name="T55" fmla="*/ 60410 h 1170"/>
              <a:gd name="T56" fmla="*/ 0 w 1092"/>
              <a:gd name="T57" fmla="*/ 57993 h 1170"/>
              <a:gd name="T58" fmla="*/ 0 w 1092"/>
              <a:gd name="T59" fmla="*/ 55577 h 1170"/>
              <a:gd name="T60" fmla="*/ 2349 w 1092"/>
              <a:gd name="T61" fmla="*/ 53966 h 1170"/>
              <a:gd name="T62" fmla="*/ 4698 w 1092"/>
              <a:gd name="T63" fmla="*/ 49939 h 1170"/>
              <a:gd name="T64" fmla="*/ 6264 w 1092"/>
              <a:gd name="T65" fmla="*/ 46717 h 1170"/>
              <a:gd name="T66" fmla="*/ 3915 w 1092"/>
              <a:gd name="T67" fmla="*/ 43495 h 1170"/>
              <a:gd name="T68" fmla="*/ 4698 w 1092"/>
              <a:gd name="T69" fmla="*/ 40273 h 1170"/>
              <a:gd name="T70" fmla="*/ 6264 w 1092"/>
              <a:gd name="T71" fmla="*/ 37051 h 1170"/>
              <a:gd name="T72" fmla="*/ 7830 w 1092"/>
              <a:gd name="T73" fmla="*/ 34635 h 1170"/>
              <a:gd name="T74" fmla="*/ 10962 w 1092"/>
              <a:gd name="T75" fmla="*/ 30608 h 1170"/>
              <a:gd name="T76" fmla="*/ 24274 w 1092"/>
              <a:gd name="T77" fmla="*/ 32218 h 1170"/>
              <a:gd name="T78" fmla="*/ 23491 w 1092"/>
              <a:gd name="T79" fmla="*/ 37051 h 1170"/>
              <a:gd name="T80" fmla="*/ 28189 w 1092"/>
              <a:gd name="T81" fmla="*/ 37857 h 1170"/>
              <a:gd name="T82" fmla="*/ 32104 w 1092"/>
              <a:gd name="T83" fmla="*/ 35440 h 1170"/>
              <a:gd name="T84" fmla="*/ 33670 w 1092"/>
              <a:gd name="T85" fmla="*/ 31413 h 1170"/>
              <a:gd name="T86" fmla="*/ 34453 w 1092"/>
              <a:gd name="T87" fmla="*/ 28191 h 1170"/>
              <a:gd name="T88" fmla="*/ 34453 w 1092"/>
              <a:gd name="T89" fmla="*/ 23358 h 1170"/>
              <a:gd name="T90" fmla="*/ 37585 w 1092"/>
              <a:gd name="T91" fmla="*/ 19331 h 1170"/>
              <a:gd name="T92" fmla="*/ 38369 w 1092"/>
              <a:gd name="T93" fmla="*/ 15304 h 1170"/>
              <a:gd name="T94" fmla="*/ 39935 w 1092"/>
              <a:gd name="T95" fmla="*/ 11276 h 1170"/>
              <a:gd name="T96" fmla="*/ 42284 w 1092"/>
              <a:gd name="T97" fmla="*/ 8055 h 1170"/>
              <a:gd name="T98" fmla="*/ 41501 w 1092"/>
              <a:gd name="T99" fmla="*/ 5638 h 1170"/>
              <a:gd name="T100" fmla="*/ 43067 w 1092"/>
              <a:gd name="T101" fmla="*/ 2416 h 1170"/>
              <a:gd name="T102" fmla="*/ 45416 w 1092"/>
              <a:gd name="T103" fmla="*/ 0 h 1170"/>
              <a:gd name="T104" fmla="*/ 50897 w 1092"/>
              <a:gd name="T105" fmla="*/ 1611 h 1170"/>
              <a:gd name="T106" fmla="*/ 47765 w 1092"/>
              <a:gd name="T107" fmla="*/ 4833 h 1170"/>
              <a:gd name="T108" fmla="*/ 52463 w 1092"/>
              <a:gd name="T109" fmla="*/ 5638 h 1170"/>
              <a:gd name="T110" fmla="*/ 55595 w 1092"/>
              <a:gd name="T111" fmla="*/ 4833 h 1170"/>
              <a:gd name="T112" fmla="*/ 58727 w 1092"/>
              <a:gd name="T113" fmla="*/ 7249 h 1170"/>
              <a:gd name="T114" fmla="*/ 64209 w 1092"/>
              <a:gd name="T115" fmla="*/ 9666 h 1170"/>
              <a:gd name="T116" fmla="*/ 65775 w 1092"/>
              <a:gd name="T117" fmla="*/ 13693 h 1170"/>
              <a:gd name="T118" fmla="*/ 73605 w 1092"/>
              <a:gd name="T119" fmla="*/ 18526 h 1170"/>
              <a:gd name="T120" fmla="*/ 73605 w 1092"/>
              <a:gd name="T121" fmla="*/ 27386 h 1170"/>
              <a:gd name="T122" fmla="*/ 70473 w 1092"/>
              <a:gd name="T123" fmla="*/ 33024 h 1170"/>
              <a:gd name="T124" fmla="*/ 71256 w 1092"/>
              <a:gd name="T125" fmla="*/ 41078 h 11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2"/>
              <a:gd name="T190" fmla="*/ 0 h 1170"/>
              <a:gd name="T191" fmla="*/ 1092 w 1092"/>
              <a:gd name="T192" fmla="*/ 1170 h 11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2" h="1170">
                <a:moveTo>
                  <a:pt x="1056" y="654"/>
                </a:moveTo>
                <a:lnTo>
                  <a:pt x="1062" y="684"/>
                </a:lnTo>
                <a:lnTo>
                  <a:pt x="1056" y="690"/>
                </a:lnTo>
                <a:lnTo>
                  <a:pt x="1050" y="690"/>
                </a:lnTo>
                <a:lnTo>
                  <a:pt x="1044" y="690"/>
                </a:lnTo>
                <a:lnTo>
                  <a:pt x="1038" y="690"/>
                </a:lnTo>
                <a:lnTo>
                  <a:pt x="1032" y="690"/>
                </a:lnTo>
                <a:lnTo>
                  <a:pt x="1026" y="690"/>
                </a:lnTo>
                <a:lnTo>
                  <a:pt x="1020" y="690"/>
                </a:lnTo>
                <a:lnTo>
                  <a:pt x="1002" y="690"/>
                </a:lnTo>
                <a:lnTo>
                  <a:pt x="990" y="690"/>
                </a:lnTo>
                <a:lnTo>
                  <a:pt x="972" y="696"/>
                </a:lnTo>
                <a:lnTo>
                  <a:pt x="966" y="696"/>
                </a:lnTo>
                <a:lnTo>
                  <a:pt x="960" y="696"/>
                </a:lnTo>
                <a:lnTo>
                  <a:pt x="954" y="708"/>
                </a:lnTo>
                <a:lnTo>
                  <a:pt x="954" y="714"/>
                </a:lnTo>
                <a:lnTo>
                  <a:pt x="942" y="714"/>
                </a:lnTo>
                <a:lnTo>
                  <a:pt x="930" y="732"/>
                </a:lnTo>
                <a:lnTo>
                  <a:pt x="918" y="744"/>
                </a:lnTo>
                <a:lnTo>
                  <a:pt x="918" y="750"/>
                </a:lnTo>
                <a:lnTo>
                  <a:pt x="888" y="762"/>
                </a:lnTo>
                <a:lnTo>
                  <a:pt x="870" y="762"/>
                </a:lnTo>
                <a:lnTo>
                  <a:pt x="846" y="774"/>
                </a:lnTo>
                <a:lnTo>
                  <a:pt x="828" y="780"/>
                </a:lnTo>
                <a:lnTo>
                  <a:pt x="828" y="774"/>
                </a:lnTo>
                <a:lnTo>
                  <a:pt x="816" y="768"/>
                </a:lnTo>
                <a:lnTo>
                  <a:pt x="816" y="780"/>
                </a:lnTo>
                <a:lnTo>
                  <a:pt x="804" y="780"/>
                </a:lnTo>
                <a:lnTo>
                  <a:pt x="804" y="786"/>
                </a:lnTo>
                <a:lnTo>
                  <a:pt x="792" y="792"/>
                </a:lnTo>
                <a:lnTo>
                  <a:pt x="792" y="804"/>
                </a:lnTo>
                <a:lnTo>
                  <a:pt x="780" y="816"/>
                </a:lnTo>
                <a:lnTo>
                  <a:pt x="774" y="822"/>
                </a:lnTo>
                <a:lnTo>
                  <a:pt x="762" y="828"/>
                </a:lnTo>
                <a:lnTo>
                  <a:pt x="756" y="822"/>
                </a:lnTo>
                <a:lnTo>
                  <a:pt x="750" y="798"/>
                </a:lnTo>
                <a:lnTo>
                  <a:pt x="738" y="792"/>
                </a:lnTo>
                <a:lnTo>
                  <a:pt x="720" y="786"/>
                </a:lnTo>
                <a:lnTo>
                  <a:pt x="708" y="786"/>
                </a:lnTo>
                <a:lnTo>
                  <a:pt x="696" y="798"/>
                </a:lnTo>
                <a:lnTo>
                  <a:pt x="690" y="810"/>
                </a:lnTo>
                <a:lnTo>
                  <a:pt x="684" y="828"/>
                </a:lnTo>
                <a:lnTo>
                  <a:pt x="690" y="840"/>
                </a:lnTo>
                <a:lnTo>
                  <a:pt x="708" y="858"/>
                </a:lnTo>
                <a:lnTo>
                  <a:pt x="720" y="894"/>
                </a:lnTo>
                <a:lnTo>
                  <a:pt x="714" y="906"/>
                </a:lnTo>
                <a:lnTo>
                  <a:pt x="714" y="918"/>
                </a:lnTo>
                <a:lnTo>
                  <a:pt x="738" y="948"/>
                </a:lnTo>
                <a:lnTo>
                  <a:pt x="774" y="972"/>
                </a:lnTo>
                <a:lnTo>
                  <a:pt x="780" y="984"/>
                </a:lnTo>
                <a:lnTo>
                  <a:pt x="792" y="996"/>
                </a:lnTo>
                <a:lnTo>
                  <a:pt x="792" y="1026"/>
                </a:lnTo>
                <a:lnTo>
                  <a:pt x="780" y="1044"/>
                </a:lnTo>
                <a:lnTo>
                  <a:pt x="774" y="1050"/>
                </a:lnTo>
                <a:lnTo>
                  <a:pt x="768" y="1062"/>
                </a:lnTo>
                <a:lnTo>
                  <a:pt x="768" y="1068"/>
                </a:lnTo>
                <a:lnTo>
                  <a:pt x="762" y="1074"/>
                </a:lnTo>
                <a:lnTo>
                  <a:pt x="762" y="1080"/>
                </a:lnTo>
                <a:lnTo>
                  <a:pt x="756" y="1080"/>
                </a:lnTo>
                <a:lnTo>
                  <a:pt x="744" y="1086"/>
                </a:lnTo>
                <a:lnTo>
                  <a:pt x="744" y="1092"/>
                </a:lnTo>
                <a:lnTo>
                  <a:pt x="738" y="1092"/>
                </a:lnTo>
                <a:lnTo>
                  <a:pt x="726" y="1098"/>
                </a:lnTo>
                <a:lnTo>
                  <a:pt x="720" y="1104"/>
                </a:lnTo>
                <a:lnTo>
                  <a:pt x="714" y="1104"/>
                </a:lnTo>
                <a:lnTo>
                  <a:pt x="702" y="1116"/>
                </a:lnTo>
                <a:lnTo>
                  <a:pt x="696" y="1122"/>
                </a:lnTo>
                <a:lnTo>
                  <a:pt x="696" y="1134"/>
                </a:lnTo>
                <a:lnTo>
                  <a:pt x="690" y="1134"/>
                </a:lnTo>
                <a:lnTo>
                  <a:pt x="684" y="1134"/>
                </a:lnTo>
                <a:lnTo>
                  <a:pt x="678" y="1140"/>
                </a:lnTo>
                <a:lnTo>
                  <a:pt x="672" y="1146"/>
                </a:lnTo>
                <a:lnTo>
                  <a:pt x="672" y="1152"/>
                </a:lnTo>
                <a:lnTo>
                  <a:pt x="660" y="1152"/>
                </a:lnTo>
                <a:lnTo>
                  <a:pt x="642" y="1152"/>
                </a:lnTo>
                <a:lnTo>
                  <a:pt x="636" y="1152"/>
                </a:lnTo>
                <a:lnTo>
                  <a:pt x="630" y="1158"/>
                </a:lnTo>
                <a:lnTo>
                  <a:pt x="624" y="1164"/>
                </a:lnTo>
                <a:lnTo>
                  <a:pt x="618" y="1170"/>
                </a:lnTo>
                <a:lnTo>
                  <a:pt x="612" y="1170"/>
                </a:lnTo>
                <a:lnTo>
                  <a:pt x="600" y="1170"/>
                </a:lnTo>
                <a:lnTo>
                  <a:pt x="594" y="1170"/>
                </a:lnTo>
                <a:lnTo>
                  <a:pt x="588" y="1170"/>
                </a:lnTo>
                <a:lnTo>
                  <a:pt x="582" y="1170"/>
                </a:lnTo>
                <a:lnTo>
                  <a:pt x="582" y="1164"/>
                </a:lnTo>
                <a:lnTo>
                  <a:pt x="576" y="1158"/>
                </a:lnTo>
                <a:lnTo>
                  <a:pt x="570" y="1158"/>
                </a:lnTo>
                <a:lnTo>
                  <a:pt x="570" y="1152"/>
                </a:lnTo>
                <a:lnTo>
                  <a:pt x="570" y="1146"/>
                </a:lnTo>
                <a:lnTo>
                  <a:pt x="570" y="1140"/>
                </a:lnTo>
                <a:lnTo>
                  <a:pt x="564" y="1140"/>
                </a:lnTo>
                <a:lnTo>
                  <a:pt x="564" y="1134"/>
                </a:lnTo>
                <a:lnTo>
                  <a:pt x="564" y="1128"/>
                </a:lnTo>
                <a:lnTo>
                  <a:pt x="576" y="1104"/>
                </a:lnTo>
                <a:lnTo>
                  <a:pt x="582" y="1086"/>
                </a:lnTo>
                <a:lnTo>
                  <a:pt x="570" y="1068"/>
                </a:lnTo>
                <a:lnTo>
                  <a:pt x="534" y="1056"/>
                </a:lnTo>
                <a:lnTo>
                  <a:pt x="516" y="1026"/>
                </a:lnTo>
                <a:lnTo>
                  <a:pt x="492" y="1020"/>
                </a:lnTo>
                <a:lnTo>
                  <a:pt x="492" y="1014"/>
                </a:lnTo>
                <a:lnTo>
                  <a:pt x="480" y="1008"/>
                </a:lnTo>
                <a:lnTo>
                  <a:pt x="474" y="996"/>
                </a:lnTo>
                <a:lnTo>
                  <a:pt x="444" y="984"/>
                </a:lnTo>
                <a:lnTo>
                  <a:pt x="426" y="978"/>
                </a:lnTo>
                <a:lnTo>
                  <a:pt x="420" y="972"/>
                </a:lnTo>
                <a:lnTo>
                  <a:pt x="408" y="984"/>
                </a:lnTo>
                <a:lnTo>
                  <a:pt x="402" y="984"/>
                </a:lnTo>
                <a:lnTo>
                  <a:pt x="396" y="984"/>
                </a:lnTo>
                <a:lnTo>
                  <a:pt x="390" y="984"/>
                </a:lnTo>
                <a:lnTo>
                  <a:pt x="384" y="990"/>
                </a:lnTo>
                <a:lnTo>
                  <a:pt x="378" y="990"/>
                </a:lnTo>
                <a:lnTo>
                  <a:pt x="372" y="990"/>
                </a:lnTo>
                <a:lnTo>
                  <a:pt x="372" y="996"/>
                </a:lnTo>
                <a:lnTo>
                  <a:pt x="366" y="996"/>
                </a:lnTo>
                <a:lnTo>
                  <a:pt x="360" y="1002"/>
                </a:lnTo>
                <a:lnTo>
                  <a:pt x="360" y="1008"/>
                </a:lnTo>
                <a:lnTo>
                  <a:pt x="354" y="1008"/>
                </a:lnTo>
                <a:lnTo>
                  <a:pt x="342" y="1014"/>
                </a:lnTo>
                <a:lnTo>
                  <a:pt x="336" y="1020"/>
                </a:lnTo>
                <a:lnTo>
                  <a:pt x="336" y="1014"/>
                </a:lnTo>
                <a:lnTo>
                  <a:pt x="330" y="1014"/>
                </a:lnTo>
                <a:lnTo>
                  <a:pt x="330" y="1008"/>
                </a:lnTo>
                <a:lnTo>
                  <a:pt x="330" y="1002"/>
                </a:lnTo>
                <a:lnTo>
                  <a:pt x="324" y="1002"/>
                </a:lnTo>
                <a:lnTo>
                  <a:pt x="324" y="996"/>
                </a:lnTo>
                <a:lnTo>
                  <a:pt x="324" y="990"/>
                </a:lnTo>
                <a:lnTo>
                  <a:pt x="318" y="990"/>
                </a:lnTo>
                <a:lnTo>
                  <a:pt x="306" y="996"/>
                </a:lnTo>
                <a:lnTo>
                  <a:pt x="300" y="996"/>
                </a:lnTo>
                <a:lnTo>
                  <a:pt x="294" y="996"/>
                </a:lnTo>
                <a:lnTo>
                  <a:pt x="288" y="1002"/>
                </a:lnTo>
                <a:lnTo>
                  <a:pt x="282" y="990"/>
                </a:lnTo>
                <a:lnTo>
                  <a:pt x="276" y="984"/>
                </a:lnTo>
                <a:lnTo>
                  <a:pt x="270" y="990"/>
                </a:lnTo>
                <a:lnTo>
                  <a:pt x="270" y="996"/>
                </a:lnTo>
                <a:lnTo>
                  <a:pt x="270" y="1002"/>
                </a:lnTo>
                <a:lnTo>
                  <a:pt x="264" y="1008"/>
                </a:lnTo>
                <a:lnTo>
                  <a:pt x="252" y="996"/>
                </a:lnTo>
                <a:lnTo>
                  <a:pt x="246" y="996"/>
                </a:lnTo>
                <a:lnTo>
                  <a:pt x="234" y="1002"/>
                </a:lnTo>
                <a:lnTo>
                  <a:pt x="222" y="1002"/>
                </a:lnTo>
                <a:lnTo>
                  <a:pt x="210" y="1002"/>
                </a:lnTo>
                <a:lnTo>
                  <a:pt x="198" y="996"/>
                </a:lnTo>
                <a:lnTo>
                  <a:pt x="198" y="1002"/>
                </a:lnTo>
                <a:lnTo>
                  <a:pt x="198" y="1008"/>
                </a:lnTo>
                <a:lnTo>
                  <a:pt x="192" y="1020"/>
                </a:lnTo>
                <a:lnTo>
                  <a:pt x="198" y="1020"/>
                </a:lnTo>
                <a:lnTo>
                  <a:pt x="204" y="1020"/>
                </a:lnTo>
                <a:lnTo>
                  <a:pt x="210" y="1026"/>
                </a:lnTo>
                <a:lnTo>
                  <a:pt x="216" y="1026"/>
                </a:lnTo>
                <a:lnTo>
                  <a:pt x="216" y="1032"/>
                </a:lnTo>
                <a:lnTo>
                  <a:pt x="210" y="1032"/>
                </a:lnTo>
                <a:lnTo>
                  <a:pt x="210" y="1038"/>
                </a:lnTo>
                <a:lnTo>
                  <a:pt x="204" y="1038"/>
                </a:lnTo>
                <a:lnTo>
                  <a:pt x="204" y="1044"/>
                </a:lnTo>
                <a:lnTo>
                  <a:pt x="198" y="1044"/>
                </a:lnTo>
                <a:lnTo>
                  <a:pt x="192" y="1044"/>
                </a:lnTo>
                <a:lnTo>
                  <a:pt x="186" y="1050"/>
                </a:lnTo>
                <a:lnTo>
                  <a:pt x="186" y="1056"/>
                </a:lnTo>
                <a:lnTo>
                  <a:pt x="180" y="1056"/>
                </a:lnTo>
                <a:lnTo>
                  <a:pt x="180" y="1062"/>
                </a:lnTo>
                <a:lnTo>
                  <a:pt x="174" y="1062"/>
                </a:lnTo>
                <a:lnTo>
                  <a:pt x="168" y="1062"/>
                </a:lnTo>
                <a:lnTo>
                  <a:pt x="162" y="1062"/>
                </a:lnTo>
                <a:lnTo>
                  <a:pt x="156" y="1050"/>
                </a:lnTo>
                <a:lnTo>
                  <a:pt x="150" y="1044"/>
                </a:lnTo>
                <a:lnTo>
                  <a:pt x="150" y="1038"/>
                </a:lnTo>
                <a:lnTo>
                  <a:pt x="144" y="1032"/>
                </a:lnTo>
                <a:lnTo>
                  <a:pt x="144" y="1026"/>
                </a:lnTo>
                <a:lnTo>
                  <a:pt x="144" y="1014"/>
                </a:lnTo>
                <a:lnTo>
                  <a:pt x="150" y="1008"/>
                </a:lnTo>
                <a:lnTo>
                  <a:pt x="150" y="1002"/>
                </a:lnTo>
                <a:lnTo>
                  <a:pt x="156" y="984"/>
                </a:lnTo>
                <a:lnTo>
                  <a:pt x="162" y="978"/>
                </a:lnTo>
                <a:lnTo>
                  <a:pt x="162" y="972"/>
                </a:lnTo>
                <a:lnTo>
                  <a:pt x="150" y="966"/>
                </a:lnTo>
                <a:lnTo>
                  <a:pt x="144" y="966"/>
                </a:lnTo>
                <a:lnTo>
                  <a:pt x="138" y="966"/>
                </a:lnTo>
                <a:lnTo>
                  <a:pt x="138" y="954"/>
                </a:lnTo>
                <a:lnTo>
                  <a:pt x="132" y="954"/>
                </a:lnTo>
                <a:lnTo>
                  <a:pt x="138" y="948"/>
                </a:lnTo>
                <a:lnTo>
                  <a:pt x="138" y="942"/>
                </a:lnTo>
                <a:lnTo>
                  <a:pt x="138" y="930"/>
                </a:lnTo>
                <a:lnTo>
                  <a:pt x="138" y="924"/>
                </a:lnTo>
                <a:lnTo>
                  <a:pt x="132" y="930"/>
                </a:lnTo>
                <a:lnTo>
                  <a:pt x="132" y="924"/>
                </a:lnTo>
                <a:lnTo>
                  <a:pt x="126" y="918"/>
                </a:lnTo>
                <a:lnTo>
                  <a:pt x="132" y="918"/>
                </a:lnTo>
                <a:lnTo>
                  <a:pt x="132" y="912"/>
                </a:lnTo>
                <a:lnTo>
                  <a:pt x="126" y="912"/>
                </a:lnTo>
                <a:lnTo>
                  <a:pt x="120" y="912"/>
                </a:lnTo>
                <a:lnTo>
                  <a:pt x="120" y="918"/>
                </a:lnTo>
                <a:lnTo>
                  <a:pt x="114" y="918"/>
                </a:lnTo>
                <a:lnTo>
                  <a:pt x="114" y="912"/>
                </a:lnTo>
                <a:lnTo>
                  <a:pt x="108" y="912"/>
                </a:lnTo>
                <a:lnTo>
                  <a:pt x="102" y="912"/>
                </a:lnTo>
                <a:lnTo>
                  <a:pt x="108" y="906"/>
                </a:lnTo>
                <a:lnTo>
                  <a:pt x="102" y="906"/>
                </a:lnTo>
                <a:lnTo>
                  <a:pt x="96" y="906"/>
                </a:lnTo>
                <a:lnTo>
                  <a:pt x="96" y="912"/>
                </a:lnTo>
                <a:lnTo>
                  <a:pt x="90" y="918"/>
                </a:lnTo>
                <a:lnTo>
                  <a:pt x="90" y="912"/>
                </a:lnTo>
                <a:lnTo>
                  <a:pt x="84" y="912"/>
                </a:lnTo>
                <a:lnTo>
                  <a:pt x="84" y="918"/>
                </a:lnTo>
                <a:lnTo>
                  <a:pt x="78" y="918"/>
                </a:lnTo>
                <a:lnTo>
                  <a:pt x="78" y="912"/>
                </a:lnTo>
                <a:lnTo>
                  <a:pt x="78" y="906"/>
                </a:lnTo>
                <a:lnTo>
                  <a:pt x="72" y="900"/>
                </a:lnTo>
                <a:lnTo>
                  <a:pt x="78" y="900"/>
                </a:lnTo>
                <a:lnTo>
                  <a:pt x="72" y="900"/>
                </a:lnTo>
                <a:lnTo>
                  <a:pt x="72" y="894"/>
                </a:lnTo>
                <a:lnTo>
                  <a:pt x="78" y="894"/>
                </a:lnTo>
                <a:lnTo>
                  <a:pt x="72" y="894"/>
                </a:lnTo>
                <a:lnTo>
                  <a:pt x="78" y="894"/>
                </a:lnTo>
                <a:lnTo>
                  <a:pt x="78" y="888"/>
                </a:lnTo>
                <a:lnTo>
                  <a:pt x="72" y="888"/>
                </a:lnTo>
                <a:lnTo>
                  <a:pt x="72" y="882"/>
                </a:lnTo>
                <a:lnTo>
                  <a:pt x="66" y="876"/>
                </a:lnTo>
                <a:lnTo>
                  <a:pt x="60" y="882"/>
                </a:lnTo>
                <a:lnTo>
                  <a:pt x="54" y="876"/>
                </a:lnTo>
                <a:lnTo>
                  <a:pt x="54" y="882"/>
                </a:lnTo>
                <a:lnTo>
                  <a:pt x="48" y="882"/>
                </a:lnTo>
                <a:lnTo>
                  <a:pt x="42" y="870"/>
                </a:lnTo>
                <a:lnTo>
                  <a:pt x="42" y="864"/>
                </a:lnTo>
                <a:lnTo>
                  <a:pt x="36" y="858"/>
                </a:lnTo>
                <a:lnTo>
                  <a:pt x="36" y="852"/>
                </a:lnTo>
                <a:lnTo>
                  <a:pt x="30" y="852"/>
                </a:lnTo>
                <a:lnTo>
                  <a:pt x="30" y="846"/>
                </a:lnTo>
                <a:lnTo>
                  <a:pt x="24" y="846"/>
                </a:lnTo>
                <a:lnTo>
                  <a:pt x="18" y="840"/>
                </a:lnTo>
                <a:lnTo>
                  <a:pt x="12" y="834"/>
                </a:lnTo>
                <a:lnTo>
                  <a:pt x="0" y="828"/>
                </a:lnTo>
                <a:lnTo>
                  <a:pt x="0" y="822"/>
                </a:lnTo>
                <a:lnTo>
                  <a:pt x="0" y="816"/>
                </a:lnTo>
                <a:lnTo>
                  <a:pt x="0" y="810"/>
                </a:lnTo>
                <a:lnTo>
                  <a:pt x="6" y="804"/>
                </a:lnTo>
                <a:lnTo>
                  <a:pt x="12" y="804"/>
                </a:lnTo>
                <a:lnTo>
                  <a:pt x="12" y="798"/>
                </a:lnTo>
                <a:lnTo>
                  <a:pt x="12" y="792"/>
                </a:lnTo>
                <a:lnTo>
                  <a:pt x="6" y="792"/>
                </a:lnTo>
                <a:lnTo>
                  <a:pt x="6" y="786"/>
                </a:lnTo>
                <a:lnTo>
                  <a:pt x="6" y="780"/>
                </a:lnTo>
                <a:lnTo>
                  <a:pt x="18" y="780"/>
                </a:lnTo>
                <a:lnTo>
                  <a:pt x="18" y="774"/>
                </a:lnTo>
                <a:lnTo>
                  <a:pt x="24" y="768"/>
                </a:lnTo>
                <a:lnTo>
                  <a:pt x="30" y="768"/>
                </a:lnTo>
                <a:lnTo>
                  <a:pt x="30" y="774"/>
                </a:lnTo>
                <a:lnTo>
                  <a:pt x="36" y="768"/>
                </a:lnTo>
                <a:lnTo>
                  <a:pt x="42" y="768"/>
                </a:lnTo>
                <a:lnTo>
                  <a:pt x="60" y="750"/>
                </a:lnTo>
                <a:lnTo>
                  <a:pt x="60" y="744"/>
                </a:lnTo>
                <a:lnTo>
                  <a:pt x="54" y="738"/>
                </a:lnTo>
                <a:lnTo>
                  <a:pt x="60" y="732"/>
                </a:lnTo>
                <a:lnTo>
                  <a:pt x="54" y="732"/>
                </a:lnTo>
                <a:lnTo>
                  <a:pt x="60" y="726"/>
                </a:lnTo>
                <a:lnTo>
                  <a:pt x="66" y="720"/>
                </a:lnTo>
                <a:lnTo>
                  <a:pt x="72" y="714"/>
                </a:lnTo>
                <a:lnTo>
                  <a:pt x="78" y="708"/>
                </a:lnTo>
                <a:lnTo>
                  <a:pt x="78" y="702"/>
                </a:lnTo>
                <a:lnTo>
                  <a:pt x="84" y="696"/>
                </a:lnTo>
                <a:lnTo>
                  <a:pt x="90" y="684"/>
                </a:lnTo>
                <a:lnTo>
                  <a:pt x="90" y="678"/>
                </a:lnTo>
                <a:lnTo>
                  <a:pt x="90" y="672"/>
                </a:lnTo>
                <a:lnTo>
                  <a:pt x="96" y="666"/>
                </a:lnTo>
                <a:lnTo>
                  <a:pt x="90" y="660"/>
                </a:lnTo>
                <a:lnTo>
                  <a:pt x="84" y="654"/>
                </a:lnTo>
                <a:lnTo>
                  <a:pt x="84" y="648"/>
                </a:lnTo>
                <a:lnTo>
                  <a:pt x="78" y="636"/>
                </a:lnTo>
                <a:lnTo>
                  <a:pt x="66" y="630"/>
                </a:lnTo>
                <a:lnTo>
                  <a:pt x="66" y="624"/>
                </a:lnTo>
                <a:lnTo>
                  <a:pt x="60" y="624"/>
                </a:lnTo>
                <a:lnTo>
                  <a:pt x="60" y="618"/>
                </a:lnTo>
                <a:lnTo>
                  <a:pt x="60" y="612"/>
                </a:lnTo>
                <a:lnTo>
                  <a:pt x="60" y="600"/>
                </a:lnTo>
                <a:lnTo>
                  <a:pt x="66" y="600"/>
                </a:lnTo>
                <a:lnTo>
                  <a:pt x="60" y="594"/>
                </a:lnTo>
                <a:lnTo>
                  <a:pt x="60" y="588"/>
                </a:lnTo>
                <a:lnTo>
                  <a:pt x="66" y="588"/>
                </a:lnTo>
                <a:lnTo>
                  <a:pt x="66" y="582"/>
                </a:lnTo>
                <a:lnTo>
                  <a:pt x="72" y="582"/>
                </a:lnTo>
                <a:lnTo>
                  <a:pt x="78" y="576"/>
                </a:lnTo>
                <a:lnTo>
                  <a:pt x="72" y="576"/>
                </a:lnTo>
                <a:lnTo>
                  <a:pt x="66" y="570"/>
                </a:lnTo>
                <a:lnTo>
                  <a:pt x="72" y="564"/>
                </a:lnTo>
                <a:lnTo>
                  <a:pt x="78" y="558"/>
                </a:lnTo>
                <a:lnTo>
                  <a:pt x="78" y="546"/>
                </a:lnTo>
                <a:lnTo>
                  <a:pt x="78" y="540"/>
                </a:lnTo>
                <a:lnTo>
                  <a:pt x="90" y="528"/>
                </a:lnTo>
                <a:lnTo>
                  <a:pt x="96" y="522"/>
                </a:lnTo>
                <a:lnTo>
                  <a:pt x="102" y="522"/>
                </a:lnTo>
                <a:lnTo>
                  <a:pt x="102" y="516"/>
                </a:lnTo>
                <a:lnTo>
                  <a:pt x="114" y="510"/>
                </a:lnTo>
                <a:lnTo>
                  <a:pt x="120" y="510"/>
                </a:lnTo>
                <a:lnTo>
                  <a:pt x="120" y="504"/>
                </a:lnTo>
                <a:lnTo>
                  <a:pt x="120" y="498"/>
                </a:lnTo>
                <a:lnTo>
                  <a:pt x="120" y="492"/>
                </a:lnTo>
                <a:lnTo>
                  <a:pt x="126" y="480"/>
                </a:lnTo>
                <a:lnTo>
                  <a:pt x="132" y="474"/>
                </a:lnTo>
                <a:lnTo>
                  <a:pt x="132" y="468"/>
                </a:lnTo>
                <a:lnTo>
                  <a:pt x="138" y="462"/>
                </a:lnTo>
                <a:lnTo>
                  <a:pt x="138" y="456"/>
                </a:lnTo>
                <a:lnTo>
                  <a:pt x="138" y="450"/>
                </a:lnTo>
                <a:lnTo>
                  <a:pt x="144" y="444"/>
                </a:lnTo>
                <a:lnTo>
                  <a:pt x="162" y="438"/>
                </a:lnTo>
                <a:lnTo>
                  <a:pt x="186" y="438"/>
                </a:lnTo>
                <a:lnTo>
                  <a:pt x="210" y="444"/>
                </a:lnTo>
                <a:lnTo>
                  <a:pt x="276" y="450"/>
                </a:lnTo>
                <a:lnTo>
                  <a:pt x="342" y="450"/>
                </a:lnTo>
                <a:lnTo>
                  <a:pt x="348" y="450"/>
                </a:lnTo>
                <a:lnTo>
                  <a:pt x="354" y="450"/>
                </a:lnTo>
                <a:lnTo>
                  <a:pt x="360" y="456"/>
                </a:lnTo>
                <a:lnTo>
                  <a:pt x="354" y="462"/>
                </a:lnTo>
                <a:lnTo>
                  <a:pt x="354" y="468"/>
                </a:lnTo>
                <a:lnTo>
                  <a:pt x="354" y="474"/>
                </a:lnTo>
                <a:lnTo>
                  <a:pt x="348" y="468"/>
                </a:lnTo>
                <a:lnTo>
                  <a:pt x="342" y="474"/>
                </a:lnTo>
                <a:lnTo>
                  <a:pt x="342" y="480"/>
                </a:lnTo>
                <a:lnTo>
                  <a:pt x="348" y="498"/>
                </a:lnTo>
                <a:lnTo>
                  <a:pt x="342" y="510"/>
                </a:lnTo>
                <a:lnTo>
                  <a:pt x="348" y="528"/>
                </a:lnTo>
                <a:lnTo>
                  <a:pt x="348" y="534"/>
                </a:lnTo>
                <a:lnTo>
                  <a:pt x="354" y="552"/>
                </a:lnTo>
                <a:lnTo>
                  <a:pt x="366" y="546"/>
                </a:lnTo>
                <a:lnTo>
                  <a:pt x="372" y="540"/>
                </a:lnTo>
                <a:lnTo>
                  <a:pt x="384" y="540"/>
                </a:lnTo>
                <a:lnTo>
                  <a:pt x="396" y="534"/>
                </a:lnTo>
                <a:lnTo>
                  <a:pt x="402" y="534"/>
                </a:lnTo>
                <a:lnTo>
                  <a:pt x="414" y="546"/>
                </a:lnTo>
                <a:lnTo>
                  <a:pt x="432" y="540"/>
                </a:lnTo>
                <a:lnTo>
                  <a:pt x="450" y="534"/>
                </a:lnTo>
                <a:lnTo>
                  <a:pt x="450" y="528"/>
                </a:lnTo>
                <a:lnTo>
                  <a:pt x="456" y="528"/>
                </a:lnTo>
                <a:lnTo>
                  <a:pt x="456" y="522"/>
                </a:lnTo>
                <a:lnTo>
                  <a:pt x="456" y="516"/>
                </a:lnTo>
                <a:lnTo>
                  <a:pt x="462" y="516"/>
                </a:lnTo>
                <a:lnTo>
                  <a:pt x="468" y="510"/>
                </a:lnTo>
                <a:lnTo>
                  <a:pt x="468" y="504"/>
                </a:lnTo>
                <a:lnTo>
                  <a:pt x="474" y="504"/>
                </a:lnTo>
                <a:lnTo>
                  <a:pt x="480" y="504"/>
                </a:lnTo>
                <a:lnTo>
                  <a:pt x="486" y="498"/>
                </a:lnTo>
                <a:lnTo>
                  <a:pt x="492" y="498"/>
                </a:lnTo>
                <a:lnTo>
                  <a:pt x="486" y="480"/>
                </a:lnTo>
                <a:lnTo>
                  <a:pt x="492" y="462"/>
                </a:lnTo>
                <a:lnTo>
                  <a:pt x="498" y="444"/>
                </a:lnTo>
                <a:lnTo>
                  <a:pt x="498" y="426"/>
                </a:lnTo>
                <a:lnTo>
                  <a:pt x="498" y="420"/>
                </a:lnTo>
                <a:lnTo>
                  <a:pt x="504" y="426"/>
                </a:lnTo>
                <a:lnTo>
                  <a:pt x="504" y="420"/>
                </a:lnTo>
                <a:lnTo>
                  <a:pt x="510" y="420"/>
                </a:lnTo>
                <a:lnTo>
                  <a:pt x="510" y="414"/>
                </a:lnTo>
                <a:lnTo>
                  <a:pt x="510" y="408"/>
                </a:lnTo>
                <a:lnTo>
                  <a:pt x="504" y="402"/>
                </a:lnTo>
                <a:lnTo>
                  <a:pt x="504" y="396"/>
                </a:lnTo>
                <a:lnTo>
                  <a:pt x="504" y="384"/>
                </a:lnTo>
                <a:lnTo>
                  <a:pt x="504" y="378"/>
                </a:lnTo>
                <a:lnTo>
                  <a:pt x="504" y="360"/>
                </a:lnTo>
                <a:lnTo>
                  <a:pt x="504" y="354"/>
                </a:lnTo>
                <a:lnTo>
                  <a:pt x="504" y="348"/>
                </a:lnTo>
                <a:lnTo>
                  <a:pt x="510" y="348"/>
                </a:lnTo>
                <a:lnTo>
                  <a:pt x="510" y="336"/>
                </a:lnTo>
                <a:lnTo>
                  <a:pt x="516" y="330"/>
                </a:lnTo>
                <a:lnTo>
                  <a:pt x="522" y="324"/>
                </a:lnTo>
                <a:lnTo>
                  <a:pt x="528" y="318"/>
                </a:lnTo>
                <a:lnTo>
                  <a:pt x="534" y="312"/>
                </a:lnTo>
                <a:lnTo>
                  <a:pt x="534" y="300"/>
                </a:lnTo>
                <a:lnTo>
                  <a:pt x="540" y="294"/>
                </a:lnTo>
                <a:lnTo>
                  <a:pt x="546" y="288"/>
                </a:lnTo>
                <a:lnTo>
                  <a:pt x="552" y="276"/>
                </a:lnTo>
                <a:lnTo>
                  <a:pt x="558" y="264"/>
                </a:lnTo>
                <a:lnTo>
                  <a:pt x="558" y="258"/>
                </a:lnTo>
                <a:lnTo>
                  <a:pt x="558" y="252"/>
                </a:lnTo>
                <a:lnTo>
                  <a:pt x="558" y="246"/>
                </a:lnTo>
                <a:lnTo>
                  <a:pt x="564" y="246"/>
                </a:lnTo>
                <a:lnTo>
                  <a:pt x="564" y="240"/>
                </a:lnTo>
                <a:lnTo>
                  <a:pt x="570" y="234"/>
                </a:lnTo>
                <a:lnTo>
                  <a:pt x="564" y="216"/>
                </a:lnTo>
                <a:lnTo>
                  <a:pt x="564" y="210"/>
                </a:lnTo>
                <a:lnTo>
                  <a:pt x="570" y="210"/>
                </a:lnTo>
                <a:lnTo>
                  <a:pt x="570" y="204"/>
                </a:lnTo>
                <a:lnTo>
                  <a:pt x="570" y="198"/>
                </a:lnTo>
                <a:lnTo>
                  <a:pt x="582" y="180"/>
                </a:lnTo>
                <a:lnTo>
                  <a:pt x="582" y="174"/>
                </a:lnTo>
                <a:lnTo>
                  <a:pt x="582" y="168"/>
                </a:lnTo>
                <a:lnTo>
                  <a:pt x="582" y="162"/>
                </a:lnTo>
                <a:lnTo>
                  <a:pt x="582" y="156"/>
                </a:lnTo>
                <a:lnTo>
                  <a:pt x="606" y="150"/>
                </a:lnTo>
                <a:lnTo>
                  <a:pt x="612" y="150"/>
                </a:lnTo>
                <a:lnTo>
                  <a:pt x="618" y="150"/>
                </a:lnTo>
                <a:lnTo>
                  <a:pt x="624" y="138"/>
                </a:lnTo>
                <a:lnTo>
                  <a:pt x="618" y="132"/>
                </a:lnTo>
                <a:lnTo>
                  <a:pt x="618" y="126"/>
                </a:lnTo>
                <a:lnTo>
                  <a:pt x="618" y="120"/>
                </a:lnTo>
                <a:lnTo>
                  <a:pt x="618" y="114"/>
                </a:lnTo>
                <a:lnTo>
                  <a:pt x="612" y="108"/>
                </a:lnTo>
                <a:lnTo>
                  <a:pt x="612" y="102"/>
                </a:lnTo>
                <a:lnTo>
                  <a:pt x="618" y="90"/>
                </a:lnTo>
                <a:lnTo>
                  <a:pt x="624" y="84"/>
                </a:lnTo>
                <a:lnTo>
                  <a:pt x="618" y="84"/>
                </a:lnTo>
                <a:lnTo>
                  <a:pt x="618" y="78"/>
                </a:lnTo>
                <a:lnTo>
                  <a:pt x="612" y="78"/>
                </a:lnTo>
                <a:lnTo>
                  <a:pt x="606" y="78"/>
                </a:lnTo>
                <a:lnTo>
                  <a:pt x="600" y="72"/>
                </a:lnTo>
                <a:lnTo>
                  <a:pt x="600" y="66"/>
                </a:lnTo>
                <a:lnTo>
                  <a:pt x="600" y="60"/>
                </a:lnTo>
                <a:lnTo>
                  <a:pt x="600" y="48"/>
                </a:lnTo>
                <a:lnTo>
                  <a:pt x="612" y="42"/>
                </a:lnTo>
                <a:lnTo>
                  <a:pt x="618" y="36"/>
                </a:lnTo>
                <a:lnTo>
                  <a:pt x="624" y="36"/>
                </a:lnTo>
                <a:lnTo>
                  <a:pt x="630" y="36"/>
                </a:lnTo>
                <a:lnTo>
                  <a:pt x="630" y="30"/>
                </a:lnTo>
                <a:lnTo>
                  <a:pt x="636" y="24"/>
                </a:lnTo>
                <a:lnTo>
                  <a:pt x="642" y="24"/>
                </a:lnTo>
                <a:lnTo>
                  <a:pt x="648" y="24"/>
                </a:lnTo>
                <a:lnTo>
                  <a:pt x="648" y="18"/>
                </a:lnTo>
                <a:lnTo>
                  <a:pt x="654" y="12"/>
                </a:lnTo>
                <a:lnTo>
                  <a:pt x="660" y="0"/>
                </a:lnTo>
                <a:lnTo>
                  <a:pt x="678" y="0"/>
                </a:lnTo>
                <a:lnTo>
                  <a:pt x="696" y="0"/>
                </a:lnTo>
                <a:lnTo>
                  <a:pt x="702" y="0"/>
                </a:lnTo>
                <a:lnTo>
                  <a:pt x="714" y="0"/>
                </a:lnTo>
                <a:lnTo>
                  <a:pt x="720" y="6"/>
                </a:lnTo>
                <a:lnTo>
                  <a:pt x="720" y="18"/>
                </a:lnTo>
                <a:lnTo>
                  <a:pt x="726" y="18"/>
                </a:lnTo>
                <a:lnTo>
                  <a:pt x="744" y="24"/>
                </a:lnTo>
                <a:lnTo>
                  <a:pt x="744" y="30"/>
                </a:lnTo>
                <a:lnTo>
                  <a:pt x="732" y="42"/>
                </a:lnTo>
                <a:lnTo>
                  <a:pt x="726" y="42"/>
                </a:lnTo>
                <a:lnTo>
                  <a:pt x="720" y="42"/>
                </a:lnTo>
                <a:lnTo>
                  <a:pt x="720" y="48"/>
                </a:lnTo>
                <a:lnTo>
                  <a:pt x="714" y="48"/>
                </a:lnTo>
                <a:lnTo>
                  <a:pt x="708" y="54"/>
                </a:lnTo>
                <a:lnTo>
                  <a:pt x="702" y="66"/>
                </a:lnTo>
                <a:lnTo>
                  <a:pt x="708" y="66"/>
                </a:lnTo>
                <a:lnTo>
                  <a:pt x="714" y="90"/>
                </a:lnTo>
                <a:lnTo>
                  <a:pt x="726" y="84"/>
                </a:lnTo>
                <a:lnTo>
                  <a:pt x="738" y="84"/>
                </a:lnTo>
                <a:lnTo>
                  <a:pt x="750" y="96"/>
                </a:lnTo>
                <a:lnTo>
                  <a:pt x="768" y="96"/>
                </a:lnTo>
                <a:lnTo>
                  <a:pt x="768" y="90"/>
                </a:lnTo>
                <a:lnTo>
                  <a:pt x="774" y="84"/>
                </a:lnTo>
                <a:lnTo>
                  <a:pt x="780" y="78"/>
                </a:lnTo>
                <a:lnTo>
                  <a:pt x="786" y="78"/>
                </a:lnTo>
                <a:lnTo>
                  <a:pt x="792" y="72"/>
                </a:lnTo>
                <a:lnTo>
                  <a:pt x="804" y="72"/>
                </a:lnTo>
                <a:lnTo>
                  <a:pt x="804" y="66"/>
                </a:lnTo>
                <a:lnTo>
                  <a:pt x="810" y="66"/>
                </a:lnTo>
                <a:lnTo>
                  <a:pt x="810" y="72"/>
                </a:lnTo>
                <a:lnTo>
                  <a:pt x="816" y="66"/>
                </a:lnTo>
                <a:lnTo>
                  <a:pt x="828" y="66"/>
                </a:lnTo>
                <a:lnTo>
                  <a:pt x="834" y="72"/>
                </a:lnTo>
                <a:lnTo>
                  <a:pt x="840" y="72"/>
                </a:lnTo>
                <a:lnTo>
                  <a:pt x="840" y="78"/>
                </a:lnTo>
                <a:lnTo>
                  <a:pt x="840" y="84"/>
                </a:lnTo>
                <a:lnTo>
                  <a:pt x="852" y="84"/>
                </a:lnTo>
                <a:lnTo>
                  <a:pt x="858" y="96"/>
                </a:lnTo>
                <a:lnTo>
                  <a:pt x="864" y="108"/>
                </a:lnTo>
                <a:lnTo>
                  <a:pt x="876" y="114"/>
                </a:lnTo>
                <a:lnTo>
                  <a:pt x="894" y="114"/>
                </a:lnTo>
                <a:lnTo>
                  <a:pt x="906" y="114"/>
                </a:lnTo>
                <a:lnTo>
                  <a:pt x="906" y="126"/>
                </a:lnTo>
                <a:lnTo>
                  <a:pt x="912" y="144"/>
                </a:lnTo>
                <a:lnTo>
                  <a:pt x="930" y="138"/>
                </a:lnTo>
                <a:lnTo>
                  <a:pt x="936" y="138"/>
                </a:lnTo>
                <a:lnTo>
                  <a:pt x="942" y="144"/>
                </a:lnTo>
                <a:lnTo>
                  <a:pt x="948" y="150"/>
                </a:lnTo>
                <a:lnTo>
                  <a:pt x="954" y="156"/>
                </a:lnTo>
                <a:lnTo>
                  <a:pt x="954" y="168"/>
                </a:lnTo>
                <a:lnTo>
                  <a:pt x="954" y="174"/>
                </a:lnTo>
                <a:lnTo>
                  <a:pt x="960" y="180"/>
                </a:lnTo>
                <a:lnTo>
                  <a:pt x="966" y="186"/>
                </a:lnTo>
                <a:lnTo>
                  <a:pt x="960" y="186"/>
                </a:lnTo>
                <a:lnTo>
                  <a:pt x="966" y="192"/>
                </a:lnTo>
                <a:lnTo>
                  <a:pt x="966" y="198"/>
                </a:lnTo>
                <a:lnTo>
                  <a:pt x="978" y="204"/>
                </a:lnTo>
                <a:lnTo>
                  <a:pt x="1050" y="186"/>
                </a:lnTo>
                <a:lnTo>
                  <a:pt x="1056" y="198"/>
                </a:lnTo>
                <a:lnTo>
                  <a:pt x="1068" y="210"/>
                </a:lnTo>
                <a:lnTo>
                  <a:pt x="1074" y="216"/>
                </a:lnTo>
                <a:lnTo>
                  <a:pt x="1080" y="252"/>
                </a:lnTo>
                <a:lnTo>
                  <a:pt x="1086" y="270"/>
                </a:lnTo>
                <a:lnTo>
                  <a:pt x="1092" y="282"/>
                </a:lnTo>
                <a:lnTo>
                  <a:pt x="1086" y="300"/>
                </a:lnTo>
                <a:lnTo>
                  <a:pt x="1074" y="330"/>
                </a:lnTo>
                <a:lnTo>
                  <a:pt x="1068" y="336"/>
                </a:lnTo>
                <a:lnTo>
                  <a:pt x="1062" y="348"/>
                </a:lnTo>
                <a:lnTo>
                  <a:pt x="1062" y="360"/>
                </a:lnTo>
                <a:lnTo>
                  <a:pt x="1068" y="378"/>
                </a:lnTo>
                <a:lnTo>
                  <a:pt x="1074" y="390"/>
                </a:lnTo>
                <a:lnTo>
                  <a:pt x="1068" y="396"/>
                </a:lnTo>
                <a:lnTo>
                  <a:pt x="1068" y="408"/>
                </a:lnTo>
                <a:lnTo>
                  <a:pt x="1062" y="414"/>
                </a:lnTo>
                <a:lnTo>
                  <a:pt x="1050" y="432"/>
                </a:lnTo>
                <a:lnTo>
                  <a:pt x="1044" y="450"/>
                </a:lnTo>
                <a:lnTo>
                  <a:pt x="1038" y="456"/>
                </a:lnTo>
                <a:lnTo>
                  <a:pt x="1026" y="468"/>
                </a:lnTo>
                <a:lnTo>
                  <a:pt x="1026" y="474"/>
                </a:lnTo>
                <a:lnTo>
                  <a:pt x="1026" y="480"/>
                </a:lnTo>
                <a:lnTo>
                  <a:pt x="1032" y="492"/>
                </a:lnTo>
                <a:lnTo>
                  <a:pt x="1044" y="504"/>
                </a:lnTo>
                <a:lnTo>
                  <a:pt x="1044" y="516"/>
                </a:lnTo>
                <a:lnTo>
                  <a:pt x="1038" y="528"/>
                </a:lnTo>
                <a:lnTo>
                  <a:pt x="1032" y="546"/>
                </a:lnTo>
                <a:lnTo>
                  <a:pt x="1032" y="570"/>
                </a:lnTo>
                <a:lnTo>
                  <a:pt x="1050" y="594"/>
                </a:lnTo>
                <a:lnTo>
                  <a:pt x="1056" y="624"/>
                </a:lnTo>
                <a:lnTo>
                  <a:pt x="1056" y="654"/>
                </a:lnTo>
                <a:close/>
              </a:path>
            </a:pathLst>
          </a:custGeom>
          <a:solidFill>
            <a:srgbClr val="FF9900"/>
          </a:solidFill>
          <a:ln w="9525">
            <a:solidFill>
              <a:schemeClr val="bg1"/>
            </a:solidFill>
            <a:round/>
            <a:headEnd/>
            <a:tailEnd/>
          </a:ln>
        </p:spPr>
        <p:txBody>
          <a:bodyPr/>
          <a:lstStyle/>
          <a:p>
            <a:endParaRPr lang="en-GB"/>
          </a:p>
        </p:txBody>
      </p:sp>
      <p:sp>
        <p:nvSpPr>
          <p:cNvPr id="20509" name="Freeform 25"/>
          <p:cNvSpPr>
            <a:spLocks/>
          </p:cNvSpPr>
          <p:nvPr/>
        </p:nvSpPr>
        <p:spPr bwMode="gray">
          <a:xfrm>
            <a:off x="2770188" y="4160838"/>
            <a:ext cx="1254125" cy="1130300"/>
          </a:xfrm>
          <a:custGeom>
            <a:avLst/>
            <a:gdLst>
              <a:gd name="T0" fmla="*/ 90826 w 1602"/>
              <a:gd name="T1" fmla="*/ 73344 h 1404"/>
              <a:gd name="T2" fmla="*/ 86911 w 1602"/>
              <a:gd name="T3" fmla="*/ 76568 h 1404"/>
              <a:gd name="T4" fmla="*/ 79864 w 1602"/>
              <a:gd name="T5" fmla="*/ 81404 h 1404"/>
              <a:gd name="T6" fmla="*/ 77515 w 1602"/>
              <a:gd name="T7" fmla="*/ 83016 h 1404"/>
              <a:gd name="T8" fmla="*/ 75166 w 1602"/>
              <a:gd name="T9" fmla="*/ 85434 h 1404"/>
              <a:gd name="T10" fmla="*/ 72817 w 1602"/>
              <a:gd name="T11" fmla="*/ 87046 h 1404"/>
              <a:gd name="T12" fmla="*/ 68903 w 1602"/>
              <a:gd name="T13" fmla="*/ 85434 h 1404"/>
              <a:gd name="T14" fmla="*/ 67337 w 1602"/>
              <a:gd name="T15" fmla="*/ 87046 h 1404"/>
              <a:gd name="T16" fmla="*/ 63422 w 1602"/>
              <a:gd name="T17" fmla="*/ 95911 h 1404"/>
              <a:gd name="T18" fmla="*/ 55592 w 1602"/>
              <a:gd name="T19" fmla="*/ 87852 h 1404"/>
              <a:gd name="T20" fmla="*/ 56375 w 1602"/>
              <a:gd name="T21" fmla="*/ 81404 h 1404"/>
              <a:gd name="T22" fmla="*/ 57941 w 1602"/>
              <a:gd name="T23" fmla="*/ 74956 h 1404"/>
              <a:gd name="T24" fmla="*/ 57158 w 1602"/>
              <a:gd name="T25" fmla="*/ 66090 h 1404"/>
              <a:gd name="T26" fmla="*/ 50111 w 1602"/>
              <a:gd name="T27" fmla="*/ 63672 h 1404"/>
              <a:gd name="T28" fmla="*/ 46196 w 1602"/>
              <a:gd name="T29" fmla="*/ 60448 h 1404"/>
              <a:gd name="T30" fmla="*/ 42281 w 1602"/>
              <a:gd name="T31" fmla="*/ 57224 h 1404"/>
              <a:gd name="T32" fmla="*/ 39932 w 1602"/>
              <a:gd name="T33" fmla="*/ 56419 h 1404"/>
              <a:gd name="T34" fmla="*/ 35234 w 1602"/>
              <a:gd name="T35" fmla="*/ 57224 h 1404"/>
              <a:gd name="T36" fmla="*/ 33668 w 1602"/>
              <a:gd name="T37" fmla="*/ 54807 h 1404"/>
              <a:gd name="T38" fmla="*/ 33668 w 1602"/>
              <a:gd name="T39" fmla="*/ 51583 h 1404"/>
              <a:gd name="T40" fmla="*/ 28187 w 1602"/>
              <a:gd name="T41" fmla="*/ 53195 h 1404"/>
              <a:gd name="T42" fmla="*/ 24272 w 1602"/>
              <a:gd name="T43" fmla="*/ 44329 h 1404"/>
              <a:gd name="T44" fmla="*/ 19575 w 1602"/>
              <a:gd name="T45" fmla="*/ 42717 h 1404"/>
              <a:gd name="T46" fmla="*/ 14877 w 1602"/>
              <a:gd name="T47" fmla="*/ 41105 h 1404"/>
              <a:gd name="T48" fmla="*/ 13311 w 1602"/>
              <a:gd name="T49" fmla="*/ 34657 h 1404"/>
              <a:gd name="T50" fmla="*/ 13311 w 1602"/>
              <a:gd name="T51" fmla="*/ 31433 h 1404"/>
              <a:gd name="T52" fmla="*/ 9396 w 1602"/>
              <a:gd name="T53" fmla="*/ 31433 h 1404"/>
              <a:gd name="T54" fmla="*/ 7830 w 1602"/>
              <a:gd name="T55" fmla="*/ 28209 h 1404"/>
              <a:gd name="T56" fmla="*/ 3915 w 1602"/>
              <a:gd name="T57" fmla="*/ 24179 h 1404"/>
              <a:gd name="T58" fmla="*/ 2349 w 1602"/>
              <a:gd name="T59" fmla="*/ 21761 h 1404"/>
              <a:gd name="T60" fmla="*/ 1566 w 1602"/>
              <a:gd name="T61" fmla="*/ 20149 h 1404"/>
              <a:gd name="T62" fmla="*/ 0 w 1602"/>
              <a:gd name="T63" fmla="*/ 17732 h 1404"/>
              <a:gd name="T64" fmla="*/ 6264 w 1602"/>
              <a:gd name="T65" fmla="*/ 11284 h 1404"/>
              <a:gd name="T66" fmla="*/ 12528 w 1602"/>
              <a:gd name="T67" fmla="*/ 12896 h 1404"/>
              <a:gd name="T68" fmla="*/ 24272 w 1602"/>
              <a:gd name="T69" fmla="*/ 14508 h 1404"/>
              <a:gd name="T70" fmla="*/ 33668 w 1602"/>
              <a:gd name="T71" fmla="*/ 13702 h 1404"/>
              <a:gd name="T72" fmla="*/ 36800 w 1602"/>
              <a:gd name="T73" fmla="*/ 4836 h 1404"/>
              <a:gd name="T74" fmla="*/ 40715 w 1602"/>
              <a:gd name="T75" fmla="*/ 0 h 1404"/>
              <a:gd name="T76" fmla="*/ 43064 w 1602"/>
              <a:gd name="T77" fmla="*/ 2418 h 1404"/>
              <a:gd name="T78" fmla="*/ 46196 w 1602"/>
              <a:gd name="T79" fmla="*/ 7254 h 1404"/>
              <a:gd name="T80" fmla="*/ 48545 w 1602"/>
              <a:gd name="T81" fmla="*/ 12896 h 1404"/>
              <a:gd name="T82" fmla="*/ 51677 w 1602"/>
              <a:gd name="T83" fmla="*/ 16120 h 1404"/>
              <a:gd name="T84" fmla="*/ 54809 w 1602"/>
              <a:gd name="T85" fmla="*/ 20149 h 1404"/>
              <a:gd name="T86" fmla="*/ 57941 w 1602"/>
              <a:gd name="T87" fmla="*/ 24179 h 1404"/>
              <a:gd name="T88" fmla="*/ 59507 w 1602"/>
              <a:gd name="T89" fmla="*/ 21761 h 1404"/>
              <a:gd name="T90" fmla="*/ 61073 w 1602"/>
              <a:gd name="T91" fmla="*/ 21761 h 1404"/>
              <a:gd name="T92" fmla="*/ 61073 w 1602"/>
              <a:gd name="T93" fmla="*/ 18538 h 1404"/>
              <a:gd name="T94" fmla="*/ 64205 w 1602"/>
              <a:gd name="T95" fmla="*/ 16120 h 1404"/>
              <a:gd name="T96" fmla="*/ 64205 w 1602"/>
              <a:gd name="T97" fmla="*/ 14508 h 1404"/>
              <a:gd name="T98" fmla="*/ 70468 w 1602"/>
              <a:gd name="T99" fmla="*/ 19343 h 1404"/>
              <a:gd name="T100" fmla="*/ 70468 w 1602"/>
              <a:gd name="T101" fmla="*/ 36269 h 1404"/>
              <a:gd name="T102" fmla="*/ 81430 w 1602"/>
              <a:gd name="T103" fmla="*/ 33045 h 1404"/>
              <a:gd name="T104" fmla="*/ 91609 w 1602"/>
              <a:gd name="T105" fmla="*/ 31433 h 1404"/>
              <a:gd name="T106" fmla="*/ 97873 w 1602"/>
              <a:gd name="T107" fmla="*/ 31433 h 1404"/>
              <a:gd name="T108" fmla="*/ 99439 w 1602"/>
              <a:gd name="T109" fmla="*/ 34657 h 1404"/>
              <a:gd name="T110" fmla="*/ 102571 w 1602"/>
              <a:gd name="T111" fmla="*/ 42717 h 1404"/>
              <a:gd name="T112" fmla="*/ 104137 w 1602"/>
              <a:gd name="T113" fmla="*/ 48359 h 1404"/>
              <a:gd name="T114" fmla="*/ 108052 w 1602"/>
              <a:gd name="T115" fmla="*/ 58836 h 1404"/>
              <a:gd name="T116" fmla="*/ 106486 w 1602"/>
              <a:gd name="T117" fmla="*/ 64478 h 1404"/>
              <a:gd name="T118" fmla="*/ 101005 w 1602"/>
              <a:gd name="T119" fmla="*/ 70120 h 1404"/>
              <a:gd name="T120" fmla="*/ 96307 w 1602"/>
              <a:gd name="T121" fmla="*/ 76568 h 14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02"/>
              <a:gd name="T184" fmla="*/ 0 h 1404"/>
              <a:gd name="T185" fmla="*/ 1602 w 1602"/>
              <a:gd name="T186" fmla="*/ 1404 h 140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02" h="1404">
                <a:moveTo>
                  <a:pt x="1392" y="1080"/>
                </a:moveTo>
                <a:lnTo>
                  <a:pt x="1380" y="1074"/>
                </a:lnTo>
                <a:lnTo>
                  <a:pt x="1368" y="1056"/>
                </a:lnTo>
                <a:lnTo>
                  <a:pt x="1356" y="1044"/>
                </a:lnTo>
                <a:lnTo>
                  <a:pt x="1344" y="1038"/>
                </a:lnTo>
                <a:lnTo>
                  <a:pt x="1338" y="1038"/>
                </a:lnTo>
                <a:lnTo>
                  <a:pt x="1332" y="1038"/>
                </a:lnTo>
                <a:lnTo>
                  <a:pt x="1326" y="1044"/>
                </a:lnTo>
                <a:lnTo>
                  <a:pt x="1320" y="1044"/>
                </a:lnTo>
                <a:lnTo>
                  <a:pt x="1314" y="1044"/>
                </a:lnTo>
                <a:lnTo>
                  <a:pt x="1296" y="1056"/>
                </a:lnTo>
                <a:lnTo>
                  <a:pt x="1296" y="1080"/>
                </a:lnTo>
                <a:lnTo>
                  <a:pt x="1290" y="1080"/>
                </a:lnTo>
                <a:lnTo>
                  <a:pt x="1284" y="1086"/>
                </a:lnTo>
                <a:lnTo>
                  <a:pt x="1278" y="1086"/>
                </a:lnTo>
                <a:lnTo>
                  <a:pt x="1278" y="1092"/>
                </a:lnTo>
                <a:lnTo>
                  <a:pt x="1272" y="1092"/>
                </a:lnTo>
                <a:lnTo>
                  <a:pt x="1266" y="1086"/>
                </a:lnTo>
                <a:lnTo>
                  <a:pt x="1260" y="1086"/>
                </a:lnTo>
                <a:lnTo>
                  <a:pt x="1260" y="1098"/>
                </a:lnTo>
                <a:lnTo>
                  <a:pt x="1248" y="1098"/>
                </a:lnTo>
                <a:lnTo>
                  <a:pt x="1212" y="1116"/>
                </a:lnTo>
                <a:lnTo>
                  <a:pt x="1206" y="1158"/>
                </a:lnTo>
                <a:lnTo>
                  <a:pt x="1176" y="1164"/>
                </a:lnTo>
                <a:lnTo>
                  <a:pt x="1158" y="1164"/>
                </a:lnTo>
                <a:lnTo>
                  <a:pt x="1152" y="1164"/>
                </a:lnTo>
                <a:lnTo>
                  <a:pt x="1152" y="1170"/>
                </a:lnTo>
                <a:lnTo>
                  <a:pt x="1152" y="1176"/>
                </a:lnTo>
                <a:lnTo>
                  <a:pt x="1146" y="1176"/>
                </a:lnTo>
                <a:lnTo>
                  <a:pt x="1140" y="1176"/>
                </a:lnTo>
                <a:lnTo>
                  <a:pt x="1134" y="1182"/>
                </a:lnTo>
                <a:lnTo>
                  <a:pt x="1134" y="1188"/>
                </a:lnTo>
                <a:lnTo>
                  <a:pt x="1128" y="1194"/>
                </a:lnTo>
                <a:lnTo>
                  <a:pt x="1122" y="1194"/>
                </a:lnTo>
                <a:lnTo>
                  <a:pt x="1116" y="1194"/>
                </a:lnTo>
                <a:lnTo>
                  <a:pt x="1110" y="1200"/>
                </a:lnTo>
                <a:lnTo>
                  <a:pt x="1110" y="1206"/>
                </a:lnTo>
                <a:lnTo>
                  <a:pt x="1104" y="1212"/>
                </a:lnTo>
                <a:lnTo>
                  <a:pt x="1104" y="1218"/>
                </a:lnTo>
                <a:lnTo>
                  <a:pt x="1098" y="1224"/>
                </a:lnTo>
                <a:lnTo>
                  <a:pt x="1092" y="1230"/>
                </a:lnTo>
                <a:lnTo>
                  <a:pt x="1086" y="1230"/>
                </a:lnTo>
                <a:lnTo>
                  <a:pt x="1080" y="1230"/>
                </a:lnTo>
                <a:lnTo>
                  <a:pt x="1080" y="1242"/>
                </a:lnTo>
                <a:lnTo>
                  <a:pt x="1074" y="1242"/>
                </a:lnTo>
                <a:lnTo>
                  <a:pt x="1068" y="1242"/>
                </a:lnTo>
                <a:lnTo>
                  <a:pt x="1068" y="1236"/>
                </a:lnTo>
                <a:lnTo>
                  <a:pt x="1062" y="1242"/>
                </a:lnTo>
                <a:lnTo>
                  <a:pt x="1056" y="1236"/>
                </a:lnTo>
                <a:lnTo>
                  <a:pt x="1050" y="1242"/>
                </a:lnTo>
                <a:lnTo>
                  <a:pt x="1050" y="1236"/>
                </a:lnTo>
                <a:lnTo>
                  <a:pt x="1044" y="1194"/>
                </a:lnTo>
                <a:lnTo>
                  <a:pt x="1032" y="1194"/>
                </a:lnTo>
                <a:lnTo>
                  <a:pt x="1032" y="1200"/>
                </a:lnTo>
                <a:lnTo>
                  <a:pt x="1026" y="1200"/>
                </a:lnTo>
                <a:lnTo>
                  <a:pt x="1014" y="1218"/>
                </a:lnTo>
                <a:lnTo>
                  <a:pt x="1014" y="1224"/>
                </a:lnTo>
                <a:lnTo>
                  <a:pt x="1014" y="1236"/>
                </a:lnTo>
                <a:lnTo>
                  <a:pt x="1014" y="1242"/>
                </a:lnTo>
                <a:lnTo>
                  <a:pt x="1008" y="1242"/>
                </a:lnTo>
                <a:lnTo>
                  <a:pt x="1002" y="1236"/>
                </a:lnTo>
                <a:lnTo>
                  <a:pt x="1002" y="1230"/>
                </a:lnTo>
                <a:lnTo>
                  <a:pt x="996" y="1236"/>
                </a:lnTo>
                <a:lnTo>
                  <a:pt x="990" y="1236"/>
                </a:lnTo>
                <a:lnTo>
                  <a:pt x="990" y="1230"/>
                </a:lnTo>
                <a:lnTo>
                  <a:pt x="984" y="1236"/>
                </a:lnTo>
                <a:lnTo>
                  <a:pt x="978" y="1248"/>
                </a:lnTo>
                <a:lnTo>
                  <a:pt x="972" y="1254"/>
                </a:lnTo>
                <a:lnTo>
                  <a:pt x="966" y="1260"/>
                </a:lnTo>
                <a:lnTo>
                  <a:pt x="930" y="1284"/>
                </a:lnTo>
                <a:lnTo>
                  <a:pt x="942" y="1356"/>
                </a:lnTo>
                <a:lnTo>
                  <a:pt x="930" y="1368"/>
                </a:lnTo>
                <a:lnTo>
                  <a:pt x="852" y="1404"/>
                </a:lnTo>
                <a:lnTo>
                  <a:pt x="834" y="1392"/>
                </a:lnTo>
                <a:lnTo>
                  <a:pt x="834" y="1362"/>
                </a:lnTo>
                <a:lnTo>
                  <a:pt x="828" y="1332"/>
                </a:lnTo>
                <a:lnTo>
                  <a:pt x="810" y="1308"/>
                </a:lnTo>
                <a:lnTo>
                  <a:pt x="810" y="1284"/>
                </a:lnTo>
                <a:lnTo>
                  <a:pt x="816" y="1266"/>
                </a:lnTo>
                <a:lnTo>
                  <a:pt x="822" y="1254"/>
                </a:lnTo>
                <a:lnTo>
                  <a:pt x="822" y="1242"/>
                </a:lnTo>
                <a:lnTo>
                  <a:pt x="810" y="1230"/>
                </a:lnTo>
                <a:lnTo>
                  <a:pt x="804" y="1218"/>
                </a:lnTo>
                <a:lnTo>
                  <a:pt x="804" y="1212"/>
                </a:lnTo>
                <a:lnTo>
                  <a:pt x="804" y="1206"/>
                </a:lnTo>
                <a:lnTo>
                  <a:pt x="816" y="1194"/>
                </a:lnTo>
                <a:lnTo>
                  <a:pt x="822" y="1188"/>
                </a:lnTo>
                <a:lnTo>
                  <a:pt x="828" y="1170"/>
                </a:lnTo>
                <a:lnTo>
                  <a:pt x="840" y="1152"/>
                </a:lnTo>
                <a:lnTo>
                  <a:pt x="846" y="1146"/>
                </a:lnTo>
                <a:lnTo>
                  <a:pt x="846" y="1134"/>
                </a:lnTo>
                <a:lnTo>
                  <a:pt x="852" y="1128"/>
                </a:lnTo>
                <a:lnTo>
                  <a:pt x="846" y="1116"/>
                </a:lnTo>
                <a:lnTo>
                  <a:pt x="840" y="1098"/>
                </a:lnTo>
                <a:lnTo>
                  <a:pt x="840" y="1086"/>
                </a:lnTo>
                <a:lnTo>
                  <a:pt x="846" y="1074"/>
                </a:lnTo>
                <a:lnTo>
                  <a:pt x="852" y="1068"/>
                </a:lnTo>
                <a:lnTo>
                  <a:pt x="864" y="1038"/>
                </a:lnTo>
                <a:lnTo>
                  <a:pt x="870" y="1020"/>
                </a:lnTo>
                <a:lnTo>
                  <a:pt x="864" y="1008"/>
                </a:lnTo>
                <a:lnTo>
                  <a:pt x="858" y="990"/>
                </a:lnTo>
                <a:lnTo>
                  <a:pt x="852" y="954"/>
                </a:lnTo>
                <a:lnTo>
                  <a:pt x="846" y="948"/>
                </a:lnTo>
                <a:lnTo>
                  <a:pt x="834" y="936"/>
                </a:lnTo>
                <a:lnTo>
                  <a:pt x="828" y="924"/>
                </a:lnTo>
                <a:lnTo>
                  <a:pt x="756" y="942"/>
                </a:lnTo>
                <a:lnTo>
                  <a:pt x="744" y="936"/>
                </a:lnTo>
                <a:lnTo>
                  <a:pt x="744" y="930"/>
                </a:lnTo>
                <a:lnTo>
                  <a:pt x="738" y="924"/>
                </a:lnTo>
                <a:lnTo>
                  <a:pt x="744" y="924"/>
                </a:lnTo>
                <a:lnTo>
                  <a:pt x="738" y="918"/>
                </a:lnTo>
                <a:lnTo>
                  <a:pt x="732" y="912"/>
                </a:lnTo>
                <a:lnTo>
                  <a:pt x="732" y="906"/>
                </a:lnTo>
                <a:lnTo>
                  <a:pt x="732" y="894"/>
                </a:lnTo>
                <a:lnTo>
                  <a:pt x="726" y="888"/>
                </a:lnTo>
                <a:lnTo>
                  <a:pt x="720" y="882"/>
                </a:lnTo>
                <a:lnTo>
                  <a:pt x="714" y="876"/>
                </a:lnTo>
                <a:lnTo>
                  <a:pt x="708" y="876"/>
                </a:lnTo>
                <a:lnTo>
                  <a:pt x="690" y="882"/>
                </a:lnTo>
                <a:lnTo>
                  <a:pt x="684" y="864"/>
                </a:lnTo>
                <a:lnTo>
                  <a:pt x="684" y="852"/>
                </a:lnTo>
                <a:lnTo>
                  <a:pt x="672" y="852"/>
                </a:lnTo>
                <a:lnTo>
                  <a:pt x="654" y="852"/>
                </a:lnTo>
                <a:lnTo>
                  <a:pt x="642" y="846"/>
                </a:lnTo>
                <a:lnTo>
                  <a:pt x="636" y="834"/>
                </a:lnTo>
                <a:lnTo>
                  <a:pt x="630" y="822"/>
                </a:lnTo>
                <a:lnTo>
                  <a:pt x="618" y="822"/>
                </a:lnTo>
                <a:lnTo>
                  <a:pt x="618" y="816"/>
                </a:lnTo>
                <a:lnTo>
                  <a:pt x="618" y="810"/>
                </a:lnTo>
                <a:lnTo>
                  <a:pt x="612" y="810"/>
                </a:lnTo>
                <a:lnTo>
                  <a:pt x="606" y="804"/>
                </a:lnTo>
                <a:lnTo>
                  <a:pt x="594" y="804"/>
                </a:lnTo>
                <a:lnTo>
                  <a:pt x="588" y="810"/>
                </a:lnTo>
                <a:lnTo>
                  <a:pt x="588" y="804"/>
                </a:lnTo>
                <a:lnTo>
                  <a:pt x="582" y="804"/>
                </a:lnTo>
                <a:lnTo>
                  <a:pt x="582" y="810"/>
                </a:lnTo>
                <a:lnTo>
                  <a:pt x="570" y="810"/>
                </a:lnTo>
                <a:lnTo>
                  <a:pt x="564" y="816"/>
                </a:lnTo>
                <a:lnTo>
                  <a:pt x="558" y="816"/>
                </a:lnTo>
                <a:lnTo>
                  <a:pt x="552" y="822"/>
                </a:lnTo>
                <a:lnTo>
                  <a:pt x="546" y="828"/>
                </a:lnTo>
                <a:lnTo>
                  <a:pt x="546" y="834"/>
                </a:lnTo>
                <a:lnTo>
                  <a:pt x="528" y="834"/>
                </a:lnTo>
                <a:lnTo>
                  <a:pt x="516" y="822"/>
                </a:lnTo>
                <a:lnTo>
                  <a:pt x="504" y="822"/>
                </a:lnTo>
                <a:lnTo>
                  <a:pt x="492" y="828"/>
                </a:lnTo>
                <a:lnTo>
                  <a:pt x="486" y="804"/>
                </a:lnTo>
                <a:lnTo>
                  <a:pt x="480" y="804"/>
                </a:lnTo>
                <a:lnTo>
                  <a:pt x="486" y="792"/>
                </a:lnTo>
                <a:lnTo>
                  <a:pt x="492" y="786"/>
                </a:lnTo>
                <a:lnTo>
                  <a:pt x="498" y="786"/>
                </a:lnTo>
                <a:lnTo>
                  <a:pt x="498" y="780"/>
                </a:lnTo>
                <a:lnTo>
                  <a:pt x="504" y="780"/>
                </a:lnTo>
                <a:lnTo>
                  <a:pt x="510" y="780"/>
                </a:lnTo>
                <a:lnTo>
                  <a:pt x="522" y="768"/>
                </a:lnTo>
                <a:lnTo>
                  <a:pt x="522" y="762"/>
                </a:lnTo>
                <a:lnTo>
                  <a:pt x="504" y="756"/>
                </a:lnTo>
                <a:lnTo>
                  <a:pt x="498" y="756"/>
                </a:lnTo>
                <a:lnTo>
                  <a:pt x="498" y="744"/>
                </a:lnTo>
                <a:lnTo>
                  <a:pt x="492" y="738"/>
                </a:lnTo>
                <a:lnTo>
                  <a:pt x="480" y="738"/>
                </a:lnTo>
                <a:lnTo>
                  <a:pt x="474" y="738"/>
                </a:lnTo>
                <a:lnTo>
                  <a:pt x="456" y="738"/>
                </a:lnTo>
                <a:lnTo>
                  <a:pt x="438" y="738"/>
                </a:lnTo>
                <a:lnTo>
                  <a:pt x="432" y="750"/>
                </a:lnTo>
                <a:lnTo>
                  <a:pt x="426" y="756"/>
                </a:lnTo>
                <a:lnTo>
                  <a:pt x="426" y="762"/>
                </a:lnTo>
                <a:lnTo>
                  <a:pt x="420" y="762"/>
                </a:lnTo>
                <a:lnTo>
                  <a:pt x="408" y="744"/>
                </a:lnTo>
                <a:lnTo>
                  <a:pt x="408" y="732"/>
                </a:lnTo>
                <a:lnTo>
                  <a:pt x="390" y="714"/>
                </a:lnTo>
                <a:lnTo>
                  <a:pt x="384" y="702"/>
                </a:lnTo>
                <a:lnTo>
                  <a:pt x="384" y="690"/>
                </a:lnTo>
                <a:lnTo>
                  <a:pt x="372" y="690"/>
                </a:lnTo>
                <a:lnTo>
                  <a:pt x="366" y="660"/>
                </a:lnTo>
                <a:lnTo>
                  <a:pt x="354" y="630"/>
                </a:lnTo>
                <a:lnTo>
                  <a:pt x="348" y="630"/>
                </a:lnTo>
                <a:lnTo>
                  <a:pt x="336" y="630"/>
                </a:lnTo>
                <a:lnTo>
                  <a:pt x="330" y="630"/>
                </a:lnTo>
                <a:lnTo>
                  <a:pt x="318" y="630"/>
                </a:lnTo>
                <a:lnTo>
                  <a:pt x="312" y="624"/>
                </a:lnTo>
                <a:lnTo>
                  <a:pt x="306" y="624"/>
                </a:lnTo>
                <a:lnTo>
                  <a:pt x="294" y="618"/>
                </a:lnTo>
                <a:lnTo>
                  <a:pt x="288" y="612"/>
                </a:lnTo>
                <a:lnTo>
                  <a:pt x="276" y="600"/>
                </a:lnTo>
                <a:lnTo>
                  <a:pt x="276" y="582"/>
                </a:lnTo>
                <a:lnTo>
                  <a:pt x="270" y="582"/>
                </a:lnTo>
                <a:lnTo>
                  <a:pt x="258" y="588"/>
                </a:lnTo>
                <a:lnTo>
                  <a:pt x="252" y="582"/>
                </a:lnTo>
                <a:lnTo>
                  <a:pt x="246" y="582"/>
                </a:lnTo>
                <a:lnTo>
                  <a:pt x="240" y="588"/>
                </a:lnTo>
                <a:lnTo>
                  <a:pt x="216" y="582"/>
                </a:lnTo>
                <a:lnTo>
                  <a:pt x="210" y="588"/>
                </a:lnTo>
                <a:lnTo>
                  <a:pt x="198" y="582"/>
                </a:lnTo>
                <a:lnTo>
                  <a:pt x="180" y="582"/>
                </a:lnTo>
                <a:lnTo>
                  <a:pt x="174" y="552"/>
                </a:lnTo>
                <a:lnTo>
                  <a:pt x="168" y="504"/>
                </a:lnTo>
                <a:lnTo>
                  <a:pt x="186" y="504"/>
                </a:lnTo>
                <a:lnTo>
                  <a:pt x="192" y="504"/>
                </a:lnTo>
                <a:lnTo>
                  <a:pt x="192" y="498"/>
                </a:lnTo>
                <a:lnTo>
                  <a:pt x="192" y="492"/>
                </a:lnTo>
                <a:lnTo>
                  <a:pt x="192" y="486"/>
                </a:lnTo>
                <a:lnTo>
                  <a:pt x="198" y="486"/>
                </a:lnTo>
                <a:lnTo>
                  <a:pt x="198" y="480"/>
                </a:lnTo>
                <a:lnTo>
                  <a:pt x="204" y="474"/>
                </a:lnTo>
                <a:lnTo>
                  <a:pt x="210" y="468"/>
                </a:lnTo>
                <a:lnTo>
                  <a:pt x="198" y="462"/>
                </a:lnTo>
                <a:lnTo>
                  <a:pt x="192" y="444"/>
                </a:lnTo>
                <a:lnTo>
                  <a:pt x="204" y="438"/>
                </a:lnTo>
                <a:lnTo>
                  <a:pt x="198" y="432"/>
                </a:lnTo>
                <a:lnTo>
                  <a:pt x="192" y="426"/>
                </a:lnTo>
                <a:lnTo>
                  <a:pt x="186" y="432"/>
                </a:lnTo>
                <a:lnTo>
                  <a:pt x="168" y="438"/>
                </a:lnTo>
                <a:lnTo>
                  <a:pt x="150" y="450"/>
                </a:lnTo>
                <a:lnTo>
                  <a:pt x="144" y="456"/>
                </a:lnTo>
                <a:lnTo>
                  <a:pt x="132" y="456"/>
                </a:lnTo>
                <a:lnTo>
                  <a:pt x="126" y="468"/>
                </a:lnTo>
                <a:lnTo>
                  <a:pt x="114" y="468"/>
                </a:lnTo>
                <a:lnTo>
                  <a:pt x="108" y="468"/>
                </a:lnTo>
                <a:lnTo>
                  <a:pt x="108" y="426"/>
                </a:lnTo>
                <a:lnTo>
                  <a:pt x="108" y="420"/>
                </a:lnTo>
                <a:lnTo>
                  <a:pt x="102" y="414"/>
                </a:lnTo>
                <a:lnTo>
                  <a:pt x="108" y="396"/>
                </a:lnTo>
                <a:lnTo>
                  <a:pt x="120" y="396"/>
                </a:lnTo>
                <a:lnTo>
                  <a:pt x="126" y="384"/>
                </a:lnTo>
                <a:lnTo>
                  <a:pt x="126" y="360"/>
                </a:lnTo>
                <a:lnTo>
                  <a:pt x="120" y="348"/>
                </a:lnTo>
                <a:lnTo>
                  <a:pt x="108" y="348"/>
                </a:lnTo>
                <a:lnTo>
                  <a:pt x="84" y="354"/>
                </a:lnTo>
                <a:lnTo>
                  <a:pt x="72" y="354"/>
                </a:lnTo>
                <a:lnTo>
                  <a:pt x="66" y="354"/>
                </a:lnTo>
                <a:lnTo>
                  <a:pt x="60" y="348"/>
                </a:lnTo>
                <a:lnTo>
                  <a:pt x="54" y="342"/>
                </a:lnTo>
                <a:lnTo>
                  <a:pt x="54" y="336"/>
                </a:lnTo>
                <a:lnTo>
                  <a:pt x="54" y="330"/>
                </a:lnTo>
                <a:lnTo>
                  <a:pt x="54" y="324"/>
                </a:lnTo>
                <a:lnTo>
                  <a:pt x="60" y="318"/>
                </a:lnTo>
                <a:lnTo>
                  <a:pt x="42" y="324"/>
                </a:lnTo>
                <a:lnTo>
                  <a:pt x="36" y="318"/>
                </a:lnTo>
                <a:lnTo>
                  <a:pt x="36" y="312"/>
                </a:lnTo>
                <a:lnTo>
                  <a:pt x="36" y="306"/>
                </a:lnTo>
                <a:lnTo>
                  <a:pt x="36" y="300"/>
                </a:lnTo>
                <a:lnTo>
                  <a:pt x="30" y="300"/>
                </a:lnTo>
                <a:lnTo>
                  <a:pt x="30" y="306"/>
                </a:lnTo>
                <a:lnTo>
                  <a:pt x="24" y="306"/>
                </a:lnTo>
                <a:lnTo>
                  <a:pt x="24" y="300"/>
                </a:lnTo>
                <a:lnTo>
                  <a:pt x="24" y="294"/>
                </a:lnTo>
                <a:lnTo>
                  <a:pt x="24" y="288"/>
                </a:lnTo>
                <a:lnTo>
                  <a:pt x="24" y="282"/>
                </a:lnTo>
                <a:lnTo>
                  <a:pt x="18" y="282"/>
                </a:lnTo>
                <a:lnTo>
                  <a:pt x="24" y="276"/>
                </a:lnTo>
                <a:lnTo>
                  <a:pt x="18" y="276"/>
                </a:lnTo>
                <a:lnTo>
                  <a:pt x="6" y="264"/>
                </a:lnTo>
                <a:lnTo>
                  <a:pt x="6" y="258"/>
                </a:lnTo>
                <a:lnTo>
                  <a:pt x="0" y="258"/>
                </a:lnTo>
                <a:lnTo>
                  <a:pt x="0" y="252"/>
                </a:lnTo>
                <a:lnTo>
                  <a:pt x="6" y="240"/>
                </a:lnTo>
                <a:lnTo>
                  <a:pt x="18" y="234"/>
                </a:lnTo>
                <a:lnTo>
                  <a:pt x="30" y="228"/>
                </a:lnTo>
                <a:lnTo>
                  <a:pt x="30" y="216"/>
                </a:lnTo>
                <a:lnTo>
                  <a:pt x="30" y="210"/>
                </a:lnTo>
                <a:lnTo>
                  <a:pt x="42" y="192"/>
                </a:lnTo>
                <a:lnTo>
                  <a:pt x="66" y="186"/>
                </a:lnTo>
                <a:lnTo>
                  <a:pt x="90" y="156"/>
                </a:lnTo>
                <a:lnTo>
                  <a:pt x="102" y="144"/>
                </a:lnTo>
                <a:lnTo>
                  <a:pt x="138" y="150"/>
                </a:lnTo>
                <a:lnTo>
                  <a:pt x="162" y="168"/>
                </a:lnTo>
                <a:lnTo>
                  <a:pt x="174" y="174"/>
                </a:lnTo>
                <a:lnTo>
                  <a:pt x="180" y="174"/>
                </a:lnTo>
                <a:lnTo>
                  <a:pt x="180" y="180"/>
                </a:lnTo>
                <a:lnTo>
                  <a:pt x="174" y="180"/>
                </a:lnTo>
                <a:lnTo>
                  <a:pt x="180" y="186"/>
                </a:lnTo>
                <a:lnTo>
                  <a:pt x="186" y="186"/>
                </a:lnTo>
                <a:lnTo>
                  <a:pt x="198" y="192"/>
                </a:lnTo>
                <a:lnTo>
                  <a:pt x="216" y="198"/>
                </a:lnTo>
                <a:lnTo>
                  <a:pt x="252" y="204"/>
                </a:lnTo>
                <a:lnTo>
                  <a:pt x="258" y="210"/>
                </a:lnTo>
                <a:lnTo>
                  <a:pt x="306" y="216"/>
                </a:lnTo>
                <a:lnTo>
                  <a:pt x="342" y="216"/>
                </a:lnTo>
                <a:lnTo>
                  <a:pt x="354" y="210"/>
                </a:lnTo>
                <a:lnTo>
                  <a:pt x="384" y="210"/>
                </a:lnTo>
                <a:lnTo>
                  <a:pt x="408" y="222"/>
                </a:lnTo>
                <a:lnTo>
                  <a:pt x="438" y="228"/>
                </a:lnTo>
                <a:lnTo>
                  <a:pt x="468" y="222"/>
                </a:lnTo>
                <a:lnTo>
                  <a:pt x="468" y="228"/>
                </a:lnTo>
                <a:lnTo>
                  <a:pt x="486" y="222"/>
                </a:lnTo>
                <a:lnTo>
                  <a:pt x="492" y="210"/>
                </a:lnTo>
                <a:lnTo>
                  <a:pt x="492" y="198"/>
                </a:lnTo>
                <a:lnTo>
                  <a:pt x="486" y="180"/>
                </a:lnTo>
                <a:lnTo>
                  <a:pt x="492" y="162"/>
                </a:lnTo>
                <a:lnTo>
                  <a:pt x="510" y="96"/>
                </a:lnTo>
                <a:lnTo>
                  <a:pt x="516" y="84"/>
                </a:lnTo>
                <a:lnTo>
                  <a:pt x="522" y="84"/>
                </a:lnTo>
                <a:lnTo>
                  <a:pt x="528" y="84"/>
                </a:lnTo>
                <a:lnTo>
                  <a:pt x="528" y="78"/>
                </a:lnTo>
                <a:lnTo>
                  <a:pt x="534" y="72"/>
                </a:lnTo>
                <a:lnTo>
                  <a:pt x="534" y="60"/>
                </a:lnTo>
                <a:lnTo>
                  <a:pt x="540" y="36"/>
                </a:lnTo>
                <a:lnTo>
                  <a:pt x="546" y="6"/>
                </a:lnTo>
                <a:lnTo>
                  <a:pt x="558" y="6"/>
                </a:lnTo>
                <a:lnTo>
                  <a:pt x="564" y="0"/>
                </a:lnTo>
                <a:lnTo>
                  <a:pt x="582" y="0"/>
                </a:lnTo>
                <a:lnTo>
                  <a:pt x="588" y="0"/>
                </a:lnTo>
                <a:lnTo>
                  <a:pt x="594" y="6"/>
                </a:lnTo>
                <a:lnTo>
                  <a:pt x="600" y="12"/>
                </a:lnTo>
                <a:lnTo>
                  <a:pt x="600" y="18"/>
                </a:lnTo>
                <a:lnTo>
                  <a:pt x="606" y="18"/>
                </a:lnTo>
                <a:lnTo>
                  <a:pt x="612" y="18"/>
                </a:lnTo>
                <a:lnTo>
                  <a:pt x="618" y="18"/>
                </a:lnTo>
                <a:lnTo>
                  <a:pt x="624" y="24"/>
                </a:lnTo>
                <a:lnTo>
                  <a:pt x="630" y="30"/>
                </a:lnTo>
                <a:lnTo>
                  <a:pt x="636" y="30"/>
                </a:lnTo>
                <a:lnTo>
                  <a:pt x="636" y="36"/>
                </a:lnTo>
                <a:lnTo>
                  <a:pt x="642" y="36"/>
                </a:lnTo>
                <a:lnTo>
                  <a:pt x="642" y="42"/>
                </a:lnTo>
                <a:lnTo>
                  <a:pt x="648" y="54"/>
                </a:lnTo>
                <a:lnTo>
                  <a:pt x="660" y="72"/>
                </a:lnTo>
                <a:lnTo>
                  <a:pt x="666" y="78"/>
                </a:lnTo>
                <a:lnTo>
                  <a:pt x="672" y="90"/>
                </a:lnTo>
                <a:lnTo>
                  <a:pt x="678" y="102"/>
                </a:lnTo>
                <a:lnTo>
                  <a:pt x="678" y="114"/>
                </a:lnTo>
                <a:lnTo>
                  <a:pt x="684" y="132"/>
                </a:lnTo>
                <a:lnTo>
                  <a:pt x="684" y="144"/>
                </a:lnTo>
                <a:lnTo>
                  <a:pt x="690" y="162"/>
                </a:lnTo>
                <a:lnTo>
                  <a:pt x="696" y="168"/>
                </a:lnTo>
                <a:lnTo>
                  <a:pt x="696" y="180"/>
                </a:lnTo>
                <a:lnTo>
                  <a:pt x="702" y="186"/>
                </a:lnTo>
                <a:lnTo>
                  <a:pt x="708" y="186"/>
                </a:lnTo>
                <a:lnTo>
                  <a:pt x="714" y="198"/>
                </a:lnTo>
                <a:lnTo>
                  <a:pt x="720" y="198"/>
                </a:lnTo>
                <a:lnTo>
                  <a:pt x="732" y="204"/>
                </a:lnTo>
                <a:lnTo>
                  <a:pt x="738" y="210"/>
                </a:lnTo>
                <a:lnTo>
                  <a:pt x="738" y="216"/>
                </a:lnTo>
                <a:lnTo>
                  <a:pt x="744" y="222"/>
                </a:lnTo>
                <a:lnTo>
                  <a:pt x="750" y="228"/>
                </a:lnTo>
                <a:lnTo>
                  <a:pt x="756" y="228"/>
                </a:lnTo>
                <a:lnTo>
                  <a:pt x="768" y="240"/>
                </a:lnTo>
                <a:lnTo>
                  <a:pt x="774" y="252"/>
                </a:lnTo>
                <a:lnTo>
                  <a:pt x="780" y="258"/>
                </a:lnTo>
                <a:lnTo>
                  <a:pt x="786" y="258"/>
                </a:lnTo>
                <a:lnTo>
                  <a:pt x="798" y="264"/>
                </a:lnTo>
                <a:lnTo>
                  <a:pt x="798" y="270"/>
                </a:lnTo>
                <a:lnTo>
                  <a:pt x="798" y="276"/>
                </a:lnTo>
                <a:lnTo>
                  <a:pt x="810" y="288"/>
                </a:lnTo>
                <a:lnTo>
                  <a:pt x="816" y="288"/>
                </a:lnTo>
                <a:lnTo>
                  <a:pt x="816" y="300"/>
                </a:lnTo>
                <a:lnTo>
                  <a:pt x="816" y="306"/>
                </a:lnTo>
                <a:lnTo>
                  <a:pt x="822" y="318"/>
                </a:lnTo>
                <a:lnTo>
                  <a:pt x="828" y="324"/>
                </a:lnTo>
                <a:lnTo>
                  <a:pt x="834" y="330"/>
                </a:lnTo>
                <a:lnTo>
                  <a:pt x="846" y="336"/>
                </a:lnTo>
                <a:lnTo>
                  <a:pt x="846" y="342"/>
                </a:lnTo>
                <a:lnTo>
                  <a:pt x="852" y="348"/>
                </a:lnTo>
                <a:lnTo>
                  <a:pt x="852" y="354"/>
                </a:lnTo>
                <a:lnTo>
                  <a:pt x="858" y="354"/>
                </a:lnTo>
                <a:lnTo>
                  <a:pt x="858" y="348"/>
                </a:lnTo>
                <a:lnTo>
                  <a:pt x="864" y="342"/>
                </a:lnTo>
                <a:lnTo>
                  <a:pt x="864" y="336"/>
                </a:lnTo>
                <a:lnTo>
                  <a:pt x="864" y="318"/>
                </a:lnTo>
                <a:lnTo>
                  <a:pt x="870" y="318"/>
                </a:lnTo>
                <a:lnTo>
                  <a:pt x="876" y="312"/>
                </a:lnTo>
                <a:lnTo>
                  <a:pt x="876" y="306"/>
                </a:lnTo>
                <a:lnTo>
                  <a:pt x="870" y="300"/>
                </a:lnTo>
                <a:lnTo>
                  <a:pt x="870" y="294"/>
                </a:lnTo>
                <a:lnTo>
                  <a:pt x="876" y="294"/>
                </a:lnTo>
                <a:lnTo>
                  <a:pt x="882" y="300"/>
                </a:lnTo>
                <a:lnTo>
                  <a:pt x="888" y="300"/>
                </a:lnTo>
                <a:lnTo>
                  <a:pt x="888" y="306"/>
                </a:lnTo>
                <a:lnTo>
                  <a:pt x="894" y="300"/>
                </a:lnTo>
                <a:lnTo>
                  <a:pt x="900" y="294"/>
                </a:lnTo>
                <a:lnTo>
                  <a:pt x="894" y="288"/>
                </a:lnTo>
                <a:lnTo>
                  <a:pt x="888" y="282"/>
                </a:lnTo>
                <a:lnTo>
                  <a:pt x="888" y="276"/>
                </a:lnTo>
                <a:lnTo>
                  <a:pt x="894" y="276"/>
                </a:lnTo>
                <a:lnTo>
                  <a:pt x="900" y="276"/>
                </a:lnTo>
                <a:lnTo>
                  <a:pt x="900" y="270"/>
                </a:lnTo>
                <a:lnTo>
                  <a:pt x="906" y="264"/>
                </a:lnTo>
                <a:lnTo>
                  <a:pt x="906" y="258"/>
                </a:lnTo>
                <a:lnTo>
                  <a:pt x="918" y="264"/>
                </a:lnTo>
                <a:lnTo>
                  <a:pt x="918" y="258"/>
                </a:lnTo>
                <a:lnTo>
                  <a:pt x="924" y="252"/>
                </a:lnTo>
                <a:lnTo>
                  <a:pt x="930" y="252"/>
                </a:lnTo>
                <a:lnTo>
                  <a:pt x="930" y="246"/>
                </a:lnTo>
                <a:lnTo>
                  <a:pt x="936" y="234"/>
                </a:lnTo>
                <a:lnTo>
                  <a:pt x="942" y="228"/>
                </a:lnTo>
                <a:lnTo>
                  <a:pt x="942" y="222"/>
                </a:lnTo>
                <a:lnTo>
                  <a:pt x="948" y="222"/>
                </a:lnTo>
                <a:lnTo>
                  <a:pt x="948" y="216"/>
                </a:lnTo>
                <a:lnTo>
                  <a:pt x="942" y="216"/>
                </a:lnTo>
                <a:lnTo>
                  <a:pt x="936" y="216"/>
                </a:lnTo>
                <a:lnTo>
                  <a:pt x="936" y="210"/>
                </a:lnTo>
                <a:lnTo>
                  <a:pt x="942" y="210"/>
                </a:lnTo>
                <a:lnTo>
                  <a:pt x="972" y="210"/>
                </a:lnTo>
                <a:lnTo>
                  <a:pt x="1032" y="216"/>
                </a:lnTo>
                <a:lnTo>
                  <a:pt x="1068" y="216"/>
                </a:lnTo>
                <a:lnTo>
                  <a:pt x="1056" y="234"/>
                </a:lnTo>
                <a:lnTo>
                  <a:pt x="1050" y="240"/>
                </a:lnTo>
                <a:lnTo>
                  <a:pt x="1044" y="246"/>
                </a:lnTo>
                <a:lnTo>
                  <a:pt x="1038" y="246"/>
                </a:lnTo>
                <a:lnTo>
                  <a:pt x="1026" y="282"/>
                </a:lnTo>
                <a:lnTo>
                  <a:pt x="1032" y="306"/>
                </a:lnTo>
                <a:lnTo>
                  <a:pt x="1044" y="324"/>
                </a:lnTo>
                <a:lnTo>
                  <a:pt x="1044" y="342"/>
                </a:lnTo>
                <a:lnTo>
                  <a:pt x="1062" y="366"/>
                </a:lnTo>
                <a:lnTo>
                  <a:pt x="1056" y="396"/>
                </a:lnTo>
                <a:lnTo>
                  <a:pt x="1038" y="462"/>
                </a:lnTo>
                <a:lnTo>
                  <a:pt x="1038" y="498"/>
                </a:lnTo>
                <a:lnTo>
                  <a:pt x="1038" y="522"/>
                </a:lnTo>
                <a:lnTo>
                  <a:pt x="1038" y="534"/>
                </a:lnTo>
                <a:lnTo>
                  <a:pt x="1056" y="522"/>
                </a:lnTo>
                <a:lnTo>
                  <a:pt x="1098" y="504"/>
                </a:lnTo>
                <a:lnTo>
                  <a:pt x="1104" y="498"/>
                </a:lnTo>
                <a:lnTo>
                  <a:pt x="1128" y="492"/>
                </a:lnTo>
                <a:lnTo>
                  <a:pt x="1152" y="480"/>
                </a:lnTo>
                <a:lnTo>
                  <a:pt x="1170" y="474"/>
                </a:lnTo>
                <a:lnTo>
                  <a:pt x="1188" y="468"/>
                </a:lnTo>
                <a:lnTo>
                  <a:pt x="1200" y="462"/>
                </a:lnTo>
                <a:lnTo>
                  <a:pt x="1224" y="450"/>
                </a:lnTo>
                <a:lnTo>
                  <a:pt x="1248" y="450"/>
                </a:lnTo>
                <a:lnTo>
                  <a:pt x="1266" y="450"/>
                </a:lnTo>
                <a:lnTo>
                  <a:pt x="1296" y="456"/>
                </a:lnTo>
                <a:lnTo>
                  <a:pt x="1308" y="456"/>
                </a:lnTo>
                <a:lnTo>
                  <a:pt x="1326" y="456"/>
                </a:lnTo>
                <a:lnTo>
                  <a:pt x="1338" y="456"/>
                </a:lnTo>
                <a:lnTo>
                  <a:pt x="1350" y="462"/>
                </a:lnTo>
                <a:lnTo>
                  <a:pt x="1356" y="462"/>
                </a:lnTo>
                <a:lnTo>
                  <a:pt x="1374" y="456"/>
                </a:lnTo>
                <a:lnTo>
                  <a:pt x="1386" y="456"/>
                </a:lnTo>
                <a:lnTo>
                  <a:pt x="1392" y="456"/>
                </a:lnTo>
                <a:lnTo>
                  <a:pt x="1398" y="456"/>
                </a:lnTo>
                <a:lnTo>
                  <a:pt x="1422" y="456"/>
                </a:lnTo>
                <a:lnTo>
                  <a:pt x="1440" y="456"/>
                </a:lnTo>
                <a:lnTo>
                  <a:pt x="1446" y="456"/>
                </a:lnTo>
                <a:lnTo>
                  <a:pt x="1476" y="456"/>
                </a:lnTo>
                <a:lnTo>
                  <a:pt x="1470" y="468"/>
                </a:lnTo>
                <a:lnTo>
                  <a:pt x="1470" y="474"/>
                </a:lnTo>
                <a:lnTo>
                  <a:pt x="1470" y="486"/>
                </a:lnTo>
                <a:lnTo>
                  <a:pt x="1464" y="492"/>
                </a:lnTo>
                <a:lnTo>
                  <a:pt x="1464" y="498"/>
                </a:lnTo>
                <a:lnTo>
                  <a:pt x="1458" y="498"/>
                </a:lnTo>
                <a:lnTo>
                  <a:pt x="1458" y="510"/>
                </a:lnTo>
                <a:lnTo>
                  <a:pt x="1452" y="522"/>
                </a:lnTo>
                <a:lnTo>
                  <a:pt x="1458" y="528"/>
                </a:lnTo>
                <a:lnTo>
                  <a:pt x="1464" y="546"/>
                </a:lnTo>
                <a:lnTo>
                  <a:pt x="1470" y="552"/>
                </a:lnTo>
                <a:lnTo>
                  <a:pt x="1476" y="564"/>
                </a:lnTo>
                <a:lnTo>
                  <a:pt x="1488" y="588"/>
                </a:lnTo>
                <a:lnTo>
                  <a:pt x="1506" y="606"/>
                </a:lnTo>
                <a:lnTo>
                  <a:pt x="1506" y="612"/>
                </a:lnTo>
                <a:lnTo>
                  <a:pt x="1518" y="618"/>
                </a:lnTo>
                <a:lnTo>
                  <a:pt x="1512" y="630"/>
                </a:lnTo>
                <a:lnTo>
                  <a:pt x="1518" y="642"/>
                </a:lnTo>
                <a:lnTo>
                  <a:pt x="1518" y="648"/>
                </a:lnTo>
                <a:lnTo>
                  <a:pt x="1530" y="666"/>
                </a:lnTo>
                <a:lnTo>
                  <a:pt x="1518" y="672"/>
                </a:lnTo>
                <a:lnTo>
                  <a:pt x="1524" y="696"/>
                </a:lnTo>
                <a:lnTo>
                  <a:pt x="1518" y="732"/>
                </a:lnTo>
                <a:lnTo>
                  <a:pt x="1524" y="762"/>
                </a:lnTo>
                <a:lnTo>
                  <a:pt x="1524" y="780"/>
                </a:lnTo>
                <a:lnTo>
                  <a:pt x="1524" y="810"/>
                </a:lnTo>
                <a:lnTo>
                  <a:pt x="1530" y="834"/>
                </a:lnTo>
                <a:lnTo>
                  <a:pt x="1536" y="846"/>
                </a:lnTo>
                <a:lnTo>
                  <a:pt x="1542" y="846"/>
                </a:lnTo>
                <a:lnTo>
                  <a:pt x="1584" y="840"/>
                </a:lnTo>
                <a:lnTo>
                  <a:pt x="1590" y="846"/>
                </a:lnTo>
                <a:lnTo>
                  <a:pt x="1596" y="858"/>
                </a:lnTo>
                <a:lnTo>
                  <a:pt x="1602" y="864"/>
                </a:lnTo>
                <a:lnTo>
                  <a:pt x="1596" y="870"/>
                </a:lnTo>
                <a:lnTo>
                  <a:pt x="1590" y="864"/>
                </a:lnTo>
                <a:lnTo>
                  <a:pt x="1578" y="882"/>
                </a:lnTo>
                <a:lnTo>
                  <a:pt x="1572" y="906"/>
                </a:lnTo>
                <a:lnTo>
                  <a:pt x="1560" y="924"/>
                </a:lnTo>
                <a:lnTo>
                  <a:pt x="1560" y="936"/>
                </a:lnTo>
                <a:lnTo>
                  <a:pt x="1548" y="960"/>
                </a:lnTo>
                <a:lnTo>
                  <a:pt x="1542" y="978"/>
                </a:lnTo>
                <a:lnTo>
                  <a:pt x="1536" y="990"/>
                </a:lnTo>
                <a:lnTo>
                  <a:pt x="1530" y="990"/>
                </a:lnTo>
                <a:lnTo>
                  <a:pt x="1506" y="996"/>
                </a:lnTo>
                <a:lnTo>
                  <a:pt x="1494" y="1002"/>
                </a:lnTo>
                <a:lnTo>
                  <a:pt x="1482" y="1002"/>
                </a:lnTo>
                <a:lnTo>
                  <a:pt x="1464" y="1008"/>
                </a:lnTo>
                <a:lnTo>
                  <a:pt x="1446" y="1026"/>
                </a:lnTo>
                <a:lnTo>
                  <a:pt x="1440" y="1026"/>
                </a:lnTo>
                <a:lnTo>
                  <a:pt x="1434" y="1038"/>
                </a:lnTo>
                <a:lnTo>
                  <a:pt x="1428" y="1044"/>
                </a:lnTo>
                <a:lnTo>
                  <a:pt x="1428" y="1062"/>
                </a:lnTo>
                <a:lnTo>
                  <a:pt x="1428" y="1086"/>
                </a:lnTo>
                <a:lnTo>
                  <a:pt x="1416" y="1092"/>
                </a:lnTo>
                <a:lnTo>
                  <a:pt x="1410" y="1080"/>
                </a:lnTo>
                <a:lnTo>
                  <a:pt x="1392" y="1080"/>
                </a:lnTo>
                <a:close/>
              </a:path>
            </a:pathLst>
          </a:custGeom>
          <a:solidFill>
            <a:srgbClr val="FF9900"/>
          </a:solidFill>
          <a:ln w="9525">
            <a:solidFill>
              <a:schemeClr val="bg1"/>
            </a:solidFill>
            <a:round/>
            <a:headEnd/>
            <a:tailEnd/>
          </a:ln>
        </p:spPr>
        <p:txBody>
          <a:bodyPr/>
          <a:lstStyle/>
          <a:p>
            <a:endParaRPr lang="en-GB"/>
          </a:p>
        </p:txBody>
      </p:sp>
      <p:sp>
        <p:nvSpPr>
          <p:cNvPr id="20510" name="Freeform 27"/>
          <p:cNvSpPr>
            <a:spLocks/>
          </p:cNvSpPr>
          <p:nvPr/>
        </p:nvSpPr>
        <p:spPr bwMode="gray">
          <a:xfrm>
            <a:off x="1435100" y="4562475"/>
            <a:ext cx="960438" cy="846138"/>
          </a:xfrm>
          <a:custGeom>
            <a:avLst/>
            <a:gdLst>
              <a:gd name="T0" fmla="*/ 74456 w 1224"/>
              <a:gd name="T1" fmla="*/ 71706 h 1050"/>
              <a:gd name="T2" fmla="*/ 70537 w 1224"/>
              <a:gd name="T3" fmla="*/ 67677 h 1050"/>
              <a:gd name="T4" fmla="*/ 65835 w 1224"/>
              <a:gd name="T5" fmla="*/ 66872 h 1050"/>
              <a:gd name="T6" fmla="*/ 64267 w 1224"/>
              <a:gd name="T7" fmla="*/ 64455 h 1050"/>
              <a:gd name="T8" fmla="*/ 66618 w 1224"/>
              <a:gd name="T9" fmla="*/ 62038 h 1050"/>
              <a:gd name="T10" fmla="*/ 63483 w 1224"/>
              <a:gd name="T11" fmla="*/ 61232 h 1050"/>
              <a:gd name="T12" fmla="*/ 60348 w 1224"/>
              <a:gd name="T13" fmla="*/ 62038 h 1050"/>
              <a:gd name="T14" fmla="*/ 61132 w 1224"/>
              <a:gd name="T15" fmla="*/ 58815 h 1050"/>
              <a:gd name="T16" fmla="*/ 46241 w 1224"/>
              <a:gd name="T17" fmla="*/ 57203 h 1050"/>
              <a:gd name="T18" fmla="*/ 32134 w 1224"/>
              <a:gd name="T19" fmla="*/ 58815 h 1050"/>
              <a:gd name="T20" fmla="*/ 25864 w 1224"/>
              <a:gd name="T21" fmla="*/ 57203 h 1050"/>
              <a:gd name="T22" fmla="*/ 23512 w 1224"/>
              <a:gd name="T23" fmla="*/ 60426 h 1050"/>
              <a:gd name="T24" fmla="*/ 21161 w 1224"/>
              <a:gd name="T25" fmla="*/ 64455 h 1050"/>
              <a:gd name="T26" fmla="*/ 9405 w 1224"/>
              <a:gd name="T27" fmla="*/ 65260 h 1050"/>
              <a:gd name="T28" fmla="*/ 7054 w 1224"/>
              <a:gd name="T29" fmla="*/ 67677 h 1050"/>
              <a:gd name="T30" fmla="*/ 4702 w 1224"/>
              <a:gd name="T31" fmla="*/ 66872 h 1050"/>
              <a:gd name="T32" fmla="*/ 784 w 1224"/>
              <a:gd name="T33" fmla="*/ 66872 h 1050"/>
              <a:gd name="T34" fmla="*/ 2351 w 1224"/>
              <a:gd name="T35" fmla="*/ 62038 h 1050"/>
              <a:gd name="T36" fmla="*/ 3919 w 1224"/>
              <a:gd name="T37" fmla="*/ 56398 h 1050"/>
              <a:gd name="T38" fmla="*/ 1567 w 1224"/>
              <a:gd name="T39" fmla="*/ 52369 h 1050"/>
              <a:gd name="T40" fmla="*/ 2351 w 1224"/>
              <a:gd name="T41" fmla="*/ 46730 h 1050"/>
              <a:gd name="T42" fmla="*/ 3135 w 1224"/>
              <a:gd name="T43" fmla="*/ 41090 h 1050"/>
              <a:gd name="T44" fmla="*/ 2351 w 1224"/>
              <a:gd name="T45" fmla="*/ 37867 h 1050"/>
              <a:gd name="T46" fmla="*/ 3135 w 1224"/>
              <a:gd name="T47" fmla="*/ 31422 h 1050"/>
              <a:gd name="T48" fmla="*/ 4702 w 1224"/>
              <a:gd name="T49" fmla="*/ 23365 h 1050"/>
              <a:gd name="T50" fmla="*/ 2351 w 1224"/>
              <a:gd name="T51" fmla="*/ 17725 h 1050"/>
              <a:gd name="T52" fmla="*/ 1567 w 1224"/>
              <a:gd name="T53" fmla="*/ 11280 h 1050"/>
              <a:gd name="T54" fmla="*/ 0 w 1224"/>
              <a:gd name="T55" fmla="*/ 4834 h 1050"/>
              <a:gd name="T56" fmla="*/ 7054 w 1224"/>
              <a:gd name="T57" fmla="*/ 806 h 1050"/>
              <a:gd name="T58" fmla="*/ 8621 w 1224"/>
              <a:gd name="T59" fmla="*/ 6445 h 1050"/>
              <a:gd name="T60" fmla="*/ 11756 w 1224"/>
              <a:gd name="T61" fmla="*/ 7251 h 1050"/>
              <a:gd name="T62" fmla="*/ 14107 w 1224"/>
              <a:gd name="T63" fmla="*/ 6445 h 1050"/>
              <a:gd name="T64" fmla="*/ 14107 w 1224"/>
              <a:gd name="T65" fmla="*/ 10474 h 1050"/>
              <a:gd name="T66" fmla="*/ 13324 w 1224"/>
              <a:gd name="T67" fmla="*/ 12085 h 1050"/>
              <a:gd name="T68" fmla="*/ 13324 w 1224"/>
              <a:gd name="T69" fmla="*/ 13697 h 1050"/>
              <a:gd name="T70" fmla="*/ 13324 w 1224"/>
              <a:gd name="T71" fmla="*/ 16919 h 1050"/>
              <a:gd name="T72" fmla="*/ 16459 w 1224"/>
              <a:gd name="T73" fmla="*/ 20142 h 1050"/>
              <a:gd name="T74" fmla="*/ 18810 w 1224"/>
              <a:gd name="T75" fmla="*/ 24976 h 1050"/>
              <a:gd name="T76" fmla="*/ 27431 w 1224"/>
              <a:gd name="T77" fmla="*/ 27393 h 1050"/>
              <a:gd name="T78" fmla="*/ 31350 w 1224"/>
              <a:gd name="T79" fmla="*/ 21753 h 1050"/>
              <a:gd name="T80" fmla="*/ 36052 w 1224"/>
              <a:gd name="T81" fmla="*/ 24170 h 1050"/>
              <a:gd name="T82" fmla="*/ 39971 w 1224"/>
              <a:gd name="T83" fmla="*/ 21753 h 1050"/>
              <a:gd name="T84" fmla="*/ 46241 w 1224"/>
              <a:gd name="T85" fmla="*/ 31422 h 1050"/>
              <a:gd name="T86" fmla="*/ 46241 w 1224"/>
              <a:gd name="T87" fmla="*/ 36256 h 1050"/>
              <a:gd name="T88" fmla="*/ 56430 w 1224"/>
              <a:gd name="T89" fmla="*/ 36256 h 1050"/>
              <a:gd name="T90" fmla="*/ 61916 w 1224"/>
              <a:gd name="T91" fmla="*/ 35450 h 1050"/>
              <a:gd name="T92" fmla="*/ 68186 w 1224"/>
              <a:gd name="T93" fmla="*/ 38673 h 1050"/>
              <a:gd name="T94" fmla="*/ 72888 w 1224"/>
              <a:gd name="T95" fmla="*/ 40284 h 1050"/>
              <a:gd name="T96" fmla="*/ 76807 w 1224"/>
              <a:gd name="T97" fmla="*/ 41090 h 1050"/>
              <a:gd name="T98" fmla="*/ 83077 w 1224"/>
              <a:gd name="T99" fmla="*/ 40284 h 1050"/>
              <a:gd name="T100" fmla="*/ 81509 w 1224"/>
              <a:gd name="T101" fmla="*/ 43507 h 1050"/>
              <a:gd name="T102" fmla="*/ 81509 w 1224"/>
              <a:gd name="T103" fmla="*/ 48341 h 1050"/>
              <a:gd name="T104" fmla="*/ 79158 w 1224"/>
              <a:gd name="T105" fmla="*/ 50758 h 1050"/>
              <a:gd name="T106" fmla="*/ 76807 w 1224"/>
              <a:gd name="T107" fmla="*/ 53175 h 1050"/>
              <a:gd name="T108" fmla="*/ 74456 w 1224"/>
              <a:gd name="T109" fmla="*/ 54786 h 1050"/>
              <a:gd name="T110" fmla="*/ 72888 w 1224"/>
              <a:gd name="T111" fmla="*/ 58009 h 1050"/>
              <a:gd name="T112" fmla="*/ 76807 w 1224"/>
              <a:gd name="T113" fmla="*/ 60426 h 1050"/>
              <a:gd name="T114" fmla="*/ 79942 w 1224"/>
              <a:gd name="T115" fmla="*/ 62038 h 1050"/>
              <a:gd name="T116" fmla="*/ 83861 w 1224"/>
              <a:gd name="T117" fmla="*/ 61232 h 1050"/>
              <a:gd name="T118" fmla="*/ 81509 w 1224"/>
              <a:gd name="T119" fmla="*/ 67677 h 1050"/>
              <a:gd name="T120" fmla="*/ 80726 w 1224"/>
              <a:gd name="T121" fmla="*/ 70094 h 1050"/>
              <a:gd name="T122" fmla="*/ 81509 w 1224"/>
              <a:gd name="T123" fmla="*/ 73317 h 105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24"/>
              <a:gd name="T187" fmla="*/ 0 h 1050"/>
              <a:gd name="T188" fmla="*/ 1224 w 1224"/>
              <a:gd name="T189" fmla="*/ 1050 h 105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24" h="1050">
                <a:moveTo>
                  <a:pt x="1128" y="1032"/>
                </a:moveTo>
                <a:lnTo>
                  <a:pt x="1122" y="1026"/>
                </a:lnTo>
                <a:lnTo>
                  <a:pt x="1116" y="1026"/>
                </a:lnTo>
                <a:lnTo>
                  <a:pt x="1110" y="1026"/>
                </a:lnTo>
                <a:lnTo>
                  <a:pt x="1104" y="1026"/>
                </a:lnTo>
                <a:lnTo>
                  <a:pt x="1104" y="1020"/>
                </a:lnTo>
                <a:lnTo>
                  <a:pt x="1098" y="1020"/>
                </a:lnTo>
                <a:lnTo>
                  <a:pt x="1092" y="1020"/>
                </a:lnTo>
                <a:lnTo>
                  <a:pt x="1086" y="1020"/>
                </a:lnTo>
                <a:lnTo>
                  <a:pt x="1080" y="1014"/>
                </a:lnTo>
                <a:lnTo>
                  <a:pt x="1068" y="1014"/>
                </a:lnTo>
                <a:lnTo>
                  <a:pt x="1062" y="1014"/>
                </a:lnTo>
                <a:lnTo>
                  <a:pt x="1062" y="1008"/>
                </a:lnTo>
                <a:lnTo>
                  <a:pt x="1062" y="990"/>
                </a:lnTo>
                <a:lnTo>
                  <a:pt x="1062" y="984"/>
                </a:lnTo>
                <a:lnTo>
                  <a:pt x="1062" y="972"/>
                </a:lnTo>
                <a:lnTo>
                  <a:pt x="1044" y="966"/>
                </a:lnTo>
                <a:lnTo>
                  <a:pt x="1026" y="966"/>
                </a:lnTo>
                <a:lnTo>
                  <a:pt x="1014" y="966"/>
                </a:lnTo>
                <a:lnTo>
                  <a:pt x="996" y="966"/>
                </a:lnTo>
                <a:lnTo>
                  <a:pt x="996" y="972"/>
                </a:lnTo>
                <a:lnTo>
                  <a:pt x="990" y="972"/>
                </a:lnTo>
                <a:lnTo>
                  <a:pt x="984" y="966"/>
                </a:lnTo>
                <a:lnTo>
                  <a:pt x="978" y="966"/>
                </a:lnTo>
                <a:lnTo>
                  <a:pt x="978" y="960"/>
                </a:lnTo>
                <a:lnTo>
                  <a:pt x="972" y="954"/>
                </a:lnTo>
                <a:lnTo>
                  <a:pt x="966" y="954"/>
                </a:lnTo>
                <a:lnTo>
                  <a:pt x="960" y="954"/>
                </a:lnTo>
                <a:lnTo>
                  <a:pt x="954" y="954"/>
                </a:lnTo>
                <a:lnTo>
                  <a:pt x="954" y="948"/>
                </a:lnTo>
                <a:lnTo>
                  <a:pt x="942" y="942"/>
                </a:lnTo>
                <a:lnTo>
                  <a:pt x="936" y="942"/>
                </a:lnTo>
                <a:lnTo>
                  <a:pt x="936" y="936"/>
                </a:lnTo>
                <a:lnTo>
                  <a:pt x="936" y="930"/>
                </a:lnTo>
                <a:lnTo>
                  <a:pt x="942" y="930"/>
                </a:lnTo>
                <a:lnTo>
                  <a:pt x="942" y="924"/>
                </a:lnTo>
                <a:lnTo>
                  <a:pt x="942" y="918"/>
                </a:lnTo>
                <a:lnTo>
                  <a:pt x="948" y="918"/>
                </a:lnTo>
                <a:lnTo>
                  <a:pt x="960" y="918"/>
                </a:lnTo>
                <a:lnTo>
                  <a:pt x="966" y="912"/>
                </a:lnTo>
                <a:lnTo>
                  <a:pt x="978" y="906"/>
                </a:lnTo>
                <a:lnTo>
                  <a:pt x="978" y="900"/>
                </a:lnTo>
                <a:lnTo>
                  <a:pt x="978" y="894"/>
                </a:lnTo>
                <a:lnTo>
                  <a:pt x="978" y="888"/>
                </a:lnTo>
                <a:lnTo>
                  <a:pt x="972" y="888"/>
                </a:lnTo>
                <a:lnTo>
                  <a:pt x="978" y="888"/>
                </a:lnTo>
                <a:lnTo>
                  <a:pt x="978" y="882"/>
                </a:lnTo>
                <a:lnTo>
                  <a:pt x="972" y="876"/>
                </a:lnTo>
                <a:lnTo>
                  <a:pt x="966" y="870"/>
                </a:lnTo>
                <a:lnTo>
                  <a:pt x="954" y="876"/>
                </a:lnTo>
                <a:lnTo>
                  <a:pt x="948" y="876"/>
                </a:lnTo>
                <a:lnTo>
                  <a:pt x="942" y="870"/>
                </a:lnTo>
                <a:lnTo>
                  <a:pt x="936" y="876"/>
                </a:lnTo>
                <a:lnTo>
                  <a:pt x="930" y="876"/>
                </a:lnTo>
                <a:lnTo>
                  <a:pt x="924" y="882"/>
                </a:lnTo>
                <a:lnTo>
                  <a:pt x="912" y="888"/>
                </a:lnTo>
                <a:lnTo>
                  <a:pt x="906" y="894"/>
                </a:lnTo>
                <a:lnTo>
                  <a:pt x="900" y="900"/>
                </a:lnTo>
                <a:lnTo>
                  <a:pt x="894" y="888"/>
                </a:lnTo>
                <a:lnTo>
                  <a:pt x="888" y="894"/>
                </a:lnTo>
                <a:lnTo>
                  <a:pt x="882" y="888"/>
                </a:lnTo>
                <a:lnTo>
                  <a:pt x="876" y="894"/>
                </a:lnTo>
                <a:lnTo>
                  <a:pt x="876" y="888"/>
                </a:lnTo>
                <a:lnTo>
                  <a:pt x="876" y="882"/>
                </a:lnTo>
                <a:lnTo>
                  <a:pt x="876" y="876"/>
                </a:lnTo>
                <a:lnTo>
                  <a:pt x="870" y="858"/>
                </a:lnTo>
                <a:lnTo>
                  <a:pt x="864" y="858"/>
                </a:lnTo>
                <a:lnTo>
                  <a:pt x="870" y="852"/>
                </a:lnTo>
                <a:lnTo>
                  <a:pt x="870" y="846"/>
                </a:lnTo>
                <a:lnTo>
                  <a:pt x="876" y="846"/>
                </a:lnTo>
                <a:lnTo>
                  <a:pt x="882" y="846"/>
                </a:lnTo>
                <a:lnTo>
                  <a:pt x="888" y="840"/>
                </a:lnTo>
                <a:lnTo>
                  <a:pt x="894" y="834"/>
                </a:lnTo>
                <a:lnTo>
                  <a:pt x="894" y="828"/>
                </a:lnTo>
                <a:lnTo>
                  <a:pt x="894" y="816"/>
                </a:lnTo>
                <a:lnTo>
                  <a:pt x="858" y="810"/>
                </a:lnTo>
                <a:lnTo>
                  <a:pt x="858" y="816"/>
                </a:lnTo>
                <a:lnTo>
                  <a:pt x="852" y="816"/>
                </a:lnTo>
                <a:lnTo>
                  <a:pt x="780" y="816"/>
                </a:lnTo>
                <a:lnTo>
                  <a:pt x="750" y="816"/>
                </a:lnTo>
                <a:lnTo>
                  <a:pt x="684" y="816"/>
                </a:lnTo>
                <a:lnTo>
                  <a:pt x="636" y="816"/>
                </a:lnTo>
                <a:lnTo>
                  <a:pt x="612" y="816"/>
                </a:lnTo>
                <a:lnTo>
                  <a:pt x="492" y="816"/>
                </a:lnTo>
                <a:lnTo>
                  <a:pt x="486" y="816"/>
                </a:lnTo>
                <a:lnTo>
                  <a:pt x="480" y="816"/>
                </a:lnTo>
                <a:lnTo>
                  <a:pt x="480" y="822"/>
                </a:lnTo>
                <a:lnTo>
                  <a:pt x="480" y="834"/>
                </a:lnTo>
                <a:lnTo>
                  <a:pt x="474" y="840"/>
                </a:lnTo>
                <a:lnTo>
                  <a:pt x="468" y="840"/>
                </a:lnTo>
                <a:lnTo>
                  <a:pt x="432" y="840"/>
                </a:lnTo>
                <a:lnTo>
                  <a:pt x="426" y="834"/>
                </a:lnTo>
                <a:lnTo>
                  <a:pt x="420" y="834"/>
                </a:lnTo>
                <a:lnTo>
                  <a:pt x="420" y="828"/>
                </a:lnTo>
                <a:lnTo>
                  <a:pt x="414" y="822"/>
                </a:lnTo>
                <a:lnTo>
                  <a:pt x="408" y="822"/>
                </a:lnTo>
                <a:lnTo>
                  <a:pt x="396" y="822"/>
                </a:lnTo>
                <a:lnTo>
                  <a:pt x="396" y="816"/>
                </a:lnTo>
                <a:lnTo>
                  <a:pt x="384" y="816"/>
                </a:lnTo>
                <a:lnTo>
                  <a:pt x="372" y="810"/>
                </a:lnTo>
                <a:lnTo>
                  <a:pt x="372" y="804"/>
                </a:lnTo>
                <a:lnTo>
                  <a:pt x="366" y="804"/>
                </a:lnTo>
                <a:lnTo>
                  <a:pt x="360" y="804"/>
                </a:lnTo>
                <a:lnTo>
                  <a:pt x="348" y="828"/>
                </a:lnTo>
                <a:lnTo>
                  <a:pt x="348" y="834"/>
                </a:lnTo>
                <a:lnTo>
                  <a:pt x="348" y="852"/>
                </a:lnTo>
                <a:lnTo>
                  <a:pt x="348" y="858"/>
                </a:lnTo>
                <a:lnTo>
                  <a:pt x="342" y="864"/>
                </a:lnTo>
                <a:lnTo>
                  <a:pt x="342" y="870"/>
                </a:lnTo>
                <a:lnTo>
                  <a:pt x="330" y="876"/>
                </a:lnTo>
                <a:lnTo>
                  <a:pt x="324" y="888"/>
                </a:lnTo>
                <a:lnTo>
                  <a:pt x="324" y="894"/>
                </a:lnTo>
                <a:lnTo>
                  <a:pt x="330" y="900"/>
                </a:lnTo>
                <a:lnTo>
                  <a:pt x="330" y="906"/>
                </a:lnTo>
                <a:lnTo>
                  <a:pt x="324" y="906"/>
                </a:lnTo>
                <a:lnTo>
                  <a:pt x="318" y="912"/>
                </a:lnTo>
                <a:lnTo>
                  <a:pt x="312" y="918"/>
                </a:lnTo>
                <a:lnTo>
                  <a:pt x="306" y="924"/>
                </a:lnTo>
                <a:lnTo>
                  <a:pt x="288" y="924"/>
                </a:lnTo>
                <a:lnTo>
                  <a:pt x="282" y="924"/>
                </a:lnTo>
                <a:lnTo>
                  <a:pt x="276" y="930"/>
                </a:lnTo>
                <a:lnTo>
                  <a:pt x="270" y="930"/>
                </a:lnTo>
                <a:lnTo>
                  <a:pt x="264" y="930"/>
                </a:lnTo>
                <a:lnTo>
                  <a:pt x="198" y="930"/>
                </a:lnTo>
                <a:lnTo>
                  <a:pt x="132" y="930"/>
                </a:lnTo>
                <a:lnTo>
                  <a:pt x="132" y="936"/>
                </a:lnTo>
                <a:lnTo>
                  <a:pt x="132" y="942"/>
                </a:lnTo>
                <a:lnTo>
                  <a:pt x="132" y="948"/>
                </a:lnTo>
                <a:lnTo>
                  <a:pt x="126" y="948"/>
                </a:lnTo>
                <a:lnTo>
                  <a:pt x="120" y="948"/>
                </a:lnTo>
                <a:lnTo>
                  <a:pt x="120" y="954"/>
                </a:lnTo>
                <a:lnTo>
                  <a:pt x="114" y="954"/>
                </a:lnTo>
                <a:lnTo>
                  <a:pt x="114" y="960"/>
                </a:lnTo>
                <a:lnTo>
                  <a:pt x="108" y="960"/>
                </a:lnTo>
                <a:lnTo>
                  <a:pt x="108" y="966"/>
                </a:lnTo>
                <a:lnTo>
                  <a:pt x="102" y="966"/>
                </a:lnTo>
                <a:lnTo>
                  <a:pt x="102" y="972"/>
                </a:lnTo>
                <a:lnTo>
                  <a:pt x="96" y="972"/>
                </a:lnTo>
                <a:lnTo>
                  <a:pt x="96" y="966"/>
                </a:lnTo>
                <a:lnTo>
                  <a:pt x="90" y="966"/>
                </a:lnTo>
                <a:lnTo>
                  <a:pt x="84" y="966"/>
                </a:lnTo>
                <a:lnTo>
                  <a:pt x="78" y="960"/>
                </a:lnTo>
                <a:lnTo>
                  <a:pt x="72" y="960"/>
                </a:lnTo>
                <a:lnTo>
                  <a:pt x="66" y="960"/>
                </a:lnTo>
                <a:lnTo>
                  <a:pt x="60" y="960"/>
                </a:lnTo>
                <a:lnTo>
                  <a:pt x="54" y="966"/>
                </a:lnTo>
                <a:lnTo>
                  <a:pt x="48" y="966"/>
                </a:lnTo>
                <a:lnTo>
                  <a:pt x="42" y="966"/>
                </a:lnTo>
                <a:lnTo>
                  <a:pt x="36" y="966"/>
                </a:lnTo>
                <a:lnTo>
                  <a:pt x="30" y="966"/>
                </a:lnTo>
                <a:lnTo>
                  <a:pt x="24" y="960"/>
                </a:lnTo>
                <a:lnTo>
                  <a:pt x="18" y="960"/>
                </a:lnTo>
                <a:lnTo>
                  <a:pt x="12" y="960"/>
                </a:lnTo>
                <a:lnTo>
                  <a:pt x="12" y="948"/>
                </a:lnTo>
                <a:lnTo>
                  <a:pt x="18" y="942"/>
                </a:lnTo>
                <a:lnTo>
                  <a:pt x="18" y="936"/>
                </a:lnTo>
                <a:lnTo>
                  <a:pt x="18" y="930"/>
                </a:lnTo>
                <a:lnTo>
                  <a:pt x="18" y="924"/>
                </a:lnTo>
                <a:lnTo>
                  <a:pt x="18" y="912"/>
                </a:lnTo>
                <a:lnTo>
                  <a:pt x="24" y="906"/>
                </a:lnTo>
                <a:lnTo>
                  <a:pt x="30" y="900"/>
                </a:lnTo>
                <a:lnTo>
                  <a:pt x="36" y="894"/>
                </a:lnTo>
                <a:lnTo>
                  <a:pt x="36" y="882"/>
                </a:lnTo>
                <a:lnTo>
                  <a:pt x="30" y="876"/>
                </a:lnTo>
                <a:lnTo>
                  <a:pt x="30" y="870"/>
                </a:lnTo>
                <a:lnTo>
                  <a:pt x="24" y="858"/>
                </a:lnTo>
                <a:lnTo>
                  <a:pt x="24" y="846"/>
                </a:lnTo>
                <a:lnTo>
                  <a:pt x="36" y="822"/>
                </a:lnTo>
                <a:lnTo>
                  <a:pt x="42" y="816"/>
                </a:lnTo>
                <a:lnTo>
                  <a:pt x="48" y="816"/>
                </a:lnTo>
                <a:lnTo>
                  <a:pt x="60" y="804"/>
                </a:lnTo>
                <a:lnTo>
                  <a:pt x="60" y="786"/>
                </a:lnTo>
                <a:lnTo>
                  <a:pt x="60" y="774"/>
                </a:lnTo>
                <a:lnTo>
                  <a:pt x="60" y="768"/>
                </a:lnTo>
                <a:lnTo>
                  <a:pt x="54" y="762"/>
                </a:lnTo>
                <a:lnTo>
                  <a:pt x="42" y="762"/>
                </a:lnTo>
                <a:lnTo>
                  <a:pt x="36" y="762"/>
                </a:lnTo>
                <a:lnTo>
                  <a:pt x="30" y="762"/>
                </a:lnTo>
                <a:lnTo>
                  <a:pt x="30" y="756"/>
                </a:lnTo>
                <a:lnTo>
                  <a:pt x="24" y="750"/>
                </a:lnTo>
                <a:lnTo>
                  <a:pt x="24" y="744"/>
                </a:lnTo>
                <a:lnTo>
                  <a:pt x="24" y="738"/>
                </a:lnTo>
                <a:lnTo>
                  <a:pt x="24" y="732"/>
                </a:lnTo>
                <a:lnTo>
                  <a:pt x="36" y="714"/>
                </a:lnTo>
                <a:lnTo>
                  <a:pt x="30" y="708"/>
                </a:lnTo>
                <a:lnTo>
                  <a:pt x="30" y="702"/>
                </a:lnTo>
                <a:lnTo>
                  <a:pt x="36" y="684"/>
                </a:lnTo>
                <a:lnTo>
                  <a:pt x="36" y="678"/>
                </a:lnTo>
                <a:lnTo>
                  <a:pt x="36" y="666"/>
                </a:lnTo>
                <a:lnTo>
                  <a:pt x="36" y="654"/>
                </a:lnTo>
                <a:lnTo>
                  <a:pt x="18" y="654"/>
                </a:lnTo>
                <a:lnTo>
                  <a:pt x="18" y="648"/>
                </a:lnTo>
                <a:lnTo>
                  <a:pt x="18" y="618"/>
                </a:lnTo>
                <a:lnTo>
                  <a:pt x="18" y="612"/>
                </a:lnTo>
                <a:lnTo>
                  <a:pt x="24" y="612"/>
                </a:lnTo>
                <a:lnTo>
                  <a:pt x="30" y="600"/>
                </a:lnTo>
                <a:lnTo>
                  <a:pt x="36" y="594"/>
                </a:lnTo>
                <a:lnTo>
                  <a:pt x="48" y="594"/>
                </a:lnTo>
                <a:lnTo>
                  <a:pt x="54" y="588"/>
                </a:lnTo>
                <a:lnTo>
                  <a:pt x="60" y="588"/>
                </a:lnTo>
                <a:lnTo>
                  <a:pt x="60" y="582"/>
                </a:lnTo>
                <a:lnTo>
                  <a:pt x="54" y="576"/>
                </a:lnTo>
                <a:lnTo>
                  <a:pt x="48" y="564"/>
                </a:lnTo>
                <a:lnTo>
                  <a:pt x="42" y="564"/>
                </a:lnTo>
                <a:lnTo>
                  <a:pt x="36" y="558"/>
                </a:lnTo>
                <a:lnTo>
                  <a:pt x="30" y="552"/>
                </a:lnTo>
                <a:lnTo>
                  <a:pt x="30" y="546"/>
                </a:lnTo>
                <a:lnTo>
                  <a:pt x="36" y="540"/>
                </a:lnTo>
                <a:lnTo>
                  <a:pt x="48" y="534"/>
                </a:lnTo>
                <a:lnTo>
                  <a:pt x="54" y="528"/>
                </a:lnTo>
                <a:lnTo>
                  <a:pt x="60" y="504"/>
                </a:lnTo>
                <a:lnTo>
                  <a:pt x="60" y="492"/>
                </a:lnTo>
                <a:lnTo>
                  <a:pt x="54" y="492"/>
                </a:lnTo>
                <a:lnTo>
                  <a:pt x="54" y="480"/>
                </a:lnTo>
                <a:lnTo>
                  <a:pt x="48" y="456"/>
                </a:lnTo>
                <a:lnTo>
                  <a:pt x="42" y="450"/>
                </a:lnTo>
                <a:lnTo>
                  <a:pt x="36" y="444"/>
                </a:lnTo>
                <a:lnTo>
                  <a:pt x="36" y="420"/>
                </a:lnTo>
                <a:lnTo>
                  <a:pt x="36" y="408"/>
                </a:lnTo>
                <a:lnTo>
                  <a:pt x="36" y="372"/>
                </a:lnTo>
                <a:lnTo>
                  <a:pt x="36" y="342"/>
                </a:lnTo>
                <a:lnTo>
                  <a:pt x="42" y="342"/>
                </a:lnTo>
                <a:lnTo>
                  <a:pt x="60" y="342"/>
                </a:lnTo>
                <a:lnTo>
                  <a:pt x="66" y="336"/>
                </a:lnTo>
                <a:lnTo>
                  <a:pt x="66" y="330"/>
                </a:lnTo>
                <a:lnTo>
                  <a:pt x="66" y="300"/>
                </a:lnTo>
                <a:lnTo>
                  <a:pt x="60" y="294"/>
                </a:lnTo>
                <a:lnTo>
                  <a:pt x="60" y="288"/>
                </a:lnTo>
                <a:lnTo>
                  <a:pt x="54" y="282"/>
                </a:lnTo>
                <a:lnTo>
                  <a:pt x="42" y="276"/>
                </a:lnTo>
                <a:lnTo>
                  <a:pt x="36" y="276"/>
                </a:lnTo>
                <a:lnTo>
                  <a:pt x="36" y="270"/>
                </a:lnTo>
                <a:lnTo>
                  <a:pt x="30" y="264"/>
                </a:lnTo>
                <a:lnTo>
                  <a:pt x="36" y="258"/>
                </a:lnTo>
                <a:lnTo>
                  <a:pt x="30" y="252"/>
                </a:lnTo>
                <a:lnTo>
                  <a:pt x="24" y="246"/>
                </a:lnTo>
                <a:lnTo>
                  <a:pt x="24" y="240"/>
                </a:lnTo>
                <a:lnTo>
                  <a:pt x="24" y="228"/>
                </a:lnTo>
                <a:lnTo>
                  <a:pt x="24" y="216"/>
                </a:lnTo>
                <a:lnTo>
                  <a:pt x="24" y="210"/>
                </a:lnTo>
                <a:lnTo>
                  <a:pt x="18" y="192"/>
                </a:lnTo>
                <a:lnTo>
                  <a:pt x="18" y="186"/>
                </a:lnTo>
                <a:lnTo>
                  <a:pt x="24" y="162"/>
                </a:lnTo>
                <a:lnTo>
                  <a:pt x="24" y="144"/>
                </a:lnTo>
                <a:lnTo>
                  <a:pt x="24" y="132"/>
                </a:lnTo>
                <a:lnTo>
                  <a:pt x="24" y="114"/>
                </a:lnTo>
                <a:lnTo>
                  <a:pt x="24" y="102"/>
                </a:lnTo>
                <a:lnTo>
                  <a:pt x="18" y="90"/>
                </a:lnTo>
                <a:lnTo>
                  <a:pt x="12" y="90"/>
                </a:lnTo>
                <a:lnTo>
                  <a:pt x="12" y="84"/>
                </a:lnTo>
                <a:lnTo>
                  <a:pt x="6" y="78"/>
                </a:lnTo>
                <a:lnTo>
                  <a:pt x="6" y="72"/>
                </a:lnTo>
                <a:lnTo>
                  <a:pt x="0" y="60"/>
                </a:lnTo>
                <a:lnTo>
                  <a:pt x="18" y="48"/>
                </a:lnTo>
                <a:lnTo>
                  <a:pt x="42" y="36"/>
                </a:lnTo>
                <a:lnTo>
                  <a:pt x="54" y="24"/>
                </a:lnTo>
                <a:lnTo>
                  <a:pt x="60" y="0"/>
                </a:lnTo>
                <a:lnTo>
                  <a:pt x="78" y="0"/>
                </a:lnTo>
                <a:lnTo>
                  <a:pt x="78" y="6"/>
                </a:lnTo>
                <a:lnTo>
                  <a:pt x="90" y="6"/>
                </a:lnTo>
                <a:lnTo>
                  <a:pt x="102" y="12"/>
                </a:lnTo>
                <a:lnTo>
                  <a:pt x="138" y="12"/>
                </a:lnTo>
                <a:lnTo>
                  <a:pt x="138" y="18"/>
                </a:lnTo>
                <a:lnTo>
                  <a:pt x="126" y="18"/>
                </a:lnTo>
                <a:lnTo>
                  <a:pt x="126" y="24"/>
                </a:lnTo>
                <a:lnTo>
                  <a:pt x="120" y="30"/>
                </a:lnTo>
                <a:lnTo>
                  <a:pt x="114" y="60"/>
                </a:lnTo>
                <a:lnTo>
                  <a:pt x="120" y="60"/>
                </a:lnTo>
                <a:lnTo>
                  <a:pt x="114" y="84"/>
                </a:lnTo>
                <a:lnTo>
                  <a:pt x="120" y="90"/>
                </a:lnTo>
                <a:lnTo>
                  <a:pt x="126" y="96"/>
                </a:lnTo>
                <a:lnTo>
                  <a:pt x="132" y="96"/>
                </a:lnTo>
                <a:lnTo>
                  <a:pt x="138" y="96"/>
                </a:lnTo>
                <a:lnTo>
                  <a:pt x="138" y="102"/>
                </a:lnTo>
                <a:lnTo>
                  <a:pt x="138" y="114"/>
                </a:lnTo>
                <a:lnTo>
                  <a:pt x="138" y="132"/>
                </a:lnTo>
                <a:lnTo>
                  <a:pt x="162" y="126"/>
                </a:lnTo>
                <a:lnTo>
                  <a:pt x="162" y="114"/>
                </a:lnTo>
                <a:lnTo>
                  <a:pt x="174" y="108"/>
                </a:lnTo>
                <a:lnTo>
                  <a:pt x="174" y="102"/>
                </a:lnTo>
                <a:lnTo>
                  <a:pt x="180" y="96"/>
                </a:lnTo>
                <a:lnTo>
                  <a:pt x="180" y="60"/>
                </a:lnTo>
                <a:lnTo>
                  <a:pt x="192" y="60"/>
                </a:lnTo>
                <a:lnTo>
                  <a:pt x="192" y="72"/>
                </a:lnTo>
                <a:lnTo>
                  <a:pt x="198" y="72"/>
                </a:lnTo>
                <a:lnTo>
                  <a:pt x="198" y="78"/>
                </a:lnTo>
                <a:lnTo>
                  <a:pt x="204" y="78"/>
                </a:lnTo>
                <a:lnTo>
                  <a:pt x="204" y="96"/>
                </a:lnTo>
                <a:lnTo>
                  <a:pt x="204" y="102"/>
                </a:lnTo>
                <a:lnTo>
                  <a:pt x="204" y="108"/>
                </a:lnTo>
                <a:lnTo>
                  <a:pt x="204" y="114"/>
                </a:lnTo>
                <a:lnTo>
                  <a:pt x="204" y="120"/>
                </a:lnTo>
                <a:lnTo>
                  <a:pt x="204" y="126"/>
                </a:lnTo>
                <a:lnTo>
                  <a:pt x="210" y="126"/>
                </a:lnTo>
                <a:lnTo>
                  <a:pt x="210" y="132"/>
                </a:lnTo>
                <a:lnTo>
                  <a:pt x="204" y="138"/>
                </a:lnTo>
                <a:lnTo>
                  <a:pt x="204" y="150"/>
                </a:lnTo>
                <a:lnTo>
                  <a:pt x="198" y="150"/>
                </a:lnTo>
                <a:lnTo>
                  <a:pt x="192" y="150"/>
                </a:lnTo>
                <a:lnTo>
                  <a:pt x="192" y="156"/>
                </a:lnTo>
                <a:lnTo>
                  <a:pt x="198" y="156"/>
                </a:lnTo>
                <a:lnTo>
                  <a:pt x="204" y="156"/>
                </a:lnTo>
                <a:lnTo>
                  <a:pt x="204" y="162"/>
                </a:lnTo>
                <a:lnTo>
                  <a:pt x="198" y="162"/>
                </a:lnTo>
                <a:lnTo>
                  <a:pt x="192" y="162"/>
                </a:lnTo>
                <a:lnTo>
                  <a:pt x="192" y="168"/>
                </a:lnTo>
                <a:lnTo>
                  <a:pt x="198" y="168"/>
                </a:lnTo>
                <a:lnTo>
                  <a:pt x="198" y="174"/>
                </a:lnTo>
                <a:lnTo>
                  <a:pt x="186" y="174"/>
                </a:lnTo>
                <a:lnTo>
                  <a:pt x="192" y="174"/>
                </a:lnTo>
                <a:lnTo>
                  <a:pt x="198" y="174"/>
                </a:lnTo>
                <a:lnTo>
                  <a:pt x="198" y="180"/>
                </a:lnTo>
                <a:lnTo>
                  <a:pt x="192" y="186"/>
                </a:lnTo>
                <a:lnTo>
                  <a:pt x="192" y="192"/>
                </a:lnTo>
                <a:lnTo>
                  <a:pt x="192" y="198"/>
                </a:lnTo>
                <a:lnTo>
                  <a:pt x="186" y="204"/>
                </a:lnTo>
                <a:lnTo>
                  <a:pt x="186" y="210"/>
                </a:lnTo>
                <a:lnTo>
                  <a:pt x="180" y="210"/>
                </a:lnTo>
                <a:lnTo>
                  <a:pt x="180" y="216"/>
                </a:lnTo>
                <a:lnTo>
                  <a:pt x="180" y="222"/>
                </a:lnTo>
                <a:lnTo>
                  <a:pt x="186" y="228"/>
                </a:lnTo>
                <a:lnTo>
                  <a:pt x="186" y="234"/>
                </a:lnTo>
                <a:lnTo>
                  <a:pt x="192" y="240"/>
                </a:lnTo>
                <a:lnTo>
                  <a:pt x="198" y="246"/>
                </a:lnTo>
                <a:lnTo>
                  <a:pt x="198" y="252"/>
                </a:lnTo>
                <a:lnTo>
                  <a:pt x="198" y="258"/>
                </a:lnTo>
                <a:lnTo>
                  <a:pt x="204" y="258"/>
                </a:lnTo>
                <a:lnTo>
                  <a:pt x="210" y="258"/>
                </a:lnTo>
                <a:lnTo>
                  <a:pt x="216" y="258"/>
                </a:lnTo>
                <a:lnTo>
                  <a:pt x="228" y="270"/>
                </a:lnTo>
                <a:lnTo>
                  <a:pt x="228" y="276"/>
                </a:lnTo>
                <a:lnTo>
                  <a:pt x="234" y="276"/>
                </a:lnTo>
                <a:lnTo>
                  <a:pt x="240" y="288"/>
                </a:lnTo>
                <a:lnTo>
                  <a:pt x="246" y="294"/>
                </a:lnTo>
                <a:lnTo>
                  <a:pt x="246" y="306"/>
                </a:lnTo>
                <a:lnTo>
                  <a:pt x="252" y="318"/>
                </a:lnTo>
                <a:lnTo>
                  <a:pt x="258" y="324"/>
                </a:lnTo>
                <a:lnTo>
                  <a:pt x="258" y="330"/>
                </a:lnTo>
                <a:lnTo>
                  <a:pt x="258" y="342"/>
                </a:lnTo>
                <a:lnTo>
                  <a:pt x="270" y="342"/>
                </a:lnTo>
                <a:lnTo>
                  <a:pt x="276" y="348"/>
                </a:lnTo>
                <a:lnTo>
                  <a:pt x="276" y="354"/>
                </a:lnTo>
                <a:lnTo>
                  <a:pt x="288" y="366"/>
                </a:lnTo>
                <a:lnTo>
                  <a:pt x="336" y="360"/>
                </a:lnTo>
                <a:lnTo>
                  <a:pt x="354" y="360"/>
                </a:lnTo>
                <a:lnTo>
                  <a:pt x="366" y="372"/>
                </a:lnTo>
                <a:lnTo>
                  <a:pt x="378" y="378"/>
                </a:lnTo>
                <a:lnTo>
                  <a:pt x="378" y="390"/>
                </a:lnTo>
                <a:lnTo>
                  <a:pt x="384" y="390"/>
                </a:lnTo>
                <a:lnTo>
                  <a:pt x="390" y="396"/>
                </a:lnTo>
                <a:lnTo>
                  <a:pt x="408" y="390"/>
                </a:lnTo>
                <a:lnTo>
                  <a:pt x="426" y="366"/>
                </a:lnTo>
                <a:lnTo>
                  <a:pt x="432" y="360"/>
                </a:lnTo>
                <a:lnTo>
                  <a:pt x="438" y="348"/>
                </a:lnTo>
                <a:lnTo>
                  <a:pt x="438" y="342"/>
                </a:lnTo>
                <a:lnTo>
                  <a:pt x="438" y="330"/>
                </a:lnTo>
                <a:lnTo>
                  <a:pt x="444" y="324"/>
                </a:lnTo>
                <a:lnTo>
                  <a:pt x="450" y="318"/>
                </a:lnTo>
                <a:lnTo>
                  <a:pt x="456" y="312"/>
                </a:lnTo>
                <a:lnTo>
                  <a:pt x="456" y="306"/>
                </a:lnTo>
                <a:lnTo>
                  <a:pt x="456" y="300"/>
                </a:lnTo>
                <a:lnTo>
                  <a:pt x="474" y="288"/>
                </a:lnTo>
                <a:lnTo>
                  <a:pt x="480" y="288"/>
                </a:lnTo>
                <a:lnTo>
                  <a:pt x="486" y="288"/>
                </a:lnTo>
                <a:lnTo>
                  <a:pt x="492" y="294"/>
                </a:lnTo>
                <a:lnTo>
                  <a:pt x="492" y="318"/>
                </a:lnTo>
                <a:lnTo>
                  <a:pt x="504" y="324"/>
                </a:lnTo>
                <a:lnTo>
                  <a:pt x="492" y="348"/>
                </a:lnTo>
                <a:lnTo>
                  <a:pt x="522" y="348"/>
                </a:lnTo>
                <a:lnTo>
                  <a:pt x="528" y="342"/>
                </a:lnTo>
                <a:lnTo>
                  <a:pt x="528" y="336"/>
                </a:lnTo>
                <a:lnTo>
                  <a:pt x="528" y="330"/>
                </a:lnTo>
                <a:lnTo>
                  <a:pt x="534" y="330"/>
                </a:lnTo>
                <a:lnTo>
                  <a:pt x="540" y="330"/>
                </a:lnTo>
                <a:lnTo>
                  <a:pt x="546" y="330"/>
                </a:lnTo>
                <a:lnTo>
                  <a:pt x="552" y="324"/>
                </a:lnTo>
                <a:lnTo>
                  <a:pt x="558" y="318"/>
                </a:lnTo>
                <a:lnTo>
                  <a:pt x="576" y="318"/>
                </a:lnTo>
                <a:lnTo>
                  <a:pt x="636" y="318"/>
                </a:lnTo>
                <a:lnTo>
                  <a:pt x="642" y="312"/>
                </a:lnTo>
                <a:lnTo>
                  <a:pt x="648" y="348"/>
                </a:lnTo>
                <a:lnTo>
                  <a:pt x="654" y="354"/>
                </a:lnTo>
                <a:lnTo>
                  <a:pt x="648" y="402"/>
                </a:lnTo>
                <a:lnTo>
                  <a:pt x="678" y="402"/>
                </a:lnTo>
                <a:lnTo>
                  <a:pt x="678" y="420"/>
                </a:lnTo>
                <a:lnTo>
                  <a:pt x="684" y="438"/>
                </a:lnTo>
                <a:lnTo>
                  <a:pt x="684" y="450"/>
                </a:lnTo>
                <a:lnTo>
                  <a:pt x="684" y="456"/>
                </a:lnTo>
                <a:lnTo>
                  <a:pt x="690" y="468"/>
                </a:lnTo>
                <a:lnTo>
                  <a:pt x="690" y="474"/>
                </a:lnTo>
                <a:lnTo>
                  <a:pt x="690" y="480"/>
                </a:lnTo>
                <a:lnTo>
                  <a:pt x="696" y="486"/>
                </a:lnTo>
                <a:lnTo>
                  <a:pt x="696" y="498"/>
                </a:lnTo>
                <a:lnTo>
                  <a:pt x="702" y="504"/>
                </a:lnTo>
                <a:lnTo>
                  <a:pt x="690" y="516"/>
                </a:lnTo>
                <a:lnTo>
                  <a:pt x="678" y="522"/>
                </a:lnTo>
                <a:lnTo>
                  <a:pt x="654" y="528"/>
                </a:lnTo>
                <a:lnTo>
                  <a:pt x="660" y="546"/>
                </a:lnTo>
                <a:lnTo>
                  <a:pt x="672" y="546"/>
                </a:lnTo>
                <a:lnTo>
                  <a:pt x="678" y="540"/>
                </a:lnTo>
                <a:lnTo>
                  <a:pt x="714" y="540"/>
                </a:lnTo>
                <a:lnTo>
                  <a:pt x="798" y="540"/>
                </a:lnTo>
                <a:lnTo>
                  <a:pt x="804" y="540"/>
                </a:lnTo>
                <a:lnTo>
                  <a:pt x="816" y="528"/>
                </a:lnTo>
                <a:lnTo>
                  <a:pt x="822" y="522"/>
                </a:lnTo>
                <a:lnTo>
                  <a:pt x="834" y="516"/>
                </a:lnTo>
                <a:lnTo>
                  <a:pt x="846" y="516"/>
                </a:lnTo>
                <a:lnTo>
                  <a:pt x="852" y="510"/>
                </a:lnTo>
                <a:lnTo>
                  <a:pt x="858" y="510"/>
                </a:lnTo>
                <a:lnTo>
                  <a:pt x="882" y="516"/>
                </a:lnTo>
                <a:lnTo>
                  <a:pt x="888" y="516"/>
                </a:lnTo>
                <a:lnTo>
                  <a:pt x="888" y="510"/>
                </a:lnTo>
                <a:lnTo>
                  <a:pt x="894" y="510"/>
                </a:lnTo>
                <a:lnTo>
                  <a:pt x="906" y="504"/>
                </a:lnTo>
                <a:lnTo>
                  <a:pt x="918" y="498"/>
                </a:lnTo>
                <a:lnTo>
                  <a:pt x="930" y="492"/>
                </a:lnTo>
                <a:lnTo>
                  <a:pt x="936" y="492"/>
                </a:lnTo>
                <a:lnTo>
                  <a:pt x="948" y="492"/>
                </a:lnTo>
                <a:lnTo>
                  <a:pt x="954" y="528"/>
                </a:lnTo>
                <a:lnTo>
                  <a:pt x="954" y="564"/>
                </a:lnTo>
                <a:lnTo>
                  <a:pt x="972" y="564"/>
                </a:lnTo>
                <a:lnTo>
                  <a:pt x="978" y="558"/>
                </a:lnTo>
                <a:lnTo>
                  <a:pt x="990" y="552"/>
                </a:lnTo>
                <a:lnTo>
                  <a:pt x="1002" y="540"/>
                </a:lnTo>
                <a:lnTo>
                  <a:pt x="1026" y="534"/>
                </a:lnTo>
                <a:lnTo>
                  <a:pt x="1032" y="540"/>
                </a:lnTo>
                <a:lnTo>
                  <a:pt x="1044" y="546"/>
                </a:lnTo>
                <a:lnTo>
                  <a:pt x="1062" y="552"/>
                </a:lnTo>
                <a:lnTo>
                  <a:pt x="1068" y="552"/>
                </a:lnTo>
                <a:lnTo>
                  <a:pt x="1068" y="570"/>
                </a:lnTo>
                <a:lnTo>
                  <a:pt x="1068" y="576"/>
                </a:lnTo>
                <a:lnTo>
                  <a:pt x="1068" y="582"/>
                </a:lnTo>
                <a:lnTo>
                  <a:pt x="1068" y="588"/>
                </a:lnTo>
                <a:lnTo>
                  <a:pt x="1068" y="594"/>
                </a:lnTo>
                <a:lnTo>
                  <a:pt x="1080" y="600"/>
                </a:lnTo>
                <a:lnTo>
                  <a:pt x="1086" y="606"/>
                </a:lnTo>
                <a:lnTo>
                  <a:pt x="1092" y="594"/>
                </a:lnTo>
                <a:lnTo>
                  <a:pt x="1104" y="588"/>
                </a:lnTo>
                <a:lnTo>
                  <a:pt x="1116" y="588"/>
                </a:lnTo>
                <a:lnTo>
                  <a:pt x="1122" y="588"/>
                </a:lnTo>
                <a:lnTo>
                  <a:pt x="1122" y="594"/>
                </a:lnTo>
                <a:lnTo>
                  <a:pt x="1128" y="594"/>
                </a:lnTo>
                <a:lnTo>
                  <a:pt x="1134" y="594"/>
                </a:lnTo>
                <a:lnTo>
                  <a:pt x="1140" y="594"/>
                </a:lnTo>
                <a:lnTo>
                  <a:pt x="1146" y="588"/>
                </a:lnTo>
                <a:lnTo>
                  <a:pt x="1158" y="582"/>
                </a:lnTo>
                <a:lnTo>
                  <a:pt x="1164" y="576"/>
                </a:lnTo>
                <a:lnTo>
                  <a:pt x="1176" y="576"/>
                </a:lnTo>
                <a:lnTo>
                  <a:pt x="1194" y="576"/>
                </a:lnTo>
                <a:lnTo>
                  <a:pt x="1218" y="576"/>
                </a:lnTo>
                <a:lnTo>
                  <a:pt x="1224" y="582"/>
                </a:lnTo>
                <a:lnTo>
                  <a:pt x="1224" y="588"/>
                </a:lnTo>
                <a:lnTo>
                  <a:pt x="1224" y="594"/>
                </a:lnTo>
                <a:lnTo>
                  <a:pt x="1212" y="600"/>
                </a:lnTo>
                <a:lnTo>
                  <a:pt x="1206" y="606"/>
                </a:lnTo>
                <a:lnTo>
                  <a:pt x="1200" y="606"/>
                </a:lnTo>
                <a:lnTo>
                  <a:pt x="1200" y="612"/>
                </a:lnTo>
                <a:lnTo>
                  <a:pt x="1194" y="612"/>
                </a:lnTo>
                <a:lnTo>
                  <a:pt x="1194" y="618"/>
                </a:lnTo>
                <a:lnTo>
                  <a:pt x="1194" y="624"/>
                </a:lnTo>
                <a:lnTo>
                  <a:pt x="1194" y="630"/>
                </a:lnTo>
                <a:lnTo>
                  <a:pt x="1194" y="648"/>
                </a:lnTo>
                <a:lnTo>
                  <a:pt x="1194" y="660"/>
                </a:lnTo>
                <a:lnTo>
                  <a:pt x="1194" y="666"/>
                </a:lnTo>
                <a:lnTo>
                  <a:pt x="1194" y="672"/>
                </a:lnTo>
                <a:lnTo>
                  <a:pt x="1194" y="678"/>
                </a:lnTo>
                <a:lnTo>
                  <a:pt x="1188" y="684"/>
                </a:lnTo>
                <a:lnTo>
                  <a:pt x="1188" y="690"/>
                </a:lnTo>
                <a:lnTo>
                  <a:pt x="1188" y="696"/>
                </a:lnTo>
                <a:lnTo>
                  <a:pt x="1188" y="702"/>
                </a:lnTo>
                <a:lnTo>
                  <a:pt x="1188" y="708"/>
                </a:lnTo>
                <a:lnTo>
                  <a:pt x="1188" y="714"/>
                </a:lnTo>
                <a:lnTo>
                  <a:pt x="1182" y="720"/>
                </a:lnTo>
                <a:lnTo>
                  <a:pt x="1170" y="720"/>
                </a:lnTo>
                <a:lnTo>
                  <a:pt x="1158" y="726"/>
                </a:lnTo>
                <a:lnTo>
                  <a:pt x="1152" y="726"/>
                </a:lnTo>
                <a:lnTo>
                  <a:pt x="1152" y="732"/>
                </a:lnTo>
                <a:lnTo>
                  <a:pt x="1146" y="738"/>
                </a:lnTo>
                <a:lnTo>
                  <a:pt x="1140" y="738"/>
                </a:lnTo>
                <a:lnTo>
                  <a:pt x="1140" y="744"/>
                </a:lnTo>
                <a:lnTo>
                  <a:pt x="1134" y="744"/>
                </a:lnTo>
                <a:lnTo>
                  <a:pt x="1128" y="744"/>
                </a:lnTo>
                <a:lnTo>
                  <a:pt x="1122" y="750"/>
                </a:lnTo>
                <a:lnTo>
                  <a:pt x="1128" y="750"/>
                </a:lnTo>
                <a:lnTo>
                  <a:pt x="1122" y="756"/>
                </a:lnTo>
                <a:lnTo>
                  <a:pt x="1116" y="756"/>
                </a:lnTo>
                <a:lnTo>
                  <a:pt x="1110" y="762"/>
                </a:lnTo>
                <a:lnTo>
                  <a:pt x="1104" y="762"/>
                </a:lnTo>
                <a:lnTo>
                  <a:pt x="1104" y="768"/>
                </a:lnTo>
                <a:lnTo>
                  <a:pt x="1098" y="768"/>
                </a:lnTo>
                <a:lnTo>
                  <a:pt x="1098" y="774"/>
                </a:lnTo>
                <a:lnTo>
                  <a:pt x="1092" y="774"/>
                </a:lnTo>
                <a:lnTo>
                  <a:pt x="1092" y="780"/>
                </a:lnTo>
                <a:lnTo>
                  <a:pt x="1086" y="780"/>
                </a:lnTo>
                <a:lnTo>
                  <a:pt x="1086" y="786"/>
                </a:lnTo>
                <a:lnTo>
                  <a:pt x="1080" y="786"/>
                </a:lnTo>
                <a:lnTo>
                  <a:pt x="1080" y="792"/>
                </a:lnTo>
                <a:lnTo>
                  <a:pt x="1080" y="798"/>
                </a:lnTo>
                <a:lnTo>
                  <a:pt x="1080" y="804"/>
                </a:lnTo>
                <a:lnTo>
                  <a:pt x="1086" y="810"/>
                </a:lnTo>
                <a:lnTo>
                  <a:pt x="1080" y="816"/>
                </a:lnTo>
                <a:lnTo>
                  <a:pt x="1080" y="822"/>
                </a:lnTo>
                <a:lnTo>
                  <a:pt x="1074" y="822"/>
                </a:lnTo>
                <a:lnTo>
                  <a:pt x="1068" y="828"/>
                </a:lnTo>
                <a:lnTo>
                  <a:pt x="1074" y="828"/>
                </a:lnTo>
                <a:lnTo>
                  <a:pt x="1074" y="834"/>
                </a:lnTo>
                <a:lnTo>
                  <a:pt x="1080" y="846"/>
                </a:lnTo>
                <a:lnTo>
                  <a:pt x="1086" y="846"/>
                </a:lnTo>
                <a:lnTo>
                  <a:pt x="1092" y="852"/>
                </a:lnTo>
                <a:lnTo>
                  <a:pt x="1092" y="858"/>
                </a:lnTo>
                <a:lnTo>
                  <a:pt x="1098" y="858"/>
                </a:lnTo>
                <a:lnTo>
                  <a:pt x="1110" y="864"/>
                </a:lnTo>
                <a:lnTo>
                  <a:pt x="1116" y="864"/>
                </a:lnTo>
                <a:lnTo>
                  <a:pt x="1122" y="864"/>
                </a:lnTo>
                <a:lnTo>
                  <a:pt x="1128" y="864"/>
                </a:lnTo>
                <a:lnTo>
                  <a:pt x="1134" y="876"/>
                </a:lnTo>
                <a:lnTo>
                  <a:pt x="1140" y="882"/>
                </a:lnTo>
                <a:lnTo>
                  <a:pt x="1140" y="888"/>
                </a:lnTo>
                <a:lnTo>
                  <a:pt x="1152" y="918"/>
                </a:lnTo>
                <a:lnTo>
                  <a:pt x="1158" y="894"/>
                </a:lnTo>
                <a:lnTo>
                  <a:pt x="1164" y="888"/>
                </a:lnTo>
                <a:lnTo>
                  <a:pt x="1164" y="882"/>
                </a:lnTo>
                <a:lnTo>
                  <a:pt x="1176" y="864"/>
                </a:lnTo>
                <a:lnTo>
                  <a:pt x="1182" y="858"/>
                </a:lnTo>
                <a:lnTo>
                  <a:pt x="1188" y="846"/>
                </a:lnTo>
                <a:lnTo>
                  <a:pt x="1200" y="840"/>
                </a:lnTo>
                <a:lnTo>
                  <a:pt x="1212" y="840"/>
                </a:lnTo>
                <a:lnTo>
                  <a:pt x="1218" y="846"/>
                </a:lnTo>
                <a:lnTo>
                  <a:pt x="1224" y="858"/>
                </a:lnTo>
                <a:lnTo>
                  <a:pt x="1224" y="864"/>
                </a:lnTo>
                <a:lnTo>
                  <a:pt x="1224" y="876"/>
                </a:lnTo>
                <a:lnTo>
                  <a:pt x="1212" y="912"/>
                </a:lnTo>
                <a:lnTo>
                  <a:pt x="1218" y="918"/>
                </a:lnTo>
                <a:lnTo>
                  <a:pt x="1218" y="930"/>
                </a:lnTo>
                <a:lnTo>
                  <a:pt x="1200" y="930"/>
                </a:lnTo>
                <a:lnTo>
                  <a:pt x="1200" y="942"/>
                </a:lnTo>
                <a:lnTo>
                  <a:pt x="1194" y="948"/>
                </a:lnTo>
                <a:lnTo>
                  <a:pt x="1194" y="960"/>
                </a:lnTo>
                <a:lnTo>
                  <a:pt x="1194" y="966"/>
                </a:lnTo>
                <a:lnTo>
                  <a:pt x="1188" y="972"/>
                </a:lnTo>
                <a:lnTo>
                  <a:pt x="1182" y="984"/>
                </a:lnTo>
                <a:lnTo>
                  <a:pt x="1170" y="984"/>
                </a:lnTo>
                <a:lnTo>
                  <a:pt x="1164" y="984"/>
                </a:lnTo>
                <a:lnTo>
                  <a:pt x="1158" y="984"/>
                </a:lnTo>
                <a:lnTo>
                  <a:pt x="1146" y="984"/>
                </a:lnTo>
                <a:lnTo>
                  <a:pt x="1140" y="990"/>
                </a:lnTo>
                <a:lnTo>
                  <a:pt x="1140" y="996"/>
                </a:lnTo>
                <a:lnTo>
                  <a:pt x="1152" y="996"/>
                </a:lnTo>
                <a:lnTo>
                  <a:pt x="1176" y="1002"/>
                </a:lnTo>
                <a:lnTo>
                  <a:pt x="1194" y="1008"/>
                </a:lnTo>
                <a:lnTo>
                  <a:pt x="1206" y="1008"/>
                </a:lnTo>
                <a:lnTo>
                  <a:pt x="1218" y="1014"/>
                </a:lnTo>
                <a:lnTo>
                  <a:pt x="1212" y="1038"/>
                </a:lnTo>
                <a:lnTo>
                  <a:pt x="1212" y="1044"/>
                </a:lnTo>
                <a:lnTo>
                  <a:pt x="1206" y="1044"/>
                </a:lnTo>
                <a:lnTo>
                  <a:pt x="1206" y="1050"/>
                </a:lnTo>
                <a:lnTo>
                  <a:pt x="1194" y="1050"/>
                </a:lnTo>
                <a:lnTo>
                  <a:pt x="1188" y="1044"/>
                </a:lnTo>
                <a:lnTo>
                  <a:pt x="1158" y="1020"/>
                </a:lnTo>
                <a:lnTo>
                  <a:pt x="1152" y="1020"/>
                </a:lnTo>
                <a:lnTo>
                  <a:pt x="1140" y="1020"/>
                </a:lnTo>
                <a:lnTo>
                  <a:pt x="1134" y="1020"/>
                </a:lnTo>
                <a:lnTo>
                  <a:pt x="1134" y="1026"/>
                </a:lnTo>
                <a:lnTo>
                  <a:pt x="1134" y="1032"/>
                </a:lnTo>
                <a:lnTo>
                  <a:pt x="1128" y="1032"/>
                </a:lnTo>
                <a:close/>
              </a:path>
            </a:pathLst>
          </a:custGeom>
          <a:solidFill>
            <a:srgbClr val="33CC33"/>
          </a:solidFill>
          <a:ln w="9525">
            <a:solidFill>
              <a:schemeClr val="bg1"/>
            </a:solidFill>
            <a:round/>
            <a:headEnd/>
            <a:tailEnd/>
          </a:ln>
        </p:spPr>
        <p:txBody>
          <a:bodyPr/>
          <a:lstStyle/>
          <a:p>
            <a:endParaRPr lang="en-GB"/>
          </a:p>
        </p:txBody>
      </p:sp>
      <p:sp>
        <p:nvSpPr>
          <p:cNvPr id="20511" name="Freeform 28"/>
          <p:cNvSpPr>
            <a:spLocks/>
          </p:cNvSpPr>
          <p:nvPr/>
        </p:nvSpPr>
        <p:spPr bwMode="gray">
          <a:xfrm>
            <a:off x="2117725" y="4478338"/>
            <a:ext cx="503238" cy="571500"/>
          </a:xfrm>
          <a:custGeom>
            <a:avLst/>
            <a:gdLst>
              <a:gd name="T0" fmla="*/ 33724 w 642"/>
              <a:gd name="T1" fmla="*/ 33081 h 708"/>
              <a:gd name="T2" fmla="*/ 30587 w 642"/>
              <a:gd name="T3" fmla="*/ 33081 h 708"/>
              <a:gd name="T4" fmla="*/ 29802 w 642"/>
              <a:gd name="T5" fmla="*/ 37922 h 708"/>
              <a:gd name="T6" fmla="*/ 29802 w 642"/>
              <a:gd name="T7" fmla="*/ 39536 h 708"/>
              <a:gd name="T8" fmla="*/ 29802 w 642"/>
              <a:gd name="T9" fmla="*/ 40343 h 708"/>
              <a:gd name="T10" fmla="*/ 28234 w 642"/>
              <a:gd name="T11" fmla="*/ 41957 h 708"/>
              <a:gd name="T12" fmla="*/ 27450 w 642"/>
              <a:gd name="T13" fmla="*/ 42763 h 708"/>
              <a:gd name="T14" fmla="*/ 25881 w 642"/>
              <a:gd name="T15" fmla="*/ 44377 h 708"/>
              <a:gd name="T16" fmla="*/ 25097 w 642"/>
              <a:gd name="T17" fmla="*/ 45184 h 708"/>
              <a:gd name="T18" fmla="*/ 24312 w 642"/>
              <a:gd name="T19" fmla="*/ 47605 h 708"/>
              <a:gd name="T20" fmla="*/ 20391 w 642"/>
              <a:gd name="T21" fmla="*/ 47605 h 708"/>
              <a:gd name="T22" fmla="*/ 18038 w 642"/>
              <a:gd name="T23" fmla="*/ 49218 h 708"/>
              <a:gd name="T24" fmla="*/ 15685 w 642"/>
              <a:gd name="T25" fmla="*/ 49218 h 708"/>
              <a:gd name="T26" fmla="*/ 13333 w 642"/>
              <a:gd name="T27" fmla="*/ 47605 h 708"/>
              <a:gd name="T28" fmla="*/ 11764 w 642"/>
              <a:gd name="T29" fmla="*/ 45184 h 708"/>
              <a:gd name="T30" fmla="*/ 7058 w 642"/>
              <a:gd name="T31" fmla="*/ 46798 h 708"/>
              <a:gd name="T32" fmla="*/ 4706 w 642"/>
              <a:gd name="T33" fmla="*/ 41957 h 708"/>
              <a:gd name="T34" fmla="*/ 1569 w 642"/>
              <a:gd name="T35" fmla="*/ 42763 h 708"/>
              <a:gd name="T36" fmla="*/ 784 w 642"/>
              <a:gd name="T37" fmla="*/ 41150 h 708"/>
              <a:gd name="T38" fmla="*/ 3137 w 642"/>
              <a:gd name="T39" fmla="*/ 37922 h 708"/>
              <a:gd name="T40" fmla="*/ 3921 w 642"/>
              <a:gd name="T41" fmla="*/ 33081 h 708"/>
              <a:gd name="T42" fmla="*/ 3921 w 642"/>
              <a:gd name="T43" fmla="*/ 30661 h 708"/>
              <a:gd name="T44" fmla="*/ 3921 w 642"/>
              <a:gd name="T45" fmla="*/ 28240 h 708"/>
              <a:gd name="T46" fmla="*/ 4706 w 642"/>
              <a:gd name="T47" fmla="*/ 26626 h 708"/>
              <a:gd name="T48" fmla="*/ 3921 w 642"/>
              <a:gd name="T49" fmla="*/ 23399 h 708"/>
              <a:gd name="T50" fmla="*/ 3137 w 642"/>
              <a:gd name="T51" fmla="*/ 22592 h 708"/>
              <a:gd name="T52" fmla="*/ 784 w 642"/>
              <a:gd name="T53" fmla="*/ 20978 h 708"/>
              <a:gd name="T54" fmla="*/ 784 w 642"/>
              <a:gd name="T55" fmla="*/ 19365 h 708"/>
              <a:gd name="T56" fmla="*/ 784 w 642"/>
              <a:gd name="T57" fmla="*/ 16137 h 708"/>
              <a:gd name="T58" fmla="*/ 784 w 642"/>
              <a:gd name="T59" fmla="*/ 12910 h 708"/>
              <a:gd name="T60" fmla="*/ 1569 w 642"/>
              <a:gd name="T61" fmla="*/ 11296 h 708"/>
              <a:gd name="T62" fmla="*/ 6274 w 642"/>
              <a:gd name="T63" fmla="*/ 11296 h 708"/>
              <a:gd name="T64" fmla="*/ 7058 w 642"/>
              <a:gd name="T65" fmla="*/ 8069 h 708"/>
              <a:gd name="T66" fmla="*/ 11764 w 642"/>
              <a:gd name="T67" fmla="*/ 7262 h 708"/>
              <a:gd name="T68" fmla="*/ 14117 w 642"/>
              <a:gd name="T69" fmla="*/ 11296 h 708"/>
              <a:gd name="T70" fmla="*/ 15685 w 642"/>
              <a:gd name="T71" fmla="*/ 9682 h 708"/>
              <a:gd name="T72" fmla="*/ 15685 w 642"/>
              <a:gd name="T73" fmla="*/ 8875 h 708"/>
              <a:gd name="T74" fmla="*/ 16470 w 642"/>
              <a:gd name="T75" fmla="*/ 7262 h 708"/>
              <a:gd name="T76" fmla="*/ 18823 w 642"/>
              <a:gd name="T77" fmla="*/ 7262 h 708"/>
              <a:gd name="T78" fmla="*/ 21175 w 642"/>
              <a:gd name="T79" fmla="*/ 6455 h 708"/>
              <a:gd name="T80" fmla="*/ 25881 w 642"/>
              <a:gd name="T81" fmla="*/ 1614 h 708"/>
              <a:gd name="T82" fmla="*/ 32939 w 642"/>
              <a:gd name="T83" fmla="*/ 1614 h 708"/>
              <a:gd name="T84" fmla="*/ 38429 w 642"/>
              <a:gd name="T85" fmla="*/ 807 h 708"/>
              <a:gd name="T86" fmla="*/ 41566 w 642"/>
              <a:gd name="T87" fmla="*/ 3227 h 708"/>
              <a:gd name="T88" fmla="*/ 43135 w 642"/>
              <a:gd name="T89" fmla="*/ 3227 h 708"/>
              <a:gd name="T90" fmla="*/ 43135 w 642"/>
              <a:gd name="T91" fmla="*/ 5648 h 708"/>
              <a:gd name="T92" fmla="*/ 40782 w 642"/>
              <a:gd name="T93" fmla="*/ 7262 h 708"/>
              <a:gd name="T94" fmla="*/ 38429 w 642"/>
              <a:gd name="T95" fmla="*/ 9682 h 708"/>
              <a:gd name="T96" fmla="*/ 36861 w 642"/>
              <a:gd name="T97" fmla="*/ 11296 h 708"/>
              <a:gd name="T98" fmla="*/ 36861 w 642"/>
              <a:gd name="T99" fmla="*/ 13717 h 708"/>
              <a:gd name="T100" fmla="*/ 35292 w 642"/>
              <a:gd name="T101" fmla="*/ 20978 h 708"/>
              <a:gd name="T102" fmla="*/ 39214 w 642"/>
              <a:gd name="T103" fmla="*/ 29854 h 70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42"/>
              <a:gd name="T157" fmla="*/ 0 h 708"/>
              <a:gd name="T158" fmla="*/ 642 w 642"/>
              <a:gd name="T159" fmla="*/ 708 h 70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42" h="708">
                <a:moveTo>
                  <a:pt x="576" y="468"/>
                </a:moveTo>
                <a:lnTo>
                  <a:pt x="564" y="468"/>
                </a:lnTo>
                <a:lnTo>
                  <a:pt x="516" y="468"/>
                </a:lnTo>
                <a:lnTo>
                  <a:pt x="498" y="474"/>
                </a:lnTo>
                <a:lnTo>
                  <a:pt x="492" y="468"/>
                </a:lnTo>
                <a:lnTo>
                  <a:pt x="486" y="468"/>
                </a:lnTo>
                <a:lnTo>
                  <a:pt x="480" y="468"/>
                </a:lnTo>
                <a:lnTo>
                  <a:pt x="468" y="474"/>
                </a:lnTo>
                <a:lnTo>
                  <a:pt x="456" y="468"/>
                </a:lnTo>
                <a:lnTo>
                  <a:pt x="444" y="474"/>
                </a:lnTo>
                <a:lnTo>
                  <a:pt x="438" y="492"/>
                </a:lnTo>
                <a:lnTo>
                  <a:pt x="438" y="504"/>
                </a:lnTo>
                <a:lnTo>
                  <a:pt x="432" y="516"/>
                </a:lnTo>
                <a:lnTo>
                  <a:pt x="432" y="528"/>
                </a:lnTo>
                <a:lnTo>
                  <a:pt x="432" y="534"/>
                </a:lnTo>
                <a:lnTo>
                  <a:pt x="444" y="540"/>
                </a:lnTo>
                <a:lnTo>
                  <a:pt x="444" y="546"/>
                </a:lnTo>
                <a:lnTo>
                  <a:pt x="438" y="546"/>
                </a:lnTo>
                <a:lnTo>
                  <a:pt x="432" y="552"/>
                </a:lnTo>
                <a:lnTo>
                  <a:pt x="432" y="558"/>
                </a:lnTo>
                <a:lnTo>
                  <a:pt x="438" y="564"/>
                </a:lnTo>
                <a:lnTo>
                  <a:pt x="444" y="564"/>
                </a:lnTo>
                <a:lnTo>
                  <a:pt x="438" y="564"/>
                </a:lnTo>
                <a:lnTo>
                  <a:pt x="438" y="570"/>
                </a:lnTo>
                <a:lnTo>
                  <a:pt x="432" y="570"/>
                </a:lnTo>
                <a:lnTo>
                  <a:pt x="432" y="576"/>
                </a:lnTo>
                <a:lnTo>
                  <a:pt x="426" y="588"/>
                </a:lnTo>
                <a:lnTo>
                  <a:pt x="420" y="594"/>
                </a:lnTo>
                <a:lnTo>
                  <a:pt x="420" y="600"/>
                </a:lnTo>
                <a:lnTo>
                  <a:pt x="414" y="600"/>
                </a:lnTo>
                <a:lnTo>
                  <a:pt x="414" y="606"/>
                </a:lnTo>
                <a:lnTo>
                  <a:pt x="408" y="606"/>
                </a:lnTo>
                <a:lnTo>
                  <a:pt x="408" y="612"/>
                </a:lnTo>
                <a:lnTo>
                  <a:pt x="402" y="612"/>
                </a:lnTo>
                <a:lnTo>
                  <a:pt x="396" y="612"/>
                </a:lnTo>
                <a:lnTo>
                  <a:pt x="390" y="612"/>
                </a:lnTo>
                <a:lnTo>
                  <a:pt x="390" y="618"/>
                </a:lnTo>
                <a:lnTo>
                  <a:pt x="384" y="618"/>
                </a:lnTo>
                <a:lnTo>
                  <a:pt x="378" y="618"/>
                </a:lnTo>
                <a:lnTo>
                  <a:pt x="378" y="624"/>
                </a:lnTo>
                <a:lnTo>
                  <a:pt x="384" y="630"/>
                </a:lnTo>
                <a:lnTo>
                  <a:pt x="384" y="636"/>
                </a:lnTo>
                <a:lnTo>
                  <a:pt x="378" y="630"/>
                </a:lnTo>
                <a:lnTo>
                  <a:pt x="372" y="636"/>
                </a:lnTo>
                <a:lnTo>
                  <a:pt x="372" y="642"/>
                </a:lnTo>
                <a:lnTo>
                  <a:pt x="366" y="642"/>
                </a:lnTo>
                <a:lnTo>
                  <a:pt x="360" y="654"/>
                </a:lnTo>
                <a:lnTo>
                  <a:pt x="354" y="666"/>
                </a:lnTo>
                <a:lnTo>
                  <a:pt x="354" y="672"/>
                </a:lnTo>
                <a:lnTo>
                  <a:pt x="354" y="678"/>
                </a:lnTo>
                <a:lnTo>
                  <a:pt x="354" y="684"/>
                </a:lnTo>
                <a:lnTo>
                  <a:pt x="348" y="678"/>
                </a:lnTo>
                <a:lnTo>
                  <a:pt x="324" y="678"/>
                </a:lnTo>
                <a:lnTo>
                  <a:pt x="306" y="678"/>
                </a:lnTo>
                <a:lnTo>
                  <a:pt x="294" y="678"/>
                </a:lnTo>
                <a:lnTo>
                  <a:pt x="288" y="684"/>
                </a:lnTo>
                <a:lnTo>
                  <a:pt x="276" y="690"/>
                </a:lnTo>
                <a:lnTo>
                  <a:pt x="270" y="696"/>
                </a:lnTo>
                <a:lnTo>
                  <a:pt x="264" y="696"/>
                </a:lnTo>
                <a:lnTo>
                  <a:pt x="258" y="696"/>
                </a:lnTo>
                <a:lnTo>
                  <a:pt x="252" y="696"/>
                </a:lnTo>
                <a:lnTo>
                  <a:pt x="252" y="690"/>
                </a:lnTo>
                <a:lnTo>
                  <a:pt x="246" y="690"/>
                </a:lnTo>
                <a:lnTo>
                  <a:pt x="234" y="690"/>
                </a:lnTo>
                <a:lnTo>
                  <a:pt x="222" y="696"/>
                </a:lnTo>
                <a:lnTo>
                  <a:pt x="216" y="708"/>
                </a:lnTo>
                <a:lnTo>
                  <a:pt x="210" y="702"/>
                </a:lnTo>
                <a:lnTo>
                  <a:pt x="198" y="696"/>
                </a:lnTo>
                <a:lnTo>
                  <a:pt x="198" y="690"/>
                </a:lnTo>
                <a:lnTo>
                  <a:pt x="198" y="684"/>
                </a:lnTo>
                <a:lnTo>
                  <a:pt x="198" y="678"/>
                </a:lnTo>
                <a:lnTo>
                  <a:pt x="198" y="672"/>
                </a:lnTo>
                <a:lnTo>
                  <a:pt x="198" y="654"/>
                </a:lnTo>
                <a:lnTo>
                  <a:pt x="192" y="654"/>
                </a:lnTo>
                <a:lnTo>
                  <a:pt x="174" y="648"/>
                </a:lnTo>
                <a:lnTo>
                  <a:pt x="162" y="642"/>
                </a:lnTo>
                <a:lnTo>
                  <a:pt x="156" y="636"/>
                </a:lnTo>
                <a:lnTo>
                  <a:pt x="132" y="642"/>
                </a:lnTo>
                <a:lnTo>
                  <a:pt x="120" y="654"/>
                </a:lnTo>
                <a:lnTo>
                  <a:pt x="108" y="660"/>
                </a:lnTo>
                <a:lnTo>
                  <a:pt x="102" y="666"/>
                </a:lnTo>
                <a:lnTo>
                  <a:pt x="84" y="666"/>
                </a:lnTo>
                <a:lnTo>
                  <a:pt x="84" y="630"/>
                </a:lnTo>
                <a:lnTo>
                  <a:pt x="78" y="594"/>
                </a:lnTo>
                <a:lnTo>
                  <a:pt x="66" y="594"/>
                </a:lnTo>
                <a:lnTo>
                  <a:pt x="60" y="594"/>
                </a:lnTo>
                <a:lnTo>
                  <a:pt x="48" y="600"/>
                </a:lnTo>
                <a:lnTo>
                  <a:pt x="36" y="606"/>
                </a:lnTo>
                <a:lnTo>
                  <a:pt x="24" y="612"/>
                </a:lnTo>
                <a:lnTo>
                  <a:pt x="18" y="612"/>
                </a:lnTo>
                <a:lnTo>
                  <a:pt x="12" y="606"/>
                </a:lnTo>
                <a:lnTo>
                  <a:pt x="12" y="600"/>
                </a:lnTo>
                <a:lnTo>
                  <a:pt x="12" y="594"/>
                </a:lnTo>
                <a:lnTo>
                  <a:pt x="12" y="588"/>
                </a:lnTo>
                <a:lnTo>
                  <a:pt x="12" y="582"/>
                </a:lnTo>
                <a:lnTo>
                  <a:pt x="12" y="576"/>
                </a:lnTo>
                <a:lnTo>
                  <a:pt x="18" y="552"/>
                </a:lnTo>
                <a:lnTo>
                  <a:pt x="30" y="552"/>
                </a:lnTo>
                <a:lnTo>
                  <a:pt x="30" y="540"/>
                </a:lnTo>
                <a:lnTo>
                  <a:pt x="42" y="534"/>
                </a:lnTo>
                <a:lnTo>
                  <a:pt x="42" y="522"/>
                </a:lnTo>
                <a:lnTo>
                  <a:pt x="48" y="516"/>
                </a:lnTo>
                <a:lnTo>
                  <a:pt x="48" y="492"/>
                </a:lnTo>
                <a:lnTo>
                  <a:pt x="48" y="480"/>
                </a:lnTo>
                <a:lnTo>
                  <a:pt x="54" y="468"/>
                </a:lnTo>
                <a:lnTo>
                  <a:pt x="48" y="456"/>
                </a:lnTo>
                <a:lnTo>
                  <a:pt x="48" y="450"/>
                </a:lnTo>
                <a:lnTo>
                  <a:pt x="48" y="444"/>
                </a:lnTo>
                <a:lnTo>
                  <a:pt x="48" y="438"/>
                </a:lnTo>
                <a:lnTo>
                  <a:pt x="54" y="432"/>
                </a:lnTo>
                <a:lnTo>
                  <a:pt x="54" y="426"/>
                </a:lnTo>
                <a:lnTo>
                  <a:pt x="54" y="420"/>
                </a:lnTo>
                <a:lnTo>
                  <a:pt x="54" y="414"/>
                </a:lnTo>
                <a:lnTo>
                  <a:pt x="60" y="408"/>
                </a:lnTo>
                <a:lnTo>
                  <a:pt x="60" y="402"/>
                </a:lnTo>
                <a:lnTo>
                  <a:pt x="60" y="396"/>
                </a:lnTo>
                <a:lnTo>
                  <a:pt x="66" y="390"/>
                </a:lnTo>
                <a:lnTo>
                  <a:pt x="72" y="384"/>
                </a:lnTo>
                <a:lnTo>
                  <a:pt x="72" y="378"/>
                </a:lnTo>
                <a:lnTo>
                  <a:pt x="66" y="378"/>
                </a:lnTo>
                <a:lnTo>
                  <a:pt x="66" y="366"/>
                </a:lnTo>
                <a:lnTo>
                  <a:pt x="60" y="360"/>
                </a:lnTo>
                <a:lnTo>
                  <a:pt x="66" y="354"/>
                </a:lnTo>
                <a:lnTo>
                  <a:pt x="60" y="342"/>
                </a:lnTo>
                <a:lnTo>
                  <a:pt x="60" y="336"/>
                </a:lnTo>
                <a:lnTo>
                  <a:pt x="60" y="330"/>
                </a:lnTo>
                <a:lnTo>
                  <a:pt x="54" y="330"/>
                </a:lnTo>
                <a:lnTo>
                  <a:pt x="54" y="324"/>
                </a:lnTo>
                <a:lnTo>
                  <a:pt x="54" y="318"/>
                </a:lnTo>
                <a:lnTo>
                  <a:pt x="48" y="318"/>
                </a:lnTo>
                <a:lnTo>
                  <a:pt x="48" y="312"/>
                </a:lnTo>
                <a:lnTo>
                  <a:pt x="30" y="312"/>
                </a:lnTo>
                <a:lnTo>
                  <a:pt x="24" y="306"/>
                </a:lnTo>
                <a:lnTo>
                  <a:pt x="18" y="306"/>
                </a:lnTo>
                <a:lnTo>
                  <a:pt x="12" y="294"/>
                </a:lnTo>
                <a:lnTo>
                  <a:pt x="12" y="282"/>
                </a:lnTo>
                <a:lnTo>
                  <a:pt x="6" y="276"/>
                </a:lnTo>
                <a:lnTo>
                  <a:pt x="0" y="276"/>
                </a:lnTo>
                <a:lnTo>
                  <a:pt x="0" y="270"/>
                </a:lnTo>
                <a:lnTo>
                  <a:pt x="12" y="270"/>
                </a:lnTo>
                <a:lnTo>
                  <a:pt x="12" y="246"/>
                </a:lnTo>
                <a:lnTo>
                  <a:pt x="12" y="240"/>
                </a:lnTo>
                <a:lnTo>
                  <a:pt x="6" y="234"/>
                </a:lnTo>
                <a:lnTo>
                  <a:pt x="6" y="228"/>
                </a:lnTo>
                <a:lnTo>
                  <a:pt x="12" y="228"/>
                </a:lnTo>
                <a:lnTo>
                  <a:pt x="12" y="222"/>
                </a:lnTo>
                <a:lnTo>
                  <a:pt x="6" y="210"/>
                </a:lnTo>
                <a:lnTo>
                  <a:pt x="12" y="204"/>
                </a:lnTo>
                <a:lnTo>
                  <a:pt x="12" y="198"/>
                </a:lnTo>
                <a:lnTo>
                  <a:pt x="12" y="186"/>
                </a:lnTo>
                <a:lnTo>
                  <a:pt x="18" y="174"/>
                </a:lnTo>
                <a:lnTo>
                  <a:pt x="12" y="168"/>
                </a:lnTo>
                <a:lnTo>
                  <a:pt x="18" y="162"/>
                </a:lnTo>
                <a:lnTo>
                  <a:pt x="18" y="156"/>
                </a:lnTo>
                <a:lnTo>
                  <a:pt x="24" y="156"/>
                </a:lnTo>
                <a:lnTo>
                  <a:pt x="24" y="162"/>
                </a:lnTo>
                <a:lnTo>
                  <a:pt x="30" y="168"/>
                </a:lnTo>
                <a:lnTo>
                  <a:pt x="48" y="162"/>
                </a:lnTo>
                <a:lnTo>
                  <a:pt x="72" y="162"/>
                </a:lnTo>
                <a:lnTo>
                  <a:pt x="90" y="156"/>
                </a:lnTo>
                <a:lnTo>
                  <a:pt x="90" y="150"/>
                </a:lnTo>
                <a:lnTo>
                  <a:pt x="84" y="144"/>
                </a:lnTo>
                <a:lnTo>
                  <a:pt x="84" y="132"/>
                </a:lnTo>
                <a:lnTo>
                  <a:pt x="90" y="120"/>
                </a:lnTo>
                <a:lnTo>
                  <a:pt x="108" y="114"/>
                </a:lnTo>
                <a:lnTo>
                  <a:pt x="114" y="102"/>
                </a:lnTo>
                <a:lnTo>
                  <a:pt x="120" y="90"/>
                </a:lnTo>
                <a:lnTo>
                  <a:pt x="138" y="90"/>
                </a:lnTo>
                <a:lnTo>
                  <a:pt x="138" y="102"/>
                </a:lnTo>
                <a:lnTo>
                  <a:pt x="168" y="108"/>
                </a:lnTo>
                <a:lnTo>
                  <a:pt x="168" y="114"/>
                </a:lnTo>
                <a:lnTo>
                  <a:pt x="174" y="126"/>
                </a:lnTo>
                <a:lnTo>
                  <a:pt x="186" y="150"/>
                </a:lnTo>
                <a:lnTo>
                  <a:pt x="186" y="162"/>
                </a:lnTo>
                <a:lnTo>
                  <a:pt x="204" y="162"/>
                </a:lnTo>
                <a:lnTo>
                  <a:pt x="204" y="156"/>
                </a:lnTo>
                <a:lnTo>
                  <a:pt x="210" y="144"/>
                </a:lnTo>
                <a:lnTo>
                  <a:pt x="210" y="138"/>
                </a:lnTo>
                <a:lnTo>
                  <a:pt x="216" y="138"/>
                </a:lnTo>
                <a:lnTo>
                  <a:pt x="222" y="138"/>
                </a:lnTo>
                <a:lnTo>
                  <a:pt x="228" y="138"/>
                </a:lnTo>
                <a:lnTo>
                  <a:pt x="234" y="144"/>
                </a:lnTo>
                <a:lnTo>
                  <a:pt x="240" y="138"/>
                </a:lnTo>
                <a:lnTo>
                  <a:pt x="240" y="126"/>
                </a:lnTo>
                <a:lnTo>
                  <a:pt x="234" y="126"/>
                </a:lnTo>
                <a:lnTo>
                  <a:pt x="228" y="114"/>
                </a:lnTo>
                <a:lnTo>
                  <a:pt x="228" y="108"/>
                </a:lnTo>
                <a:lnTo>
                  <a:pt x="234" y="102"/>
                </a:lnTo>
                <a:lnTo>
                  <a:pt x="246" y="102"/>
                </a:lnTo>
                <a:lnTo>
                  <a:pt x="246" y="108"/>
                </a:lnTo>
                <a:lnTo>
                  <a:pt x="252" y="108"/>
                </a:lnTo>
                <a:lnTo>
                  <a:pt x="264" y="108"/>
                </a:lnTo>
                <a:lnTo>
                  <a:pt x="270" y="108"/>
                </a:lnTo>
                <a:lnTo>
                  <a:pt x="276" y="108"/>
                </a:lnTo>
                <a:lnTo>
                  <a:pt x="282" y="102"/>
                </a:lnTo>
                <a:lnTo>
                  <a:pt x="288" y="102"/>
                </a:lnTo>
                <a:lnTo>
                  <a:pt x="294" y="102"/>
                </a:lnTo>
                <a:lnTo>
                  <a:pt x="300" y="96"/>
                </a:lnTo>
                <a:lnTo>
                  <a:pt x="306" y="96"/>
                </a:lnTo>
                <a:lnTo>
                  <a:pt x="306" y="90"/>
                </a:lnTo>
                <a:lnTo>
                  <a:pt x="312" y="90"/>
                </a:lnTo>
                <a:lnTo>
                  <a:pt x="318" y="84"/>
                </a:lnTo>
                <a:lnTo>
                  <a:pt x="324" y="18"/>
                </a:lnTo>
                <a:lnTo>
                  <a:pt x="360" y="18"/>
                </a:lnTo>
                <a:lnTo>
                  <a:pt x="378" y="18"/>
                </a:lnTo>
                <a:lnTo>
                  <a:pt x="378" y="30"/>
                </a:lnTo>
                <a:lnTo>
                  <a:pt x="390" y="30"/>
                </a:lnTo>
                <a:lnTo>
                  <a:pt x="432" y="30"/>
                </a:lnTo>
                <a:lnTo>
                  <a:pt x="456" y="24"/>
                </a:lnTo>
                <a:lnTo>
                  <a:pt x="480" y="24"/>
                </a:lnTo>
                <a:lnTo>
                  <a:pt x="498" y="30"/>
                </a:lnTo>
                <a:lnTo>
                  <a:pt x="522" y="18"/>
                </a:lnTo>
                <a:lnTo>
                  <a:pt x="528" y="0"/>
                </a:lnTo>
                <a:lnTo>
                  <a:pt x="558" y="6"/>
                </a:lnTo>
                <a:lnTo>
                  <a:pt x="558" y="12"/>
                </a:lnTo>
                <a:lnTo>
                  <a:pt x="570" y="18"/>
                </a:lnTo>
                <a:lnTo>
                  <a:pt x="576" y="24"/>
                </a:lnTo>
                <a:lnTo>
                  <a:pt x="588" y="36"/>
                </a:lnTo>
                <a:lnTo>
                  <a:pt x="594" y="48"/>
                </a:lnTo>
                <a:lnTo>
                  <a:pt x="606" y="48"/>
                </a:lnTo>
                <a:lnTo>
                  <a:pt x="606" y="42"/>
                </a:lnTo>
                <a:lnTo>
                  <a:pt x="618" y="36"/>
                </a:lnTo>
                <a:lnTo>
                  <a:pt x="624" y="36"/>
                </a:lnTo>
                <a:lnTo>
                  <a:pt x="630" y="42"/>
                </a:lnTo>
                <a:lnTo>
                  <a:pt x="636" y="42"/>
                </a:lnTo>
                <a:lnTo>
                  <a:pt x="636" y="48"/>
                </a:lnTo>
                <a:lnTo>
                  <a:pt x="642" y="54"/>
                </a:lnTo>
                <a:lnTo>
                  <a:pt x="636" y="60"/>
                </a:lnTo>
                <a:lnTo>
                  <a:pt x="636" y="66"/>
                </a:lnTo>
                <a:lnTo>
                  <a:pt x="636" y="78"/>
                </a:lnTo>
                <a:lnTo>
                  <a:pt x="624" y="84"/>
                </a:lnTo>
                <a:lnTo>
                  <a:pt x="618" y="90"/>
                </a:lnTo>
                <a:lnTo>
                  <a:pt x="612" y="90"/>
                </a:lnTo>
                <a:lnTo>
                  <a:pt x="600" y="102"/>
                </a:lnTo>
                <a:lnTo>
                  <a:pt x="594" y="108"/>
                </a:lnTo>
                <a:lnTo>
                  <a:pt x="582" y="114"/>
                </a:lnTo>
                <a:lnTo>
                  <a:pt x="570" y="132"/>
                </a:lnTo>
                <a:lnTo>
                  <a:pt x="564" y="132"/>
                </a:lnTo>
                <a:lnTo>
                  <a:pt x="564" y="138"/>
                </a:lnTo>
                <a:lnTo>
                  <a:pt x="558" y="144"/>
                </a:lnTo>
                <a:lnTo>
                  <a:pt x="558" y="150"/>
                </a:lnTo>
                <a:lnTo>
                  <a:pt x="552" y="150"/>
                </a:lnTo>
                <a:lnTo>
                  <a:pt x="546" y="156"/>
                </a:lnTo>
                <a:lnTo>
                  <a:pt x="546" y="162"/>
                </a:lnTo>
                <a:lnTo>
                  <a:pt x="540" y="162"/>
                </a:lnTo>
                <a:lnTo>
                  <a:pt x="534" y="168"/>
                </a:lnTo>
                <a:lnTo>
                  <a:pt x="534" y="174"/>
                </a:lnTo>
                <a:lnTo>
                  <a:pt x="534" y="180"/>
                </a:lnTo>
                <a:lnTo>
                  <a:pt x="540" y="186"/>
                </a:lnTo>
                <a:lnTo>
                  <a:pt x="540" y="198"/>
                </a:lnTo>
                <a:lnTo>
                  <a:pt x="540" y="210"/>
                </a:lnTo>
                <a:lnTo>
                  <a:pt x="528" y="234"/>
                </a:lnTo>
                <a:lnTo>
                  <a:pt x="528" y="246"/>
                </a:lnTo>
                <a:lnTo>
                  <a:pt x="528" y="252"/>
                </a:lnTo>
                <a:lnTo>
                  <a:pt x="516" y="294"/>
                </a:lnTo>
                <a:lnTo>
                  <a:pt x="516" y="312"/>
                </a:lnTo>
                <a:lnTo>
                  <a:pt x="528" y="318"/>
                </a:lnTo>
                <a:lnTo>
                  <a:pt x="540" y="360"/>
                </a:lnTo>
                <a:lnTo>
                  <a:pt x="558" y="408"/>
                </a:lnTo>
                <a:lnTo>
                  <a:pt x="570" y="426"/>
                </a:lnTo>
                <a:lnTo>
                  <a:pt x="576" y="432"/>
                </a:lnTo>
                <a:lnTo>
                  <a:pt x="576" y="438"/>
                </a:lnTo>
                <a:lnTo>
                  <a:pt x="576" y="444"/>
                </a:lnTo>
                <a:lnTo>
                  <a:pt x="576" y="468"/>
                </a:lnTo>
                <a:close/>
              </a:path>
            </a:pathLst>
          </a:custGeom>
          <a:solidFill>
            <a:srgbClr val="33CC33"/>
          </a:solidFill>
          <a:ln w="9525">
            <a:solidFill>
              <a:schemeClr val="bg1"/>
            </a:solidFill>
            <a:round/>
            <a:headEnd/>
            <a:tailEnd/>
          </a:ln>
        </p:spPr>
        <p:txBody>
          <a:bodyPr/>
          <a:lstStyle/>
          <a:p>
            <a:endParaRPr lang="en-GB"/>
          </a:p>
        </p:txBody>
      </p:sp>
      <p:sp>
        <p:nvSpPr>
          <p:cNvPr id="20512" name="Freeform 29"/>
          <p:cNvSpPr>
            <a:spLocks/>
          </p:cNvSpPr>
          <p:nvPr/>
        </p:nvSpPr>
        <p:spPr bwMode="gray">
          <a:xfrm>
            <a:off x="2520950" y="4494213"/>
            <a:ext cx="476250" cy="409575"/>
          </a:xfrm>
          <a:custGeom>
            <a:avLst/>
            <a:gdLst>
              <a:gd name="T0" fmla="*/ 3936 w 606"/>
              <a:gd name="T1" fmla="*/ 28895 h 510"/>
              <a:gd name="T2" fmla="*/ 3149 w 606"/>
              <a:gd name="T3" fmla="*/ 27289 h 510"/>
              <a:gd name="T4" fmla="*/ 0 w 606"/>
              <a:gd name="T5" fmla="*/ 20066 h 510"/>
              <a:gd name="T6" fmla="*/ 787 w 606"/>
              <a:gd name="T7" fmla="*/ 16053 h 510"/>
              <a:gd name="T8" fmla="*/ 1574 w 606"/>
              <a:gd name="T9" fmla="*/ 12039 h 510"/>
              <a:gd name="T10" fmla="*/ 1574 w 606"/>
              <a:gd name="T11" fmla="*/ 10434 h 510"/>
              <a:gd name="T12" fmla="*/ 2361 w 606"/>
              <a:gd name="T13" fmla="*/ 9632 h 510"/>
              <a:gd name="T14" fmla="*/ 3149 w 606"/>
              <a:gd name="T15" fmla="*/ 8829 h 510"/>
              <a:gd name="T16" fmla="*/ 3149 w 606"/>
              <a:gd name="T17" fmla="*/ 8026 h 510"/>
              <a:gd name="T18" fmla="*/ 5510 w 606"/>
              <a:gd name="T19" fmla="*/ 6421 h 510"/>
              <a:gd name="T20" fmla="*/ 7084 w 606"/>
              <a:gd name="T21" fmla="*/ 4816 h 510"/>
              <a:gd name="T22" fmla="*/ 8658 w 606"/>
              <a:gd name="T23" fmla="*/ 3211 h 510"/>
              <a:gd name="T24" fmla="*/ 9446 w 606"/>
              <a:gd name="T25" fmla="*/ 2408 h 510"/>
              <a:gd name="T26" fmla="*/ 10233 w 606"/>
              <a:gd name="T27" fmla="*/ 3211 h 510"/>
              <a:gd name="T28" fmla="*/ 11807 w 606"/>
              <a:gd name="T29" fmla="*/ 1605 h 510"/>
              <a:gd name="T30" fmla="*/ 13381 w 606"/>
              <a:gd name="T31" fmla="*/ 1605 h 510"/>
              <a:gd name="T32" fmla="*/ 14956 w 606"/>
              <a:gd name="T33" fmla="*/ 4013 h 510"/>
              <a:gd name="T34" fmla="*/ 17317 w 606"/>
              <a:gd name="T35" fmla="*/ 4013 h 510"/>
              <a:gd name="T36" fmla="*/ 19678 w 606"/>
              <a:gd name="T37" fmla="*/ 4816 h 510"/>
              <a:gd name="T38" fmla="*/ 22827 w 606"/>
              <a:gd name="T39" fmla="*/ 803 h 510"/>
              <a:gd name="T40" fmla="*/ 29911 w 606"/>
              <a:gd name="T41" fmla="*/ 0 h 510"/>
              <a:gd name="T42" fmla="*/ 29911 w 606"/>
              <a:gd name="T43" fmla="*/ 4013 h 510"/>
              <a:gd name="T44" fmla="*/ 32272 w 606"/>
              <a:gd name="T45" fmla="*/ 3211 h 510"/>
              <a:gd name="T46" fmla="*/ 35421 w 606"/>
              <a:gd name="T47" fmla="*/ 1605 h 510"/>
              <a:gd name="T48" fmla="*/ 36208 w 606"/>
              <a:gd name="T49" fmla="*/ 1605 h 510"/>
              <a:gd name="T50" fmla="*/ 36995 w 606"/>
              <a:gd name="T51" fmla="*/ 4013 h 510"/>
              <a:gd name="T52" fmla="*/ 35421 w 606"/>
              <a:gd name="T53" fmla="*/ 4816 h 510"/>
              <a:gd name="T54" fmla="*/ 35421 w 606"/>
              <a:gd name="T55" fmla="*/ 5618 h 510"/>
              <a:gd name="T56" fmla="*/ 33847 w 606"/>
              <a:gd name="T57" fmla="*/ 6421 h 510"/>
              <a:gd name="T58" fmla="*/ 35421 w 606"/>
              <a:gd name="T59" fmla="*/ 12039 h 510"/>
              <a:gd name="T60" fmla="*/ 38569 w 606"/>
              <a:gd name="T61" fmla="*/ 12039 h 510"/>
              <a:gd name="T62" fmla="*/ 40144 w 606"/>
              <a:gd name="T63" fmla="*/ 12039 h 510"/>
              <a:gd name="T64" fmla="*/ 41718 w 606"/>
              <a:gd name="T65" fmla="*/ 12842 h 510"/>
              <a:gd name="T66" fmla="*/ 40931 w 606"/>
              <a:gd name="T67" fmla="*/ 16053 h 510"/>
              <a:gd name="T68" fmla="*/ 37782 w 606"/>
              <a:gd name="T69" fmla="*/ 18460 h 510"/>
              <a:gd name="T70" fmla="*/ 35421 w 606"/>
              <a:gd name="T71" fmla="*/ 20066 h 510"/>
              <a:gd name="T72" fmla="*/ 34634 w 606"/>
              <a:gd name="T73" fmla="*/ 22474 h 510"/>
              <a:gd name="T74" fmla="*/ 33847 w 606"/>
              <a:gd name="T75" fmla="*/ 26487 h 510"/>
              <a:gd name="T76" fmla="*/ 30698 w 606"/>
              <a:gd name="T77" fmla="*/ 30500 h 510"/>
              <a:gd name="T78" fmla="*/ 29124 w 606"/>
              <a:gd name="T79" fmla="*/ 32908 h 510"/>
              <a:gd name="T80" fmla="*/ 24401 w 606"/>
              <a:gd name="T81" fmla="*/ 35316 h 510"/>
              <a:gd name="T82" fmla="*/ 22040 w 606"/>
              <a:gd name="T83" fmla="*/ 34513 h 510"/>
              <a:gd name="T84" fmla="*/ 22040 w 606"/>
              <a:gd name="T85" fmla="*/ 32908 h 510"/>
              <a:gd name="T86" fmla="*/ 22040 w 606"/>
              <a:gd name="T87" fmla="*/ 32105 h 510"/>
              <a:gd name="T88" fmla="*/ 21253 w 606"/>
              <a:gd name="T89" fmla="*/ 30500 h 510"/>
              <a:gd name="T90" fmla="*/ 21253 w 606"/>
              <a:gd name="T91" fmla="*/ 28895 h 510"/>
              <a:gd name="T92" fmla="*/ 18891 w 606"/>
              <a:gd name="T93" fmla="*/ 28092 h 510"/>
              <a:gd name="T94" fmla="*/ 12594 w 606"/>
              <a:gd name="T95" fmla="*/ 27289 h 510"/>
              <a:gd name="T96" fmla="*/ 10233 w 606"/>
              <a:gd name="T97" fmla="*/ 27289 h 510"/>
              <a:gd name="T98" fmla="*/ 7084 w 606"/>
              <a:gd name="T99" fmla="*/ 28895 h 510"/>
              <a:gd name="T100" fmla="*/ 6297 w 606"/>
              <a:gd name="T101" fmla="*/ 30500 h 510"/>
              <a:gd name="T102" fmla="*/ 5510 w 606"/>
              <a:gd name="T103" fmla="*/ 31302 h 51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6"/>
              <a:gd name="T157" fmla="*/ 0 h 510"/>
              <a:gd name="T158" fmla="*/ 606 w 606"/>
              <a:gd name="T159" fmla="*/ 510 h 51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6" h="510">
                <a:moveTo>
                  <a:pt x="60" y="450"/>
                </a:moveTo>
                <a:lnTo>
                  <a:pt x="60" y="426"/>
                </a:lnTo>
                <a:lnTo>
                  <a:pt x="60" y="420"/>
                </a:lnTo>
                <a:lnTo>
                  <a:pt x="60" y="414"/>
                </a:lnTo>
                <a:lnTo>
                  <a:pt x="54" y="408"/>
                </a:lnTo>
                <a:lnTo>
                  <a:pt x="42" y="390"/>
                </a:lnTo>
                <a:lnTo>
                  <a:pt x="24" y="342"/>
                </a:lnTo>
                <a:lnTo>
                  <a:pt x="12" y="300"/>
                </a:lnTo>
                <a:lnTo>
                  <a:pt x="0" y="294"/>
                </a:lnTo>
                <a:lnTo>
                  <a:pt x="0" y="276"/>
                </a:lnTo>
                <a:lnTo>
                  <a:pt x="12" y="234"/>
                </a:lnTo>
                <a:lnTo>
                  <a:pt x="12" y="228"/>
                </a:lnTo>
                <a:lnTo>
                  <a:pt x="12" y="216"/>
                </a:lnTo>
                <a:lnTo>
                  <a:pt x="24" y="192"/>
                </a:lnTo>
                <a:lnTo>
                  <a:pt x="24" y="180"/>
                </a:lnTo>
                <a:lnTo>
                  <a:pt x="24" y="168"/>
                </a:lnTo>
                <a:lnTo>
                  <a:pt x="18" y="162"/>
                </a:lnTo>
                <a:lnTo>
                  <a:pt x="18" y="156"/>
                </a:lnTo>
                <a:lnTo>
                  <a:pt x="18" y="150"/>
                </a:lnTo>
                <a:lnTo>
                  <a:pt x="24" y="144"/>
                </a:lnTo>
                <a:lnTo>
                  <a:pt x="30" y="144"/>
                </a:lnTo>
                <a:lnTo>
                  <a:pt x="30" y="138"/>
                </a:lnTo>
                <a:lnTo>
                  <a:pt x="36" y="132"/>
                </a:lnTo>
                <a:lnTo>
                  <a:pt x="42" y="132"/>
                </a:lnTo>
                <a:lnTo>
                  <a:pt x="42" y="126"/>
                </a:lnTo>
                <a:lnTo>
                  <a:pt x="48" y="120"/>
                </a:lnTo>
                <a:lnTo>
                  <a:pt x="48" y="114"/>
                </a:lnTo>
                <a:lnTo>
                  <a:pt x="54" y="114"/>
                </a:lnTo>
                <a:lnTo>
                  <a:pt x="66" y="96"/>
                </a:lnTo>
                <a:lnTo>
                  <a:pt x="78" y="90"/>
                </a:lnTo>
                <a:lnTo>
                  <a:pt x="84" y="84"/>
                </a:lnTo>
                <a:lnTo>
                  <a:pt x="96" y="72"/>
                </a:lnTo>
                <a:lnTo>
                  <a:pt x="102" y="72"/>
                </a:lnTo>
                <a:lnTo>
                  <a:pt x="108" y="66"/>
                </a:lnTo>
                <a:lnTo>
                  <a:pt x="120" y="60"/>
                </a:lnTo>
                <a:lnTo>
                  <a:pt x="120" y="48"/>
                </a:lnTo>
                <a:lnTo>
                  <a:pt x="120" y="42"/>
                </a:lnTo>
                <a:lnTo>
                  <a:pt x="126" y="36"/>
                </a:lnTo>
                <a:lnTo>
                  <a:pt x="138" y="36"/>
                </a:lnTo>
                <a:lnTo>
                  <a:pt x="138" y="42"/>
                </a:lnTo>
                <a:lnTo>
                  <a:pt x="144" y="48"/>
                </a:lnTo>
                <a:lnTo>
                  <a:pt x="150" y="48"/>
                </a:lnTo>
                <a:lnTo>
                  <a:pt x="162" y="36"/>
                </a:lnTo>
                <a:lnTo>
                  <a:pt x="162" y="30"/>
                </a:lnTo>
                <a:lnTo>
                  <a:pt x="168" y="24"/>
                </a:lnTo>
                <a:lnTo>
                  <a:pt x="180" y="24"/>
                </a:lnTo>
                <a:lnTo>
                  <a:pt x="192" y="24"/>
                </a:lnTo>
                <a:lnTo>
                  <a:pt x="198" y="24"/>
                </a:lnTo>
                <a:lnTo>
                  <a:pt x="210" y="30"/>
                </a:lnTo>
                <a:lnTo>
                  <a:pt x="216" y="30"/>
                </a:lnTo>
                <a:lnTo>
                  <a:pt x="210" y="54"/>
                </a:lnTo>
                <a:lnTo>
                  <a:pt x="216" y="60"/>
                </a:lnTo>
                <a:lnTo>
                  <a:pt x="222" y="60"/>
                </a:lnTo>
                <a:lnTo>
                  <a:pt x="246" y="60"/>
                </a:lnTo>
                <a:lnTo>
                  <a:pt x="252" y="66"/>
                </a:lnTo>
                <a:lnTo>
                  <a:pt x="258" y="66"/>
                </a:lnTo>
                <a:lnTo>
                  <a:pt x="276" y="66"/>
                </a:lnTo>
                <a:lnTo>
                  <a:pt x="312" y="66"/>
                </a:lnTo>
                <a:lnTo>
                  <a:pt x="318" y="60"/>
                </a:lnTo>
                <a:lnTo>
                  <a:pt x="330" y="12"/>
                </a:lnTo>
                <a:lnTo>
                  <a:pt x="414" y="6"/>
                </a:lnTo>
                <a:lnTo>
                  <a:pt x="420" y="0"/>
                </a:lnTo>
                <a:lnTo>
                  <a:pt x="426" y="6"/>
                </a:lnTo>
                <a:lnTo>
                  <a:pt x="426" y="12"/>
                </a:lnTo>
                <a:lnTo>
                  <a:pt x="426" y="54"/>
                </a:lnTo>
                <a:lnTo>
                  <a:pt x="432" y="54"/>
                </a:lnTo>
                <a:lnTo>
                  <a:pt x="444" y="54"/>
                </a:lnTo>
                <a:lnTo>
                  <a:pt x="450" y="42"/>
                </a:lnTo>
                <a:lnTo>
                  <a:pt x="462" y="42"/>
                </a:lnTo>
                <a:lnTo>
                  <a:pt x="468" y="36"/>
                </a:lnTo>
                <a:lnTo>
                  <a:pt x="486" y="24"/>
                </a:lnTo>
                <a:lnTo>
                  <a:pt x="504" y="18"/>
                </a:lnTo>
                <a:lnTo>
                  <a:pt x="510" y="12"/>
                </a:lnTo>
                <a:lnTo>
                  <a:pt x="516" y="18"/>
                </a:lnTo>
                <a:lnTo>
                  <a:pt x="522" y="24"/>
                </a:lnTo>
                <a:lnTo>
                  <a:pt x="510" y="30"/>
                </a:lnTo>
                <a:lnTo>
                  <a:pt x="516" y="48"/>
                </a:lnTo>
                <a:lnTo>
                  <a:pt x="528" y="54"/>
                </a:lnTo>
                <a:lnTo>
                  <a:pt x="522" y="60"/>
                </a:lnTo>
                <a:lnTo>
                  <a:pt x="516" y="66"/>
                </a:lnTo>
                <a:lnTo>
                  <a:pt x="516" y="72"/>
                </a:lnTo>
                <a:lnTo>
                  <a:pt x="510" y="72"/>
                </a:lnTo>
                <a:lnTo>
                  <a:pt x="510" y="78"/>
                </a:lnTo>
                <a:lnTo>
                  <a:pt x="510" y="84"/>
                </a:lnTo>
                <a:lnTo>
                  <a:pt x="510" y="90"/>
                </a:lnTo>
                <a:lnTo>
                  <a:pt x="504" y="90"/>
                </a:lnTo>
                <a:lnTo>
                  <a:pt x="486" y="90"/>
                </a:lnTo>
                <a:lnTo>
                  <a:pt x="492" y="138"/>
                </a:lnTo>
                <a:lnTo>
                  <a:pt x="498" y="168"/>
                </a:lnTo>
                <a:lnTo>
                  <a:pt x="516" y="168"/>
                </a:lnTo>
                <a:lnTo>
                  <a:pt x="528" y="174"/>
                </a:lnTo>
                <a:lnTo>
                  <a:pt x="534" y="168"/>
                </a:lnTo>
                <a:lnTo>
                  <a:pt x="558" y="174"/>
                </a:lnTo>
                <a:lnTo>
                  <a:pt x="564" y="168"/>
                </a:lnTo>
                <a:lnTo>
                  <a:pt x="570" y="168"/>
                </a:lnTo>
                <a:lnTo>
                  <a:pt x="576" y="174"/>
                </a:lnTo>
                <a:lnTo>
                  <a:pt x="588" y="168"/>
                </a:lnTo>
                <a:lnTo>
                  <a:pt x="594" y="168"/>
                </a:lnTo>
                <a:lnTo>
                  <a:pt x="594" y="186"/>
                </a:lnTo>
                <a:lnTo>
                  <a:pt x="606" y="198"/>
                </a:lnTo>
                <a:lnTo>
                  <a:pt x="600" y="210"/>
                </a:lnTo>
                <a:lnTo>
                  <a:pt x="588" y="234"/>
                </a:lnTo>
                <a:lnTo>
                  <a:pt x="564" y="246"/>
                </a:lnTo>
                <a:lnTo>
                  <a:pt x="546" y="258"/>
                </a:lnTo>
                <a:lnTo>
                  <a:pt x="540" y="270"/>
                </a:lnTo>
                <a:lnTo>
                  <a:pt x="534" y="294"/>
                </a:lnTo>
                <a:lnTo>
                  <a:pt x="528" y="300"/>
                </a:lnTo>
                <a:lnTo>
                  <a:pt x="516" y="294"/>
                </a:lnTo>
                <a:lnTo>
                  <a:pt x="510" y="300"/>
                </a:lnTo>
                <a:lnTo>
                  <a:pt x="498" y="318"/>
                </a:lnTo>
                <a:lnTo>
                  <a:pt x="492" y="324"/>
                </a:lnTo>
                <a:lnTo>
                  <a:pt x="486" y="336"/>
                </a:lnTo>
                <a:lnTo>
                  <a:pt x="486" y="354"/>
                </a:lnTo>
                <a:lnTo>
                  <a:pt x="486" y="384"/>
                </a:lnTo>
                <a:lnTo>
                  <a:pt x="474" y="408"/>
                </a:lnTo>
                <a:lnTo>
                  <a:pt x="450" y="426"/>
                </a:lnTo>
                <a:lnTo>
                  <a:pt x="444" y="444"/>
                </a:lnTo>
                <a:lnTo>
                  <a:pt x="426" y="474"/>
                </a:lnTo>
                <a:lnTo>
                  <a:pt x="420" y="486"/>
                </a:lnTo>
                <a:lnTo>
                  <a:pt x="414" y="486"/>
                </a:lnTo>
                <a:lnTo>
                  <a:pt x="414" y="498"/>
                </a:lnTo>
                <a:lnTo>
                  <a:pt x="378" y="504"/>
                </a:lnTo>
                <a:lnTo>
                  <a:pt x="348" y="510"/>
                </a:lnTo>
                <a:lnTo>
                  <a:pt x="330" y="510"/>
                </a:lnTo>
                <a:lnTo>
                  <a:pt x="324" y="504"/>
                </a:lnTo>
                <a:lnTo>
                  <a:pt x="318" y="504"/>
                </a:lnTo>
                <a:lnTo>
                  <a:pt x="312" y="504"/>
                </a:lnTo>
                <a:lnTo>
                  <a:pt x="312" y="498"/>
                </a:lnTo>
                <a:lnTo>
                  <a:pt x="312" y="486"/>
                </a:lnTo>
                <a:lnTo>
                  <a:pt x="312" y="480"/>
                </a:lnTo>
                <a:lnTo>
                  <a:pt x="318" y="468"/>
                </a:lnTo>
                <a:lnTo>
                  <a:pt x="318" y="462"/>
                </a:lnTo>
                <a:lnTo>
                  <a:pt x="312" y="456"/>
                </a:lnTo>
                <a:lnTo>
                  <a:pt x="312" y="450"/>
                </a:lnTo>
                <a:lnTo>
                  <a:pt x="306" y="444"/>
                </a:lnTo>
                <a:lnTo>
                  <a:pt x="306" y="438"/>
                </a:lnTo>
                <a:lnTo>
                  <a:pt x="300" y="426"/>
                </a:lnTo>
                <a:lnTo>
                  <a:pt x="300" y="420"/>
                </a:lnTo>
                <a:lnTo>
                  <a:pt x="294" y="414"/>
                </a:lnTo>
                <a:lnTo>
                  <a:pt x="294" y="408"/>
                </a:lnTo>
                <a:lnTo>
                  <a:pt x="270" y="408"/>
                </a:lnTo>
                <a:lnTo>
                  <a:pt x="246" y="408"/>
                </a:lnTo>
                <a:lnTo>
                  <a:pt x="222" y="408"/>
                </a:lnTo>
                <a:lnTo>
                  <a:pt x="180" y="402"/>
                </a:lnTo>
                <a:lnTo>
                  <a:pt x="180" y="396"/>
                </a:lnTo>
                <a:lnTo>
                  <a:pt x="156" y="402"/>
                </a:lnTo>
                <a:lnTo>
                  <a:pt x="144" y="396"/>
                </a:lnTo>
                <a:lnTo>
                  <a:pt x="126" y="396"/>
                </a:lnTo>
                <a:lnTo>
                  <a:pt x="108" y="408"/>
                </a:lnTo>
                <a:lnTo>
                  <a:pt x="102" y="414"/>
                </a:lnTo>
                <a:lnTo>
                  <a:pt x="102" y="420"/>
                </a:lnTo>
                <a:lnTo>
                  <a:pt x="96" y="426"/>
                </a:lnTo>
                <a:lnTo>
                  <a:pt x="96" y="438"/>
                </a:lnTo>
                <a:lnTo>
                  <a:pt x="90" y="444"/>
                </a:lnTo>
                <a:lnTo>
                  <a:pt x="90" y="450"/>
                </a:lnTo>
                <a:lnTo>
                  <a:pt x="78" y="450"/>
                </a:lnTo>
                <a:lnTo>
                  <a:pt x="60" y="450"/>
                </a:lnTo>
                <a:close/>
              </a:path>
            </a:pathLst>
          </a:custGeom>
          <a:solidFill>
            <a:srgbClr val="33CC33"/>
          </a:solidFill>
          <a:ln w="9525">
            <a:solidFill>
              <a:schemeClr val="bg1"/>
            </a:solidFill>
            <a:round/>
            <a:headEnd/>
            <a:tailEnd/>
          </a:ln>
        </p:spPr>
        <p:txBody>
          <a:bodyPr/>
          <a:lstStyle/>
          <a:p>
            <a:endParaRPr lang="en-GB">
              <a:solidFill>
                <a:schemeClr val="bg1"/>
              </a:solidFill>
            </a:endParaRPr>
          </a:p>
        </p:txBody>
      </p:sp>
      <p:sp>
        <p:nvSpPr>
          <p:cNvPr id="20513" name="Freeform 30"/>
          <p:cNvSpPr>
            <a:spLocks/>
          </p:cNvSpPr>
          <p:nvPr/>
        </p:nvSpPr>
        <p:spPr bwMode="gray">
          <a:xfrm>
            <a:off x="2274888" y="4654550"/>
            <a:ext cx="825500" cy="971550"/>
          </a:xfrm>
          <a:custGeom>
            <a:avLst/>
            <a:gdLst>
              <a:gd name="T0" fmla="*/ 30470 w 1056"/>
              <a:gd name="T1" fmla="*/ 75722 h 1206"/>
              <a:gd name="T2" fmla="*/ 27345 w 1056"/>
              <a:gd name="T3" fmla="*/ 82972 h 1206"/>
              <a:gd name="T4" fmla="*/ 22657 w 1056"/>
              <a:gd name="T5" fmla="*/ 79750 h 1206"/>
              <a:gd name="T6" fmla="*/ 17970 w 1056"/>
              <a:gd name="T7" fmla="*/ 75722 h 1206"/>
              <a:gd name="T8" fmla="*/ 16407 w 1056"/>
              <a:gd name="T9" fmla="*/ 73305 h 1206"/>
              <a:gd name="T10" fmla="*/ 14063 w 1056"/>
              <a:gd name="T11" fmla="*/ 71694 h 1206"/>
              <a:gd name="T12" fmla="*/ 11719 w 1056"/>
              <a:gd name="T13" fmla="*/ 69278 h 1206"/>
              <a:gd name="T14" fmla="*/ 8594 w 1056"/>
              <a:gd name="T15" fmla="*/ 66861 h 1206"/>
              <a:gd name="T16" fmla="*/ 6250 w 1056"/>
              <a:gd name="T17" fmla="*/ 65250 h 1206"/>
              <a:gd name="T18" fmla="*/ 4688 w 1056"/>
              <a:gd name="T19" fmla="*/ 63639 h 1206"/>
              <a:gd name="T20" fmla="*/ 10157 w 1056"/>
              <a:gd name="T21" fmla="*/ 62833 h 1206"/>
              <a:gd name="T22" fmla="*/ 6250 w 1056"/>
              <a:gd name="T23" fmla="*/ 60416 h 1206"/>
              <a:gd name="T24" fmla="*/ 10157 w 1056"/>
              <a:gd name="T25" fmla="*/ 57194 h 1206"/>
              <a:gd name="T26" fmla="*/ 7813 w 1056"/>
              <a:gd name="T27" fmla="*/ 50750 h 1206"/>
              <a:gd name="T28" fmla="*/ 4688 w 1056"/>
              <a:gd name="T29" fmla="*/ 53167 h 1206"/>
              <a:gd name="T30" fmla="*/ 781 w 1056"/>
              <a:gd name="T31" fmla="*/ 50750 h 1206"/>
              <a:gd name="T32" fmla="*/ 781 w 1056"/>
              <a:gd name="T33" fmla="*/ 47528 h 1206"/>
              <a:gd name="T34" fmla="*/ 2344 w 1056"/>
              <a:gd name="T35" fmla="*/ 45917 h 1206"/>
              <a:gd name="T36" fmla="*/ 4688 w 1056"/>
              <a:gd name="T37" fmla="*/ 44305 h 1206"/>
              <a:gd name="T38" fmla="*/ 7813 w 1056"/>
              <a:gd name="T39" fmla="*/ 41083 h 1206"/>
              <a:gd name="T40" fmla="*/ 8594 w 1056"/>
              <a:gd name="T41" fmla="*/ 37055 h 1206"/>
              <a:gd name="T42" fmla="*/ 10938 w 1056"/>
              <a:gd name="T43" fmla="*/ 33833 h 1206"/>
              <a:gd name="T44" fmla="*/ 11719 w 1056"/>
              <a:gd name="T45" fmla="*/ 29000 h 1206"/>
              <a:gd name="T46" fmla="*/ 13282 w 1056"/>
              <a:gd name="T47" fmla="*/ 27389 h 1206"/>
              <a:gd name="T48" fmla="*/ 15626 w 1056"/>
              <a:gd name="T49" fmla="*/ 24972 h 1206"/>
              <a:gd name="T50" fmla="*/ 16407 w 1056"/>
              <a:gd name="T51" fmla="*/ 23361 h 1206"/>
              <a:gd name="T52" fmla="*/ 17970 w 1056"/>
              <a:gd name="T53" fmla="*/ 17722 h 1206"/>
              <a:gd name="T54" fmla="*/ 27345 w 1056"/>
              <a:gd name="T55" fmla="*/ 17722 h 1206"/>
              <a:gd name="T56" fmla="*/ 32033 w 1056"/>
              <a:gd name="T57" fmla="*/ 14500 h 1206"/>
              <a:gd name="T58" fmla="*/ 42189 w 1056"/>
              <a:gd name="T59" fmla="*/ 16111 h 1206"/>
              <a:gd name="T60" fmla="*/ 42189 w 1056"/>
              <a:gd name="T61" fmla="*/ 20944 h 1206"/>
              <a:gd name="T62" fmla="*/ 50002 w 1056"/>
              <a:gd name="T63" fmla="*/ 20139 h 1206"/>
              <a:gd name="T64" fmla="*/ 55471 w 1056"/>
              <a:gd name="T65" fmla="*/ 8056 h 1206"/>
              <a:gd name="T66" fmla="*/ 62503 w 1056"/>
              <a:gd name="T67" fmla="*/ 806 h 1206"/>
              <a:gd name="T68" fmla="*/ 67191 w 1056"/>
              <a:gd name="T69" fmla="*/ 1611 h 1206"/>
              <a:gd name="T70" fmla="*/ 71097 w 1056"/>
              <a:gd name="T71" fmla="*/ 10472 h 1206"/>
              <a:gd name="T72" fmla="*/ 68753 w 1056"/>
              <a:gd name="T73" fmla="*/ 13694 h 1206"/>
              <a:gd name="T74" fmla="*/ 69534 w 1056"/>
              <a:gd name="T75" fmla="*/ 16917 h 1206"/>
              <a:gd name="T76" fmla="*/ 67191 w 1056"/>
              <a:gd name="T77" fmla="*/ 20139 h 1206"/>
              <a:gd name="T78" fmla="*/ 66409 w 1056"/>
              <a:gd name="T79" fmla="*/ 24972 h 1206"/>
              <a:gd name="T80" fmla="*/ 64847 w 1056"/>
              <a:gd name="T81" fmla="*/ 29000 h 1206"/>
              <a:gd name="T82" fmla="*/ 62503 w 1056"/>
              <a:gd name="T83" fmla="*/ 33833 h 1206"/>
              <a:gd name="T84" fmla="*/ 62503 w 1056"/>
              <a:gd name="T85" fmla="*/ 37861 h 1206"/>
              <a:gd name="T86" fmla="*/ 60159 w 1056"/>
              <a:gd name="T87" fmla="*/ 44305 h 1206"/>
              <a:gd name="T88" fmla="*/ 58596 w 1056"/>
              <a:gd name="T89" fmla="*/ 45917 h 1206"/>
              <a:gd name="T90" fmla="*/ 51565 w 1056"/>
              <a:gd name="T91" fmla="*/ 45917 h 1206"/>
              <a:gd name="T92" fmla="*/ 51565 w 1056"/>
              <a:gd name="T93" fmla="*/ 41083 h 1206"/>
              <a:gd name="T94" fmla="*/ 37502 w 1056"/>
              <a:gd name="T95" fmla="*/ 40278 h 1206"/>
              <a:gd name="T96" fmla="*/ 35939 w 1056"/>
              <a:gd name="T97" fmla="*/ 44305 h 1206"/>
              <a:gd name="T98" fmla="*/ 32814 w 1056"/>
              <a:gd name="T99" fmla="*/ 47528 h 1206"/>
              <a:gd name="T100" fmla="*/ 32033 w 1056"/>
              <a:gd name="T101" fmla="*/ 49944 h 1206"/>
              <a:gd name="T102" fmla="*/ 33595 w 1056"/>
              <a:gd name="T103" fmla="*/ 53972 h 1206"/>
              <a:gd name="T104" fmla="*/ 32814 w 1056"/>
              <a:gd name="T105" fmla="*/ 58000 h 1206"/>
              <a:gd name="T106" fmla="*/ 30470 w 1056"/>
              <a:gd name="T107" fmla="*/ 62028 h 1206"/>
              <a:gd name="T108" fmla="*/ 28126 w 1056"/>
              <a:gd name="T109" fmla="*/ 64444 h 1206"/>
              <a:gd name="T110" fmla="*/ 28908 w 1056"/>
              <a:gd name="T111" fmla="*/ 66861 h 1206"/>
              <a:gd name="T112" fmla="*/ 31251 w 1056"/>
              <a:gd name="T113" fmla="*/ 70083 h 1206"/>
              <a:gd name="T114" fmla="*/ 32814 w 1056"/>
              <a:gd name="T115" fmla="*/ 71694 h 12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56"/>
              <a:gd name="T175" fmla="*/ 0 h 1206"/>
              <a:gd name="T176" fmla="*/ 1056 w 1056"/>
              <a:gd name="T177" fmla="*/ 1206 h 12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56" h="1206">
                <a:moveTo>
                  <a:pt x="492" y="1032"/>
                </a:moveTo>
                <a:lnTo>
                  <a:pt x="486" y="1038"/>
                </a:lnTo>
                <a:lnTo>
                  <a:pt x="486" y="1044"/>
                </a:lnTo>
                <a:lnTo>
                  <a:pt x="480" y="1044"/>
                </a:lnTo>
                <a:lnTo>
                  <a:pt x="474" y="1056"/>
                </a:lnTo>
                <a:lnTo>
                  <a:pt x="462" y="1068"/>
                </a:lnTo>
                <a:lnTo>
                  <a:pt x="456" y="1080"/>
                </a:lnTo>
                <a:lnTo>
                  <a:pt x="450" y="1080"/>
                </a:lnTo>
                <a:lnTo>
                  <a:pt x="450" y="1086"/>
                </a:lnTo>
                <a:lnTo>
                  <a:pt x="450" y="1092"/>
                </a:lnTo>
                <a:lnTo>
                  <a:pt x="444" y="1104"/>
                </a:lnTo>
                <a:lnTo>
                  <a:pt x="444" y="1116"/>
                </a:lnTo>
                <a:lnTo>
                  <a:pt x="438" y="1128"/>
                </a:lnTo>
                <a:lnTo>
                  <a:pt x="432" y="1134"/>
                </a:lnTo>
                <a:lnTo>
                  <a:pt x="432" y="1140"/>
                </a:lnTo>
                <a:lnTo>
                  <a:pt x="420" y="1152"/>
                </a:lnTo>
                <a:lnTo>
                  <a:pt x="420" y="1158"/>
                </a:lnTo>
                <a:lnTo>
                  <a:pt x="408" y="1182"/>
                </a:lnTo>
                <a:lnTo>
                  <a:pt x="396" y="1194"/>
                </a:lnTo>
                <a:lnTo>
                  <a:pt x="390" y="1206"/>
                </a:lnTo>
                <a:lnTo>
                  <a:pt x="390" y="1200"/>
                </a:lnTo>
                <a:lnTo>
                  <a:pt x="384" y="1194"/>
                </a:lnTo>
                <a:lnTo>
                  <a:pt x="378" y="1188"/>
                </a:lnTo>
                <a:lnTo>
                  <a:pt x="366" y="1176"/>
                </a:lnTo>
                <a:lnTo>
                  <a:pt x="366" y="1170"/>
                </a:lnTo>
                <a:lnTo>
                  <a:pt x="348" y="1152"/>
                </a:lnTo>
                <a:lnTo>
                  <a:pt x="336" y="1140"/>
                </a:lnTo>
                <a:lnTo>
                  <a:pt x="330" y="1134"/>
                </a:lnTo>
                <a:lnTo>
                  <a:pt x="324" y="1128"/>
                </a:lnTo>
                <a:lnTo>
                  <a:pt x="318" y="1122"/>
                </a:lnTo>
                <a:lnTo>
                  <a:pt x="312" y="1116"/>
                </a:lnTo>
                <a:lnTo>
                  <a:pt x="306" y="1110"/>
                </a:lnTo>
                <a:lnTo>
                  <a:pt x="300" y="1104"/>
                </a:lnTo>
                <a:lnTo>
                  <a:pt x="294" y="1098"/>
                </a:lnTo>
                <a:lnTo>
                  <a:pt x="276" y="1080"/>
                </a:lnTo>
                <a:lnTo>
                  <a:pt x="270" y="1080"/>
                </a:lnTo>
                <a:lnTo>
                  <a:pt x="270" y="1074"/>
                </a:lnTo>
                <a:lnTo>
                  <a:pt x="264" y="1068"/>
                </a:lnTo>
                <a:lnTo>
                  <a:pt x="258" y="1062"/>
                </a:lnTo>
                <a:lnTo>
                  <a:pt x="252" y="1062"/>
                </a:lnTo>
                <a:lnTo>
                  <a:pt x="252" y="1056"/>
                </a:lnTo>
                <a:lnTo>
                  <a:pt x="252" y="1062"/>
                </a:lnTo>
                <a:lnTo>
                  <a:pt x="252" y="1056"/>
                </a:lnTo>
                <a:lnTo>
                  <a:pt x="246" y="1056"/>
                </a:lnTo>
                <a:lnTo>
                  <a:pt x="246" y="1050"/>
                </a:lnTo>
                <a:lnTo>
                  <a:pt x="240" y="1050"/>
                </a:lnTo>
                <a:lnTo>
                  <a:pt x="234" y="1044"/>
                </a:lnTo>
                <a:lnTo>
                  <a:pt x="228" y="1044"/>
                </a:lnTo>
                <a:lnTo>
                  <a:pt x="222" y="1038"/>
                </a:lnTo>
                <a:lnTo>
                  <a:pt x="222" y="1032"/>
                </a:lnTo>
                <a:lnTo>
                  <a:pt x="216" y="1032"/>
                </a:lnTo>
                <a:lnTo>
                  <a:pt x="216" y="1026"/>
                </a:lnTo>
                <a:lnTo>
                  <a:pt x="210" y="1026"/>
                </a:lnTo>
                <a:lnTo>
                  <a:pt x="204" y="1020"/>
                </a:lnTo>
                <a:lnTo>
                  <a:pt x="204" y="1014"/>
                </a:lnTo>
                <a:lnTo>
                  <a:pt x="198" y="1014"/>
                </a:lnTo>
                <a:lnTo>
                  <a:pt x="192" y="1014"/>
                </a:lnTo>
                <a:lnTo>
                  <a:pt x="192" y="1008"/>
                </a:lnTo>
                <a:lnTo>
                  <a:pt x="186" y="1008"/>
                </a:lnTo>
                <a:lnTo>
                  <a:pt x="186" y="1002"/>
                </a:lnTo>
                <a:lnTo>
                  <a:pt x="180" y="1002"/>
                </a:lnTo>
                <a:lnTo>
                  <a:pt x="174" y="996"/>
                </a:lnTo>
                <a:lnTo>
                  <a:pt x="168" y="996"/>
                </a:lnTo>
                <a:lnTo>
                  <a:pt x="168" y="990"/>
                </a:lnTo>
                <a:lnTo>
                  <a:pt x="162" y="990"/>
                </a:lnTo>
                <a:lnTo>
                  <a:pt x="162" y="984"/>
                </a:lnTo>
                <a:lnTo>
                  <a:pt x="150" y="978"/>
                </a:lnTo>
                <a:lnTo>
                  <a:pt x="144" y="972"/>
                </a:lnTo>
                <a:lnTo>
                  <a:pt x="138" y="972"/>
                </a:lnTo>
                <a:lnTo>
                  <a:pt x="138" y="966"/>
                </a:lnTo>
                <a:lnTo>
                  <a:pt x="132" y="966"/>
                </a:lnTo>
                <a:lnTo>
                  <a:pt x="126" y="960"/>
                </a:lnTo>
                <a:lnTo>
                  <a:pt x="126" y="954"/>
                </a:lnTo>
                <a:lnTo>
                  <a:pt x="120" y="954"/>
                </a:lnTo>
                <a:lnTo>
                  <a:pt x="114" y="948"/>
                </a:lnTo>
                <a:lnTo>
                  <a:pt x="108" y="948"/>
                </a:lnTo>
                <a:lnTo>
                  <a:pt x="108" y="942"/>
                </a:lnTo>
                <a:lnTo>
                  <a:pt x="102" y="942"/>
                </a:lnTo>
                <a:lnTo>
                  <a:pt x="96" y="942"/>
                </a:lnTo>
                <a:lnTo>
                  <a:pt x="96" y="936"/>
                </a:lnTo>
                <a:lnTo>
                  <a:pt x="90" y="936"/>
                </a:lnTo>
                <a:lnTo>
                  <a:pt x="90" y="930"/>
                </a:lnTo>
                <a:lnTo>
                  <a:pt x="84" y="930"/>
                </a:lnTo>
                <a:lnTo>
                  <a:pt x="78" y="930"/>
                </a:lnTo>
                <a:lnTo>
                  <a:pt x="78" y="924"/>
                </a:lnTo>
                <a:lnTo>
                  <a:pt x="60" y="918"/>
                </a:lnTo>
                <a:lnTo>
                  <a:pt x="66" y="918"/>
                </a:lnTo>
                <a:lnTo>
                  <a:pt x="66" y="912"/>
                </a:lnTo>
                <a:lnTo>
                  <a:pt x="66" y="906"/>
                </a:lnTo>
                <a:lnTo>
                  <a:pt x="72" y="906"/>
                </a:lnTo>
                <a:lnTo>
                  <a:pt x="84" y="906"/>
                </a:lnTo>
                <a:lnTo>
                  <a:pt x="90" y="906"/>
                </a:lnTo>
                <a:lnTo>
                  <a:pt x="120" y="930"/>
                </a:lnTo>
                <a:lnTo>
                  <a:pt x="126" y="936"/>
                </a:lnTo>
                <a:lnTo>
                  <a:pt x="138" y="936"/>
                </a:lnTo>
                <a:lnTo>
                  <a:pt x="138" y="930"/>
                </a:lnTo>
                <a:lnTo>
                  <a:pt x="144" y="930"/>
                </a:lnTo>
                <a:lnTo>
                  <a:pt x="144" y="924"/>
                </a:lnTo>
                <a:lnTo>
                  <a:pt x="150" y="900"/>
                </a:lnTo>
                <a:lnTo>
                  <a:pt x="138" y="894"/>
                </a:lnTo>
                <a:lnTo>
                  <a:pt x="126" y="894"/>
                </a:lnTo>
                <a:lnTo>
                  <a:pt x="108" y="888"/>
                </a:lnTo>
                <a:lnTo>
                  <a:pt x="84" y="882"/>
                </a:lnTo>
                <a:lnTo>
                  <a:pt x="72" y="882"/>
                </a:lnTo>
                <a:lnTo>
                  <a:pt x="72" y="876"/>
                </a:lnTo>
                <a:lnTo>
                  <a:pt x="78" y="870"/>
                </a:lnTo>
                <a:lnTo>
                  <a:pt x="90" y="870"/>
                </a:lnTo>
                <a:lnTo>
                  <a:pt x="96" y="870"/>
                </a:lnTo>
                <a:lnTo>
                  <a:pt x="102" y="870"/>
                </a:lnTo>
                <a:lnTo>
                  <a:pt x="114" y="870"/>
                </a:lnTo>
                <a:lnTo>
                  <a:pt x="120" y="858"/>
                </a:lnTo>
                <a:lnTo>
                  <a:pt x="126" y="852"/>
                </a:lnTo>
                <a:lnTo>
                  <a:pt x="126" y="846"/>
                </a:lnTo>
                <a:lnTo>
                  <a:pt x="126" y="834"/>
                </a:lnTo>
                <a:lnTo>
                  <a:pt x="132" y="828"/>
                </a:lnTo>
                <a:lnTo>
                  <a:pt x="132" y="816"/>
                </a:lnTo>
                <a:lnTo>
                  <a:pt x="150" y="816"/>
                </a:lnTo>
                <a:lnTo>
                  <a:pt x="150" y="804"/>
                </a:lnTo>
                <a:lnTo>
                  <a:pt x="144" y="798"/>
                </a:lnTo>
                <a:lnTo>
                  <a:pt x="156" y="762"/>
                </a:lnTo>
                <a:lnTo>
                  <a:pt x="156" y="750"/>
                </a:lnTo>
                <a:lnTo>
                  <a:pt x="156" y="744"/>
                </a:lnTo>
                <a:lnTo>
                  <a:pt x="150" y="732"/>
                </a:lnTo>
                <a:lnTo>
                  <a:pt x="144" y="726"/>
                </a:lnTo>
                <a:lnTo>
                  <a:pt x="132" y="726"/>
                </a:lnTo>
                <a:lnTo>
                  <a:pt x="120" y="732"/>
                </a:lnTo>
                <a:lnTo>
                  <a:pt x="114" y="744"/>
                </a:lnTo>
                <a:lnTo>
                  <a:pt x="108" y="750"/>
                </a:lnTo>
                <a:lnTo>
                  <a:pt x="96" y="768"/>
                </a:lnTo>
                <a:lnTo>
                  <a:pt x="96" y="774"/>
                </a:lnTo>
                <a:lnTo>
                  <a:pt x="90" y="780"/>
                </a:lnTo>
                <a:lnTo>
                  <a:pt x="84" y="804"/>
                </a:lnTo>
                <a:lnTo>
                  <a:pt x="72" y="774"/>
                </a:lnTo>
                <a:lnTo>
                  <a:pt x="72" y="768"/>
                </a:lnTo>
                <a:lnTo>
                  <a:pt x="66" y="762"/>
                </a:lnTo>
                <a:lnTo>
                  <a:pt x="60" y="750"/>
                </a:lnTo>
                <a:lnTo>
                  <a:pt x="54" y="750"/>
                </a:lnTo>
                <a:lnTo>
                  <a:pt x="48" y="750"/>
                </a:lnTo>
                <a:lnTo>
                  <a:pt x="42" y="750"/>
                </a:lnTo>
                <a:lnTo>
                  <a:pt x="30" y="744"/>
                </a:lnTo>
                <a:lnTo>
                  <a:pt x="24" y="744"/>
                </a:lnTo>
                <a:lnTo>
                  <a:pt x="24" y="738"/>
                </a:lnTo>
                <a:lnTo>
                  <a:pt x="18" y="732"/>
                </a:lnTo>
                <a:lnTo>
                  <a:pt x="12" y="732"/>
                </a:lnTo>
                <a:lnTo>
                  <a:pt x="6" y="720"/>
                </a:lnTo>
                <a:lnTo>
                  <a:pt x="6" y="714"/>
                </a:lnTo>
                <a:lnTo>
                  <a:pt x="0" y="714"/>
                </a:lnTo>
                <a:lnTo>
                  <a:pt x="6" y="708"/>
                </a:lnTo>
                <a:lnTo>
                  <a:pt x="12" y="708"/>
                </a:lnTo>
                <a:lnTo>
                  <a:pt x="12" y="702"/>
                </a:lnTo>
                <a:lnTo>
                  <a:pt x="18" y="696"/>
                </a:lnTo>
                <a:lnTo>
                  <a:pt x="12" y="690"/>
                </a:lnTo>
                <a:lnTo>
                  <a:pt x="12" y="684"/>
                </a:lnTo>
                <a:lnTo>
                  <a:pt x="12" y="678"/>
                </a:lnTo>
                <a:lnTo>
                  <a:pt x="12" y="672"/>
                </a:lnTo>
                <a:lnTo>
                  <a:pt x="18" y="672"/>
                </a:lnTo>
                <a:lnTo>
                  <a:pt x="18" y="666"/>
                </a:lnTo>
                <a:lnTo>
                  <a:pt x="24" y="666"/>
                </a:lnTo>
                <a:lnTo>
                  <a:pt x="24" y="660"/>
                </a:lnTo>
                <a:lnTo>
                  <a:pt x="30" y="660"/>
                </a:lnTo>
                <a:lnTo>
                  <a:pt x="30" y="654"/>
                </a:lnTo>
                <a:lnTo>
                  <a:pt x="36" y="654"/>
                </a:lnTo>
                <a:lnTo>
                  <a:pt x="36" y="648"/>
                </a:lnTo>
                <a:lnTo>
                  <a:pt x="42" y="648"/>
                </a:lnTo>
                <a:lnTo>
                  <a:pt x="48" y="642"/>
                </a:lnTo>
                <a:lnTo>
                  <a:pt x="54" y="642"/>
                </a:lnTo>
                <a:lnTo>
                  <a:pt x="60" y="636"/>
                </a:lnTo>
                <a:lnTo>
                  <a:pt x="54" y="636"/>
                </a:lnTo>
                <a:lnTo>
                  <a:pt x="60" y="630"/>
                </a:lnTo>
                <a:lnTo>
                  <a:pt x="66" y="630"/>
                </a:lnTo>
                <a:lnTo>
                  <a:pt x="72" y="630"/>
                </a:lnTo>
                <a:lnTo>
                  <a:pt x="72" y="624"/>
                </a:lnTo>
                <a:lnTo>
                  <a:pt x="78" y="624"/>
                </a:lnTo>
                <a:lnTo>
                  <a:pt x="84" y="618"/>
                </a:lnTo>
                <a:lnTo>
                  <a:pt x="84" y="612"/>
                </a:lnTo>
                <a:lnTo>
                  <a:pt x="90" y="612"/>
                </a:lnTo>
                <a:lnTo>
                  <a:pt x="102" y="606"/>
                </a:lnTo>
                <a:lnTo>
                  <a:pt x="114" y="606"/>
                </a:lnTo>
                <a:lnTo>
                  <a:pt x="120" y="600"/>
                </a:lnTo>
                <a:lnTo>
                  <a:pt x="120" y="594"/>
                </a:lnTo>
                <a:lnTo>
                  <a:pt x="120" y="588"/>
                </a:lnTo>
                <a:lnTo>
                  <a:pt x="120" y="582"/>
                </a:lnTo>
                <a:lnTo>
                  <a:pt x="120" y="576"/>
                </a:lnTo>
                <a:lnTo>
                  <a:pt x="120" y="570"/>
                </a:lnTo>
                <a:lnTo>
                  <a:pt x="126" y="564"/>
                </a:lnTo>
                <a:lnTo>
                  <a:pt x="126" y="558"/>
                </a:lnTo>
                <a:lnTo>
                  <a:pt x="126" y="552"/>
                </a:lnTo>
                <a:lnTo>
                  <a:pt x="126" y="546"/>
                </a:lnTo>
                <a:lnTo>
                  <a:pt x="126" y="534"/>
                </a:lnTo>
                <a:lnTo>
                  <a:pt x="126" y="516"/>
                </a:lnTo>
                <a:lnTo>
                  <a:pt x="126" y="510"/>
                </a:lnTo>
                <a:lnTo>
                  <a:pt x="126" y="504"/>
                </a:lnTo>
                <a:lnTo>
                  <a:pt x="126" y="498"/>
                </a:lnTo>
                <a:lnTo>
                  <a:pt x="132" y="498"/>
                </a:lnTo>
                <a:lnTo>
                  <a:pt x="132" y="492"/>
                </a:lnTo>
                <a:lnTo>
                  <a:pt x="138" y="492"/>
                </a:lnTo>
                <a:lnTo>
                  <a:pt x="144" y="486"/>
                </a:lnTo>
                <a:lnTo>
                  <a:pt x="156" y="480"/>
                </a:lnTo>
                <a:lnTo>
                  <a:pt x="156" y="474"/>
                </a:lnTo>
                <a:lnTo>
                  <a:pt x="156" y="468"/>
                </a:lnTo>
                <a:lnTo>
                  <a:pt x="156" y="462"/>
                </a:lnTo>
                <a:lnTo>
                  <a:pt x="156" y="456"/>
                </a:lnTo>
                <a:lnTo>
                  <a:pt x="156" y="450"/>
                </a:lnTo>
                <a:lnTo>
                  <a:pt x="162" y="438"/>
                </a:lnTo>
                <a:lnTo>
                  <a:pt x="168" y="426"/>
                </a:lnTo>
                <a:lnTo>
                  <a:pt x="174" y="426"/>
                </a:lnTo>
                <a:lnTo>
                  <a:pt x="174" y="420"/>
                </a:lnTo>
                <a:lnTo>
                  <a:pt x="180" y="414"/>
                </a:lnTo>
                <a:lnTo>
                  <a:pt x="186" y="420"/>
                </a:lnTo>
                <a:lnTo>
                  <a:pt x="186" y="414"/>
                </a:lnTo>
                <a:lnTo>
                  <a:pt x="180" y="408"/>
                </a:lnTo>
                <a:lnTo>
                  <a:pt x="180" y="402"/>
                </a:lnTo>
                <a:lnTo>
                  <a:pt x="186" y="402"/>
                </a:lnTo>
                <a:lnTo>
                  <a:pt x="192" y="402"/>
                </a:lnTo>
                <a:lnTo>
                  <a:pt x="192" y="396"/>
                </a:lnTo>
                <a:lnTo>
                  <a:pt x="198" y="396"/>
                </a:lnTo>
                <a:lnTo>
                  <a:pt x="204" y="396"/>
                </a:lnTo>
                <a:lnTo>
                  <a:pt x="210" y="396"/>
                </a:lnTo>
                <a:lnTo>
                  <a:pt x="210" y="390"/>
                </a:lnTo>
                <a:lnTo>
                  <a:pt x="216" y="390"/>
                </a:lnTo>
                <a:lnTo>
                  <a:pt x="216" y="384"/>
                </a:lnTo>
                <a:lnTo>
                  <a:pt x="222" y="384"/>
                </a:lnTo>
                <a:lnTo>
                  <a:pt x="222" y="378"/>
                </a:lnTo>
                <a:lnTo>
                  <a:pt x="228" y="372"/>
                </a:lnTo>
                <a:lnTo>
                  <a:pt x="234" y="360"/>
                </a:lnTo>
                <a:lnTo>
                  <a:pt x="234" y="354"/>
                </a:lnTo>
                <a:lnTo>
                  <a:pt x="240" y="354"/>
                </a:lnTo>
                <a:lnTo>
                  <a:pt x="240" y="348"/>
                </a:lnTo>
                <a:lnTo>
                  <a:pt x="246" y="348"/>
                </a:lnTo>
                <a:lnTo>
                  <a:pt x="240" y="348"/>
                </a:lnTo>
                <a:lnTo>
                  <a:pt x="234" y="342"/>
                </a:lnTo>
                <a:lnTo>
                  <a:pt x="234" y="336"/>
                </a:lnTo>
                <a:lnTo>
                  <a:pt x="240" y="330"/>
                </a:lnTo>
                <a:lnTo>
                  <a:pt x="246" y="330"/>
                </a:lnTo>
                <a:lnTo>
                  <a:pt x="246" y="324"/>
                </a:lnTo>
                <a:lnTo>
                  <a:pt x="234" y="318"/>
                </a:lnTo>
                <a:lnTo>
                  <a:pt x="234" y="312"/>
                </a:lnTo>
                <a:lnTo>
                  <a:pt x="234" y="300"/>
                </a:lnTo>
                <a:lnTo>
                  <a:pt x="240" y="288"/>
                </a:lnTo>
                <a:lnTo>
                  <a:pt x="240" y="276"/>
                </a:lnTo>
                <a:lnTo>
                  <a:pt x="246" y="258"/>
                </a:lnTo>
                <a:lnTo>
                  <a:pt x="258" y="252"/>
                </a:lnTo>
                <a:lnTo>
                  <a:pt x="270" y="258"/>
                </a:lnTo>
                <a:lnTo>
                  <a:pt x="282" y="252"/>
                </a:lnTo>
                <a:lnTo>
                  <a:pt x="288" y="252"/>
                </a:lnTo>
                <a:lnTo>
                  <a:pt x="294" y="252"/>
                </a:lnTo>
                <a:lnTo>
                  <a:pt x="300" y="258"/>
                </a:lnTo>
                <a:lnTo>
                  <a:pt x="318" y="252"/>
                </a:lnTo>
                <a:lnTo>
                  <a:pt x="366" y="252"/>
                </a:lnTo>
                <a:lnTo>
                  <a:pt x="378" y="252"/>
                </a:lnTo>
                <a:lnTo>
                  <a:pt x="396" y="252"/>
                </a:lnTo>
                <a:lnTo>
                  <a:pt x="408" y="252"/>
                </a:lnTo>
                <a:lnTo>
                  <a:pt x="408" y="246"/>
                </a:lnTo>
                <a:lnTo>
                  <a:pt x="414" y="240"/>
                </a:lnTo>
                <a:lnTo>
                  <a:pt x="414" y="228"/>
                </a:lnTo>
                <a:lnTo>
                  <a:pt x="420" y="222"/>
                </a:lnTo>
                <a:lnTo>
                  <a:pt x="420" y="216"/>
                </a:lnTo>
                <a:lnTo>
                  <a:pt x="426" y="210"/>
                </a:lnTo>
                <a:lnTo>
                  <a:pt x="444" y="198"/>
                </a:lnTo>
                <a:lnTo>
                  <a:pt x="462" y="198"/>
                </a:lnTo>
                <a:lnTo>
                  <a:pt x="474" y="204"/>
                </a:lnTo>
                <a:lnTo>
                  <a:pt x="498" y="198"/>
                </a:lnTo>
                <a:lnTo>
                  <a:pt x="498" y="204"/>
                </a:lnTo>
                <a:lnTo>
                  <a:pt x="540" y="210"/>
                </a:lnTo>
                <a:lnTo>
                  <a:pt x="564" y="210"/>
                </a:lnTo>
                <a:lnTo>
                  <a:pt x="588" y="210"/>
                </a:lnTo>
                <a:lnTo>
                  <a:pt x="612" y="210"/>
                </a:lnTo>
                <a:lnTo>
                  <a:pt x="612" y="216"/>
                </a:lnTo>
                <a:lnTo>
                  <a:pt x="618" y="222"/>
                </a:lnTo>
                <a:lnTo>
                  <a:pt x="618" y="228"/>
                </a:lnTo>
                <a:lnTo>
                  <a:pt x="624" y="240"/>
                </a:lnTo>
                <a:lnTo>
                  <a:pt x="624" y="246"/>
                </a:lnTo>
                <a:lnTo>
                  <a:pt x="630" y="252"/>
                </a:lnTo>
                <a:lnTo>
                  <a:pt x="630" y="258"/>
                </a:lnTo>
                <a:lnTo>
                  <a:pt x="636" y="264"/>
                </a:lnTo>
                <a:lnTo>
                  <a:pt x="636" y="270"/>
                </a:lnTo>
                <a:lnTo>
                  <a:pt x="630" y="282"/>
                </a:lnTo>
                <a:lnTo>
                  <a:pt x="630" y="288"/>
                </a:lnTo>
                <a:lnTo>
                  <a:pt x="630" y="300"/>
                </a:lnTo>
                <a:lnTo>
                  <a:pt x="630" y="306"/>
                </a:lnTo>
                <a:lnTo>
                  <a:pt x="636" y="306"/>
                </a:lnTo>
                <a:lnTo>
                  <a:pt x="642" y="306"/>
                </a:lnTo>
                <a:lnTo>
                  <a:pt x="648" y="312"/>
                </a:lnTo>
                <a:lnTo>
                  <a:pt x="666" y="312"/>
                </a:lnTo>
                <a:lnTo>
                  <a:pt x="696" y="306"/>
                </a:lnTo>
                <a:lnTo>
                  <a:pt x="732" y="300"/>
                </a:lnTo>
                <a:lnTo>
                  <a:pt x="732" y="288"/>
                </a:lnTo>
                <a:lnTo>
                  <a:pt x="738" y="288"/>
                </a:lnTo>
                <a:lnTo>
                  <a:pt x="744" y="276"/>
                </a:lnTo>
                <a:lnTo>
                  <a:pt x="762" y="246"/>
                </a:lnTo>
                <a:lnTo>
                  <a:pt x="768" y="228"/>
                </a:lnTo>
                <a:lnTo>
                  <a:pt x="792" y="210"/>
                </a:lnTo>
                <a:lnTo>
                  <a:pt x="804" y="186"/>
                </a:lnTo>
                <a:lnTo>
                  <a:pt x="804" y="156"/>
                </a:lnTo>
                <a:lnTo>
                  <a:pt x="804" y="138"/>
                </a:lnTo>
                <a:lnTo>
                  <a:pt x="810" y="126"/>
                </a:lnTo>
                <a:lnTo>
                  <a:pt x="816" y="120"/>
                </a:lnTo>
                <a:lnTo>
                  <a:pt x="828" y="102"/>
                </a:lnTo>
                <a:lnTo>
                  <a:pt x="834" y="96"/>
                </a:lnTo>
                <a:lnTo>
                  <a:pt x="846" y="102"/>
                </a:lnTo>
                <a:lnTo>
                  <a:pt x="852" y="96"/>
                </a:lnTo>
                <a:lnTo>
                  <a:pt x="858" y="72"/>
                </a:lnTo>
                <a:lnTo>
                  <a:pt x="864" y="60"/>
                </a:lnTo>
                <a:lnTo>
                  <a:pt x="882" y="48"/>
                </a:lnTo>
                <a:lnTo>
                  <a:pt x="906" y="36"/>
                </a:lnTo>
                <a:lnTo>
                  <a:pt x="918" y="12"/>
                </a:lnTo>
                <a:lnTo>
                  <a:pt x="924" y="0"/>
                </a:lnTo>
                <a:lnTo>
                  <a:pt x="930" y="6"/>
                </a:lnTo>
                <a:lnTo>
                  <a:pt x="942" y="12"/>
                </a:lnTo>
                <a:lnTo>
                  <a:pt x="948" y="12"/>
                </a:lnTo>
                <a:lnTo>
                  <a:pt x="954" y="18"/>
                </a:lnTo>
                <a:lnTo>
                  <a:pt x="966" y="18"/>
                </a:lnTo>
                <a:lnTo>
                  <a:pt x="972" y="18"/>
                </a:lnTo>
                <a:lnTo>
                  <a:pt x="984" y="18"/>
                </a:lnTo>
                <a:lnTo>
                  <a:pt x="990" y="18"/>
                </a:lnTo>
                <a:lnTo>
                  <a:pt x="1002" y="48"/>
                </a:lnTo>
                <a:lnTo>
                  <a:pt x="1008" y="78"/>
                </a:lnTo>
                <a:lnTo>
                  <a:pt x="1020" y="78"/>
                </a:lnTo>
                <a:lnTo>
                  <a:pt x="1020" y="90"/>
                </a:lnTo>
                <a:lnTo>
                  <a:pt x="1026" y="102"/>
                </a:lnTo>
                <a:lnTo>
                  <a:pt x="1044" y="120"/>
                </a:lnTo>
                <a:lnTo>
                  <a:pt x="1044" y="132"/>
                </a:lnTo>
                <a:lnTo>
                  <a:pt x="1056" y="150"/>
                </a:lnTo>
                <a:lnTo>
                  <a:pt x="1050" y="150"/>
                </a:lnTo>
                <a:lnTo>
                  <a:pt x="1044" y="156"/>
                </a:lnTo>
                <a:lnTo>
                  <a:pt x="1044" y="162"/>
                </a:lnTo>
                <a:lnTo>
                  <a:pt x="1038" y="162"/>
                </a:lnTo>
                <a:lnTo>
                  <a:pt x="1032" y="162"/>
                </a:lnTo>
                <a:lnTo>
                  <a:pt x="1026" y="168"/>
                </a:lnTo>
                <a:lnTo>
                  <a:pt x="1014" y="174"/>
                </a:lnTo>
                <a:lnTo>
                  <a:pt x="1014" y="186"/>
                </a:lnTo>
                <a:lnTo>
                  <a:pt x="1014" y="192"/>
                </a:lnTo>
                <a:lnTo>
                  <a:pt x="1014" y="198"/>
                </a:lnTo>
                <a:lnTo>
                  <a:pt x="1020" y="204"/>
                </a:lnTo>
                <a:lnTo>
                  <a:pt x="1026" y="204"/>
                </a:lnTo>
                <a:lnTo>
                  <a:pt x="1032" y="204"/>
                </a:lnTo>
                <a:lnTo>
                  <a:pt x="1032" y="210"/>
                </a:lnTo>
                <a:lnTo>
                  <a:pt x="1038" y="210"/>
                </a:lnTo>
                <a:lnTo>
                  <a:pt x="1032" y="216"/>
                </a:lnTo>
                <a:lnTo>
                  <a:pt x="1026" y="228"/>
                </a:lnTo>
                <a:lnTo>
                  <a:pt x="1026" y="234"/>
                </a:lnTo>
                <a:lnTo>
                  <a:pt x="1032" y="240"/>
                </a:lnTo>
                <a:lnTo>
                  <a:pt x="1032" y="246"/>
                </a:lnTo>
                <a:lnTo>
                  <a:pt x="1032" y="252"/>
                </a:lnTo>
                <a:lnTo>
                  <a:pt x="1032" y="258"/>
                </a:lnTo>
                <a:lnTo>
                  <a:pt x="1038" y="264"/>
                </a:lnTo>
                <a:lnTo>
                  <a:pt x="1032" y="276"/>
                </a:lnTo>
                <a:lnTo>
                  <a:pt x="1026" y="276"/>
                </a:lnTo>
                <a:lnTo>
                  <a:pt x="1020" y="276"/>
                </a:lnTo>
                <a:lnTo>
                  <a:pt x="996" y="282"/>
                </a:lnTo>
                <a:lnTo>
                  <a:pt x="996" y="288"/>
                </a:lnTo>
                <a:lnTo>
                  <a:pt x="996" y="294"/>
                </a:lnTo>
                <a:lnTo>
                  <a:pt x="996" y="300"/>
                </a:lnTo>
                <a:lnTo>
                  <a:pt x="996" y="306"/>
                </a:lnTo>
                <a:lnTo>
                  <a:pt x="984" y="324"/>
                </a:lnTo>
                <a:lnTo>
                  <a:pt x="984" y="330"/>
                </a:lnTo>
                <a:lnTo>
                  <a:pt x="984" y="336"/>
                </a:lnTo>
                <a:lnTo>
                  <a:pt x="978" y="336"/>
                </a:lnTo>
                <a:lnTo>
                  <a:pt x="978" y="342"/>
                </a:lnTo>
                <a:lnTo>
                  <a:pt x="984" y="360"/>
                </a:lnTo>
                <a:lnTo>
                  <a:pt x="978" y="366"/>
                </a:lnTo>
                <a:lnTo>
                  <a:pt x="978" y="372"/>
                </a:lnTo>
                <a:lnTo>
                  <a:pt x="972" y="372"/>
                </a:lnTo>
                <a:lnTo>
                  <a:pt x="972" y="378"/>
                </a:lnTo>
                <a:lnTo>
                  <a:pt x="972" y="384"/>
                </a:lnTo>
                <a:lnTo>
                  <a:pt x="972" y="390"/>
                </a:lnTo>
                <a:lnTo>
                  <a:pt x="966" y="402"/>
                </a:lnTo>
                <a:lnTo>
                  <a:pt x="960" y="414"/>
                </a:lnTo>
                <a:lnTo>
                  <a:pt x="954" y="420"/>
                </a:lnTo>
                <a:lnTo>
                  <a:pt x="948" y="426"/>
                </a:lnTo>
                <a:lnTo>
                  <a:pt x="948" y="438"/>
                </a:lnTo>
                <a:lnTo>
                  <a:pt x="942" y="444"/>
                </a:lnTo>
                <a:lnTo>
                  <a:pt x="936" y="450"/>
                </a:lnTo>
                <a:lnTo>
                  <a:pt x="930" y="456"/>
                </a:lnTo>
                <a:lnTo>
                  <a:pt x="924" y="462"/>
                </a:lnTo>
                <a:lnTo>
                  <a:pt x="924" y="474"/>
                </a:lnTo>
                <a:lnTo>
                  <a:pt x="918" y="474"/>
                </a:lnTo>
                <a:lnTo>
                  <a:pt x="918" y="480"/>
                </a:lnTo>
                <a:lnTo>
                  <a:pt x="918" y="486"/>
                </a:lnTo>
                <a:lnTo>
                  <a:pt x="918" y="504"/>
                </a:lnTo>
                <a:lnTo>
                  <a:pt x="918" y="510"/>
                </a:lnTo>
                <a:lnTo>
                  <a:pt x="918" y="522"/>
                </a:lnTo>
                <a:lnTo>
                  <a:pt x="918" y="528"/>
                </a:lnTo>
                <a:lnTo>
                  <a:pt x="924" y="534"/>
                </a:lnTo>
                <a:lnTo>
                  <a:pt x="924" y="540"/>
                </a:lnTo>
                <a:lnTo>
                  <a:pt x="924" y="546"/>
                </a:lnTo>
                <a:lnTo>
                  <a:pt x="918" y="546"/>
                </a:lnTo>
                <a:lnTo>
                  <a:pt x="918" y="552"/>
                </a:lnTo>
                <a:lnTo>
                  <a:pt x="912" y="546"/>
                </a:lnTo>
                <a:lnTo>
                  <a:pt x="912" y="552"/>
                </a:lnTo>
                <a:lnTo>
                  <a:pt x="912" y="570"/>
                </a:lnTo>
                <a:lnTo>
                  <a:pt x="906" y="588"/>
                </a:lnTo>
                <a:lnTo>
                  <a:pt x="900" y="606"/>
                </a:lnTo>
                <a:lnTo>
                  <a:pt x="906" y="624"/>
                </a:lnTo>
                <a:lnTo>
                  <a:pt x="900" y="624"/>
                </a:lnTo>
                <a:lnTo>
                  <a:pt x="894" y="630"/>
                </a:lnTo>
                <a:lnTo>
                  <a:pt x="888" y="630"/>
                </a:lnTo>
                <a:lnTo>
                  <a:pt x="882" y="630"/>
                </a:lnTo>
                <a:lnTo>
                  <a:pt x="882" y="636"/>
                </a:lnTo>
                <a:lnTo>
                  <a:pt x="876" y="642"/>
                </a:lnTo>
                <a:lnTo>
                  <a:pt x="870" y="642"/>
                </a:lnTo>
                <a:lnTo>
                  <a:pt x="870" y="648"/>
                </a:lnTo>
                <a:lnTo>
                  <a:pt x="870" y="654"/>
                </a:lnTo>
                <a:lnTo>
                  <a:pt x="864" y="654"/>
                </a:lnTo>
                <a:lnTo>
                  <a:pt x="864" y="660"/>
                </a:lnTo>
                <a:lnTo>
                  <a:pt x="846" y="666"/>
                </a:lnTo>
                <a:lnTo>
                  <a:pt x="828" y="672"/>
                </a:lnTo>
                <a:lnTo>
                  <a:pt x="816" y="660"/>
                </a:lnTo>
                <a:lnTo>
                  <a:pt x="810" y="660"/>
                </a:lnTo>
                <a:lnTo>
                  <a:pt x="798" y="666"/>
                </a:lnTo>
                <a:lnTo>
                  <a:pt x="786" y="666"/>
                </a:lnTo>
                <a:lnTo>
                  <a:pt x="780" y="672"/>
                </a:lnTo>
                <a:lnTo>
                  <a:pt x="768" y="678"/>
                </a:lnTo>
                <a:lnTo>
                  <a:pt x="762" y="660"/>
                </a:lnTo>
                <a:lnTo>
                  <a:pt x="762" y="654"/>
                </a:lnTo>
                <a:lnTo>
                  <a:pt x="756" y="636"/>
                </a:lnTo>
                <a:lnTo>
                  <a:pt x="762" y="624"/>
                </a:lnTo>
                <a:lnTo>
                  <a:pt x="756" y="606"/>
                </a:lnTo>
                <a:lnTo>
                  <a:pt x="756" y="600"/>
                </a:lnTo>
                <a:lnTo>
                  <a:pt x="762" y="594"/>
                </a:lnTo>
                <a:lnTo>
                  <a:pt x="768" y="600"/>
                </a:lnTo>
                <a:lnTo>
                  <a:pt x="768" y="594"/>
                </a:lnTo>
                <a:lnTo>
                  <a:pt x="768" y="588"/>
                </a:lnTo>
                <a:lnTo>
                  <a:pt x="774" y="582"/>
                </a:lnTo>
                <a:lnTo>
                  <a:pt x="768" y="576"/>
                </a:lnTo>
                <a:lnTo>
                  <a:pt x="762" y="576"/>
                </a:lnTo>
                <a:lnTo>
                  <a:pt x="756" y="576"/>
                </a:lnTo>
                <a:lnTo>
                  <a:pt x="690" y="576"/>
                </a:lnTo>
                <a:lnTo>
                  <a:pt x="624" y="570"/>
                </a:lnTo>
                <a:lnTo>
                  <a:pt x="600" y="564"/>
                </a:lnTo>
                <a:lnTo>
                  <a:pt x="576" y="564"/>
                </a:lnTo>
                <a:lnTo>
                  <a:pt x="558" y="570"/>
                </a:lnTo>
                <a:lnTo>
                  <a:pt x="552" y="576"/>
                </a:lnTo>
                <a:lnTo>
                  <a:pt x="552" y="582"/>
                </a:lnTo>
                <a:lnTo>
                  <a:pt x="552" y="588"/>
                </a:lnTo>
                <a:lnTo>
                  <a:pt x="546" y="594"/>
                </a:lnTo>
                <a:lnTo>
                  <a:pt x="546" y="600"/>
                </a:lnTo>
                <a:lnTo>
                  <a:pt x="540" y="606"/>
                </a:lnTo>
                <a:lnTo>
                  <a:pt x="534" y="618"/>
                </a:lnTo>
                <a:lnTo>
                  <a:pt x="534" y="624"/>
                </a:lnTo>
                <a:lnTo>
                  <a:pt x="534" y="630"/>
                </a:lnTo>
                <a:lnTo>
                  <a:pt x="534" y="636"/>
                </a:lnTo>
                <a:lnTo>
                  <a:pt x="528" y="636"/>
                </a:lnTo>
                <a:lnTo>
                  <a:pt x="516" y="642"/>
                </a:lnTo>
                <a:lnTo>
                  <a:pt x="516" y="648"/>
                </a:lnTo>
                <a:lnTo>
                  <a:pt x="510" y="648"/>
                </a:lnTo>
                <a:lnTo>
                  <a:pt x="504" y="654"/>
                </a:lnTo>
                <a:lnTo>
                  <a:pt x="492" y="666"/>
                </a:lnTo>
                <a:lnTo>
                  <a:pt x="492" y="672"/>
                </a:lnTo>
                <a:lnTo>
                  <a:pt x="492" y="684"/>
                </a:lnTo>
                <a:lnTo>
                  <a:pt x="486" y="690"/>
                </a:lnTo>
                <a:lnTo>
                  <a:pt x="480" y="696"/>
                </a:lnTo>
                <a:lnTo>
                  <a:pt x="486" y="702"/>
                </a:lnTo>
                <a:lnTo>
                  <a:pt x="492" y="702"/>
                </a:lnTo>
                <a:lnTo>
                  <a:pt x="486" y="708"/>
                </a:lnTo>
                <a:lnTo>
                  <a:pt x="480" y="708"/>
                </a:lnTo>
                <a:lnTo>
                  <a:pt x="480" y="714"/>
                </a:lnTo>
                <a:lnTo>
                  <a:pt x="474" y="714"/>
                </a:lnTo>
                <a:lnTo>
                  <a:pt x="474" y="720"/>
                </a:lnTo>
                <a:lnTo>
                  <a:pt x="480" y="726"/>
                </a:lnTo>
                <a:lnTo>
                  <a:pt x="474" y="726"/>
                </a:lnTo>
                <a:lnTo>
                  <a:pt x="474" y="738"/>
                </a:lnTo>
                <a:lnTo>
                  <a:pt x="474" y="744"/>
                </a:lnTo>
                <a:lnTo>
                  <a:pt x="474" y="750"/>
                </a:lnTo>
                <a:lnTo>
                  <a:pt x="480" y="750"/>
                </a:lnTo>
                <a:lnTo>
                  <a:pt x="480" y="756"/>
                </a:lnTo>
                <a:lnTo>
                  <a:pt x="492" y="762"/>
                </a:lnTo>
                <a:lnTo>
                  <a:pt x="498" y="774"/>
                </a:lnTo>
                <a:lnTo>
                  <a:pt x="498" y="780"/>
                </a:lnTo>
                <a:lnTo>
                  <a:pt x="504" y="786"/>
                </a:lnTo>
                <a:lnTo>
                  <a:pt x="510" y="792"/>
                </a:lnTo>
                <a:lnTo>
                  <a:pt x="504" y="798"/>
                </a:lnTo>
                <a:lnTo>
                  <a:pt x="504" y="804"/>
                </a:lnTo>
                <a:lnTo>
                  <a:pt x="504" y="810"/>
                </a:lnTo>
                <a:lnTo>
                  <a:pt x="498" y="822"/>
                </a:lnTo>
                <a:lnTo>
                  <a:pt x="492" y="828"/>
                </a:lnTo>
                <a:lnTo>
                  <a:pt x="492" y="834"/>
                </a:lnTo>
                <a:lnTo>
                  <a:pt x="486" y="840"/>
                </a:lnTo>
                <a:lnTo>
                  <a:pt x="480" y="846"/>
                </a:lnTo>
                <a:lnTo>
                  <a:pt x="474" y="852"/>
                </a:lnTo>
                <a:lnTo>
                  <a:pt x="468" y="858"/>
                </a:lnTo>
                <a:lnTo>
                  <a:pt x="474" y="858"/>
                </a:lnTo>
                <a:lnTo>
                  <a:pt x="468" y="864"/>
                </a:lnTo>
                <a:lnTo>
                  <a:pt x="474" y="870"/>
                </a:lnTo>
                <a:lnTo>
                  <a:pt x="474" y="876"/>
                </a:lnTo>
                <a:lnTo>
                  <a:pt x="456" y="894"/>
                </a:lnTo>
                <a:lnTo>
                  <a:pt x="450" y="894"/>
                </a:lnTo>
                <a:lnTo>
                  <a:pt x="444" y="900"/>
                </a:lnTo>
                <a:lnTo>
                  <a:pt x="444" y="894"/>
                </a:lnTo>
                <a:lnTo>
                  <a:pt x="438" y="894"/>
                </a:lnTo>
                <a:lnTo>
                  <a:pt x="432" y="900"/>
                </a:lnTo>
                <a:lnTo>
                  <a:pt x="432" y="906"/>
                </a:lnTo>
                <a:lnTo>
                  <a:pt x="420" y="906"/>
                </a:lnTo>
                <a:lnTo>
                  <a:pt x="420" y="912"/>
                </a:lnTo>
                <a:lnTo>
                  <a:pt x="420" y="918"/>
                </a:lnTo>
                <a:lnTo>
                  <a:pt x="426" y="918"/>
                </a:lnTo>
                <a:lnTo>
                  <a:pt x="426" y="924"/>
                </a:lnTo>
                <a:lnTo>
                  <a:pt x="426" y="930"/>
                </a:lnTo>
                <a:lnTo>
                  <a:pt x="420" y="930"/>
                </a:lnTo>
                <a:lnTo>
                  <a:pt x="414" y="936"/>
                </a:lnTo>
                <a:lnTo>
                  <a:pt x="414" y="942"/>
                </a:lnTo>
                <a:lnTo>
                  <a:pt x="414" y="948"/>
                </a:lnTo>
                <a:lnTo>
                  <a:pt x="414" y="954"/>
                </a:lnTo>
                <a:lnTo>
                  <a:pt x="426" y="960"/>
                </a:lnTo>
                <a:lnTo>
                  <a:pt x="432" y="966"/>
                </a:lnTo>
                <a:lnTo>
                  <a:pt x="438" y="972"/>
                </a:lnTo>
                <a:lnTo>
                  <a:pt x="444" y="972"/>
                </a:lnTo>
                <a:lnTo>
                  <a:pt x="444" y="978"/>
                </a:lnTo>
                <a:lnTo>
                  <a:pt x="450" y="978"/>
                </a:lnTo>
                <a:lnTo>
                  <a:pt x="450" y="984"/>
                </a:lnTo>
                <a:lnTo>
                  <a:pt x="456" y="990"/>
                </a:lnTo>
                <a:lnTo>
                  <a:pt x="456" y="996"/>
                </a:lnTo>
                <a:lnTo>
                  <a:pt x="462" y="1008"/>
                </a:lnTo>
                <a:lnTo>
                  <a:pt x="468" y="1008"/>
                </a:lnTo>
                <a:lnTo>
                  <a:pt x="468" y="1002"/>
                </a:lnTo>
                <a:lnTo>
                  <a:pt x="474" y="1008"/>
                </a:lnTo>
                <a:lnTo>
                  <a:pt x="480" y="1002"/>
                </a:lnTo>
                <a:lnTo>
                  <a:pt x="486" y="1008"/>
                </a:lnTo>
                <a:lnTo>
                  <a:pt x="486" y="1014"/>
                </a:lnTo>
                <a:lnTo>
                  <a:pt x="492" y="1014"/>
                </a:lnTo>
                <a:lnTo>
                  <a:pt x="492" y="1020"/>
                </a:lnTo>
                <a:lnTo>
                  <a:pt x="486" y="1020"/>
                </a:lnTo>
                <a:lnTo>
                  <a:pt x="492" y="1020"/>
                </a:lnTo>
                <a:lnTo>
                  <a:pt x="486" y="1020"/>
                </a:lnTo>
                <a:lnTo>
                  <a:pt x="486" y="1026"/>
                </a:lnTo>
                <a:lnTo>
                  <a:pt x="492" y="1026"/>
                </a:lnTo>
                <a:lnTo>
                  <a:pt x="486" y="1026"/>
                </a:lnTo>
                <a:lnTo>
                  <a:pt x="492" y="1032"/>
                </a:lnTo>
                <a:close/>
              </a:path>
            </a:pathLst>
          </a:custGeom>
          <a:solidFill>
            <a:srgbClr val="FF9900"/>
          </a:solidFill>
          <a:ln w="9525">
            <a:solidFill>
              <a:schemeClr val="bg1"/>
            </a:solidFill>
            <a:round/>
            <a:headEnd/>
            <a:tailEnd/>
          </a:ln>
        </p:spPr>
        <p:txBody>
          <a:bodyPr/>
          <a:lstStyle/>
          <a:p>
            <a:endParaRPr lang="en-GB"/>
          </a:p>
        </p:txBody>
      </p:sp>
      <p:sp>
        <p:nvSpPr>
          <p:cNvPr id="20514" name="Freeform 31"/>
          <p:cNvSpPr>
            <a:spLocks noEditPoints="1"/>
          </p:cNvSpPr>
          <p:nvPr/>
        </p:nvSpPr>
        <p:spPr bwMode="gray">
          <a:xfrm>
            <a:off x="1443038" y="5210175"/>
            <a:ext cx="825500" cy="168275"/>
          </a:xfrm>
          <a:custGeom>
            <a:avLst/>
            <a:gdLst>
              <a:gd name="T0" fmla="*/ 53909 w 1056"/>
              <a:gd name="T1" fmla="*/ 5640 h 210"/>
              <a:gd name="T2" fmla="*/ 49221 w 1056"/>
              <a:gd name="T3" fmla="*/ 4028 h 210"/>
              <a:gd name="T4" fmla="*/ 44533 w 1056"/>
              <a:gd name="T5" fmla="*/ 4028 h 210"/>
              <a:gd name="T6" fmla="*/ 42189 w 1056"/>
              <a:gd name="T7" fmla="*/ 4834 h 210"/>
              <a:gd name="T8" fmla="*/ 39846 w 1056"/>
              <a:gd name="T9" fmla="*/ 5640 h 210"/>
              <a:gd name="T10" fmla="*/ 35939 w 1056"/>
              <a:gd name="T11" fmla="*/ 7251 h 210"/>
              <a:gd name="T12" fmla="*/ 32814 w 1056"/>
              <a:gd name="T13" fmla="*/ 6445 h 210"/>
              <a:gd name="T14" fmla="*/ 32814 w 1056"/>
              <a:gd name="T15" fmla="*/ 4028 h 210"/>
              <a:gd name="T16" fmla="*/ 32033 w 1056"/>
              <a:gd name="T17" fmla="*/ 5640 h 210"/>
              <a:gd name="T18" fmla="*/ 29689 w 1056"/>
              <a:gd name="T19" fmla="*/ 8057 h 210"/>
              <a:gd name="T20" fmla="*/ 28908 w 1056"/>
              <a:gd name="T21" fmla="*/ 9668 h 210"/>
              <a:gd name="T22" fmla="*/ 28908 w 1056"/>
              <a:gd name="T23" fmla="*/ 12085 h 210"/>
              <a:gd name="T24" fmla="*/ 28908 w 1056"/>
              <a:gd name="T25" fmla="*/ 12891 h 210"/>
              <a:gd name="T26" fmla="*/ 29689 w 1056"/>
              <a:gd name="T27" fmla="*/ 12891 h 210"/>
              <a:gd name="T28" fmla="*/ 26564 w 1056"/>
              <a:gd name="T29" fmla="*/ 12891 h 210"/>
              <a:gd name="T30" fmla="*/ 20313 w 1056"/>
              <a:gd name="T31" fmla="*/ 12891 h 210"/>
              <a:gd name="T32" fmla="*/ 15626 w 1056"/>
              <a:gd name="T33" fmla="*/ 13697 h 210"/>
              <a:gd name="T34" fmla="*/ 10157 w 1056"/>
              <a:gd name="T35" fmla="*/ 13697 h 210"/>
              <a:gd name="T36" fmla="*/ 4688 w 1056"/>
              <a:gd name="T37" fmla="*/ 13697 h 210"/>
              <a:gd name="T38" fmla="*/ 781 w 1056"/>
              <a:gd name="T39" fmla="*/ 14502 h 210"/>
              <a:gd name="T40" fmla="*/ 2344 w 1056"/>
              <a:gd name="T41" fmla="*/ 11280 h 210"/>
              <a:gd name="T42" fmla="*/ 6250 w 1056"/>
              <a:gd name="T43" fmla="*/ 12085 h 210"/>
              <a:gd name="T44" fmla="*/ 8594 w 1056"/>
              <a:gd name="T45" fmla="*/ 9668 h 210"/>
              <a:gd name="T46" fmla="*/ 20313 w 1056"/>
              <a:gd name="T47" fmla="*/ 8057 h 210"/>
              <a:gd name="T48" fmla="*/ 22657 w 1056"/>
              <a:gd name="T49" fmla="*/ 4028 h 210"/>
              <a:gd name="T50" fmla="*/ 26564 w 1056"/>
              <a:gd name="T51" fmla="*/ 806 h 210"/>
              <a:gd name="T52" fmla="*/ 32033 w 1056"/>
              <a:gd name="T53" fmla="*/ 2417 h 210"/>
              <a:gd name="T54" fmla="*/ 57034 w 1056"/>
              <a:gd name="T55" fmla="*/ 806 h 210"/>
              <a:gd name="T56" fmla="*/ 58596 w 1056"/>
              <a:gd name="T57" fmla="*/ 3223 h 210"/>
              <a:gd name="T58" fmla="*/ 66409 w 1056"/>
              <a:gd name="T59" fmla="*/ 12085 h 210"/>
              <a:gd name="T60" fmla="*/ 71097 w 1056"/>
              <a:gd name="T61" fmla="*/ 14502 h 210"/>
              <a:gd name="T62" fmla="*/ 66409 w 1056"/>
              <a:gd name="T63" fmla="*/ 14502 h 210"/>
              <a:gd name="T64" fmla="*/ 61722 w 1056"/>
              <a:gd name="T65" fmla="*/ 12891 h 210"/>
              <a:gd name="T66" fmla="*/ 57815 w 1056"/>
              <a:gd name="T67" fmla="*/ 12891 h 210"/>
              <a:gd name="T68" fmla="*/ 53909 w 1056"/>
              <a:gd name="T69" fmla="*/ 12085 h 210"/>
              <a:gd name="T70" fmla="*/ 50784 w 1056"/>
              <a:gd name="T71" fmla="*/ 11280 h 210"/>
              <a:gd name="T72" fmla="*/ 46096 w 1056"/>
              <a:gd name="T73" fmla="*/ 12085 h 210"/>
              <a:gd name="T74" fmla="*/ 42189 w 1056"/>
              <a:gd name="T75" fmla="*/ 12085 h 210"/>
              <a:gd name="T76" fmla="*/ 38283 w 1056"/>
              <a:gd name="T77" fmla="*/ 12085 h 210"/>
              <a:gd name="T78" fmla="*/ 32814 w 1056"/>
              <a:gd name="T79" fmla="*/ 12085 h 210"/>
              <a:gd name="T80" fmla="*/ 29689 w 1056"/>
              <a:gd name="T81" fmla="*/ 12891 h 210"/>
              <a:gd name="T82" fmla="*/ 32033 w 1056"/>
              <a:gd name="T83" fmla="*/ 11280 h 210"/>
              <a:gd name="T84" fmla="*/ 32814 w 1056"/>
              <a:gd name="T85" fmla="*/ 10474 h 210"/>
              <a:gd name="T86" fmla="*/ 35158 w 1056"/>
              <a:gd name="T87" fmla="*/ 10474 h 210"/>
              <a:gd name="T88" fmla="*/ 37502 w 1056"/>
              <a:gd name="T89" fmla="*/ 9668 h 210"/>
              <a:gd name="T90" fmla="*/ 39846 w 1056"/>
              <a:gd name="T91" fmla="*/ 8863 h 210"/>
              <a:gd name="T92" fmla="*/ 42189 w 1056"/>
              <a:gd name="T93" fmla="*/ 7251 h 210"/>
              <a:gd name="T94" fmla="*/ 44533 w 1056"/>
              <a:gd name="T95" fmla="*/ 6445 h 210"/>
              <a:gd name="T96" fmla="*/ 46877 w 1056"/>
              <a:gd name="T97" fmla="*/ 4028 h 210"/>
              <a:gd name="T98" fmla="*/ 50784 w 1056"/>
              <a:gd name="T99" fmla="*/ 4028 h 210"/>
              <a:gd name="T100" fmla="*/ 56253 w 1056"/>
              <a:gd name="T101" fmla="*/ 5640 h 210"/>
              <a:gd name="T102" fmla="*/ 60159 w 1056"/>
              <a:gd name="T103" fmla="*/ 8863 h 210"/>
              <a:gd name="T104" fmla="*/ 53909 w 1056"/>
              <a:gd name="T105" fmla="*/ 8057 h 210"/>
              <a:gd name="T106" fmla="*/ 56253 w 1056"/>
              <a:gd name="T107" fmla="*/ 9668 h 210"/>
              <a:gd name="T108" fmla="*/ 60940 w 1056"/>
              <a:gd name="T109" fmla="*/ 12085 h 210"/>
              <a:gd name="T110" fmla="*/ 65628 w 1056"/>
              <a:gd name="T111" fmla="*/ 11280 h 210"/>
              <a:gd name="T112" fmla="*/ 65628 w 1056"/>
              <a:gd name="T113" fmla="*/ 11280 h 210"/>
              <a:gd name="T114" fmla="*/ 60940 w 1056"/>
              <a:gd name="T115" fmla="*/ 10474 h 210"/>
              <a:gd name="T116" fmla="*/ 59378 w 1056"/>
              <a:gd name="T117" fmla="*/ 11280 h 210"/>
              <a:gd name="T118" fmla="*/ 29689 w 1056"/>
              <a:gd name="T119" fmla="*/ 9668 h 210"/>
              <a:gd name="T120" fmla="*/ 32033 w 1056"/>
              <a:gd name="T121" fmla="*/ 9668 h 210"/>
              <a:gd name="T122" fmla="*/ 31251 w 1056"/>
              <a:gd name="T123" fmla="*/ 11280 h 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6"/>
              <a:gd name="T187" fmla="*/ 0 h 210"/>
              <a:gd name="T188" fmla="*/ 1056 w 1056"/>
              <a:gd name="T189" fmla="*/ 210 h 2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6" h="210">
                <a:moveTo>
                  <a:pt x="870" y="90"/>
                </a:moveTo>
                <a:lnTo>
                  <a:pt x="864" y="90"/>
                </a:lnTo>
                <a:lnTo>
                  <a:pt x="852" y="84"/>
                </a:lnTo>
                <a:lnTo>
                  <a:pt x="846" y="84"/>
                </a:lnTo>
                <a:lnTo>
                  <a:pt x="846" y="78"/>
                </a:lnTo>
                <a:lnTo>
                  <a:pt x="840" y="78"/>
                </a:lnTo>
                <a:lnTo>
                  <a:pt x="834" y="78"/>
                </a:lnTo>
                <a:lnTo>
                  <a:pt x="834" y="72"/>
                </a:lnTo>
                <a:lnTo>
                  <a:pt x="804" y="78"/>
                </a:lnTo>
                <a:lnTo>
                  <a:pt x="798" y="78"/>
                </a:lnTo>
                <a:lnTo>
                  <a:pt x="792" y="72"/>
                </a:lnTo>
                <a:lnTo>
                  <a:pt x="780" y="60"/>
                </a:lnTo>
                <a:lnTo>
                  <a:pt x="768" y="54"/>
                </a:lnTo>
                <a:lnTo>
                  <a:pt x="756" y="54"/>
                </a:lnTo>
                <a:lnTo>
                  <a:pt x="750" y="54"/>
                </a:lnTo>
                <a:lnTo>
                  <a:pt x="750" y="48"/>
                </a:lnTo>
                <a:lnTo>
                  <a:pt x="744" y="48"/>
                </a:lnTo>
                <a:lnTo>
                  <a:pt x="738" y="48"/>
                </a:lnTo>
                <a:lnTo>
                  <a:pt x="732" y="48"/>
                </a:lnTo>
                <a:lnTo>
                  <a:pt x="732" y="54"/>
                </a:lnTo>
                <a:lnTo>
                  <a:pt x="726" y="48"/>
                </a:lnTo>
                <a:lnTo>
                  <a:pt x="720" y="48"/>
                </a:lnTo>
                <a:lnTo>
                  <a:pt x="714" y="48"/>
                </a:lnTo>
                <a:lnTo>
                  <a:pt x="708" y="48"/>
                </a:lnTo>
                <a:lnTo>
                  <a:pt x="702" y="48"/>
                </a:lnTo>
                <a:lnTo>
                  <a:pt x="696" y="48"/>
                </a:lnTo>
                <a:lnTo>
                  <a:pt x="684" y="48"/>
                </a:lnTo>
                <a:lnTo>
                  <a:pt x="678" y="48"/>
                </a:lnTo>
                <a:lnTo>
                  <a:pt x="672" y="48"/>
                </a:lnTo>
                <a:lnTo>
                  <a:pt x="666" y="54"/>
                </a:lnTo>
                <a:lnTo>
                  <a:pt x="660" y="54"/>
                </a:lnTo>
                <a:lnTo>
                  <a:pt x="660" y="48"/>
                </a:lnTo>
                <a:lnTo>
                  <a:pt x="654" y="48"/>
                </a:lnTo>
                <a:lnTo>
                  <a:pt x="648" y="48"/>
                </a:lnTo>
                <a:lnTo>
                  <a:pt x="642" y="48"/>
                </a:lnTo>
                <a:lnTo>
                  <a:pt x="642" y="54"/>
                </a:lnTo>
                <a:lnTo>
                  <a:pt x="636" y="54"/>
                </a:lnTo>
                <a:lnTo>
                  <a:pt x="636" y="60"/>
                </a:lnTo>
                <a:lnTo>
                  <a:pt x="630" y="60"/>
                </a:lnTo>
                <a:lnTo>
                  <a:pt x="630" y="66"/>
                </a:lnTo>
                <a:lnTo>
                  <a:pt x="624" y="66"/>
                </a:lnTo>
                <a:lnTo>
                  <a:pt x="618" y="66"/>
                </a:lnTo>
                <a:lnTo>
                  <a:pt x="618" y="72"/>
                </a:lnTo>
                <a:lnTo>
                  <a:pt x="612" y="78"/>
                </a:lnTo>
                <a:lnTo>
                  <a:pt x="606" y="78"/>
                </a:lnTo>
                <a:lnTo>
                  <a:pt x="606" y="84"/>
                </a:lnTo>
                <a:lnTo>
                  <a:pt x="600" y="84"/>
                </a:lnTo>
                <a:lnTo>
                  <a:pt x="594" y="90"/>
                </a:lnTo>
                <a:lnTo>
                  <a:pt x="588" y="90"/>
                </a:lnTo>
                <a:lnTo>
                  <a:pt x="588" y="84"/>
                </a:lnTo>
                <a:lnTo>
                  <a:pt x="582" y="84"/>
                </a:lnTo>
                <a:lnTo>
                  <a:pt x="576" y="84"/>
                </a:lnTo>
                <a:lnTo>
                  <a:pt x="570" y="84"/>
                </a:lnTo>
                <a:lnTo>
                  <a:pt x="564" y="84"/>
                </a:lnTo>
                <a:lnTo>
                  <a:pt x="558" y="90"/>
                </a:lnTo>
                <a:lnTo>
                  <a:pt x="558" y="96"/>
                </a:lnTo>
                <a:lnTo>
                  <a:pt x="552" y="96"/>
                </a:lnTo>
                <a:lnTo>
                  <a:pt x="546" y="102"/>
                </a:lnTo>
                <a:lnTo>
                  <a:pt x="540" y="102"/>
                </a:lnTo>
                <a:lnTo>
                  <a:pt x="534" y="102"/>
                </a:lnTo>
                <a:lnTo>
                  <a:pt x="528" y="102"/>
                </a:lnTo>
                <a:lnTo>
                  <a:pt x="528" y="108"/>
                </a:lnTo>
                <a:lnTo>
                  <a:pt x="522" y="108"/>
                </a:lnTo>
                <a:lnTo>
                  <a:pt x="522" y="102"/>
                </a:lnTo>
                <a:lnTo>
                  <a:pt x="516" y="102"/>
                </a:lnTo>
                <a:lnTo>
                  <a:pt x="510" y="102"/>
                </a:lnTo>
                <a:lnTo>
                  <a:pt x="504" y="102"/>
                </a:lnTo>
                <a:lnTo>
                  <a:pt x="498" y="102"/>
                </a:lnTo>
                <a:lnTo>
                  <a:pt x="498" y="96"/>
                </a:lnTo>
                <a:lnTo>
                  <a:pt x="492" y="96"/>
                </a:lnTo>
                <a:lnTo>
                  <a:pt x="492" y="90"/>
                </a:lnTo>
                <a:lnTo>
                  <a:pt x="492" y="84"/>
                </a:lnTo>
                <a:lnTo>
                  <a:pt x="492" y="78"/>
                </a:lnTo>
                <a:lnTo>
                  <a:pt x="498" y="78"/>
                </a:lnTo>
                <a:lnTo>
                  <a:pt x="498" y="72"/>
                </a:lnTo>
                <a:lnTo>
                  <a:pt x="498" y="66"/>
                </a:lnTo>
                <a:lnTo>
                  <a:pt x="504" y="60"/>
                </a:lnTo>
                <a:lnTo>
                  <a:pt x="498" y="60"/>
                </a:lnTo>
                <a:lnTo>
                  <a:pt x="498" y="54"/>
                </a:lnTo>
                <a:lnTo>
                  <a:pt x="492" y="54"/>
                </a:lnTo>
                <a:lnTo>
                  <a:pt x="492" y="60"/>
                </a:lnTo>
                <a:lnTo>
                  <a:pt x="486" y="60"/>
                </a:lnTo>
                <a:lnTo>
                  <a:pt x="486" y="66"/>
                </a:lnTo>
                <a:lnTo>
                  <a:pt x="480" y="66"/>
                </a:lnTo>
                <a:lnTo>
                  <a:pt x="474" y="72"/>
                </a:lnTo>
                <a:lnTo>
                  <a:pt x="474" y="66"/>
                </a:lnTo>
                <a:lnTo>
                  <a:pt x="474" y="72"/>
                </a:lnTo>
                <a:lnTo>
                  <a:pt x="468" y="72"/>
                </a:lnTo>
                <a:lnTo>
                  <a:pt x="468" y="78"/>
                </a:lnTo>
                <a:lnTo>
                  <a:pt x="468" y="84"/>
                </a:lnTo>
                <a:lnTo>
                  <a:pt x="462" y="90"/>
                </a:lnTo>
                <a:lnTo>
                  <a:pt x="462" y="84"/>
                </a:lnTo>
                <a:lnTo>
                  <a:pt x="456" y="84"/>
                </a:lnTo>
                <a:lnTo>
                  <a:pt x="450" y="84"/>
                </a:lnTo>
                <a:lnTo>
                  <a:pt x="450" y="90"/>
                </a:lnTo>
                <a:lnTo>
                  <a:pt x="450" y="96"/>
                </a:lnTo>
                <a:lnTo>
                  <a:pt x="450" y="102"/>
                </a:lnTo>
                <a:lnTo>
                  <a:pt x="444" y="102"/>
                </a:lnTo>
                <a:lnTo>
                  <a:pt x="444" y="108"/>
                </a:lnTo>
                <a:lnTo>
                  <a:pt x="444" y="114"/>
                </a:lnTo>
                <a:lnTo>
                  <a:pt x="450" y="114"/>
                </a:lnTo>
                <a:lnTo>
                  <a:pt x="444" y="120"/>
                </a:lnTo>
                <a:lnTo>
                  <a:pt x="444" y="126"/>
                </a:lnTo>
                <a:lnTo>
                  <a:pt x="438" y="126"/>
                </a:lnTo>
                <a:lnTo>
                  <a:pt x="438" y="132"/>
                </a:lnTo>
                <a:lnTo>
                  <a:pt x="438" y="138"/>
                </a:lnTo>
                <a:lnTo>
                  <a:pt x="438" y="144"/>
                </a:lnTo>
                <a:lnTo>
                  <a:pt x="432" y="144"/>
                </a:lnTo>
                <a:lnTo>
                  <a:pt x="432" y="150"/>
                </a:lnTo>
                <a:lnTo>
                  <a:pt x="432" y="144"/>
                </a:lnTo>
                <a:lnTo>
                  <a:pt x="426" y="144"/>
                </a:lnTo>
                <a:lnTo>
                  <a:pt x="426" y="150"/>
                </a:lnTo>
                <a:lnTo>
                  <a:pt x="426" y="156"/>
                </a:lnTo>
                <a:lnTo>
                  <a:pt x="432" y="156"/>
                </a:lnTo>
                <a:lnTo>
                  <a:pt x="438" y="156"/>
                </a:lnTo>
                <a:lnTo>
                  <a:pt x="438" y="162"/>
                </a:lnTo>
                <a:lnTo>
                  <a:pt x="438" y="168"/>
                </a:lnTo>
                <a:lnTo>
                  <a:pt x="432" y="162"/>
                </a:lnTo>
                <a:lnTo>
                  <a:pt x="432" y="168"/>
                </a:lnTo>
                <a:lnTo>
                  <a:pt x="426" y="168"/>
                </a:lnTo>
                <a:lnTo>
                  <a:pt x="420" y="168"/>
                </a:lnTo>
                <a:lnTo>
                  <a:pt x="420" y="174"/>
                </a:lnTo>
                <a:lnTo>
                  <a:pt x="426" y="168"/>
                </a:lnTo>
                <a:lnTo>
                  <a:pt x="432" y="168"/>
                </a:lnTo>
                <a:lnTo>
                  <a:pt x="438" y="168"/>
                </a:lnTo>
                <a:lnTo>
                  <a:pt x="432" y="168"/>
                </a:lnTo>
                <a:lnTo>
                  <a:pt x="438" y="168"/>
                </a:lnTo>
                <a:lnTo>
                  <a:pt x="438" y="174"/>
                </a:lnTo>
                <a:lnTo>
                  <a:pt x="438" y="180"/>
                </a:lnTo>
                <a:lnTo>
                  <a:pt x="432" y="180"/>
                </a:lnTo>
                <a:lnTo>
                  <a:pt x="432" y="186"/>
                </a:lnTo>
                <a:lnTo>
                  <a:pt x="432" y="180"/>
                </a:lnTo>
                <a:lnTo>
                  <a:pt x="438" y="180"/>
                </a:lnTo>
                <a:lnTo>
                  <a:pt x="438" y="174"/>
                </a:lnTo>
                <a:lnTo>
                  <a:pt x="444" y="174"/>
                </a:lnTo>
                <a:lnTo>
                  <a:pt x="438" y="174"/>
                </a:lnTo>
                <a:lnTo>
                  <a:pt x="444" y="174"/>
                </a:lnTo>
                <a:lnTo>
                  <a:pt x="444" y="168"/>
                </a:lnTo>
                <a:lnTo>
                  <a:pt x="444" y="174"/>
                </a:lnTo>
                <a:lnTo>
                  <a:pt x="444" y="180"/>
                </a:lnTo>
                <a:lnTo>
                  <a:pt x="444" y="186"/>
                </a:lnTo>
                <a:lnTo>
                  <a:pt x="444" y="192"/>
                </a:lnTo>
                <a:lnTo>
                  <a:pt x="438" y="192"/>
                </a:lnTo>
                <a:lnTo>
                  <a:pt x="432" y="192"/>
                </a:lnTo>
                <a:lnTo>
                  <a:pt x="426" y="192"/>
                </a:lnTo>
                <a:lnTo>
                  <a:pt x="420" y="186"/>
                </a:lnTo>
                <a:lnTo>
                  <a:pt x="414" y="186"/>
                </a:lnTo>
                <a:lnTo>
                  <a:pt x="408" y="186"/>
                </a:lnTo>
                <a:lnTo>
                  <a:pt x="402" y="186"/>
                </a:lnTo>
                <a:lnTo>
                  <a:pt x="396" y="186"/>
                </a:lnTo>
                <a:lnTo>
                  <a:pt x="390" y="186"/>
                </a:lnTo>
                <a:lnTo>
                  <a:pt x="384" y="186"/>
                </a:lnTo>
                <a:lnTo>
                  <a:pt x="378" y="186"/>
                </a:lnTo>
                <a:lnTo>
                  <a:pt x="372" y="186"/>
                </a:lnTo>
                <a:lnTo>
                  <a:pt x="354" y="186"/>
                </a:lnTo>
                <a:lnTo>
                  <a:pt x="342" y="186"/>
                </a:lnTo>
                <a:lnTo>
                  <a:pt x="324" y="186"/>
                </a:lnTo>
                <a:lnTo>
                  <a:pt x="312" y="186"/>
                </a:lnTo>
                <a:lnTo>
                  <a:pt x="306" y="186"/>
                </a:lnTo>
                <a:lnTo>
                  <a:pt x="300" y="186"/>
                </a:lnTo>
                <a:lnTo>
                  <a:pt x="294" y="186"/>
                </a:lnTo>
                <a:lnTo>
                  <a:pt x="282" y="186"/>
                </a:lnTo>
                <a:lnTo>
                  <a:pt x="270" y="186"/>
                </a:lnTo>
                <a:lnTo>
                  <a:pt x="264" y="186"/>
                </a:lnTo>
                <a:lnTo>
                  <a:pt x="258" y="192"/>
                </a:lnTo>
                <a:lnTo>
                  <a:pt x="258" y="186"/>
                </a:lnTo>
                <a:lnTo>
                  <a:pt x="246" y="186"/>
                </a:lnTo>
                <a:lnTo>
                  <a:pt x="240" y="186"/>
                </a:lnTo>
                <a:lnTo>
                  <a:pt x="234" y="186"/>
                </a:lnTo>
                <a:lnTo>
                  <a:pt x="228" y="192"/>
                </a:lnTo>
                <a:lnTo>
                  <a:pt x="222" y="192"/>
                </a:lnTo>
                <a:lnTo>
                  <a:pt x="216" y="192"/>
                </a:lnTo>
                <a:lnTo>
                  <a:pt x="210" y="192"/>
                </a:lnTo>
                <a:lnTo>
                  <a:pt x="204" y="192"/>
                </a:lnTo>
                <a:lnTo>
                  <a:pt x="198" y="192"/>
                </a:lnTo>
                <a:lnTo>
                  <a:pt x="192" y="192"/>
                </a:lnTo>
                <a:lnTo>
                  <a:pt x="180" y="192"/>
                </a:lnTo>
                <a:lnTo>
                  <a:pt x="168" y="192"/>
                </a:lnTo>
                <a:lnTo>
                  <a:pt x="162" y="192"/>
                </a:lnTo>
                <a:lnTo>
                  <a:pt x="150" y="192"/>
                </a:lnTo>
                <a:lnTo>
                  <a:pt x="138" y="192"/>
                </a:lnTo>
                <a:lnTo>
                  <a:pt x="132" y="192"/>
                </a:lnTo>
                <a:lnTo>
                  <a:pt x="120" y="192"/>
                </a:lnTo>
                <a:lnTo>
                  <a:pt x="114" y="192"/>
                </a:lnTo>
                <a:lnTo>
                  <a:pt x="108" y="192"/>
                </a:lnTo>
                <a:lnTo>
                  <a:pt x="102" y="192"/>
                </a:lnTo>
                <a:lnTo>
                  <a:pt x="90" y="192"/>
                </a:lnTo>
                <a:lnTo>
                  <a:pt x="84" y="192"/>
                </a:lnTo>
                <a:lnTo>
                  <a:pt x="78" y="192"/>
                </a:lnTo>
                <a:lnTo>
                  <a:pt x="72" y="198"/>
                </a:lnTo>
                <a:lnTo>
                  <a:pt x="66" y="198"/>
                </a:lnTo>
                <a:lnTo>
                  <a:pt x="60" y="198"/>
                </a:lnTo>
                <a:lnTo>
                  <a:pt x="54" y="198"/>
                </a:lnTo>
                <a:lnTo>
                  <a:pt x="48" y="198"/>
                </a:lnTo>
                <a:lnTo>
                  <a:pt x="42" y="198"/>
                </a:lnTo>
                <a:lnTo>
                  <a:pt x="36" y="198"/>
                </a:lnTo>
                <a:lnTo>
                  <a:pt x="30" y="204"/>
                </a:lnTo>
                <a:lnTo>
                  <a:pt x="24" y="204"/>
                </a:lnTo>
                <a:lnTo>
                  <a:pt x="18" y="204"/>
                </a:lnTo>
                <a:lnTo>
                  <a:pt x="12" y="204"/>
                </a:lnTo>
                <a:lnTo>
                  <a:pt x="6" y="210"/>
                </a:lnTo>
                <a:lnTo>
                  <a:pt x="0" y="186"/>
                </a:lnTo>
                <a:lnTo>
                  <a:pt x="0" y="180"/>
                </a:lnTo>
                <a:lnTo>
                  <a:pt x="0" y="174"/>
                </a:lnTo>
                <a:lnTo>
                  <a:pt x="6" y="156"/>
                </a:lnTo>
                <a:lnTo>
                  <a:pt x="12" y="156"/>
                </a:lnTo>
                <a:lnTo>
                  <a:pt x="18" y="156"/>
                </a:lnTo>
                <a:lnTo>
                  <a:pt x="24" y="162"/>
                </a:lnTo>
                <a:lnTo>
                  <a:pt x="30" y="162"/>
                </a:lnTo>
                <a:lnTo>
                  <a:pt x="36" y="162"/>
                </a:lnTo>
                <a:lnTo>
                  <a:pt x="42" y="162"/>
                </a:lnTo>
                <a:lnTo>
                  <a:pt x="48" y="162"/>
                </a:lnTo>
                <a:lnTo>
                  <a:pt x="54" y="156"/>
                </a:lnTo>
                <a:lnTo>
                  <a:pt x="60" y="156"/>
                </a:lnTo>
                <a:lnTo>
                  <a:pt x="66" y="156"/>
                </a:lnTo>
                <a:lnTo>
                  <a:pt x="72" y="156"/>
                </a:lnTo>
                <a:lnTo>
                  <a:pt x="78" y="162"/>
                </a:lnTo>
                <a:lnTo>
                  <a:pt x="84" y="162"/>
                </a:lnTo>
                <a:lnTo>
                  <a:pt x="90" y="162"/>
                </a:lnTo>
                <a:lnTo>
                  <a:pt x="90" y="168"/>
                </a:lnTo>
                <a:lnTo>
                  <a:pt x="96" y="168"/>
                </a:lnTo>
                <a:lnTo>
                  <a:pt x="96" y="162"/>
                </a:lnTo>
                <a:lnTo>
                  <a:pt x="102" y="162"/>
                </a:lnTo>
                <a:lnTo>
                  <a:pt x="102" y="156"/>
                </a:lnTo>
                <a:lnTo>
                  <a:pt x="108" y="156"/>
                </a:lnTo>
                <a:lnTo>
                  <a:pt x="108" y="150"/>
                </a:lnTo>
                <a:lnTo>
                  <a:pt x="114" y="150"/>
                </a:lnTo>
                <a:lnTo>
                  <a:pt x="114" y="144"/>
                </a:lnTo>
                <a:lnTo>
                  <a:pt x="120" y="144"/>
                </a:lnTo>
                <a:lnTo>
                  <a:pt x="126" y="144"/>
                </a:lnTo>
                <a:lnTo>
                  <a:pt x="126" y="138"/>
                </a:lnTo>
                <a:lnTo>
                  <a:pt x="126" y="132"/>
                </a:lnTo>
                <a:lnTo>
                  <a:pt x="126" y="126"/>
                </a:lnTo>
                <a:lnTo>
                  <a:pt x="192" y="126"/>
                </a:lnTo>
                <a:lnTo>
                  <a:pt x="258" y="126"/>
                </a:lnTo>
                <a:lnTo>
                  <a:pt x="264" y="126"/>
                </a:lnTo>
                <a:lnTo>
                  <a:pt x="270" y="126"/>
                </a:lnTo>
                <a:lnTo>
                  <a:pt x="276" y="120"/>
                </a:lnTo>
                <a:lnTo>
                  <a:pt x="282" y="120"/>
                </a:lnTo>
                <a:lnTo>
                  <a:pt x="300" y="120"/>
                </a:lnTo>
                <a:lnTo>
                  <a:pt x="306" y="114"/>
                </a:lnTo>
                <a:lnTo>
                  <a:pt x="312" y="108"/>
                </a:lnTo>
                <a:lnTo>
                  <a:pt x="318" y="102"/>
                </a:lnTo>
                <a:lnTo>
                  <a:pt x="324" y="102"/>
                </a:lnTo>
                <a:lnTo>
                  <a:pt x="324" y="96"/>
                </a:lnTo>
                <a:lnTo>
                  <a:pt x="318" y="90"/>
                </a:lnTo>
                <a:lnTo>
                  <a:pt x="318" y="84"/>
                </a:lnTo>
                <a:lnTo>
                  <a:pt x="324" y="72"/>
                </a:lnTo>
                <a:lnTo>
                  <a:pt x="336" y="66"/>
                </a:lnTo>
                <a:lnTo>
                  <a:pt x="336" y="60"/>
                </a:lnTo>
                <a:lnTo>
                  <a:pt x="342" y="54"/>
                </a:lnTo>
                <a:lnTo>
                  <a:pt x="342" y="48"/>
                </a:lnTo>
                <a:lnTo>
                  <a:pt x="342" y="30"/>
                </a:lnTo>
                <a:lnTo>
                  <a:pt x="342" y="24"/>
                </a:lnTo>
                <a:lnTo>
                  <a:pt x="354" y="0"/>
                </a:lnTo>
                <a:lnTo>
                  <a:pt x="360" y="0"/>
                </a:lnTo>
                <a:lnTo>
                  <a:pt x="366" y="0"/>
                </a:lnTo>
                <a:lnTo>
                  <a:pt x="366" y="6"/>
                </a:lnTo>
                <a:lnTo>
                  <a:pt x="378" y="12"/>
                </a:lnTo>
                <a:lnTo>
                  <a:pt x="390" y="12"/>
                </a:lnTo>
                <a:lnTo>
                  <a:pt x="390" y="18"/>
                </a:lnTo>
                <a:lnTo>
                  <a:pt x="402" y="18"/>
                </a:lnTo>
                <a:lnTo>
                  <a:pt x="408" y="18"/>
                </a:lnTo>
                <a:lnTo>
                  <a:pt x="414" y="24"/>
                </a:lnTo>
                <a:lnTo>
                  <a:pt x="414" y="30"/>
                </a:lnTo>
                <a:lnTo>
                  <a:pt x="420" y="30"/>
                </a:lnTo>
                <a:lnTo>
                  <a:pt x="426" y="36"/>
                </a:lnTo>
                <a:lnTo>
                  <a:pt x="462" y="36"/>
                </a:lnTo>
                <a:lnTo>
                  <a:pt x="468" y="36"/>
                </a:lnTo>
                <a:lnTo>
                  <a:pt x="474" y="30"/>
                </a:lnTo>
                <a:lnTo>
                  <a:pt x="474" y="18"/>
                </a:lnTo>
                <a:lnTo>
                  <a:pt x="474" y="12"/>
                </a:lnTo>
                <a:lnTo>
                  <a:pt x="480" y="12"/>
                </a:lnTo>
                <a:lnTo>
                  <a:pt x="486" y="12"/>
                </a:lnTo>
                <a:lnTo>
                  <a:pt x="606" y="12"/>
                </a:lnTo>
                <a:lnTo>
                  <a:pt x="630" y="12"/>
                </a:lnTo>
                <a:lnTo>
                  <a:pt x="678" y="12"/>
                </a:lnTo>
                <a:lnTo>
                  <a:pt x="744" y="12"/>
                </a:lnTo>
                <a:lnTo>
                  <a:pt x="774" y="12"/>
                </a:lnTo>
                <a:lnTo>
                  <a:pt x="846" y="12"/>
                </a:lnTo>
                <a:lnTo>
                  <a:pt x="852" y="12"/>
                </a:lnTo>
                <a:lnTo>
                  <a:pt x="852" y="6"/>
                </a:lnTo>
                <a:lnTo>
                  <a:pt x="888" y="12"/>
                </a:lnTo>
                <a:lnTo>
                  <a:pt x="888" y="24"/>
                </a:lnTo>
                <a:lnTo>
                  <a:pt x="888" y="30"/>
                </a:lnTo>
                <a:lnTo>
                  <a:pt x="882" y="36"/>
                </a:lnTo>
                <a:lnTo>
                  <a:pt x="876" y="42"/>
                </a:lnTo>
                <a:lnTo>
                  <a:pt x="870" y="42"/>
                </a:lnTo>
                <a:lnTo>
                  <a:pt x="864" y="42"/>
                </a:lnTo>
                <a:lnTo>
                  <a:pt x="864" y="48"/>
                </a:lnTo>
                <a:lnTo>
                  <a:pt x="858" y="54"/>
                </a:lnTo>
                <a:lnTo>
                  <a:pt x="864" y="54"/>
                </a:lnTo>
                <a:lnTo>
                  <a:pt x="870" y="72"/>
                </a:lnTo>
                <a:lnTo>
                  <a:pt x="870" y="78"/>
                </a:lnTo>
                <a:lnTo>
                  <a:pt x="870" y="84"/>
                </a:lnTo>
                <a:lnTo>
                  <a:pt x="870" y="90"/>
                </a:lnTo>
                <a:close/>
                <a:moveTo>
                  <a:pt x="972" y="156"/>
                </a:moveTo>
                <a:lnTo>
                  <a:pt x="972" y="162"/>
                </a:lnTo>
                <a:lnTo>
                  <a:pt x="978" y="162"/>
                </a:lnTo>
                <a:lnTo>
                  <a:pt x="984" y="168"/>
                </a:lnTo>
                <a:lnTo>
                  <a:pt x="990" y="168"/>
                </a:lnTo>
                <a:lnTo>
                  <a:pt x="990" y="162"/>
                </a:lnTo>
                <a:lnTo>
                  <a:pt x="1008" y="162"/>
                </a:lnTo>
                <a:lnTo>
                  <a:pt x="1020" y="162"/>
                </a:lnTo>
                <a:lnTo>
                  <a:pt x="1038" y="162"/>
                </a:lnTo>
                <a:lnTo>
                  <a:pt x="1056" y="168"/>
                </a:lnTo>
                <a:lnTo>
                  <a:pt x="1056" y="180"/>
                </a:lnTo>
                <a:lnTo>
                  <a:pt x="1056" y="186"/>
                </a:lnTo>
                <a:lnTo>
                  <a:pt x="1056" y="204"/>
                </a:lnTo>
                <a:lnTo>
                  <a:pt x="1050" y="204"/>
                </a:lnTo>
                <a:lnTo>
                  <a:pt x="1044" y="204"/>
                </a:lnTo>
                <a:lnTo>
                  <a:pt x="1038" y="204"/>
                </a:lnTo>
                <a:lnTo>
                  <a:pt x="1032" y="204"/>
                </a:lnTo>
                <a:lnTo>
                  <a:pt x="1026" y="204"/>
                </a:lnTo>
                <a:lnTo>
                  <a:pt x="1020" y="204"/>
                </a:lnTo>
                <a:lnTo>
                  <a:pt x="1014" y="204"/>
                </a:lnTo>
                <a:lnTo>
                  <a:pt x="1008" y="204"/>
                </a:lnTo>
                <a:lnTo>
                  <a:pt x="1002" y="204"/>
                </a:lnTo>
                <a:lnTo>
                  <a:pt x="996" y="204"/>
                </a:lnTo>
                <a:lnTo>
                  <a:pt x="984" y="204"/>
                </a:lnTo>
                <a:lnTo>
                  <a:pt x="984" y="198"/>
                </a:lnTo>
                <a:lnTo>
                  <a:pt x="978" y="198"/>
                </a:lnTo>
                <a:lnTo>
                  <a:pt x="966" y="198"/>
                </a:lnTo>
                <a:lnTo>
                  <a:pt x="948" y="192"/>
                </a:lnTo>
                <a:lnTo>
                  <a:pt x="942" y="192"/>
                </a:lnTo>
                <a:lnTo>
                  <a:pt x="936" y="192"/>
                </a:lnTo>
                <a:lnTo>
                  <a:pt x="924" y="192"/>
                </a:lnTo>
                <a:lnTo>
                  <a:pt x="918" y="192"/>
                </a:lnTo>
                <a:lnTo>
                  <a:pt x="918" y="186"/>
                </a:lnTo>
                <a:lnTo>
                  <a:pt x="912" y="186"/>
                </a:lnTo>
                <a:lnTo>
                  <a:pt x="906" y="186"/>
                </a:lnTo>
                <a:lnTo>
                  <a:pt x="900" y="186"/>
                </a:lnTo>
                <a:lnTo>
                  <a:pt x="894" y="186"/>
                </a:lnTo>
                <a:lnTo>
                  <a:pt x="888" y="186"/>
                </a:lnTo>
                <a:lnTo>
                  <a:pt x="888" y="180"/>
                </a:lnTo>
                <a:lnTo>
                  <a:pt x="882" y="180"/>
                </a:lnTo>
                <a:lnTo>
                  <a:pt x="876" y="180"/>
                </a:lnTo>
                <a:lnTo>
                  <a:pt x="870" y="180"/>
                </a:lnTo>
                <a:lnTo>
                  <a:pt x="864" y="180"/>
                </a:lnTo>
                <a:lnTo>
                  <a:pt x="858" y="180"/>
                </a:lnTo>
                <a:lnTo>
                  <a:pt x="852" y="180"/>
                </a:lnTo>
                <a:lnTo>
                  <a:pt x="852" y="174"/>
                </a:lnTo>
                <a:lnTo>
                  <a:pt x="846" y="174"/>
                </a:lnTo>
                <a:lnTo>
                  <a:pt x="840" y="174"/>
                </a:lnTo>
                <a:lnTo>
                  <a:pt x="834" y="174"/>
                </a:lnTo>
                <a:lnTo>
                  <a:pt x="828" y="174"/>
                </a:lnTo>
                <a:lnTo>
                  <a:pt x="822" y="174"/>
                </a:lnTo>
                <a:lnTo>
                  <a:pt x="816" y="174"/>
                </a:lnTo>
                <a:lnTo>
                  <a:pt x="810" y="168"/>
                </a:lnTo>
                <a:lnTo>
                  <a:pt x="804" y="168"/>
                </a:lnTo>
                <a:lnTo>
                  <a:pt x="798" y="168"/>
                </a:lnTo>
                <a:lnTo>
                  <a:pt x="792" y="168"/>
                </a:lnTo>
                <a:lnTo>
                  <a:pt x="786" y="168"/>
                </a:lnTo>
                <a:lnTo>
                  <a:pt x="780" y="168"/>
                </a:lnTo>
                <a:lnTo>
                  <a:pt x="774" y="168"/>
                </a:lnTo>
                <a:lnTo>
                  <a:pt x="768" y="168"/>
                </a:lnTo>
                <a:lnTo>
                  <a:pt x="762" y="168"/>
                </a:lnTo>
                <a:lnTo>
                  <a:pt x="756" y="168"/>
                </a:lnTo>
                <a:lnTo>
                  <a:pt x="750" y="168"/>
                </a:lnTo>
                <a:lnTo>
                  <a:pt x="750" y="162"/>
                </a:lnTo>
                <a:lnTo>
                  <a:pt x="744" y="168"/>
                </a:lnTo>
                <a:lnTo>
                  <a:pt x="738" y="162"/>
                </a:lnTo>
                <a:lnTo>
                  <a:pt x="732" y="162"/>
                </a:lnTo>
                <a:lnTo>
                  <a:pt x="726" y="162"/>
                </a:lnTo>
                <a:lnTo>
                  <a:pt x="714" y="162"/>
                </a:lnTo>
                <a:lnTo>
                  <a:pt x="702" y="162"/>
                </a:lnTo>
                <a:lnTo>
                  <a:pt x="696" y="168"/>
                </a:lnTo>
                <a:lnTo>
                  <a:pt x="690" y="168"/>
                </a:lnTo>
                <a:lnTo>
                  <a:pt x="684" y="168"/>
                </a:lnTo>
                <a:lnTo>
                  <a:pt x="678" y="168"/>
                </a:lnTo>
                <a:lnTo>
                  <a:pt x="672" y="168"/>
                </a:lnTo>
                <a:lnTo>
                  <a:pt x="666" y="168"/>
                </a:lnTo>
                <a:lnTo>
                  <a:pt x="660" y="168"/>
                </a:lnTo>
                <a:lnTo>
                  <a:pt x="654" y="168"/>
                </a:lnTo>
                <a:lnTo>
                  <a:pt x="648" y="174"/>
                </a:lnTo>
                <a:lnTo>
                  <a:pt x="648" y="168"/>
                </a:lnTo>
                <a:lnTo>
                  <a:pt x="642" y="174"/>
                </a:lnTo>
                <a:lnTo>
                  <a:pt x="636" y="174"/>
                </a:lnTo>
                <a:lnTo>
                  <a:pt x="630" y="174"/>
                </a:lnTo>
                <a:lnTo>
                  <a:pt x="624" y="174"/>
                </a:lnTo>
                <a:lnTo>
                  <a:pt x="618" y="174"/>
                </a:lnTo>
                <a:lnTo>
                  <a:pt x="612" y="174"/>
                </a:lnTo>
                <a:lnTo>
                  <a:pt x="606" y="174"/>
                </a:lnTo>
                <a:lnTo>
                  <a:pt x="600" y="174"/>
                </a:lnTo>
                <a:lnTo>
                  <a:pt x="594" y="174"/>
                </a:lnTo>
                <a:lnTo>
                  <a:pt x="588" y="174"/>
                </a:lnTo>
                <a:lnTo>
                  <a:pt x="582" y="174"/>
                </a:lnTo>
                <a:lnTo>
                  <a:pt x="576" y="174"/>
                </a:lnTo>
                <a:lnTo>
                  <a:pt x="570" y="174"/>
                </a:lnTo>
                <a:lnTo>
                  <a:pt x="564" y="174"/>
                </a:lnTo>
                <a:lnTo>
                  <a:pt x="558" y="174"/>
                </a:lnTo>
                <a:lnTo>
                  <a:pt x="552" y="174"/>
                </a:lnTo>
                <a:lnTo>
                  <a:pt x="540" y="174"/>
                </a:lnTo>
                <a:lnTo>
                  <a:pt x="534" y="174"/>
                </a:lnTo>
                <a:lnTo>
                  <a:pt x="522" y="174"/>
                </a:lnTo>
                <a:lnTo>
                  <a:pt x="510" y="174"/>
                </a:lnTo>
                <a:lnTo>
                  <a:pt x="504" y="174"/>
                </a:lnTo>
                <a:lnTo>
                  <a:pt x="498" y="174"/>
                </a:lnTo>
                <a:lnTo>
                  <a:pt x="492" y="174"/>
                </a:lnTo>
                <a:lnTo>
                  <a:pt x="486" y="174"/>
                </a:lnTo>
                <a:lnTo>
                  <a:pt x="480" y="174"/>
                </a:lnTo>
                <a:lnTo>
                  <a:pt x="474" y="174"/>
                </a:lnTo>
                <a:lnTo>
                  <a:pt x="468" y="174"/>
                </a:lnTo>
                <a:lnTo>
                  <a:pt x="462" y="174"/>
                </a:lnTo>
                <a:lnTo>
                  <a:pt x="456" y="174"/>
                </a:lnTo>
                <a:lnTo>
                  <a:pt x="450" y="180"/>
                </a:lnTo>
                <a:lnTo>
                  <a:pt x="450" y="186"/>
                </a:lnTo>
                <a:lnTo>
                  <a:pt x="450" y="192"/>
                </a:lnTo>
                <a:lnTo>
                  <a:pt x="444" y="192"/>
                </a:lnTo>
                <a:lnTo>
                  <a:pt x="444" y="186"/>
                </a:lnTo>
                <a:lnTo>
                  <a:pt x="444" y="180"/>
                </a:lnTo>
                <a:lnTo>
                  <a:pt x="450" y="180"/>
                </a:lnTo>
                <a:lnTo>
                  <a:pt x="450" y="174"/>
                </a:lnTo>
                <a:lnTo>
                  <a:pt x="450" y="168"/>
                </a:lnTo>
                <a:lnTo>
                  <a:pt x="450" y="162"/>
                </a:lnTo>
                <a:lnTo>
                  <a:pt x="456" y="162"/>
                </a:lnTo>
                <a:lnTo>
                  <a:pt x="456" y="168"/>
                </a:lnTo>
                <a:lnTo>
                  <a:pt x="456" y="162"/>
                </a:lnTo>
                <a:lnTo>
                  <a:pt x="462" y="162"/>
                </a:lnTo>
                <a:lnTo>
                  <a:pt x="468" y="162"/>
                </a:lnTo>
                <a:lnTo>
                  <a:pt x="468" y="168"/>
                </a:lnTo>
                <a:lnTo>
                  <a:pt x="474" y="168"/>
                </a:lnTo>
                <a:lnTo>
                  <a:pt x="480" y="168"/>
                </a:lnTo>
                <a:lnTo>
                  <a:pt x="480" y="162"/>
                </a:lnTo>
                <a:lnTo>
                  <a:pt x="480" y="156"/>
                </a:lnTo>
                <a:lnTo>
                  <a:pt x="486" y="156"/>
                </a:lnTo>
                <a:lnTo>
                  <a:pt x="486" y="162"/>
                </a:lnTo>
                <a:lnTo>
                  <a:pt x="486" y="156"/>
                </a:lnTo>
                <a:lnTo>
                  <a:pt x="492" y="156"/>
                </a:lnTo>
                <a:lnTo>
                  <a:pt x="486" y="150"/>
                </a:lnTo>
                <a:lnTo>
                  <a:pt x="492" y="150"/>
                </a:lnTo>
                <a:lnTo>
                  <a:pt x="498" y="150"/>
                </a:lnTo>
                <a:lnTo>
                  <a:pt x="498" y="156"/>
                </a:lnTo>
                <a:lnTo>
                  <a:pt x="504" y="156"/>
                </a:lnTo>
                <a:lnTo>
                  <a:pt x="504" y="162"/>
                </a:lnTo>
                <a:lnTo>
                  <a:pt x="504" y="156"/>
                </a:lnTo>
                <a:lnTo>
                  <a:pt x="510" y="156"/>
                </a:lnTo>
                <a:lnTo>
                  <a:pt x="510" y="150"/>
                </a:lnTo>
                <a:lnTo>
                  <a:pt x="516" y="150"/>
                </a:lnTo>
                <a:lnTo>
                  <a:pt x="522" y="150"/>
                </a:lnTo>
                <a:lnTo>
                  <a:pt x="522" y="144"/>
                </a:lnTo>
                <a:lnTo>
                  <a:pt x="522" y="150"/>
                </a:lnTo>
                <a:lnTo>
                  <a:pt x="528" y="150"/>
                </a:lnTo>
                <a:lnTo>
                  <a:pt x="534" y="150"/>
                </a:lnTo>
                <a:lnTo>
                  <a:pt x="528" y="150"/>
                </a:lnTo>
                <a:lnTo>
                  <a:pt x="528" y="144"/>
                </a:lnTo>
                <a:lnTo>
                  <a:pt x="540" y="144"/>
                </a:lnTo>
                <a:lnTo>
                  <a:pt x="546" y="144"/>
                </a:lnTo>
                <a:lnTo>
                  <a:pt x="552" y="138"/>
                </a:lnTo>
                <a:lnTo>
                  <a:pt x="552" y="132"/>
                </a:lnTo>
                <a:lnTo>
                  <a:pt x="558" y="132"/>
                </a:lnTo>
                <a:lnTo>
                  <a:pt x="558" y="126"/>
                </a:lnTo>
                <a:lnTo>
                  <a:pt x="558" y="120"/>
                </a:lnTo>
                <a:lnTo>
                  <a:pt x="558" y="114"/>
                </a:lnTo>
                <a:lnTo>
                  <a:pt x="564" y="114"/>
                </a:lnTo>
                <a:lnTo>
                  <a:pt x="570" y="114"/>
                </a:lnTo>
                <a:lnTo>
                  <a:pt x="576" y="114"/>
                </a:lnTo>
                <a:lnTo>
                  <a:pt x="582" y="120"/>
                </a:lnTo>
                <a:lnTo>
                  <a:pt x="588" y="120"/>
                </a:lnTo>
                <a:lnTo>
                  <a:pt x="588" y="126"/>
                </a:lnTo>
                <a:lnTo>
                  <a:pt x="588" y="120"/>
                </a:lnTo>
                <a:lnTo>
                  <a:pt x="594" y="120"/>
                </a:lnTo>
                <a:lnTo>
                  <a:pt x="594" y="114"/>
                </a:lnTo>
                <a:lnTo>
                  <a:pt x="594" y="120"/>
                </a:lnTo>
                <a:lnTo>
                  <a:pt x="594" y="114"/>
                </a:lnTo>
                <a:lnTo>
                  <a:pt x="600" y="114"/>
                </a:lnTo>
                <a:lnTo>
                  <a:pt x="606" y="114"/>
                </a:lnTo>
                <a:lnTo>
                  <a:pt x="618" y="114"/>
                </a:lnTo>
                <a:lnTo>
                  <a:pt x="618" y="108"/>
                </a:lnTo>
                <a:lnTo>
                  <a:pt x="624" y="108"/>
                </a:lnTo>
                <a:lnTo>
                  <a:pt x="624" y="102"/>
                </a:lnTo>
                <a:lnTo>
                  <a:pt x="630" y="102"/>
                </a:lnTo>
                <a:lnTo>
                  <a:pt x="636" y="102"/>
                </a:lnTo>
                <a:lnTo>
                  <a:pt x="636" y="108"/>
                </a:lnTo>
                <a:lnTo>
                  <a:pt x="642" y="108"/>
                </a:lnTo>
                <a:lnTo>
                  <a:pt x="648" y="108"/>
                </a:lnTo>
                <a:lnTo>
                  <a:pt x="648" y="102"/>
                </a:lnTo>
                <a:lnTo>
                  <a:pt x="654" y="102"/>
                </a:lnTo>
                <a:lnTo>
                  <a:pt x="660" y="102"/>
                </a:lnTo>
                <a:lnTo>
                  <a:pt x="660" y="96"/>
                </a:lnTo>
                <a:lnTo>
                  <a:pt x="660" y="90"/>
                </a:lnTo>
                <a:lnTo>
                  <a:pt x="666" y="90"/>
                </a:lnTo>
                <a:lnTo>
                  <a:pt x="666" y="84"/>
                </a:lnTo>
                <a:lnTo>
                  <a:pt x="672" y="78"/>
                </a:lnTo>
                <a:lnTo>
                  <a:pt x="672" y="72"/>
                </a:lnTo>
                <a:lnTo>
                  <a:pt x="678" y="66"/>
                </a:lnTo>
                <a:lnTo>
                  <a:pt x="684" y="66"/>
                </a:lnTo>
                <a:lnTo>
                  <a:pt x="684" y="60"/>
                </a:lnTo>
                <a:lnTo>
                  <a:pt x="690" y="60"/>
                </a:lnTo>
                <a:lnTo>
                  <a:pt x="696" y="60"/>
                </a:lnTo>
                <a:lnTo>
                  <a:pt x="702" y="60"/>
                </a:lnTo>
                <a:lnTo>
                  <a:pt x="702" y="66"/>
                </a:lnTo>
                <a:lnTo>
                  <a:pt x="708" y="66"/>
                </a:lnTo>
                <a:lnTo>
                  <a:pt x="714" y="66"/>
                </a:lnTo>
                <a:lnTo>
                  <a:pt x="720" y="66"/>
                </a:lnTo>
                <a:lnTo>
                  <a:pt x="720" y="60"/>
                </a:lnTo>
                <a:lnTo>
                  <a:pt x="726" y="60"/>
                </a:lnTo>
                <a:lnTo>
                  <a:pt x="732" y="60"/>
                </a:lnTo>
                <a:lnTo>
                  <a:pt x="744" y="60"/>
                </a:lnTo>
                <a:lnTo>
                  <a:pt x="750" y="54"/>
                </a:lnTo>
                <a:lnTo>
                  <a:pt x="762" y="60"/>
                </a:lnTo>
                <a:lnTo>
                  <a:pt x="774" y="60"/>
                </a:lnTo>
                <a:lnTo>
                  <a:pt x="774" y="66"/>
                </a:lnTo>
                <a:lnTo>
                  <a:pt x="780" y="72"/>
                </a:lnTo>
                <a:lnTo>
                  <a:pt x="786" y="78"/>
                </a:lnTo>
                <a:lnTo>
                  <a:pt x="792" y="78"/>
                </a:lnTo>
                <a:lnTo>
                  <a:pt x="810" y="84"/>
                </a:lnTo>
                <a:lnTo>
                  <a:pt x="822" y="84"/>
                </a:lnTo>
                <a:lnTo>
                  <a:pt x="828" y="84"/>
                </a:lnTo>
                <a:lnTo>
                  <a:pt x="834" y="84"/>
                </a:lnTo>
                <a:lnTo>
                  <a:pt x="840" y="96"/>
                </a:lnTo>
                <a:lnTo>
                  <a:pt x="846" y="102"/>
                </a:lnTo>
                <a:lnTo>
                  <a:pt x="858" y="102"/>
                </a:lnTo>
                <a:lnTo>
                  <a:pt x="864" y="102"/>
                </a:lnTo>
                <a:lnTo>
                  <a:pt x="876" y="96"/>
                </a:lnTo>
                <a:lnTo>
                  <a:pt x="882" y="102"/>
                </a:lnTo>
                <a:lnTo>
                  <a:pt x="888" y="108"/>
                </a:lnTo>
                <a:lnTo>
                  <a:pt x="888" y="114"/>
                </a:lnTo>
                <a:lnTo>
                  <a:pt x="888" y="120"/>
                </a:lnTo>
                <a:lnTo>
                  <a:pt x="888" y="126"/>
                </a:lnTo>
                <a:lnTo>
                  <a:pt x="888" y="132"/>
                </a:lnTo>
                <a:lnTo>
                  <a:pt x="882" y="132"/>
                </a:lnTo>
                <a:lnTo>
                  <a:pt x="864" y="126"/>
                </a:lnTo>
                <a:lnTo>
                  <a:pt x="852" y="120"/>
                </a:lnTo>
                <a:lnTo>
                  <a:pt x="840" y="126"/>
                </a:lnTo>
                <a:lnTo>
                  <a:pt x="834" y="120"/>
                </a:lnTo>
                <a:lnTo>
                  <a:pt x="828" y="120"/>
                </a:lnTo>
                <a:lnTo>
                  <a:pt x="822" y="120"/>
                </a:lnTo>
                <a:lnTo>
                  <a:pt x="810" y="114"/>
                </a:lnTo>
                <a:lnTo>
                  <a:pt x="804" y="114"/>
                </a:lnTo>
                <a:lnTo>
                  <a:pt x="798" y="114"/>
                </a:lnTo>
                <a:lnTo>
                  <a:pt x="792" y="114"/>
                </a:lnTo>
                <a:lnTo>
                  <a:pt x="786" y="114"/>
                </a:lnTo>
                <a:lnTo>
                  <a:pt x="780" y="114"/>
                </a:lnTo>
                <a:lnTo>
                  <a:pt x="780" y="126"/>
                </a:lnTo>
                <a:lnTo>
                  <a:pt x="786" y="126"/>
                </a:lnTo>
                <a:lnTo>
                  <a:pt x="798" y="126"/>
                </a:lnTo>
                <a:lnTo>
                  <a:pt x="804" y="126"/>
                </a:lnTo>
                <a:lnTo>
                  <a:pt x="822" y="132"/>
                </a:lnTo>
                <a:lnTo>
                  <a:pt x="828" y="132"/>
                </a:lnTo>
                <a:lnTo>
                  <a:pt x="834" y="132"/>
                </a:lnTo>
                <a:lnTo>
                  <a:pt x="840" y="144"/>
                </a:lnTo>
                <a:lnTo>
                  <a:pt x="846" y="150"/>
                </a:lnTo>
                <a:lnTo>
                  <a:pt x="858" y="150"/>
                </a:lnTo>
                <a:lnTo>
                  <a:pt x="864" y="162"/>
                </a:lnTo>
                <a:lnTo>
                  <a:pt x="870" y="162"/>
                </a:lnTo>
                <a:lnTo>
                  <a:pt x="876" y="168"/>
                </a:lnTo>
                <a:lnTo>
                  <a:pt x="888" y="168"/>
                </a:lnTo>
                <a:lnTo>
                  <a:pt x="894" y="174"/>
                </a:lnTo>
                <a:lnTo>
                  <a:pt x="900" y="174"/>
                </a:lnTo>
                <a:lnTo>
                  <a:pt x="918" y="174"/>
                </a:lnTo>
                <a:lnTo>
                  <a:pt x="924" y="174"/>
                </a:lnTo>
                <a:lnTo>
                  <a:pt x="930" y="174"/>
                </a:lnTo>
                <a:lnTo>
                  <a:pt x="942" y="174"/>
                </a:lnTo>
                <a:lnTo>
                  <a:pt x="954" y="174"/>
                </a:lnTo>
                <a:lnTo>
                  <a:pt x="960" y="174"/>
                </a:lnTo>
                <a:lnTo>
                  <a:pt x="966" y="174"/>
                </a:lnTo>
                <a:lnTo>
                  <a:pt x="966" y="168"/>
                </a:lnTo>
                <a:lnTo>
                  <a:pt x="972" y="162"/>
                </a:lnTo>
                <a:lnTo>
                  <a:pt x="972" y="156"/>
                </a:lnTo>
                <a:close/>
                <a:moveTo>
                  <a:pt x="942" y="174"/>
                </a:moveTo>
                <a:lnTo>
                  <a:pt x="936" y="174"/>
                </a:lnTo>
                <a:lnTo>
                  <a:pt x="936" y="168"/>
                </a:lnTo>
                <a:lnTo>
                  <a:pt x="936" y="162"/>
                </a:lnTo>
                <a:lnTo>
                  <a:pt x="948" y="162"/>
                </a:lnTo>
                <a:lnTo>
                  <a:pt x="948" y="156"/>
                </a:lnTo>
                <a:lnTo>
                  <a:pt x="954" y="156"/>
                </a:lnTo>
                <a:lnTo>
                  <a:pt x="960" y="156"/>
                </a:lnTo>
                <a:lnTo>
                  <a:pt x="966" y="156"/>
                </a:lnTo>
                <a:lnTo>
                  <a:pt x="966" y="162"/>
                </a:lnTo>
                <a:lnTo>
                  <a:pt x="960" y="168"/>
                </a:lnTo>
                <a:lnTo>
                  <a:pt x="942" y="174"/>
                </a:lnTo>
                <a:close/>
                <a:moveTo>
                  <a:pt x="900" y="168"/>
                </a:moveTo>
                <a:lnTo>
                  <a:pt x="894" y="168"/>
                </a:lnTo>
                <a:lnTo>
                  <a:pt x="882" y="156"/>
                </a:lnTo>
                <a:lnTo>
                  <a:pt x="882" y="150"/>
                </a:lnTo>
                <a:lnTo>
                  <a:pt x="888" y="156"/>
                </a:lnTo>
                <a:lnTo>
                  <a:pt x="894" y="150"/>
                </a:lnTo>
                <a:lnTo>
                  <a:pt x="900" y="150"/>
                </a:lnTo>
                <a:lnTo>
                  <a:pt x="906" y="150"/>
                </a:lnTo>
                <a:lnTo>
                  <a:pt x="912" y="150"/>
                </a:lnTo>
                <a:lnTo>
                  <a:pt x="924" y="150"/>
                </a:lnTo>
                <a:lnTo>
                  <a:pt x="924" y="156"/>
                </a:lnTo>
                <a:lnTo>
                  <a:pt x="924" y="162"/>
                </a:lnTo>
                <a:lnTo>
                  <a:pt x="924" y="168"/>
                </a:lnTo>
                <a:lnTo>
                  <a:pt x="918" y="168"/>
                </a:lnTo>
                <a:lnTo>
                  <a:pt x="906" y="168"/>
                </a:lnTo>
                <a:lnTo>
                  <a:pt x="900" y="168"/>
                </a:lnTo>
                <a:close/>
                <a:moveTo>
                  <a:pt x="870" y="162"/>
                </a:moveTo>
                <a:lnTo>
                  <a:pt x="876" y="162"/>
                </a:lnTo>
                <a:lnTo>
                  <a:pt x="876" y="168"/>
                </a:lnTo>
                <a:lnTo>
                  <a:pt x="870" y="168"/>
                </a:lnTo>
                <a:lnTo>
                  <a:pt x="870" y="162"/>
                </a:lnTo>
                <a:close/>
                <a:moveTo>
                  <a:pt x="450" y="162"/>
                </a:moveTo>
                <a:lnTo>
                  <a:pt x="444" y="162"/>
                </a:lnTo>
                <a:lnTo>
                  <a:pt x="444" y="156"/>
                </a:lnTo>
                <a:lnTo>
                  <a:pt x="438" y="156"/>
                </a:lnTo>
                <a:lnTo>
                  <a:pt x="432" y="150"/>
                </a:lnTo>
                <a:lnTo>
                  <a:pt x="438" y="150"/>
                </a:lnTo>
                <a:lnTo>
                  <a:pt x="438" y="144"/>
                </a:lnTo>
                <a:lnTo>
                  <a:pt x="438" y="150"/>
                </a:lnTo>
                <a:lnTo>
                  <a:pt x="444" y="150"/>
                </a:lnTo>
                <a:lnTo>
                  <a:pt x="450" y="150"/>
                </a:lnTo>
                <a:lnTo>
                  <a:pt x="450" y="156"/>
                </a:lnTo>
                <a:lnTo>
                  <a:pt x="456" y="156"/>
                </a:lnTo>
                <a:lnTo>
                  <a:pt x="456" y="150"/>
                </a:lnTo>
                <a:lnTo>
                  <a:pt x="456" y="156"/>
                </a:lnTo>
                <a:lnTo>
                  <a:pt x="462" y="150"/>
                </a:lnTo>
                <a:lnTo>
                  <a:pt x="462" y="144"/>
                </a:lnTo>
                <a:lnTo>
                  <a:pt x="468" y="144"/>
                </a:lnTo>
                <a:lnTo>
                  <a:pt x="468" y="150"/>
                </a:lnTo>
                <a:lnTo>
                  <a:pt x="474" y="150"/>
                </a:lnTo>
                <a:lnTo>
                  <a:pt x="480" y="150"/>
                </a:lnTo>
                <a:lnTo>
                  <a:pt x="480" y="156"/>
                </a:lnTo>
                <a:lnTo>
                  <a:pt x="480" y="162"/>
                </a:lnTo>
                <a:lnTo>
                  <a:pt x="474" y="162"/>
                </a:lnTo>
                <a:lnTo>
                  <a:pt x="474" y="168"/>
                </a:lnTo>
                <a:lnTo>
                  <a:pt x="474" y="162"/>
                </a:lnTo>
                <a:lnTo>
                  <a:pt x="468" y="162"/>
                </a:lnTo>
                <a:lnTo>
                  <a:pt x="462" y="162"/>
                </a:lnTo>
                <a:lnTo>
                  <a:pt x="456" y="162"/>
                </a:lnTo>
                <a:lnTo>
                  <a:pt x="450" y="162"/>
                </a:lnTo>
                <a:close/>
              </a:path>
            </a:pathLst>
          </a:custGeom>
          <a:solidFill>
            <a:srgbClr val="33CC33"/>
          </a:solidFill>
          <a:ln w="9525">
            <a:solidFill>
              <a:schemeClr val="bg1"/>
            </a:solidFill>
            <a:round/>
            <a:headEnd/>
            <a:tailEnd/>
          </a:ln>
        </p:spPr>
        <p:txBody>
          <a:bodyPr/>
          <a:lstStyle/>
          <a:p>
            <a:endParaRPr lang="en-GB"/>
          </a:p>
        </p:txBody>
      </p:sp>
      <p:sp>
        <p:nvSpPr>
          <p:cNvPr id="20515" name="Freeform 32"/>
          <p:cNvSpPr>
            <a:spLocks/>
          </p:cNvSpPr>
          <p:nvPr/>
        </p:nvSpPr>
        <p:spPr bwMode="gray">
          <a:xfrm>
            <a:off x="1455738" y="3425825"/>
            <a:ext cx="1743075" cy="1122363"/>
          </a:xfrm>
          <a:custGeom>
            <a:avLst/>
            <a:gdLst>
              <a:gd name="T0" fmla="*/ 108100 w 2226"/>
              <a:gd name="T1" fmla="*/ 97573 h 1392"/>
              <a:gd name="T2" fmla="*/ 104184 w 2226"/>
              <a:gd name="T3" fmla="*/ 95961 h 1392"/>
              <a:gd name="T4" fmla="*/ 100267 w 2226"/>
              <a:gd name="T5" fmla="*/ 94348 h 1392"/>
              <a:gd name="T6" fmla="*/ 93217 w 2226"/>
              <a:gd name="T7" fmla="*/ 93541 h 1392"/>
              <a:gd name="T8" fmla="*/ 79117 w 2226"/>
              <a:gd name="T9" fmla="*/ 93541 h 1392"/>
              <a:gd name="T10" fmla="*/ 73634 w 2226"/>
              <a:gd name="T11" fmla="*/ 83865 h 1392"/>
              <a:gd name="T12" fmla="*/ 64234 w 2226"/>
              <a:gd name="T13" fmla="*/ 66931 h 1392"/>
              <a:gd name="T14" fmla="*/ 68150 w 2226"/>
              <a:gd name="T15" fmla="*/ 55641 h 1392"/>
              <a:gd name="T16" fmla="*/ 64234 w 2226"/>
              <a:gd name="T17" fmla="*/ 52416 h 1392"/>
              <a:gd name="T18" fmla="*/ 46217 w 2226"/>
              <a:gd name="T19" fmla="*/ 45964 h 1392"/>
              <a:gd name="T20" fmla="*/ 22717 w 2226"/>
              <a:gd name="T21" fmla="*/ 62092 h 1392"/>
              <a:gd name="T22" fmla="*/ 15667 w 2226"/>
              <a:gd name="T23" fmla="*/ 62899 h 1392"/>
              <a:gd name="T24" fmla="*/ 11750 w 2226"/>
              <a:gd name="T25" fmla="*/ 66124 h 1392"/>
              <a:gd name="T26" fmla="*/ 6267 w 2226"/>
              <a:gd name="T27" fmla="*/ 69350 h 1392"/>
              <a:gd name="T28" fmla="*/ 783 w 2226"/>
              <a:gd name="T29" fmla="*/ 70963 h 1392"/>
              <a:gd name="T30" fmla="*/ 0 w 2226"/>
              <a:gd name="T31" fmla="*/ 66124 h 1392"/>
              <a:gd name="T32" fmla="*/ 0 w 2226"/>
              <a:gd name="T33" fmla="*/ 61286 h 1392"/>
              <a:gd name="T34" fmla="*/ 1567 w 2226"/>
              <a:gd name="T35" fmla="*/ 56447 h 1392"/>
              <a:gd name="T36" fmla="*/ 2350 w 2226"/>
              <a:gd name="T37" fmla="*/ 52416 h 1392"/>
              <a:gd name="T38" fmla="*/ 1567 w 2226"/>
              <a:gd name="T39" fmla="*/ 50803 h 1392"/>
              <a:gd name="T40" fmla="*/ 7050 w 2226"/>
              <a:gd name="T41" fmla="*/ 48384 h 1392"/>
              <a:gd name="T42" fmla="*/ 13317 w 2226"/>
              <a:gd name="T43" fmla="*/ 47577 h 1392"/>
              <a:gd name="T44" fmla="*/ 17233 w 2226"/>
              <a:gd name="T45" fmla="*/ 41126 h 1392"/>
              <a:gd name="T46" fmla="*/ 18017 w 2226"/>
              <a:gd name="T47" fmla="*/ 34675 h 1392"/>
              <a:gd name="T48" fmla="*/ 21150 w 2226"/>
              <a:gd name="T49" fmla="*/ 27417 h 1392"/>
              <a:gd name="T50" fmla="*/ 23500 w 2226"/>
              <a:gd name="T51" fmla="*/ 21773 h 1392"/>
              <a:gd name="T52" fmla="*/ 25850 w 2226"/>
              <a:gd name="T53" fmla="*/ 17741 h 1392"/>
              <a:gd name="T54" fmla="*/ 32900 w 2226"/>
              <a:gd name="T55" fmla="*/ 13709 h 1392"/>
              <a:gd name="T56" fmla="*/ 36817 w 2226"/>
              <a:gd name="T57" fmla="*/ 11289 h 1392"/>
              <a:gd name="T58" fmla="*/ 38383 w 2226"/>
              <a:gd name="T59" fmla="*/ 4032 h 1392"/>
              <a:gd name="T60" fmla="*/ 41517 w 2226"/>
              <a:gd name="T61" fmla="*/ 0 h 1392"/>
              <a:gd name="T62" fmla="*/ 43083 w 2226"/>
              <a:gd name="T63" fmla="*/ 3226 h 1392"/>
              <a:gd name="T64" fmla="*/ 46217 w 2226"/>
              <a:gd name="T65" fmla="*/ 5645 h 1392"/>
              <a:gd name="T66" fmla="*/ 49350 w 2226"/>
              <a:gd name="T67" fmla="*/ 5645 h 1392"/>
              <a:gd name="T68" fmla="*/ 51700 w 2226"/>
              <a:gd name="T69" fmla="*/ 7258 h 1392"/>
              <a:gd name="T70" fmla="*/ 52484 w 2226"/>
              <a:gd name="T71" fmla="*/ 9677 h 1392"/>
              <a:gd name="T72" fmla="*/ 52484 w 2226"/>
              <a:gd name="T73" fmla="*/ 10483 h 1392"/>
              <a:gd name="T74" fmla="*/ 54834 w 2226"/>
              <a:gd name="T75" fmla="*/ 12096 h 1392"/>
              <a:gd name="T76" fmla="*/ 57967 w 2226"/>
              <a:gd name="T77" fmla="*/ 13709 h 1392"/>
              <a:gd name="T78" fmla="*/ 61100 w 2226"/>
              <a:gd name="T79" fmla="*/ 14515 h 1392"/>
              <a:gd name="T80" fmla="*/ 75984 w 2226"/>
              <a:gd name="T81" fmla="*/ 32256 h 1392"/>
              <a:gd name="T82" fmla="*/ 79900 w 2226"/>
              <a:gd name="T83" fmla="*/ 35481 h 1392"/>
              <a:gd name="T84" fmla="*/ 86167 w 2226"/>
              <a:gd name="T85" fmla="*/ 39513 h 1392"/>
              <a:gd name="T86" fmla="*/ 88517 w 2226"/>
              <a:gd name="T87" fmla="*/ 42739 h 1392"/>
              <a:gd name="T88" fmla="*/ 92434 w 2226"/>
              <a:gd name="T89" fmla="*/ 45964 h 1392"/>
              <a:gd name="T90" fmla="*/ 97134 w 2226"/>
              <a:gd name="T91" fmla="*/ 43545 h 1392"/>
              <a:gd name="T92" fmla="*/ 104184 w 2226"/>
              <a:gd name="T93" fmla="*/ 46771 h 1392"/>
              <a:gd name="T94" fmla="*/ 107317 w 2226"/>
              <a:gd name="T95" fmla="*/ 51609 h 1392"/>
              <a:gd name="T96" fmla="*/ 113584 w 2226"/>
              <a:gd name="T97" fmla="*/ 52416 h 1392"/>
              <a:gd name="T98" fmla="*/ 119067 w 2226"/>
              <a:gd name="T99" fmla="*/ 54028 h 1392"/>
              <a:gd name="T100" fmla="*/ 126117 w 2226"/>
              <a:gd name="T101" fmla="*/ 58060 h 1392"/>
              <a:gd name="T102" fmla="*/ 131601 w 2226"/>
              <a:gd name="T103" fmla="*/ 61286 h 1392"/>
              <a:gd name="T104" fmla="*/ 138651 w 2226"/>
              <a:gd name="T105" fmla="*/ 62899 h 1392"/>
              <a:gd name="T106" fmla="*/ 144134 w 2226"/>
              <a:gd name="T107" fmla="*/ 62899 h 1392"/>
              <a:gd name="T108" fmla="*/ 148834 w 2226"/>
              <a:gd name="T109" fmla="*/ 65318 h 1392"/>
              <a:gd name="T110" fmla="*/ 150401 w 2226"/>
              <a:gd name="T111" fmla="*/ 69350 h 1392"/>
              <a:gd name="T112" fmla="*/ 146484 w 2226"/>
              <a:gd name="T113" fmla="*/ 79833 h 1392"/>
              <a:gd name="T114" fmla="*/ 129251 w 2226"/>
              <a:gd name="T115" fmla="*/ 78220 h 1392"/>
              <a:gd name="T116" fmla="*/ 121417 w 2226"/>
              <a:gd name="T117" fmla="*/ 74188 h 1392"/>
              <a:gd name="T118" fmla="*/ 114367 w 2226"/>
              <a:gd name="T119" fmla="*/ 82252 h 1392"/>
              <a:gd name="T120" fmla="*/ 116717 w 2226"/>
              <a:gd name="T121" fmla="*/ 85478 h 1392"/>
              <a:gd name="T122" fmla="*/ 118284 w 2226"/>
              <a:gd name="T123" fmla="*/ 87090 h 1392"/>
              <a:gd name="T124" fmla="*/ 122984 w 2226"/>
              <a:gd name="T125" fmla="*/ 91122 h 13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1392"/>
              <a:gd name="T191" fmla="*/ 2226 w 2226"/>
              <a:gd name="T192" fmla="*/ 1392 h 13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1392">
                <a:moveTo>
                  <a:pt x="1782" y="1326"/>
                </a:moveTo>
                <a:lnTo>
                  <a:pt x="1776" y="1332"/>
                </a:lnTo>
                <a:lnTo>
                  <a:pt x="1692" y="1338"/>
                </a:lnTo>
                <a:lnTo>
                  <a:pt x="1680" y="1386"/>
                </a:lnTo>
                <a:lnTo>
                  <a:pt x="1674" y="1392"/>
                </a:lnTo>
                <a:lnTo>
                  <a:pt x="1638" y="1392"/>
                </a:lnTo>
                <a:lnTo>
                  <a:pt x="1620" y="1392"/>
                </a:lnTo>
                <a:lnTo>
                  <a:pt x="1614" y="1392"/>
                </a:lnTo>
                <a:lnTo>
                  <a:pt x="1608" y="1386"/>
                </a:lnTo>
                <a:lnTo>
                  <a:pt x="1584" y="1386"/>
                </a:lnTo>
                <a:lnTo>
                  <a:pt x="1578" y="1386"/>
                </a:lnTo>
                <a:lnTo>
                  <a:pt x="1572" y="1380"/>
                </a:lnTo>
                <a:lnTo>
                  <a:pt x="1578" y="1356"/>
                </a:lnTo>
                <a:lnTo>
                  <a:pt x="1572" y="1356"/>
                </a:lnTo>
                <a:lnTo>
                  <a:pt x="1560" y="1350"/>
                </a:lnTo>
                <a:lnTo>
                  <a:pt x="1554" y="1350"/>
                </a:lnTo>
                <a:lnTo>
                  <a:pt x="1542" y="1350"/>
                </a:lnTo>
                <a:lnTo>
                  <a:pt x="1530" y="1350"/>
                </a:lnTo>
                <a:lnTo>
                  <a:pt x="1524" y="1356"/>
                </a:lnTo>
                <a:lnTo>
                  <a:pt x="1524" y="1362"/>
                </a:lnTo>
                <a:lnTo>
                  <a:pt x="1512" y="1374"/>
                </a:lnTo>
                <a:lnTo>
                  <a:pt x="1506" y="1374"/>
                </a:lnTo>
                <a:lnTo>
                  <a:pt x="1500" y="1368"/>
                </a:lnTo>
                <a:lnTo>
                  <a:pt x="1500" y="1362"/>
                </a:lnTo>
                <a:lnTo>
                  <a:pt x="1488" y="1362"/>
                </a:lnTo>
                <a:lnTo>
                  <a:pt x="1482" y="1356"/>
                </a:lnTo>
                <a:lnTo>
                  <a:pt x="1482" y="1350"/>
                </a:lnTo>
                <a:lnTo>
                  <a:pt x="1476" y="1350"/>
                </a:lnTo>
                <a:lnTo>
                  <a:pt x="1470" y="1344"/>
                </a:lnTo>
                <a:lnTo>
                  <a:pt x="1464" y="1344"/>
                </a:lnTo>
                <a:lnTo>
                  <a:pt x="1452" y="1350"/>
                </a:lnTo>
                <a:lnTo>
                  <a:pt x="1452" y="1356"/>
                </a:lnTo>
                <a:lnTo>
                  <a:pt x="1440" y="1356"/>
                </a:lnTo>
                <a:lnTo>
                  <a:pt x="1434" y="1344"/>
                </a:lnTo>
                <a:lnTo>
                  <a:pt x="1422" y="1332"/>
                </a:lnTo>
                <a:lnTo>
                  <a:pt x="1416" y="1326"/>
                </a:lnTo>
                <a:lnTo>
                  <a:pt x="1404" y="1320"/>
                </a:lnTo>
                <a:lnTo>
                  <a:pt x="1404" y="1314"/>
                </a:lnTo>
                <a:lnTo>
                  <a:pt x="1374" y="1308"/>
                </a:lnTo>
                <a:lnTo>
                  <a:pt x="1368" y="1326"/>
                </a:lnTo>
                <a:lnTo>
                  <a:pt x="1344" y="1338"/>
                </a:lnTo>
                <a:lnTo>
                  <a:pt x="1326" y="1332"/>
                </a:lnTo>
                <a:lnTo>
                  <a:pt x="1302" y="1332"/>
                </a:lnTo>
                <a:lnTo>
                  <a:pt x="1278" y="1338"/>
                </a:lnTo>
                <a:lnTo>
                  <a:pt x="1236" y="1338"/>
                </a:lnTo>
                <a:lnTo>
                  <a:pt x="1224" y="1338"/>
                </a:lnTo>
                <a:lnTo>
                  <a:pt x="1224" y="1326"/>
                </a:lnTo>
                <a:lnTo>
                  <a:pt x="1206" y="1326"/>
                </a:lnTo>
                <a:lnTo>
                  <a:pt x="1170" y="1326"/>
                </a:lnTo>
                <a:lnTo>
                  <a:pt x="1152" y="1326"/>
                </a:lnTo>
                <a:lnTo>
                  <a:pt x="1140" y="1314"/>
                </a:lnTo>
                <a:lnTo>
                  <a:pt x="1134" y="1296"/>
                </a:lnTo>
                <a:lnTo>
                  <a:pt x="1134" y="1284"/>
                </a:lnTo>
                <a:lnTo>
                  <a:pt x="1128" y="1254"/>
                </a:lnTo>
                <a:lnTo>
                  <a:pt x="1128" y="1242"/>
                </a:lnTo>
                <a:lnTo>
                  <a:pt x="1122" y="1230"/>
                </a:lnTo>
                <a:lnTo>
                  <a:pt x="1104" y="1218"/>
                </a:lnTo>
                <a:lnTo>
                  <a:pt x="1104" y="1212"/>
                </a:lnTo>
                <a:lnTo>
                  <a:pt x="1092" y="1206"/>
                </a:lnTo>
                <a:lnTo>
                  <a:pt x="1080" y="1194"/>
                </a:lnTo>
                <a:lnTo>
                  <a:pt x="1068" y="1176"/>
                </a:lnTo>
                <a:lnTo>
                  <a:pt x="1050" y="1152"/>
                </a:lnTo>
                <a:lnTo>
                  <a:pt x="1020" y="1098"/>
                </a:lnTo>
                <a:lnTo>
                  <a:pt x="978" y="1026"/>
                </a:lnTo>
                <a:lnTo>
                  <a:pt x="978" y="1014"/>
                </a:lnTo>
                <a:lnTo>
                  <a:pt x="972" y="1014"/>
                </a:lnTo>
                <a:lnTo>
                  <a:pt x="972" y="1008"/>
                </a:lnTo>
                <a:lnTo>
                  <a:pt x="978" y="1002"/>
                </a:lnTo>
                <a:lnTo>
                  <a:pt x="960" y="966"/>
                </a:lnTo>
                <a:lnTo>
                  <a:pt x="948" y="954"/>
                </a:lnTo>
                <a:lnTo>
                  <a:pt x="948" y="936"/>
                </a:lnTo>
                <a:lnTo>
                  <a:pt x="936" y="900"/>
                </a:lnTo>
                <a:lnTo>
                  <a:pt x="942" y="876"/>
                </a:lnTo>
                <a:lnTo>
                  <a:pt x="942" y="834"/>
                </a:lnTo>
                <a:lnTo>
                  <a:pt x="960" y="828"/>
                </a:lnTo>
                <a:lnTo>
                  <a:pt x="966" y="816"/>
                </a:lnTo>
                <a:lnTo>
                  <a:pt x="972" y="810"/>
                </a:lnTo>
                <a:lnTo>
                  <a:pt x="978" y="804"/>
                </a:lnTo>
                <a:lnTo>
                  <a:pt x="996" y="798"/>
                </a:lnTo>
                <a:lnTo>
                  <a:pt x="996" y="792"/>
                </a:lnTo>
                <a:lnTo>
                  <a:pt x="1014" y="780"/>
                </a:lnTo>
                <a:lnTo>
                  <a:pt x="1026" y="768"/>
                </a:lnTo>
                <a:lnTo>
                  <a:pt x="1032" y="762"/>
                </a:lnTo>
                <a:lnTo>
                  <a:pt x="1026" y="756"/>
                </a:lnTo>
                <a:lnTo>
                  <a:pt x="1014" y="744"/>
                </a:lnTo>
                <a:lnTo>
                  <a:pt x="996" y="756"/>
                </a:lnTo>
                <a:lnTo>
                  <a:pt x="954" y="768"/>
                </a:lnTo>
                <a:lnTo>
                  <a:pt x="942" y="762"/>
                </a:lnTo>
                <a:lnTo>
                  <a:pt x="942" y="756"/>
                </a:lnTo>
                <a:lnTo>
                  <a:pt x="936" y="750"/>
                </a:lnTo>
                <a:lnTo>
                  <a:pt x="846" y="732"/>
                </a:lnTo>
                <a:lnTo>
                  <a:pt x="822" y="726"/>
                </a:lnTo>
                <a:lnTo>
                  <a:pt x="810" y="714"/>
                </a:lnTo>
                <a:lnTo>
                  <a:pt x="792" y="690"/>
                </a:lnTo>
                <a:lnTo>
                  <a:pt x="792" y="678"/>
                </a:lnTo>
                <a:lnTo>
                  <a:pt x="762" y="642"/>
                </a:lnTo>
                <a:lnTo>
                  <a:pt x="750" y="636"/>
                </a:lnTo>
                <a:lnTo>
                  <a:pt x="726" y="630"/>
                </a:lnTo>
                <a:lnTo>
                  <a:pt x="696" y="642"/>
                </a:lnTo>
                <a:lnTo>
                  <a:pt x="678" y="654"/>
                </a:lnTo>
                <a:lnTo>
                  <a:pt x="666" y="684"/>
                </a:lnTo>
                <a:lnTo>
                  <a:pt x="660" y="726"/>
                </a:lnTo>
                <a:lnTo>
                  <a:pt x="606" y="756"/>
                </a:lnTo>
                <a:lnTo>
                  <a:pt x="558" y="780"/>
                </a:lnTo>
                <a:lnTo>
                  <a:pt x="438" y="834"/>
                </a:lnTo>
                <a:lnTo>
                  <a:pt x="402" y="846"/>
                </a:lnTo>
                <a:lnTo>
                  <a:pt x="372" y="870"/>
                </a:lnTo>
                <a:lnTo>
                  <a:pt x="360" y="876"/>
                </a:lnTo>
                <a:lnTo>
                  <a:pt x="354" y="876"/>
                </a:lnTo>
                <a:lnTo>
                  <a:pt x="330" y="882"/>
                </a:lnTo>
                <a:lnTo>
                  <a:pt x="306" y="882"/>
                </a:lnTo>
                <a:lnTo>
                  <a:pt x="300" y="876"/>
                </a:lnTo>
                <a:lnTo>
                  <a:pt x="294" y="876"/>
                </a:lnTo>
                <a:lnTo>
                  <a:pt x="294" y="864"/>
                </a:lnTo>
                <a:lnTo>
                  <a:pt x="288" y="864"/>
                </a:lnTo>
                <a:lnTo>
                  <a:pt x="276" y="864"/>
                </a:lnTo>
                <a:lnTo>
                  <a:pt x="270" y="870"/>
                </a:lnTo>
                <a:lnTo>
                  <a:pt x="264" y="870"/>
                </a:lnTo>
                <a:lnTo>
                  <a:pt x="240" y="894"/>
                </a:lnTo>
                <a:lnTo>
                  <a:pt x="234" y="894"/>
                </a:lnTo>
                <a:lnTo>
                  <a:pt x="228" y="900"/>
                </a:lnTo>
                <a:lnTo>
                  <a:pt x="222" y="906"/>
                </a:lnTo>
                <a:lnTo>
                  <a:pt x="210" y="912"/>
                </a:lnTo>
                <a:lnTo>
                  <a:pt x="204" y="912"/>
                </a:lnTo>
                <a:lnTo>
                  <a:pt x="198" y="912"/>
                </a:lnTo>
                <a:lnTo>
                  <a:pt x="192" y="918"/>
                </a:lnTo>
                <a:lnTo>
                  <a:pt x="180" y="918"/>
                </a:lnTo>
                <a:lnTo>
                  <a:pt x="174" y="930"/>
                </a:lnTo>
                <a:lnTo>
                  <a:pt x="174" y="936"/>
                </a:lnTo>
                <a:lnTo>
                  <a:pt x="168" y="942"/>
                </a:lnTo>
                <a:lnTo>
                  <a:pt x="162" y="942"/>
                </a:lnTo>
                <a:lnTo>
                  <a:pt x="150" y="960"/>
                </a:lnTo>
                <a:lnTo>
                  <a:pt x="144" y="966"/>
                </a:lnTo>
                <a:lnTo>
                  <a:pt x="138" y="972"/>
                </a:lnTo>
                <a:lnTo>
                  <a:pt x="132" y="972"/>
                </a:lnTo>
                <a:lnTo>
                  <a:pt x="126" y="984"/>
                </a:lnTo>
                <a:lnTo>
                  <a:pt x="120" y="984"/>
                </a:lnTo>
                <a:lnTo>
                  <a:pt x="114" y="990"/>
                </a:lnTo>
                <a:lnTo>
                  <a:pt x="96" y="990"/>
                </a:lnTo>
                <a:lnTo>
                  <a:pt x="90" y="990"/>
                </a:lnTo>
                <a:lnTo>
                  <a:pt x="78" y="990"/>
                </a:lnTo>
                <a:lnTo>
                  <a:pt x="72" y="990"/>
                </a:lnTo>
                <a:lnTo>
                  <a:pt x="60" y="990"/>
                </a:lnTo>
                <a:lnTo>
                  <a:pt x="42" y="990"/>
                </a:lnTo>
                <a:lnTo>
                  <a:pt x="36" y="996"/>
                </a:lnTo>
                <a:lnTo>
                  <a:pt x="30" y="1002"/>
                </a:lnTo>
                <a:lnTo>
                  <a:pt x="24" y="1014"/>
                </a:lnTo>
                <a:lnTo>
                  <a:pt x="24" y="1020"/>
                </a:lnTo>
                <a:lnTo>
                  <a:pt x="18" y="1020"/>
                </a:lnTo>
                <a:lnTo>
                  <a:pt x="12" y="1014"/>
                </a:lnTo>
                <a:lnTo>
                  <a:pt x="12" y="1008"/>
                </a:lnTo>
                <a:lnTo>
                  <a:pt x="12" y="990"/>
                </a:lnTo>
                <a:lnTo>
                  <a:pt x="12" y="984"/>
                </a:lnTo>
                <a:lnTo>
                  <a:pt x="12" y="972"/>
                </a:lnTo>
                <a:lnTo>
                  <a:pt x="12" y="966"/>
                </a:lnTo>
                <a:lnTo>
                  <a:pt x="6" y="966"/>
                </a:lnTo>
                <a:lnTo>
                  <a:pt x="6" y="960"/>
                </a:lnTo>
                <a:lnTo>
                  <a:pt x="6" y="954"/>
                </a:lnTo>
                <a:lnTo>
                  <a:pt x="6" y="948"/>
                </a:lnTo>
                <a:lnTo>
                  <a:pt x="6" y="942"/>
                </a:lnTo>
                <a:lnTo>
                  <a:pt x="12" y="930"/>
                </a:lnTo>
                <a:lnTo>
                  <a:pt x="6" y="924"/>
                </a:lnTo>
                <a:lnTo>
                  <a:pt x="6" y="918"/>
                </a:lnTo>
                <a:lnTo>
                  <a:pt x="6" y="912"/>
                </a:lnTo>
                <a:lnTo>
                  <a:pt x="6" y="906"/>
                </a:lnTo>
                <a:lnTo>
                  <a:pt x="6" y="900"/>
                </a:lnTo>
                <a:lnTo>
                  <a:pt x="0" y="894"/>
                </a:lnTo>
                <a:lnTo>
                  <a:pt x="0" y="888"/>
                </a:lnTo>
                <a:lnTo>
                  <a:pt x="0" y="882"/>
                </a:lnTo>
                <a:lnTo>
                  <a:pt x="6" y="876"/>
                </a:lnTo>
                <a:lnTo>
                  <a:pt x="6" y="870"/>
                </a:lnTo>
                <a:lnTo>
                  <a:pt x="18" y="864"/>
                </a:lnTo>
                <a:lnTo>
                  <a:pt x="18" y="858"/>
                </a:lnTo>
                <a:lnTo>
                  <a:pt x="18" y="846"/>
                </a:lnTo>
                <a:lnTo>
                  <a:pt x="18" y="834"/>
                </a:lnTo>
                <a:lnTo>
                  <a:pt x="18" y="828"/>
                </a:lnTo>
                <a:lnTo>
                  <a:pt x="24" y="828"/>
                </a:lnTo>
                <a:lnTo>
                  <a:pt x="24" y="810"/>
                </a:lnTo>
                <a:lnTo>
                  <a:pt x="24" y="804"/>
                </a:lnTo>
                <a:lnTo>
                  <a:pt x="18" y="804"/>
                </a:lnTo>
                <a:lnTo>
                  <a:pt x="18" y="798"/>
                </a:lnTo>
                <a:lnTo>
                  <a:pt x="18" y="792"/>
                </a:lnTo>
                <a:lnTo>
                  <a:pt x="24" y="792"/>
                </a:lnTo>
                <a:lnTo>
                  <a:pt x="30" y="774"/>
                </a:lnTo>
                <a:lnTo>
                  <a:pt x="24" y="768"/>
                </a:lnTo>
                <a:lnTo>
                  <a:pt x="30" y="768"/>
                </a:lnTo>
                <a:lnTo>
                  <a:pt x="36" y="762"/>
                </a:lnTo>
                <a:lnTo>
                  <a:pt x="36" y="756"/>
                </a:lnTo>
                <a:lnTo>
                  <a:pt x="30" y="756"/>
                </a:lnTo>
                <a:lnTo>
                  <a:pt x="30" y="750"/>
                </a:lnTo>
                <a:lnTo>
                  <a:pt x="36" y="750"/>
                </a:lnTo>
                <a:lnTo>
                  <a:pt x="36" y="744"/>
                </a:lnTo>
                <a:lnTo>
                  <a:pt x="30" y="744"/>
                </a:lnTo>
                <a:lnTo>
                  <a:pt x="30" y="738"/>
                </a:lnTo>
                <a:lnTo>
                  <a:pt x="24" y="738"/>
                </a:lnTo>
                <a:lnTo>
                  <a:pt x="24" y="732"/>
                </a:lnTo>
                <a:lnTo>
                  <a:pt x="30" y="732"/>
                </a:lnTo>
                <a:lnTo>
                  <a:pt x="36" y="726"/>
                </a:lnTo>
                <a:lnTo>
                  <a:pt x="30" y="726"/>
                </a:lnTo>
                <a:lnTo>
                  <a:pt x="24" y="726"/>
                </a:lnTo>
                <a:lnTo>
                  <a:pt x="30" y="720"/>
                </a:lnTo>
                <a:lnTo>
                  <a:pt x="30" y="714"/>
                </a:lnTo>
                <a:lnTo>
                  <a:pt x="36" y="714"/>
                </a:lnTo>
                <a:lnTo>
                  <a:pt x="30" y="708"/>
                </a:lnTo>
                <a:lnTo>
                  <a:pt x="30" y="696"/>
                </a:lnTo>
                <a:lnTo>
                  <a:pt x="66" y="702"/>
                </a:lnTo>
                <a:lnTo>
                  <a:pt x="78" y="702"/>
                </a:lnTo>
                <a:lnTo>
                  <a:pt x="84" y="702"/>
                </a:lnTo>
                <a:lnTo>
                  <a:pt x="96" y="696"/>
                </a:lnTo>
                <a:lnTo>
                  <a:pt x="102" y="690"/>
                </a:lnTo>
                <a:lnTo>
                  <a:pt x="102" y="684"/>
                </a:lnTo>
                <a:lnTo>
                  <a:pt x="114" y="684"/>
                </a:lnTo>
                <a:lnTo>
                  <a:pt x="144" y="684"/>
                </a:lnTo>
                <a:lnTo>
                  <a:pt x="150" y="690"/>
                </a:lnTo>
                <a:lnTo>
                  <a:pt x="162" y="696"/>
                </a:lnTo>
                <a:lnTo>
                  <a:pt x="168" y="696"/>
                </a:lnTo>
                <a:lnTo>
                  <a:pt x="174" y="696"/>
                </a:lnTo>
                <a:lnTo>
                  <a:pt x="186" y="690"/>
                </a:lnTo>
                <a:lnTo>
                  <a:pt x="192" y="690"/>
                </a:lnTo>
                <a:lnTo>
                  <a:pt x="198" y="684"/>
                </a:lnTo>
                <a:lnTo>
                  <a:pt x="204" y="684"/>
                </a:lnTo>
                <a:lnTo>
                  <a:pt x="210" y="684"/>
                </a:lnTo>
                <a:lnTo>
                  <a:pt x="222" y="678"/>
                </a:lnTo>
                <a:lnTo>
                  <a:pt x="228" y="678"/>
                </a:lnTo>
                <a:lnTo>
                  <a:pt x="228" y="660"/>
                </a:lnTo>
                <a:lnTo>
                  <a:pt x="234" y="642"/>
                </a:lnTo>
                <a:lnTo>
                  <a:pt x="246" y="618"/>
                </a:lnTo>
                <a:lnTo>
                  <a:pt x="252" y="618"/>
                </a:lnTo>
                <a:lnTo>
                  <a:pt x="252" y="600"/>
                </a:lnTo>
                <a:lnTo>
                  <a:pt x="252" y="588"/>
                </a:lnTo>
                <a:lnTo>
                  <a:pt x="252" y="582"/>
                </a:lnTo>
                <a:lnTo>
                  <a:pt x="258" y="576"/>
                </a:lnTo>
                <a:lnTo>
                  <a:pt x="270" y="564"/>
                </a:lnTo>
                <a:lnTo>
                  <a:pt x="270" y="558"/>
                </a:lnTo>
                <a:lnTo>
                  <a:pt x="270" y="552"/>
                </a:lnTo>
                <a:lnTo>
                  <a:pt x="270" y="540"/>
                </a:lnTo>
                <a:lnTo>
                  <a:pt x="270" y="534"/>
                </a:lnTo>
                <a:lnTo>
                  <a:pt x="270" y="522"/>
                </a:lnTo>
                <a:lnTo>
                  <a:pt x="270" y="510"/>
                </a:lnTo>
                <a:lnTo>
                  <a:pt x="270" y="498"/>
                </a:lnTo>
                <a:lnTo>
                  <a:pt x="258" y="468"/>
                </a:lnTo>
                <a:lnTo>
                  <a:pt x="252" y="456"/>
                </a:lnTo>
                <a:lnTo>
                  <a:pt x="258" y="444"/>
                </a:lnTo>
                <a:lnTo>
                  <a:pt x="264" y="432"/>
                </a:lnTo>
                <a:lnTo>
                  <a:pt x="270" y="426"/>
                </a:lnTo>
                <a:lnTo>
                  <a:pt x="276" y="420"/>
                </a:lnTo>
                <a:lnTo>
                  <a:pt x="288" y="420"/>
                </a:lnTo>
                <a:lnTo>
                  <a:pt x="288" y="414"/>
                </a:lnTo>
                <a:lnTo>
                  <a:pt x="294" y="414"/>
                </a:lnTo>
                <a:lnTo>
                  <a:pt x="306" y="390"/>
                </a:lnTo>
                <a:lnTo>
                  <a:pt x="312" y="384"/>
                </a:lnTo>
                <a:lnTo>
                  <a:pt x="318" y="378"/>
                </a:lnTo>
                <a:lnTo>
                  <a:pt x="318" y="372"/>
                </a:lnTo>
                <a:lnTo>
                  <a:pt x="324" y="366"/>
                </a:lnTo>
                <a:lnTo>
                  <a:pt x="330" y="354"/>
                </a:lnTo>
                <a:lnTo>
                  <a:pt x="336" y="348"/>
                </a:lnTo>
                <a:lnTo>
                  <a:pt x="336" y="330"/>
                </a:lnTo>
                <a:lnTo>
                  <a:pt x="342" y="324"/>
                </a:lnTo>
                <a:lnTo>
                  <a:pt x="342" y="318"/>
                </a:lnTo>
                <a:lnTo>
                  <a:pt x="348" y="318"/>
                </a:lnTo>
                <a:lnTo>
                  <a:pt x="360" y="318"/>
                </a:lnTo>
                <a:lnTo>
                  <a:pt x="372" y="318"/>
                </a:lnTo>
                <a:lnTo>
                  <a:pt x="384" y="306"/>
                </a:lnTo>
                <a:lnTo>
                  <a:pt x="396" y="300"/>
                </a:lnTo>
                <a:lnTo>
                  <a:pt x="396" y="294"/>
                </a:lnTo>
                <a:lnTo>
                  <a:pt x="396" y="288"/>
                </a:lnTo>
                <a:lnTo>
                  <a:pt x="390" y="282"/>
                </a:lnTo>
                <a:lnTo>
                  <a:pt x="390" y="276"/>
                </a:lnTo>
                <a:lnTo>
                  <a:pt x="384" y="264"/>
                </a:lnTo>
                <a:lnTo>
                  <a:pt x="378" y="252"/>
                </a:lnTo>
                <a:lnTo>
                  <a:pt x="378" y="246"/>
                </a:lnTo>
                <a:lnTo>
                  <a:pt x="384" y="228"/>
                </a:lnTo>
                <a:lnTo>
                  <a:pt x="390" y="216"/>
                </a:lnTo>
                <a:lnTo>
                  <a:pt x="402" y="210"/>
                </a:lnTo>
                <a:lnTo>
                  <a:pt x="408" y="210"/>
                </a:lnTo>
                <a:lnTo>
                  <a:pt x="420" y="204"/>
                </a:lnTo>
                <a:lnTo>
                  <a:pt x="444" y="198"/>
                </a:lnTo>
                <a:lnTo>
                  <a:pt x="462" y="192"/>
                </a:lnTo>
                <a:lnTo>
                  <a:pt x="474" y="186"/>
                </a:lnTo>
                <a:lnTo>
                  <a:pt x="480" y="192"/>
                </a:lnTo>
                <a:lnTo>
                  <a:pt x="492" y="192"/>
                </a:lnTo>
                <a:lnTo>
                  <a:pt x="498" y="192"/>
                </a:lnTo>
                <a:lnTo>
                  <a:pt x="504" y="192"/>
                </a:lnTo>
                <a:lnTo>
                  <a:pt x="510" y="192"/>
                </a:lnTo>
                <a:lnTo>
                  <a:pt x="516" y="186"/>
                </a:lnTo>
                <a:lnTo>
                  <a:pt x="522" y="180"/>
                </a:lnTo>
                <a:lnTo>
                  <a:pt x="522" y="174"/>
                </a:lnTo>
                <a:lnTo>
                  <a:pt x="528" y="168"/>
                </a:lnTo>
                <a:lnTo>
                  <a:pt x="534" y="168"/>
                </a:lnTo>
                <a:lnTo>
                  <a:pt x="534" y="156"/>
                </a:lnTo>
                <a:lnTo>
                  <a:pt x="534" y="150"/>
                </a:lnTo>
                <a:lnTo>
                  <a:pt x="552" y="138"/>
                </a:lnTo>
                <a:lnTo>
                  <a:pt x="558" y="126"/>
                </a:lnTo>
                <a:lnTo>
                  <a:pt x="558" y="114"/>
                </a:lnTo>
                <a:lnTo>
                  <a:pt x="564" y="102"/>
                </a:lnTo>
                <a:lnTo>
                  <a:pt x="564" y="96"/>
                </a:lnTo>
                <a:lnTo>
                  <a:pt x="564" y="90"/>
                </a:lnTo>
                <a:lnTo>
                  <a:pt x="564" y="72"/>
                </a:lnTo>
                <a:lnTo>
                  <a:pt x="564" y="60"/>
                </a:lnTo>
                <a:lnTo>
                  <a:pt x="564" y="54"/>
                </a:lnTo>
                <a:lnTo>
                  <a:pt x="570" y="42"/>
                </a:lnTo>
                <a:lnTo>
                  <a:pt x="576" y="42"/>
                </a:lnTo>
                <a:lnTo>
                  <a:pt x="582" y="36"/>
                </a:lnTo>
                <a:lnTo>
                  <a:pt x="594" y="36"/>
                </a:lnTo>
                <a:lnTo>
                  <a:pt x="594" y="30"/>
                </a:lnTo>
                <a:lnTo>
                  <a:pt x="600" y="24"/>
                </a:lnTo>
                <a:lnTo>
                  <a:pt x="600" y="12"/>
                </a:lnTo>
                <a:lnTo>
                  <a:pt x="606" y="6"/>
                </a:lnTo>
                <a:lnTo>
                  <a:pt x="606" y="0"/>
                </a:lnTo>
                <a:lnTo>
                  <a:pt x="612" y="0"/>
                </a:lnTo>
                <a:lnTo>
                  <a:pt x="618" y="0"/>
                </a:lnTo>
                <a:lnTo>
                  <a:pt x="624" y="6"/>
                </a:lnTo>
                <a:lnTo>
                  <a:pt x="624" y="12"/>
                </a:lnTo>
                <a:lnTo>
                  <a:pt x="624" y="18"/>
                </a:lnTo>
                <a:lnTo>
                  <a:pt x="624" y="24"/>
                </a:lnTo>
                <a:lnTo>
                  <a:pt x="624" y="30"/>
                </a:lnTo>
                <a:lnTo>
                  <a:pt x="630" y="30"/>
                </a:lnTo>
                <a:lnTo>
                  <a:pt x="630" y="36"/>
                </a:lnTo>
                <a:lnTo>
                  <a:pt x="630" y="42"/>
                </a:lnTo>
                <a:lnTo>
                  <a:pt x="630" y="48"/>
                </a:lnTo>
                <a:lnTo>
                  <a:pt x="636" y="54"/>
                </a:lnTo>
                <a:lnTo>
                  <a:pt x="642" y="48"/>
                </a:lnTo>
                <a:lnTo>
                  <a:pt x="648" y="48"/>
                </a:lnTo>
                <a:lnTo>
                  <a:pt x="648" y="60"/>
                </a:lnTo>
                <a:lnTo>
                  <a:pt x="654" y="66"/>
                </a:lnTo>
                <a:lnTo>
                  <a:pt x="660" y="72"/>
                </a:lnTo>
                <a:lnTo>
                  <a:pt x="666" y="72"/>
                </a:lnTo>
                <a:lnTo>
                  <a:pt x="666" y="84"/>
                </a:lnTo>
                <a:lnTo>
                  <a:pt x="672" y="84"/>
                </a:lnTo>
                <a:lnTo>
                  <a:pt x="672" y="78"/>
                </a:lnTo>
                <a:lnTo>
                  <a:pt x="672" y="66"/>
                </a:lnTo>
                <a:lnTo>
                  <a:pt x="678" y="66"/>
                </a:lnTo>
                <a:lnTo>
                  <a:pt x="678" y="60"/>
                </a:lnTo>
                <a:lnTo>
                  <a:pt x="684" y="60"/>
                </a:lnTo>
                <a:lnTo>
                  <a:pt x="696" y="66"/>
                </a:lnTo>
                <a:lnTo>
                  <a:pt x="696" y="72"/>
                </a:lnTo>
                <a:lnTo>
                  <a:pt x="702" y="72"/>
                </a:lnTo>
                <a:lnTo>
                  <a:pt x="708" y="72"/>
                </a:lnTo>
                <a:lnTo>
                  <a:pt x="720" y="66"/>
                </a:lnTo>
                <a:lnTo>
                  <a:pt x="726" y="78"/>
                </a:lnTo>
                <a:lnTo>
                  <a:pt x="744" y="84"/>
                </a:lnTo>
                <a:lnTo>
                  <a:pt x="744" y="90"/>
                </a:lnTo>
                <a:lnTo>
                  <a:pt x="744" y="96"/>
                </a:lnTo>
                <a:lnTo>
                  <a:pt x="738" y="96"/>
                </a:lnTo>
                <a:lnTo>
                  <a:pt x="738" y="102"/>
                </a:lnTo>
                <a:lnTo>
                  <a:pt x="732" y="102"/>
                </a:lnTo>
                <a:lnTo>
                  <a:pt x="732" y="108"/>
                </a:lnTo>
                <a:lnTo>
                  <a:pt x="738" y="108"/>
                </a:lnTo>
                <a:lnTo>
                  <a:pt x="744" y="114"/>
                </a:lnTo>
                <a:lnTo>
                  <a:pt x="750" y="108"/>
                </a:lnTo>
                <a:lnTo>
                  <a:pt x="756" y="108"/>
                </a:lnTo>
                <a:lnTo>
                  <a:pt x="762" y="108"/>
                </a:lnTo>
                <a:lnTo>
                  <a:pt x="768" y="108"/>
                </a:lnTo>
                <a:lnTo>
                  <a:pt x="774" y="114"/>
                </a:lnTo>
                <a:lnTo>
                  <a:pt x="780" y="120"/>
                </a:lnTo>
                <a:lnTo>
                  <a:pt x="774" y="120"/>
                </a:lnTo>
                <a:lnTo>
                  <a:pt x="768" y="120"/>
                </a:lnTo>
                <a:lnTo>
                  <a:pt x="768" y="126"/>
                </a:lnTo>
                <a:lnTo>
                  <a:pt x="768" y="132"/>
                </a:lnTo>
                <a:lnTo>
                  <a:pt x="774" y="138"/>
                </a:lnTo>
                <a:lnTo>
                  <a:pt x="774" y="132"/>
                </a:lnTo>
                <a:lnTo>
                  <a:pt x="780" y="132"/>
                </a:lnTo>
                <a:lnTo>
                  <a:pt x="786" y="132"/>
                </a:lnTo>
                <a:lnTo>
                  <a:pt x="792" y="138"/>
                </a:lnTo>
                <a:lnTo>
                  <a:pt x="792" y="144"/>
                </a:lnTo>
                <a:lnTo>
                  <a:pt x="786" y="144"/>
                </a:lnTo>
                <a:lnTo>
                  <a:pt x="786" y="150"/>
                </a:lnTo>
                <a:lnTo>
                  <a:pt x="780" y="150"/>
                </a:lnTo>
                <a:lnTo>
                  <a:pt x="774" y="150"/>
                </a:lnTo>
                <a:lnTo>
                  <a:pt x="768" y="150"/>
                </a:lnTo>
                <a:lnTo>
                  <a:pt x="768" y="156"/>
                </a:lnTo>
                <a:lnTo>
                  <a:pt x="768" y="162"/>
                </a:lnTo>
                <a:lnTo>
                  <a:pt x="774" y="162"/>
                </a:lnTo>
                <a:lnTo>
                  <a:pt x="780" y="162"/>
                </a:lnTo>
                <a:lnTo>
                  <a:pt x="786" y="168"/>
                </a:lnTo>
                <a:lnTo>
                  <a:pt x="792" y="162"/>
                </a:lnTo>
                <a:lnTo>
                  <a:pt x="798" y="168"/>
                </a:lnTo>
                <a:lnTo>
                  <a:pt x="798" y="174"/>
                </a:lnTo>
                <a:lnTo>
                  <a:pt x="804" y="168"/>
                </a:lnTo>
                <a:lnTo>
                  <a:pt x="810" y="168"/>
                </a:lnTo>
                <a:lnTo>
                  <a:pt x="810" y="174"/>
                </a:lnTo>
                <a:lnTo>
                  <a:pt x="816" y="168"/>
                </a:lnTo>
                <a:lnTo>
                  <a:pt x="822" y="162"/>
                </a:lnTo>
                <a:lnTo>
                  <a:pt x="822" y="168"/>
                </a:lnTo>
                <a:lnTo>
                  <a:pt x="828" y="168"/>
                </a:lnTo>
                <a:lnTo>
                  <a:pt x="828" y="174"/>
                </a:lnTo>
                <a:lnTo>
                  <a:pt x="834" y="192"/>
                </a:lnTo>
                <a:lnTo>
                  <a:pt x="834" y="198"/>
                </a:lnTo>
                <a:lnTo>
                  <a:pt x="840" y="192"/>
                </a:lnTo>
                <a:lnTo>
                  <a:pt x="846" y="192"/>
                </a:lnTo>
                <a:lnTo>
                  <a:pt x="852" y="186"/>
                </a:lnTo>
                <a:lnTo>
                  <a:pt x="858" y="192"/>
                </a:lnTo>
                <a:lnTo>
                  <a:pt x="864" y="192"/>
                </a:lnTo>
                <a:lnTo>
                  <a:pt x="870" y="198"/>
                </a:lnTo>
                <a:lnTo>
                  <a:pt x="876" y="180"/>
                </a:lnTo>
                <a:lnTo>
                  <a:pt x="882" y="180"/>
                </a:lnTo>
                <a:lnTo>
                  <a:pt x="888" y="180"/>
                </a:lnTo>
                <a:lnTo>
                  <a:pt x="894" y="186"/>
                </a:lnTo>
                <a:lnTo>
                  <a:pt x="888" y="198"/>
                </a:lnTo>
                <a:lnTo>
                  <a:pt x="894" y="204"/>
                </a:lnTo>
                <a:lnTo>
                  <a:pt x="906" y="210"/>
                </a:lnTo>
                <a:lnTo>
                  <a:pt x="918" y="246"/>
                </a:lnTo>
                <a:lnTo>
                  <a:pt x="930" y="258"/>
                </a:lnTo>
                <a:lnTo>
                  <a:pt x="942" y="282"/>
                </a:lnTo>
                <a:lnTo>
                  <a:pt x="966" y="288"/>
                </a:lnTo>
                <a:lnTo>
                  <a:pt x="972" y="300"/>
                </a:lnTo>
                <a:lnTo>
                  <a:pt x="972" y="318"/>
                </a:lnTo>
                <a:lnTo>
                  <a:pt x="996" y="336"/>
                </a:lnTo>
                <a:lnTo>
                  <a:pt x="1050" y="390"/>
                </a:lnTo>
                <a:lnTo>
                  <a:pt x="1116" y="462"/>
                </a:lnTo>
                <a:lnTo>
                  <a:pt x="1122" y="468"/>
                </a:lnTo>
                <a:lnTo>
                  <a:pt x="1128" y="474"/>
                </a:lnTo>
                <a:lnTo>
                  <a:pt x="1140" y="474"/>
                </a:lnTo>
                <a:lnTo>
                  <a:pt x="1152" y="486"/>
                </a:lnTo>
                <a:lnTo>
                  <a:pt x="1152" y="492"/>
                </a:lnTo>
                <a:lnTo>
                  <a:pt x="1158" y="492"/>
                </a:lnTo>
                <a:lnTo>
                  <a:pt x="1164" y="492"/>
                </a:lnTo>
                <a:lnTo>
                  <a:pt x="1170" y="504"/>
                </a:lnTo>
                <a:lnTo>
                  <a:pt x="1176" y="504"/>
                </a:lnTo>
                <a:lnTo>
                  <a:pt x="1176" y="510"/>
                </a:lnTo>
                <a:lnTo>
                  <a:pt x="1200" y="516"/>
                </a:lnTo>
                <a:lnTo>
                  <a:pt x="1200" y="522"/>
                </a:lnTo>
                <a:lnTo>
                  <a:pt x="1212" y="534"/>
                </a:lnTo>
                <a:lnTo>
                  <a:pt x="1218" y="540"/>
                </a:lnTo>
                <a:lnTo>
                  <a:pt x="1224" y="552"/>
                </a:lnTo>
                <a:lnTo>
                  <a:pt x="1230" y="552"/>
                </a:lnTo>
                <a:lnTo>
                  <a:pt x="1242" y="552"/>
                </a:lnTo>
                <a:lnTo>
                  <a:pt x="1248" y="558"/>
                </a:lnTo>
                <a:lnTo>
                  <a:pt x="1254" y="558"/>
                </a:lnTo>
                <a:lnTo>
                  <a:pt x="1260" y="564"/>
                </a:lnTo>
                <a:lnTo>
                  <a:pt x="1266" y="564"/>
                </a:lnTo>
                <a:lnTo>
                  <a:pt x="1272" y="564"/>
                </a:lnTo>
                <a:lnTo>
                  <a:pt x="1284" y="564"/>
                </a:lnTo>
                <a:lnTo>
                  <a:pt x="1290" y="570"/>
                </a:lnTo>
                <a:lnTo>
                  <a:pt x="1296" y="576"/>
                </a:lnTo>
                <a:lnTo>
                  <a:pt x="1302" y="588"/>
                </a:lnTo>
                <a:lnTo>
                  <a:pt x="1296" y="594"/>
                </a:lnTo>
                <a:lnTo>
                  <a:pt x="1296" y="600"/>
                </a:lnTo>
                <a:lnTo>
                  <a:pt x="1296" y="606"/>
                </a:lnTo>
                <a:lnTo>
                  <a:pt x="1290" y="612"/>
                </a:lnTo>
                <a:lnTo>
                  <a:pt x="1290" y="624"/>
                </a:lnTo>
                <a:lnTo>
                  <a:pt x="1290" y="636"/>
                </a:lnTo>
                <a:lnTo>
                  <a:pt x="1296" y="642"/>
                </a:lnTo>
                <a:lnTo>
                  <a:pt x="1302" y="648"/>
                </a:lnTo>
                <a:lnTo>
                  <a:pt x="1308" y="654"/>
                </a:lnTo>
                <a:lnTo>
                  <a:pt x="1320" y="654"/>
                </a:lnTo>
                <a:lnTo>
                  <a:pt x="1326" y="660"/>
                </a:lnTo>
                <a:lnTo>
                  <a:pt x="1338" y="654"/>
                </a:lnTo>
                <a:lnTo>
                  <a:pt x="1344" y="654"/>
                </a:lnTo>
                <a:lnTo>
                  <a:pt x="1356" y="654"/>
                </a:lnTo>
                <a:lnTo>
                  <a:pt x="1362" y="648"/>
                </a:lnTo>
                <a:lnTo>
                  <a:pt x="1368" y="642"/>
                </a:lnTo>
                <a:lnTo>
                  <a:pt x="1374" y="636"/>
                </a:lnTo>
                <a:lnTo>
                  <a:pt x="1380" y="636"/>
                </a:lnTo>
                <a:lnTo>
                  <a:pt x="1392" y="636"/>
                </a:lnTo>
                <a:lnTo>
                  <a:pt x="1398" y="636"/>
                </a:lnTo>
                <a:lnTo>
                  <a:pt x="1404" y="636"/>
                </a:lnTo>
                <a:lnTo>
                  <a:pt x="1410" y="630"/>
                </a:lnTo>
                <a:lnTo>
                  <a:pt x="1410" y="624"/>
                </a:lnTo>
                <a:lnTo>
                  <a:pt x="1422" y="618"/>
                </a:lnTo>
                <a:lnTo>
                  <a:pt x="1428" y="618"/>
                </a:lnTo>
                <a:lnTo>
                  <a:pt x="1440" y="612"/>
                </a:lnTo>
                <a:lnTo>
                  <a:pt x="1446" y="612"/>
                </a:lnTo>
                <a:lnTo>
                  <a:pt x="1458" y="612"/>
                </a:lnTo>
                <a:lnTo>
                  <a:pt x="1470" y="624"/>
                </a:lnTo>
                <a:lnTo>
                  <a:pt x="1488" y="642"/>
                </a:lnTo>
                <a:lnTo>
                  <a:pt x="1500" y="648"/>
                </a:lnTo>
                <a:lnTo>
                  <a:pt x="1512" y="654"/>
                </a:lnTo>
                <a:lnTo>
                  <a:pt x="1518" y="660"/>
                </a:lnTo>
                <a:lnTo>
                  <a:pt x="1524" y="660"/>
                </a:lnTo>
                <a:lnTo>
                  <a:pt x="1530" y="660"/>
                </a:lnTo>
                <a:lnTo>
                  <a:pt x="1536" y="666"/>
                </a:lnTo>
                <a:lnTo>
                  <a:pt x="1542" y="672"/>
                </a:lnTo>
                <a:lnTo>
                  <a:pt x="1548" y="672"/>
                </a:lnTo>
                <a:lnTo>
                  <a:pt x="1554" y="684"/>
                </a:lnTo>
                <a:lnTo>
                  <a:pt x="1554" y="690"/>
                </a:lnTo>
                <a:lnTo>
                  <a:pt x="1566" y="702"/>
                </a:lnTo>
                <a:lnTo>
                  <a:pt x="1572" y="720"/>
                </a:lnTo>
                <a:lnTo>
                  <a:pt x="1572" y="726"/>
                </a:lnTo>
                <a:lnTo>
                  <a:pt x="1578" y="732"/>
                </a:lnTo>
                <a:lnTo>
                  <a:pt x="1584" y="738"/>
                </a:lnTo>
                <a:lnTo>
                  <a:pt x="1590" y="738"/>
                </a:lnTo>
                <a:lnTo>
                  <a:pt x="1596" y="738"/>
                </a:lnTo>
                <a:lnTo>
                  <a:pt x="1602" y="744"/>
                </a:lnTo>
                <a:lnTo>
                  <a:pt x="1608" y="744"/>
                </a:lnTo>
                <a:lnTo>
                  <a:pt x="1614" y="744"/>
                </a:lnTo>
                <a:lnTo>
                  <a:pt x="1626" y="744"/>
                </a:lnTo>
                <a:lnTo>
                  <a:pt x="1638" y="744"/>
                </a:lnTo>
                <a:lnTo>
                  <a:pt x="1650" y="744"/>
                </a:lnTo>
                <a:lnTo>
                  <a:pt x="1662" y="744"/>
                </a:lnTo>
                <a:lnTo>
                  <a:pt x="1668" y="744"/>
                </a:lnTo>
                <a:lnTo>
                  <a:pt x="1674" y="744"/>
                </a:lnTo>
                <a:lnTo>
                  <a:pt x="1686" y="744"/>
                </a:lnTo>
                <a:lnTo>
                  <a:pt x="1698" y="750"/>
                </a:lnTo>
                <a:lnTo>
                  <a:pt x="1704" y="750"/>
                </a:lnTo>
                <a:lnTo>
                  <a:pt x="1716" y="756"/>
                </a:lnTo>
                <a:lnTo>
                  <a:pt x="1722" y="756"/>
                </a:lnTo>
                <a:lnTo>
                  <a:pt x="1728" y="756"/>
                </a:lnTo>
                <a:lnTo>
                  <a:pt x="1734" y="762"/>
                </a:lnTo>
                <a:lnTo>
                  <a:pt x="1740" y="768"/>
                </a:lnTo>
                <a:lnTo>
                  <a:pt x="1758" y="780"/>
                </a:lnTo>
                <a:lnTo>
                  <a:pt x="1770" y="780"/>
                </a:lnTo>
                <a:lnTo>
                  <a:pt x="1776" y="780"/>
                </a:lnTo>
                <a:lnTo>
                  <a:pt x="1782" y="780"/>
                </a:lnTo>
                <a:lnTo>
                  <a:pt x="1800" y="798"/>
                </a:lnTo>
                <a:lnTo>
                  <a:pt x="1818" y="810"/>
                </a:lnTo>
                <a:lnTo>
                  <a:pt x="1830" y="816"/>
                </a:lnTo>
                <a:lnTo>
                  <a:pt x="1836" y="822"/>
                </a:lnTo>
                <a:lnTo>
                  <a:pt x="1836" y="828"/>
                </a:lnTo>
                <a:lnTo>
                  <a:pt x="1842" y="828"/>
                </a:lnTo>
                <a:lnTo>
                  <a:pt x="1848" y="834"/>
                </a:lnTo>
                <a:lnTo>
                  <a:pt x="1854" y="840"/>
                </a:lnTo>
                <a:lnTo>
                  <a:pt x="1860" y="846"/>
                </a:lnTo>
                <a:lnTo>
                  <a:pt x="1872" y="852"/>
                </a:lnTo>
                <a:lnTo>
                  <a:pt x="1884" y="852"/>
                </a:lnTo>
                <a:lnTo>
                  <a:pt x="1896" y="852"/>
                </a:lnTo>
                <a:lnTo>
                  <a:pt x="1902" y="846"/>
                </a:lnTo>
                <a:lnTo>
                  <a:pt x="1908" y="852"/>
                </a:lnTo>
                <a:lnTo>
                  <a:pt x="1920" y="858"/>
                </a:lnTo>
                <a:lnTo>
                  <a:pt x="1926" y="870"/>
                </a:lnTo>
                <a:lnTo>
                  <a:pt x="1938" y="888"/>
                </a:lnTo>
                <a:lnTo>
                  <a:pt x="1944" y="900"/>
                </a:lnTo>
                <a:lnTo>
                  <a:pt x="1950" y="900"/>
                </a:lnTo>
                <a:lnTo>
                  <a:pt x="1962" y="906"/>
                </a:lnTo>
                <a:lnTo>
                  <a:pt x="1968" y="906"/>
                </a:lnTo>
                <a:lnTo>
                  <a:pt x="1980" y="906"/>
                </a:lnTo>
                <a:lnTo>
                  <a:pt x="1998" y="906"/>
                </a:lnTo>
                <a:lnTo>
                  <a:pt x="2010" y="900"/>
                </a:lnTo>
                <a:lnTo>
                  <a:pt x="2022" y="900"/>
                </a:lnTo>
                <a:lnTo>
                  <a:pt x="2028" y="900"/>
                </a:lnTo>
                <a:lnTo>
                  <a:pt x="2034" y="906"/>
                </a:lnTo>
                <a:lnTo>
                  <a:pt x="2046" y="906"/>
                </a:lnTo>
                <a:lnTo>
                  <a:pt x="2052" y="900"/>
                </a:lnTo>
                <a:lnTo>
                  <a:pt x="2058" y="900"/>
                </a:lnTo>
                <a:lnTo>
                  <a:pt x="2064" y="900"/>
                </a:lnTo>
                <a:lnTo>
                  <a:pt x="2070" y="900"/>
                </a:lnTo>
                <a:lnTo>
                  <a:pt x="2076" y="900"/>
                </a:lnTo>
                <a:lnTo>
                  <a:pt x="2076" y="906"/>
                </a:lnTo>
                <a:lnTo>
                  <a:pt x="2088" y="906"/>
                </a:lnTo>
                <a:lnTo>
                  <a:pt x="2106" y="900"/>
                </a:lnTo>
                <a:lnTo>
                  <a:pt x="2118" y="900"/>
                </a:lnTo>
                <a:lnTo>
                  <a:pt x="2130" y="900"/>
                </a:lnTo>
                <a:lnTo>
                  <a:pt x="2142" y="900"/>
                </a:lnTo>
                <a:lnTo>
                  <a:pt x="2148" y="906"/>
                </a:lnTo>
                <a:lnTo>
                  <a:pt x="2154" y="906"/>
                </a:lnTo>
                <a:lnTo>
                  <a:pt x="2160" y="906"/>
                </a:lnTo>
                <a:lnTo>
                  <a:pt x="2166" y="906"/>
                </a:lnTo>
                <a:lnTo>
                  <a:pt x="2178" y="918"/>
                </a:lnTo>
                <a:lnTo>
                  <a:pt x="2178" y="924"/>
                </a:lnTo>
                <a:lnTo>
                  <a:pt x="2184" y="924"/>
                </a:lnTo>
                <a:lnTo>
                  <a:pt x="2190" y="924"/>
                </a:lnTo>
                <a:lnTo>
                  <a:pt x="2196" y="924"/>
                </a:lnTo>
                <a:lnTo>
                  <a:pt x="2202" y="918"/>
                </a:lnTo>
                <a:lnTo>
                  <a:pt x="2208" y="918"/>
                </a:lnTo>
                <a:lnTo>
                  <a:pt x="2214" y="918"/>
                </a:lnTo>
                <a:lnTo>
                  <a:pt x="2226" y="918"/>
                </a:lnTo>
                <a:lnTo>
                  <a:pt x="2220" y="948"/>
                </a:lnTo>
                <a:lnTo>
                  <a:pt x="2214" y="972"/>
                </a:lnTo>
                <a:lnTo>
                  <a:pt x="2214" y="984"/>
                </a:lnTo>
                <a:lnTo>
                  <a:pt x="2208" y="990"/>
                </a:lnTo>
                <a:lnTo>
                  <a:pt x="2208" y="996"/>
                </a:lnTo>
                <a:lnTo>
                  <a:pt x="2202" y="996"/>
                </a:lnTo>
                <a:lnTo>
                  <a:pt x="2196" y="996"/>
                </a:lnTo>
                <a:lnTo>
                  <a:pt x="2190" y="1008"/>
                </a:lnTo>
                <a:lnTo>
                  <a:pt x="2172" y="1074"/>
                </a:lnTo>
                <a:lnTo>
                  <a:pt x="2166" y="1092"/>
                </a:lnTo>
                <a:lnTo>
                  <a:pt x="2172" y="1110"/>
                </a:lnTo>
                <a:lnTo>
                  <a:pt x="2172" y="1122"/>
                </a:lnTo>
                <a:lnTo>
                  <a:pt x="2166" y="1134"/>
                </a:lnTo>
                <a:lnTo>
                  <a:pt x="2148" y="1140"/>
                </a:lnTo>
                <a:lnTo>
                  <a:pt x="2148" y="1134"/>
                </a:lnTo>
                <a:lnTo>
                  <a:pt x="2118" y="1140"/>
                </a:lnTo>
                <a:lnTo>
                  <a:pt x="2088" y="1134"/>
                </a:lnTo>
                <a:lnTo>
                  <a:pt x="2064" y="1122"/>
                </a:lnTo>
                <a:lnTo>
                  <a:pt x="2034" y="1122"/>
                </a:lnTo>
                <a:lnTo>
                  <a:pt x="2022" y="1128"/>
                </a:lnTo>
                <a:lnTo>
                  <a:pt x="1986" y="1128"/>
                </a:lnTo>
                <a:lnTo>
                  <a:pt x="1938" y="1122"/>
                </a:lnTo>
                <a:lnTo>
                  <a:pt x="1932" y="1116"/>
                </a:lnTo>
                <a:lnTo>
                  <a:pt x="1896" y="1110"/>
                </a:lnTo>
                <a:lnTo>
                  <a:pt x="1878" y="1104"/>
                </a:lnTo>
                <a:lnTo>
                  <a:pt x="1866" y="1098"/>
                </a:lnTo>
                <a:lnTo>
                  <a:pt x="1860" y="1098"/>
                </a:lnTo>
                <a:lnTo>
                  <a:pt x="1854" y="1092"/>
                </a:lnTo>
                <a:lnTo>
                  <a:pt x="1860" y="1092"/>
                </a:lnTo>
                <a:lnTo>
                  <a:pt x="1860" y="1086"/>
                </a:lnTo>
                <a:lnTo>
                  <a:pt x="1854" y="1086"/>
                </a:lnTo>
                <a:lnTo>
                  <a:pt x="1842" y="1080"/>
                </a:lnTo>
                <a:lnTo>
                  <a:pt x="1818" y="1062"/>
                </a:lnTo>
                <a:lnTo>
                  <a:pt x="1782" y="1056"/>
                </a:lnTo>
                <a:lnTo>
                  <a:pt x="1770" y="1068"/>
                </a:lnTo>
                <a:lnTo>
                  <a:pt x="1746" y="1098"/>
                </a:lnTo>
                <a:lnTo>
                  <a:pt x="1722" y="1104"/>
                </a:lnTo>
                <a:lnTo>
                  <a:pt x="1710" y="1122"/>
                </a:lnTo>
                <a:lnTo>
                  <a:pt x="1710" y="1128"/>
                </a:lnTo>
                <a:lnTo>
                  <a:pt x="1710" y="1140"/>
                </a:lnTo>
                <a:lnTo>
                  <a:pt x="1698" y="1146"/>
                </a:lnTo>
                <a:lnTo>
                  <a:pt x="1686" y="1152"/>
                </a:lnTo>
                <a:lnTo>
                  <a:pt x="1680" y="1164"/>
                </a:lnTo>
                <a:lnTo>
                  <a:pt x="1680" y="1170"/>
                </a:lnTo>
                <a:lnTo>
                  <a:pt x="1686" y="1170"/>
                </a:lnTo>
                <a:lnTo>
                  <a:pt x="1686" y="1176"/>
                </a:lnTo>
                <a:lnTo>
                  <a:pt x="1698" y="1188"/>
                </a:lnTo>
                <a:lnTo>
                  <a:pt x="1704" y="1188"/>
                </a:lnTo>
                <a:lnTo>
                  <a:pt x="1698" y="1194"/>
                </a:lnTo>
                <a:lnTo>
                  <a:pt x="1704" y="1194"/>
                </a:lnTo>
                <a:lnTo>
                  <a:pt x="1704" y="1200"/>
                </a:lnTo>
                <a:lnTo>
                  <a:pt x="1704" y="1206"/>
                </a:lnTo>
                <a:lnTo>
                  <a:pt x="1704" y="1212"/>
                </a:lnTo>
                <a:lnTo>
                  <a:pt x="1704" y="1218"/>
                </a:lnTo>
                <a:lnTo>
                  <a:pt x="1710" y="1218"/>
                </a:lnTo>
                <a:lnTo>
                  <a:pt x="1710" y="1212"/>
                </a:lnTo>
                <a:lnTo>
                  <a:pt x="1716" y="1212"/>
                </a:lnTo>
                <a:lnTo>
                  <a:pt x="1716" y="1218"/>
                </a:lnTo>
                <a:lnTo>
                  <a:pt x="1716" y="1224"/>
                </a:lnTo>
                <a:lnTo>
                  <a:pt x="1716" y="1230"/>
                </a:lnTo>
                <a:lnTo>
                  <a:pt x="1722" y="1236"/>
                </a:lnTo>
                <a:lnTo>
                  <a:pt x="1740" y="1230"/>
                </a:lnTo>
                <a:lnTo>
                  <a:pt x="1734" y="1236"/>
                </a:lnTo>
                <a:lnTo>
                  <a:pt x="1734" y="1242"/>
                </a:lnTo>
                <a:lnTo>
                  <a:pt x="1734" y="1248"/>
                </a:lnTo>
                <a:lnTo>
                  <a:pt x="1734" y="1254"/>
                </a:lnTo>
                <a:lnTo>
                  <a:pt x="1740" y="1260"/>
                </a:lnTo>
                <a:lnTo>
                  <a:pt x="1746" y="1266"/>
                </a:lnTo>
                <a:lnTo>
                  <a:pt x="1752" y="1266"/>
                </a:lnTo>
                <a:lnTo>
                  <a:pt x="1764" y="1266"/>
                </a:lnTo>
                <a:lnTo>
                  <a:pt x="1788" y="1260"/>
                </a:lnTo>
                <a:lnTo>
                  <a:pt x="1800" y="1260"/>
                </a:lnTo>
                <a:lnTo>
                  <a:pt x="1806" y="1272"/>
                </a:lnTo>
                <a:lnTo>
                  <a:pt x="1806" y="1296"/>
                </a:lnTo>
                <a:lnTo>
                  <a:pt x="1800" y="1308"/>
                </a:lnTo>
                <a:lnTo>
                  <a:pt x="1788" y="1308"/>
                </a:lnTo>
                <a:lnTo>
                  <a:pt x="1782" y="1326"/>
                </a:lnTo>
                <a:close/>
              </a:path>
            </a:pathLst>
          </a:custGeom>
          <a:solidFill>
            <a:srgbClr val="33CC33"/>
          </a:solidFill>
          <a:ln w="9525">
            <a:solidFill>
              <a:schemeClr val="bg1"/>
            </a:solidFill>
            <a:round/>
            <a:headEnd/>
            <a:tailEnd/>
          </a:ln>
        </p:spPr>
        <p:txBody>
          <a:bodyPr/>
          <a:lstStyle/>
          <a:p>
            <a:endParaRPr lang="en-GB"/>
          </a:p>
        </p:txBody>
      </p:sp>
      <p:sp>
        <p:nvSpPr>
          <p:cNvPr id="20516" name="Freeform 33"/>
          <p:cNvSpPr>
            <a:spLocks/>
          </p:cNvSpPr>
          <p:nvPr/>
        </p:nvSpPr>
        <p:spPr bwMode="gray">
          <a:xfrm>
            <a:off x="1884363" y="2803525"/>
            <a:ext cx="1900237" cy="1641475"/>
          </a:xfrm>
          <a:custGeom>
            <a:avLst/>
            <a:gdLst>
              <a:gd name="T0" fmla="*/ 138464 w 2430"/>
              <a:gd name="T1" fmla="*/ 136096 h 2040"/>
              <a:gd name="T2" fmla="*/ 136117 w 2430"/>
              <a:gd name="T3" fmla="*/ 139317 h 2040"/>
              <a:gd name="T4" fmla="*/ 132205 w 2430"/>
              <a:gd name="T5" fmla="*/ 137706 h 2040"/>
              <a:gd name="T6" fmla="*/ 125165 w 2430"/>
              <a:gd name="T7" fmla="*/ 131264 h 2040"/>
              <a:gd name="T8" fmla="*/ 120471 w 2430"/>
              <a:gd name="T9" fmla="*/ 119990 h 2040"/>
              <a:gd name="T10" fmla="*/ 112648 w 2430"/>
              <a:gd name="T11" fmla="*/ 118379 h 2040"/>
              <a:gd name="T12" fmla="*/ 104043 w 2430"/>
              <a:gd name="T13" fmla="*/ 117574 h 2040"/>
              <a:gd name="T14" fmla="*/ 94656 w 2430"/>
              <a:gd name="T15" fmla="*/ 116769 h 2040"/>
              <a:gd name="T16" fmla="*/ 86051 w 2430"/>
              <a:gd name="T17" fmla="*/ 110326 h 2040"/>
              <a:gd name="T18" fmla="*/ 75881 w 2430"/>
              <a:gd name="T19" fmla="*/ 105494 h 2040"/>
              <a:gd name="T20" fmla="*/ 68058 w 2430"/>
              <a:gd name="T21" fmla="*/ 100663 h 2040"/>
              <a:gd name="T22" fmla="*/ 58671 w 2430"/>
              <a:gd name="T23" fmla="*/ 98247 h 2040"/>
              <a:gd name="T24" fmla="*/ 50848 w 2430"/>
              <a:gd name="T25" fmla="*/ 98247 h 2040"/>
              <a:gd name="T26" fmla="*/ 46155 w 2430"/>
              <a:gd name="T27" fmla="*/ 92610 h 2040"/>
              <a:gd name="T28" fmla="*/ 39114 w 2430"/>
              <a:gd name="T29" fmla="*/ 86167 h 2040"/>
              <a:gd name="T30" fmla="*/ 21904 w 2430"/>
              <a:gd name="T31" fmla="*/ 67645 h 2040"/>
              <a:gd name="T32" fmla="*/ 17210 w 2430"/>
              <a:gd name="T33" fmla="*/ 66035 h 2040"/>
              <a:gd name="T34" fmla="*/ 15646 w 2430"/>
              <a:gd name="T35" fmla="*/ 63619 h 2040"/>
              <a:gd name="T36" fmla="*/ 12516 w 2430"/>
              <a:gd name="T37" fmla="*/ 61203 h 2040"/>
              <a:gd name="T38" fmla="*/ 8605 w 2430"/>
              <a:gd name="T39" fmla="*/ 59592 h 2040"/>
              <a:gd name="T40" fmla="*/ 5476 w 2430"/>
              <a:gd name="T41" fmla="*/ 55566 h 2040"/>
              <a:gd name="T42" fmla="*/ 0 w 2430"/>
              <a:gd name="T43" fmla="*/ 48318 h 2040"/>
              <a:gd name="T44" fmla="*/ 7823 w 2430"/>
              <a:gd name="T45" fmla="*/ 42681 h 2040"/>
              <a:gd name="T46" fmla="*/ 11734 w 2430"/>
              <a:gd name="T47" fmla="*/ 32212 h 2040"/>
              <a:gd name="T48" fmla="*/ 7041 w 2430"/>
              <a:gd name="T49" fmla="*/ 23354 h 2040"/>
              <a:gd name="T50" fmla="*/ 5476 w 2430"/>
              <a:gd name="T51" fmla="*/ 12885 h 2040"/>
              <a:gd name="T52" fmla="*/ 14081 w 2430"/>
              <a:gd name="T53" fmla="*/ 16911 h 2040"/>
              <a:gd name="T54" fmla="*/ 37549 w 2430"/>
              <a:gd name="T55" fmla="*/ 21743 h 2040"/>
              <a:gd name="T56" fmla="*/ 48501 w 2430"/>
              <a:gd name="T57" fmla="*/ 20133 h 2040"/>
              <a:gd name="T58" fmla="*/ 46155 w 2430"/>
              <a:gd name="T59" fmla="*/ 33823 h 2040"/>
              <a:gd name="T60" fmla="*/ 42243 w 2430"/>
              <a:gd name="T61" fmla="*/ 52345 h 2040"/>
              <a:gd name="T62" fmla="*/ 50848 w 2430"/>
              <a:gd name="T63" fmla="*/ 48318 h 2040"/>
              <a:gd name="T64" fmla="*/ 53195 w 2430"/>
              <a:gd name="T65" fmla="*/ 32212 h 2040"/>
              <a:gd name="T66" fmla="*/ 58671 w 2430"/>
              <a:gd name="T67" fmla="*/ 28991 h 2040"/>
              <a:gd name="T68" fmla="*/ 64929 w 2430"/>
              <a:gd name="T69" fmla="*/ 23354 h 2040"/>
              <a:gd name="T70" fmla="*/ 63365 w 2430"/>
              <a:gd name="T71" fmla="*/ 13690 h 2040"/>
              <a:gd name="T72" fmla="*/ 51630 w 2430"/>
              <a:gd name="T73" fmla="*/ 5637 h 2040"/>
              <a:gd name="T74" fmla="*/ 62582 w 2430"/>
              <a:gd name="T75" fmla="*/ 4027 h 2040"/>
              <a:gd name="T76" fmla="*/ 69623 w 2430"/>
              <a:gd name="T77" fmla="*/ 805 h 2040"/>
              <a:gd name="T78" fmla="*/ 79010 w 2430"/>
              <a:gd name="T79" fmla="*/ 8053 h 2040"/>
              <a:gd name="T80" fmla="*/ 80575 w 2430"/>
              <a:gd name="T81" fmla="*/ 14495 h 2040"/>
              <a:gd name="T82" fmla="*/ 86051 w 2430"/>
              <a:gd name="T83" fmla="*/ 18522 h 2040"/>
              <a:gd name="T84" fmla="*/ 94656 w 2430"/>
              <a:gd name="T85" fmla="*/ 16106 h 2040"/>
              <a:gd name="T86" fmla="*/ 100914 w 2430"/>
              <a:gd name="T87" fmla="*/ 12080 h 2040"/>
              <a:gd name="T88" fmla="*/ 111084 w 2430"/>
              <a:gd name="T89" fmla="*/ 18522 h 2040"/>
              <a:gd name="T90" fmla="*/ 110302 w 2430"/>
              <a:gd name="T91" fmla="*/ 24159 h 2040"/>
              <a:gd name="T92" fmla="*/ 109519 w 2430"/>
              <a:gd name="T93" fmla="*/ 30601 h 2040"/>
              <a:gd name="T94" fmla="*/ 108737 w 2430"/>
              <a:gd name="T95" fmla="*/ 37044 h 2040"/>
              <a:gd name="T96" fmla="*/ 114995 w 2430"/>
              <a:gd name="T97" fmla="*/ 43486 h 2040"/>
              <a:gd name="T98" fmla="*/ 118907 w 2430"/>
              <a:gd name="T99" fmla="*/ 40265 h 2040"/>
              <a:gd name="T100" fmla="*/ 124383 w 2430"/>
              <a:gd name="T101" fmla="*/ 34628 h 2040"/>
              <a:gd name="T102" fmla="*/ 136117 w 2430"/>
              <a:gd name="T103" fmla="*/ 33017 h 2040"/>
              <a:gd name="T104" fmla="*/ 148633 w 2430"/>
              <a:gd name="T105" fmla="*/ 45902 h 2040"/>
              <a:gd name="T106" fmla="*/ 146286 w 2430"/>
              <a:gd name="T107" fmla="*/ 53150 h 2040"/>
              <a:gd name="T108" fmla="*/ 143157 w 2430"/>
              <a:gd name="T109" fmla="*/ 57982 h 2040"/>
              <a:gd name="T110" fmla="*/ 151762 w 2430"/>
              <a:gd name="T111" fmla="*/ 58787 h 2040"/>
              <a:gd name="T112" fmla="*/ 158021 w 2430"/>
              <a:gd name="T113" fmla="*/ 59592 h 2040"/>
              <a:gd name="T114" fmla="*/ 159585 w 2430"/>
              <a:gd name="T115" fmla="*/ 71672 h 2040"/>
              <a:gd name="T116" fmla="*/ 162714 w 2430"/>
              <a:gd name="T117" fmla="*/ 79725 h 2040"/>
              <a:gd name="T118" fmla="*/ 158803 w 2430"/>
              <a:gd name="T119" fmla="*/ 82946 h 2040"/>
              <a:gd name="T120" fmla="*/ 163497 w 2430"/>
              <a:gd name="T121" fmla="*/ 89388 h 2040"/>
              <a:gd name="T122" fmla="*/ 159585 w 2430"/>
              <a:gd name="T123" fmla="*/ 99857 h 2040"/>
              <a:gd name="T124" fmla="*/ 148633 w 2430"/>
              <a:gd name="T125" fmla="*/ 94220 h 20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430"/>
              <a:gd name="T190" fmla="*/ 0 h 2040"/>
              <a:gd name="T191" fmla="*/ 2430 w 2430"/>
              <a:gd name="T192" fmla="*/ 2040 h 20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430" h="2040">
                <a:moveTo>
                  <a:pt x="2076" y="1896"/>
                </a:moveTo>
                <a:lnTo>
                  <a:pt x="2070" y="1896"/>
                </a:lnTo>
                <a:lnTo>
                  <a:pt x="2070" y="1902"/>
                </a:lnTo>
                <a:lnTo>
                  <a:pt x="2076" y="1902"/>
                </a:lnTo>
                <a:lnTo>
                  <a:pt x="2082" y="1902"/>
                </a:lnTo>
                <a:lnTo>
                  <a:pt x="2082" y="1908"/>
                </a:lnTo>
                <a:lnTo>
                  <a:pt x="2076" y="1908"/>
                </a:lnTo>
                <a:lnTo>
                  <a:pt x="2076" y="1914"/>
                </a:lnTo>
                <a:lnTo>
                  <a:pt x="2070" y="1920"/>
                </a:lnTo>
                <a:lnTo>
                  <a:pt x="2064" y="1932"/>
                </a:lnTo>
                <a:lnTo>
                  <a:pt x="2064" y="1938"/>
                </a:lnTo>
                <a:lnTo>
                  <a:pt x="2058" y="1938"/>
                </a:lnTo>
                <a:lnTo>
                  <a:pt x="2052" y="1944"/>
                </a:lnTo>
                <a:lnTo>
                  <a:pt x="2052" y="1950"/>
                </a:lnTo>
                <a:lnTo>
                  <a:pt x="2040" y="1944"/>
                </a:lnTo>
                <a:lnTo>
                  <a:pt x="2040" y="1950"/>
                </a:lnTo>
                <a:lnTo>
                  <a:pt x="2034" y="1956"/>
                </a:lnTo>
                <a:lnTo>
                  <a:pt x="2034" y="1962"/>
                </a:lnTo>
                <a:lnTo>
                  <a:pt x="2028" y="1962"/>
                </a:lnTo>
                <a:lnTo>
                  <a:pt x="2022" y="1962"/>
                </a:lnTo>
                <a:lnTo>
                  <a:pt x="2022" y="1968"/>
                </a:lnTo>
                <a:lnTo>
                  <a:pt x="2028" y="1974"/>
                </a:lnTo>
                <a:lnTo>
                  <a:pt x="2034" y="1980"/>
                </a:lnTo>
                <a:lnTo>
                  <a:pt x="2028" y="1986"/>
                </a:lnTo>
                <a:lnTo>
                  <a:pt x="2022" y="1992"/>
                </a:lnTo>
                <a:lnTo>
                  <a:pt x="2022" y="1986"/>
                </a:lnTo>
                <a:lnTo>
                  <a:pt x="2016" y="1986"/>
                </a:lnTo>
                <a:lnTo>
                  <a:pt x="2010" y="1980"/>
                </a:lnTo>
                <a:lnTo>
                  <a:pt x="2004" y="1980"/>
                </a:lnTo>
                <a:lnTo>
                  <a:pt x="2004" y="1986"/>
                </a:lnTo>
                <a:lnTo>
                  <a:pt x="2010" y="1992"/>
                </a:lnTo>
                <a:lnTo>
                  <a:pt x="2010" y="1998"/>
                </a:lnTo>
                <a:lnTo>
                  <a:pt x="2004" y="2004"/>
                </a:lnTo>
                <a:lnTo>
                  <a:pt x="1998" y="2004"/>
                </a:lnTo>
                <a:lnTo>
                  <a:pt x="1998" y="2022"/>
                </a:lnTo>
                <a:lnTo>
                  <a:pt x="1998" y="2028"/>
                </a:lnTo>
                <a:lnTo>
                  <a:pt x="1992" y="2034"/>
                </a:lnTo>
                <a:lnTo>
                  <a:pt x="1992" y="2040"/>
                </a:lnTo>
                <a:lnTo>
                  <a:pt x="1986" y="2040"/>
                </a:lnTo>
                <a:lnTo>
                  <a:pt x="1986" y="2034"/>
                </a:lnTo>
                <a:lnTo>
                  <a:pt x="1980" y="2028"/>
                </a:lnTo>
                <a:lnTo>
                  <a:pt x="1980" y="2022"/>
                </a:lnTo>
                <a:lnTo>
                  <a:pt x="1968" y="2016"/>
                </a:lnTo>
                <a:lnTo>
                  <a:pt x="1962" y="2010"/>
                </a:lnTo>
                <a:lnTo>
                  <a:pt x="1956" y="2004"/>
                </a:lnTo>
                <a:lnTo>
                  <a:pt x="1950" y="1992"/>
                </a:lnTo>
                <a:lnTo>
                  <a:pt x="1950" y="1986"/>
                </a:lnTo>
                <a:lnTo>
                  <a:pt x="1950" y="1974"/>
                </a:lnTo>
                <a:lnTo>
                  <a:pt x="1944" y="1974"/>
                </a:lnTo>
                <a:lnTo>
                  <a:pt x="1932" y="1962"/>
                </a:lnTo>
                <a:lnTo>
                  <a:pt x="1932" y="1956"/>
                </a:lnTo>
                <a:lnTo>
                  <a:pt x="1932" y="1950"/>
                </a:lnTo>
                <a:lnTo>
                  <a:pt x="1920" y="1944"/>
                </a:lnTo>
                <a:lnTo>
                  <a:pt x="1914" y="1944"/>
                </a:lnTo>
                <a:lnTo>
                  <a:pt x="1908" y="1938"/>
                </a:lnTo>
                <a:lnTo>
                  <a:pt x="1902" y="1926"/>
                </a:lnTo>
                <a:lnTo>
                  <a:pt x="1890" y="1914"/>
                </a:lnTo>
                <a:lnTo>
                  <a:pt x="1884" y="1914"/>
                </a:lnTo>
                <a:lnTo>
                  <a:pt x="1878" y="1908"/>
                </a:lnTo>
                <a:lnTo>
                  <a:pt x="1872" y="1902"/>
                </a:lnTo>
                <a:lnTo>
                  <a:pt x="1872" y="1896"/>
                </a:lnTo>
                <a:lnTo>
                  <a:pt x="1866" y="1890"/>
                </a:lnTo>
                <a:lnTo>
                  <a:pt x="1854" y="1884"/>
                </a:lnTo>
                <a:lnTo>
                  <a:pt x="1848" y="1884"/>
                </a:lnTo>
                <a:lnTo>
                  <a:pt x="1842" y="1872"/>
                </a:lnTo>
                <a:lnTo>
                  <a:pt x="1836" y="1872"/>
                </a:lnTo>
                <a:lnTo>
                  <a:pt x="1830" y="1866"/>
                </a:lnTo>
                <a:lnTo>
                  <a:pt x="1830" y="1854"/>
                </a:lnTo>
                <a:lnTo>
                  <a:pt x="1824" y="1848"/>
                </a:lnTo>
                <a:lnTo>
                  <a:pt x="1818" y="1830"/>
                </a:lnTo>
                <a:lnTo>
                  <a:pt x="1818" y="1818"/>
                </a:lnTo>
                <a:lnTo>
                  <a:pt x="1812" y="1800"/>
                </a:lnTo>
                <a:lnTo>
                  <a:pt x="1812" y="1788"/>
                </a:lnTo>
                <a:lnTo>
                  <a:pt x="1806" y="1776"/>
                </a:lnTo>
                <a:lnTo>
                  <a:pt x="1800" y="1764"/>
                </a:lnTo>
                <a:lnTo>
                  <a:pt x="1794" y="1758"/>
                </a:lnTo>
                <a:lnTo>
                  <a:pt x="1782" y="1740"/>
                </a:lnTo>
                <a:lnTo>
                  <a:pt x="1776" y="1728"/>
                </a:lnTo>
                <a:lnTo>
                  <a:pt x="1776" y="1722"/>
                </a:lnTo>
                <a:lnTo>
                  <a:pt x="1770" y="1722"/>
                </a:lnTo>
                <a:lnTo>
                  <a:pt x="1770" y="1716"/>
                </a:lnTo>
                <a:lnTo>
                  <a:pt x="1764" y="1716"/>
                </a:lnTo>
                <a:lnTo>
                  <a:pt x="1758" y="1710"/>
                </a:lnTo>
                <a:lnTo>
                  <a:pt x="1752" y="1704"/>
                </a:lnTo>
                <a:lnTo>
                  <a:pt x="1746" y="1704"/>
                </a:lnTo>
                <a:lnTo>
                  <a:pt x="1740" y="1704"/>
                </a:lnTo>
                <a:lnTo>
                  <a:pt x="1734" y="1704"/>
                </a:lnTo>
                <a:lnTo>
                  <a:pt x="1734" y="1698"/>
                </a:lnTo>
                <a:lnTo>
                  <a:pt x="1728" y="1692"/>
                </a:lnTo>
                <a:lnTo>
                  <a:pt x="1722" y="1686"/>
                </a:lnTo>
                <a:lnTo>
                  <a:pt x="1716" y="1686"/>
                </a:lnTo>
                <a:lnTo>
                  <a:pt x="1698" y="1686"/>
                </a:lnTo>
                <a:lnTo>
                  <a:pt x="1692" y="1692"/>
                </a:lnTo>
                <a:lnTo>
                  <a:pt x="1680" y="1692"/>
                </a:lnTo>
                <a:lnTo>
                  <a:pt x="1668" y="1692"/>
                </a:lnTo>
                <a:lnTo>
                  <a:pt x="1662" y="1692"/>
                </a:lnTo>
                <a:lnTo>
                  <a:pt x="1656" y="1692"/>
                </a:lnTo>
                <a:lnTo>
                  <a:pt x="1650" y="1698"/>
                </a:lnTo>
                <a:lnTo>
                  <a:pt x="1644" y="1698"/>
                </a:lnTo>
                <a:lnTo>
                  <a:pt x="1638" y="1698"/>
                </a:lnTo>
                <a:lnTo>
                  <a:pt x="1632" y="1698"/>
                </a:lnTo>
                <a:lnTo>
                  <a:pt x="1632" y="1692"/>
                </a:lnTo>
                <a:lnTo>
                  <a:pt x="1620" y="1680"/>
                </a:lnTo>
                <a:lnTo>
                  <a:pt x="1614" y="1680"/>
                </a:lnTo>
                <a:lnTo>
                  <a:pt x="1608" y="1680"/>
                </a:lnTo>
                <a:lnTo>
                  <a:pt x="1602" y="1680"/>
                </a:lnTo>
                <a:lnTo>
                  <a:pt x="1596" y="1674"/>
                </a:lnTo>
                <a:lnTo>
                  <a:pt x="1584" y="1674"/>
                </a:lnTo>
                <a:lnTo>
                  <a:pt x="1572" y="1674"/>
                </a:lnTo>
                <a:lnTo>
                  <a:pt x="1560" y="1674"/>
                </a:lnTo>
                <a:lnTo>
                  <a:pt x="1542" y="1680"/>
                </a:lnTo>
                <a:lnTo>
                  <a:pt x="1530" y="1680"/>
                </a:lnTo>
                <a:lnTo>
                  <a:pt x="1530" y="1674"/>
                </a:lnTo>
                <a:lnTo>
                  <a:pt x="1524" y="1674"/>
                </a:lnTo>
                <a:lnTo>
                  <a:pt x="1518" y="1674"/>
                </a:lnTo>
                <a:lnTo>
                  <a:pt x="1512" y="1674"/>
                </a:lnTo>
                <a:lnTo>
                  <a:pt x="1506" y="1674"/>
                </a:lnTo>
                <a:lnTo>
                  <a:pt x="1500" y="1680"/>
                </a:lnTo>
                <a:lnTo>
                  <a:pt x="1488" y="1680"/>
                </a:lnTo>
                <a:lnTo>
                  <a:pt x="1482" y="1674"/>
                </a:lnTo>
                <a:lnTo>
                  <a:pt x="1476" y="1674"/>
                </a:lnTo>
                <a:lnTo>
                  <a:pt x="1464" y="1674"/>
                </a:lnTo>
                <a:lnTo>
                  <a:pt x="1452" y="1680"/>
                </a:lnTo>
                <a:lnTo>
                  <a:pt x="1434" y="1680"/>
                </a:lnTo>
                <a:lnTo>
                  <a:pt x="1422" y="1680"/>
                </a:lnTo>
                <a:lnTo>
                  <a:pt x="1416" y="1680"/>
                </a:lnTo>
                <a:lnTo>
                  <a:pt x="1404" y="1674"/>
                </a:lnTo>
                <a:lnTo>
                  <a:pt x="1398" y="1674"/>
                </a:lnTo>
                <a:lnTo>
                  <a:pt x="1392" y="1662"/>
                </a:lnTo>
                <a:lnTo>
                  <a:pt x="1380" y="1644"/>
                </a:lnTo>
                <a:lnTo>
                  <a:pt x="1374" y="1632"/>
                </a:lnTo>
                <a:lnTo>
                  <a:pt x="1362" y="1626"/>
                </a:lnTo>
                <a:lnTo>
                  <a:pt x="1356" y="1620"/>
                </a:lnTo>
                <a:lnTo>
                  <a:pt x="1350" y="1626"/>
                </a:lnTo>
                <a:lnTo>
                  <a:pt x="1338" y="1626"/>
                </a:lnTo>
                <a:lnTo>
                  <a:pt x="1326" y="1626"/>
                </a:lnTo>
                <a:lnTo>
                  <a:pt x="1314" y="1620"/>
                </a:lnTo>
                <a:lnTo>
                  <a:pt x="1308" y="1614"/>
                </a:lnTo>
                <a:lnTo>
                  <a:pt x="1302" y="1608"/>
                </a:lnTo>
                <a:lnTo>
                  <a:pt x="1296" y="1602"/>
                </a:lnTo>
                <a:lnTo>
                  <a:pt x="1290" y="1602"/>
                </a:lnTo>
                <a:lnTo>
                  <a:pt x="1290" y="1596"/>
                </a:lnTo>
                <a:lnTo>
                  <a:pt x="1284" y="1590"/>
                </a:lnTo>
                <a:lnTo>
                  <a:pt x="1272" y="1584"/>
                </a:lnTo>
                <a:lnTo>
                  <a:pt x="1254" y="1572"/>
                </a:lnTo>
                <a:lnTo>
                  <a:pt x="1236" y="1554"/>
                </a:lnTo>
                <a:lnTo>
                  <a:pt x="1230" y="1554"/>
                </a:lnTo>
                <a:lnTo>
                  <a:pt x="1224" y="1554"/>
                </a:lnTo>
                <a:lnTo>
                  <a:pt x="1212" y="1554"/>
                </a:lnTo>
                <a:lnTo>
                  <a:pt x="1194" y="1542"/>
                </a:lnTo>
                <a:lnTo>
                  <a:pt x="1188" y="1536"/>
                </a:lnTo>
                <a:lnTo>
                  <a:pt x="1182" y="1530"/>
                </a:lnTo>
                <a:lnTo>
                  <a:pt x="1176" y="1530"/>
                </a:lnTo>
                <a:lnTo>
                  <a:pt x="1170" y="1530"/>
                </a:lnTo>
                <a:lnTo>
                  <a:pt x="1158" y="1524"/>
                </a:lnTo>
                <a:lnTo>
                  <a:pt x="1152" y="1524"/>
                </a:lnTo>
                <a:lnTo>
                  <a:pt x="1140" y="1518"/>
                </a:lnTo>
                <a:lnTo>
                  <a:pt x="1128" y="1518"/>
                </a:lnTo>
                <a:lnTo>
                  <a:pt x="1122" y="1518"/>
                </a:lnTo>
                <a:lnTo>
                  <a:pt x="1116" y="1518"/>
                </a:lnTo>
                <a:lnTo>
                  <a:pt x="1104" y="1518"/>
                </a:lnTo>
                <a:lnTo>
                  <a:pt x="1092" y="1518"/>
                </a:lnTo>
                <a:lnTo>
                  <a:pt x="1080" y="1518"/>
                </a:lnTo>
                <a:lnTo>
                  <a:pt x="1068" y="1518"/>
                </a:lnTo>
                <a:lnTo>
                  <a:pt x="1062" y="1518"/>
                </a:lnTo>
                <a:lnTo>
                  <a:pt x="1056" y="1518"/>
                </a:lnTo>
                <a:lnTo>
                  <a:pt x="1050" y="1512"/>
                </a:lnTo>
                <a:lnTo>
                  <a:pt x="1044" y="1512"/>
                </a:lnTo>
                <a:lnTo>
                  <a:pt x="1038" y="1512"/>
                </a:lnTo>
                <a:lnTo>
                  <a:pt x="1032" y="1506"/>
                </a:lnTo>
                <a:lnTo>
                  <a:pt x="1026" y="1500"/>
                </a:lnTo>
                <a:lnTo>
                  <a:pt x="1026" y="1494"/>
                </a:lnTo>
                <a:lnTo>
                  <a:pt x="1020" y="1476"/>
                </a:lnTo>
                <a:lnTo>
                  <a:pt x="1008" y="1464"/>
                </a:lnTo>
                <a:lnTo>
                  <a:pt x="1008" y="1458"/>
                </a:lnTo>
                <a:lnTo>
                  <a:pt x="1002" y="1446"/>
                </a:lnTo>
                <a:lnTo>
                  <a:pt x="996" y="1446"/>
                </a:lnTo>
                <a:lnTo>
                  <a:pt x="990" y="1440"/>
                </a:lnTo>
                <a:lnTo>
                  <a:pt x="984" y="1434"/>
                </a:lnTo>
                <a:lnTo>
                  <a:pt x="978" y="1434"/>
                </a:lnTo>
                <a:lnTo>
                  <a:pt x="972" y="1434"/>
                </a:lnTo>
                <a:lnTo>
                  <a:pt x="966" y="1428"/>
                </a:lnTo>
                <a:lnTo>
                  <a:pt x="954" y="1422"/>
                </a:lnTo>
                <a:lnTo>
                  <a:pt x="942" y="1416"/>
                </a:lnTo>
                <a:lnTo>
                  <a:pt x="924" y="1398"/>
                </a:lnTo>
                <a:lnTo>
                  <a:pt x="912" y="1386"/>
                </a:lnTo>
                <a:lnTo>
                  <a:pt x="900" y="1386"/>
                </a:lnTo>
                <a:lnTo>
                  <a:pt x="894" y="1386"/>
                </a:lnTo>
                <a:lnTo>
                  <a:pt x="882" y="1392"/>
                </a:lnTo>
                <a:lnTo>
                  <a:pt x="876" y="1392"/>
                </a:lnTo>
                <a:lnTo>
                  <a:pt x="864" y="1398"/>
                </a:lnTo>
                <a:lnTo>
                  <a:pt x="864" y="1404"/>
                </a:lnTo>
                <a:lnTo>
                  <a:pt x="858" y="1410"/>
                </a:lnTo>
                <a:lnTo>
                  <a:pt x="852" y="1410"/>
                </a:lnTo>
                <a:lnTo>
                  <a:pt x="846" y="1410"/>
                </a:lnTo>
                <a:lnTo>
                  <a:pt x="834" y="1410"/>
                </a:lnTo>
                <a:lnTo>
                  <a:pt x="828" y="1410"/>
                </a:lnTo>
                <a:lnTo>
                  <a:pt x="822" y="1416"/>
                </a:lnTo>
                <a:lnTo>
                  <a:pt x="816" y="1422"/>
                </a:lnTo>
                <a:lnTo>
                  <a:pt x="810" y="1428"/>
                </a:lnTo>
                <a:lnTo>
                  <a:pt x="798" y="1428"/>
                </a:lnTo>
                <a:lnTo>
                  <a:pt x="792" y="1428"/>
                </a:lnTo>
                <a:lnTo>
                  <a:pt x="780" y="1434"/>
                </a:lnTo>
                <a:lnTo>
                  <a:pt x="774" y="1428"/>
                </a:lnTo>
                <a:lnTo>
                  <a:pt x="762" y="1428"/>
                </a:lnTo>
                <a:lnTo>
                  <a:pt x="756" y="1422"/>
                </a:lnTo>
                <a:lnTo>
                  <a:pt x="750" y="1416"/>
                </a:lnTo>
                <a:lnTo>
                  <a:pt x="744" y="1410"/>
                </a:lnTo>
                <a:lnTo>
                  <a:pt x="744" y="1398"/>
                </a:lnTo>
                <a:lnTo>
                  <a:pt x="744" y="1386"/>
                </a:lnTo>
                <a:lnTo>
                  <a:pt x="750" y="1380"/>
                </a:lnTo>
                <a:lnTo>
                  <a:pt x="750" y="1374"/>
                </a:lnTo>
                <a:lnTo>
                  <a:pt x="750" y="1368"/>
                </a:lnTo>
                <a:lnTo>
                  <a:pt x="756" y="1362"/>
                </a:lnTo>
                <a:lnTo>
                  <a:pt x="750" y="1350"/>
                </a:lnTo>
                <a:lnTo>
                  <a:pt x="744" y="1344"/>
                </a:lnTo>
                <a:lnTo>
                  <a:pt x="738" y="1338"/>
                </a:lnTo>
                <a:lnTo>
                  <a:pt x="726" y="1338"/>
                </a:lnTo>
                <a:lnTo>
                  <a:pt x="720" y="1338"/>
                </a:lnTo>
                <a:lnTo>
                  <a:pt x="714" y="1338"/>
                </a:lnTo>
                <a:lnTo>
                  <a:pt x="708" y="1332"/>
                </a:lnTo>
                <a:lnTo>
                  <a:pt x="702" y="1332"/>
                </a:lnTo>
                <a:lnTo>
                  <a:pt x="696" y="1326"/>
                </a:lnTo>
                <a:lnTo>
                  <a:pt x="684" y="1326"/>
                </a:lnTo>
                <a:lnTo>
                  <a:pt x="678" y="1326"/>
                </a:lnTo>
                <a:lnTo>
                  <a:pt x="672" y="1314"/>
                </a:lnTo>
                <a:lnTo>
                  <a:pt x="666" y="1308"/>
                </a:lnTo>
                <a:lnTo>
                  <a:pt x="654" y="1296"/>
                </a:lnTo>
                <a:lnTo>
                  <a:pt x="654" y="1290"/>
                </a:lnTo>
                <a:lnTo>
                  <a:pt x="630" y="1284"/>
                </a:lnTo>
                <a:lnTo>
                  <a:pt x="630" y="1278"/>
                </a:lnTo>
                <a:lnTo>
                  <a:pt x="624" y="1278"/>
                </a:lnTo>
                <a:lnTo>
                  <a:pt x="618" y="1266"/>
                </a:lnTo>
                <a:lnTo>
                  <a:pt x="612" y="1266"/>
                </a:lnTo>
                <a:lnTo>
                  <a:pt x="606" y="1266"/>
                </a:lnTo>
                <a:lnTo>
                  <a:pt x="606" y="1260"/>
                </a:lnTo>
                <a:lnTo>
                  <a:pt x="594" y="1248"/>
                </a:lnTo>
                <a:lnTo>
                  <a:pt x="582" y="1248"/>
                </a:lnTo>
                <a:lnTo>
                  <a:pt x="576" y="1242"/>
                </a:lnTo>
                <a:lnTo>
                  <a:pt x="570" y="1236"/>
                </a:lnTo>
                <a:lnTo>
                  <a:pt x="504" y="1164"/>
                </a:lnTo>
                <a:lnTo>
                  <a:pt x="450" y="1110"/>
                </a:lnTo>
                <a:lnTo>
                  <a:pt x="426" y="1092"/>
                </a:lnTo>
                <a:lnTo>
                  <a:pt x="426" y="1074"/>
                </a:lnTo>
                <a:lnTo>
                  <a:pt x="420" y="1062"/>
                </a:lnTo>
                <a:lnTo>
                  <a:pt x="396" y="1056"/>
                </a:lnTo>
                <a:lnTo>
                  <a:pt x="384" y="1032"/>
                </a:lnTo>
                <a:lnTo>
                  <a:pt x="372" y="1020"/>
                </a:lnTo>
                <a:lnTo>
                  <a:pt x="360" y="984"/>
                </a:lnTo>
                <a:lnTo>
                  <a:pt x="348" y="978"/>
                </a:lnTo>
                <a:lnTo>
                  <a:pt x="342" y="972"/>
                </a:lnTo>
                <a:lnTo>
                  <a:pt x="348" y="960"/>
                </a:lnTo>
                <a:lnTo>
                  <a:pt x="342" y="954"/>
                </a:lnTo>
                <a:lnTo>
                  <a:pt x="336" y="954"/>
                </a:lnTo>
                <a:lnTo>
                  <a:pt x="330" y="954"/>
                </a:lnTo>
                <a:lnTo>
                  <a:pt x="324" y="972"/>
                </a:lnTo>
                <a:lnTo>
                  <a:pt x="318" y="966"/>
                </a:lnTo>
                <a:lnTo>
                  <a:pt x="312" y="966"/>
                </a:lnTo>
                <a:lnTo>
                  <a:pt x="306" y="960"/>
                </a:lnTo>
                <a:lnTo>
                  <a:pt x="300" y="966"/>
                </a:lnTo>
                <a:lnTo>
                  <a:pt x="294" y="966"/>
                </a:lnTo>
                <a:lnTo>
                  <a:pt x="288" y="972"/>
                </a:lnTo>
                <a:lnTo>
                  <a:pt x="288" y="966"/>
                </a:lnTo>
                <a:lnTo>
                  <a:pt x="282" y="948"/>
                </a:lnTo>
                <a:lnTo>
                  <a:pt x="282" y="942"/>
                </a:lnTo>
                <a:lnTo>
                  <a:pt x="276" y="942"/>
                </a:lnTo>
                <a:lnTo>
                  <a:pt x="276" y="936"/>
                </a:lnTo>
                <a:lnTo>
                  <a:pt x="270" y="942"/>
                </a:lnTo>
                <a:lnTo>
                  <a:pt x="264" y="948"/>
                </a:lnTo>
                <a:lnTo>
                  <a:pt x="264" y="942"/>
                </a:lnTo>
                <a:lnTo>
                  <a:pt x="258" y="942"/>
                </a:lnTo>
                <a:lnTo>
                  <a:pt x="252" y="948"/>
                </a:lnTo>
                <a:lnTo>
                  <a:pt x="252" y="942"/>
                </a:lnTo>
                <a:lnTo>
                  <a:pt x="246" y="936"/>
                </a:lnTo>
                <a:lnTo>
                  <a:pt x="240" y="942"/>
                </a:lnTo>
                <a:lnTo>
                  <a:pt x="234" y="936"/>
                </a:lnTo>
                <a:lnTo>
                  <a:pt x="228" y="936"/>
                </a:lnTo>
                <a:lnTo>
                  <a:pt x="222" y="936"/>
                </a:lnTo>
                <a:lnTo>
                  <a:pt x="222" y="930"/>
                </a:lnTo>
                <a:lnTo>
                  <a:pt x="222" y="924"/>
                </a:lnTo>
                <a:lnTo>
                  <a:pt x="228" y="924"/>
                </a:lnTo>
                <a:lnTo>
                  <a:pt x="234" y="924"/>
                </a:lnTo>
                <a:lnTo>
                  <a:pt x="240" y="924"/>
                </a:lnTo>
                <a:lnTo>
                  <a:pt x="240" y="918"/>
                </a:lnTo>
                <a:lnTo>
                  <a:pt x="246" y="918"/>
                </a:lnTo>
                <a:lnTo>
                  <a:pt x="246" y="912"/>
                </a:lnTo>
                <a:lnTo>
                  <a:pt x="240" y="906"/>
                </a:lnTo>
                <a:lnTo>
                  <a:pt x="234" y="906"/>
                </a:lnTo>
                <a:lnTo>
                  <a:pt x="228" y="906"/>
                </a:lnTo>
                <a:lnTo>
                  <a:pt x="228" y="912"/>
                </a:lnTo>
                <a:lnTo>
                  <a:pt x="222" y="906"/>
                </a:lnTo>
                <a:lnTo>
                  <a:pt x="222" y="900"/>
                </a:lnTo>
                <a:lnTo>
                  <a:pt x="222" y="894"/>
                </a:lnTo>
                <a:lnTo>
                  <a:pt x="228" y="894"/>
                </a:lnTo>
                <a:lnTo>
                  <a:pt x="234" y="894"/>
                </a:lnTo>
                <a:lnTo>
                  <a:pt x="228" y="888"/>
                </a:lnTo>
                <a:lnTo>
                  <a:pt x="222" y="882"/>
                </a:lnTo>
                <a:lnTo>
                  <a:pt x="216" y="882"/>
                </a:lnTo>
                <a:lnTo>
                  <a:pt x="210" y="882"/>
                </a:lnTo>
                <a:lnTo>
                  <a:pt x="204" y="882"/>
                </a:lnTo>
                <a:lnTo>
                  <a:pt x="198" y="888"/>
                </a:lnTo>
                <a:lnTo>
                  <a:pt x="192" y="882"/>
                </a:lnTo>
                <a:lnTo>
                  <a:pt x="186" y="882"/>
                </a:lnTo>
                <a:lnTo>
                  <a:pt x="186" y="876"/>
                </a:lnTo>
                <a:lnTo>
                  <a:pt x="192" y="876"/>
                </a:lnTo>
                <a:lnTo>
                  <a:pt x="192" y="870"/>
                </a:lnTo>
                <a:lnTo>
                  <a:pt x="198" y="870"/>
                </a:lnTo>
                <a:lnTo>
                  <a:pt x="198" y="864"/>
                </a:lnTo>
                <a:lnTo>
                  <a:pt x="198" y="858"/>
                </a:lnTo>
                <a:lnTo>
                  <a:pt x="180" y="852"/>
                </a:lnTo>
                <a:lnTo>
                  <a:pt x="174" y="840"/>
                </a:lnTo>
                <a:lnTo>
                  <a:pt x="162" y="846"/>
                </a:lnTo>
                <a:lnTo>
                  <a:pt x="156" y="846"/>
                </a:lnTo>
                <a:lnTo>
                  <a:pt x="150" y="846"/>
                </a:lnTo>
                <a:lnTo>
                  <a:pt x="150" y="840"/>
                </a:lnTo>
                <a:lnTo>
                  <a:pt x="138" y="834"/>
                </a:lnTo>
                <a:lnTo>
                  <a:pt x="132" y="834"/>
                </a:lnTo>
                <a:lnTo>
                  <a:pt x="132" y="840"/>
                </a:lnTo>
                <a:lnTo>
                  <a:pt x="126" y="840"/>
                </a:lnTo>
                <a:lnTo>
                  <a:pt x="126" y="852"/>
                </a:lnTo>
                <a:lnTo>
                  <a:pt x="126" y="858"/>
                </a:lnTo>
                <a:lnTo>
                  <a:pt x="120" y="858"/>
                </a:lnTo>
                <a:lnTo>
                  <a:pt x="120" y="846"/>
                </a:lnTo>
                <a:lnTo>
                  <a:pt x="114" y="846"/>
                </a:lnTo>
                <a:lnTo>
                  <a:pt x="108" y="840"/>
                </a:lnTo>
                <a:lnTo>
                  <a:pt x="102" y="834"/>
                </a:lnTo>
                <a:lnTo>
                  <a:pt x="102" y="822"/>
                </a:lnTo>
                <a:lnTo>
                  <a:pt x="96" y="822"/>
                </a:lnTo>
                <a:lnTo>
                  <a:pt x="90" y="828"/>
                </a:lnTo>
                <a:lnTo>
                  <a:pt x="84" y="822"/>
                </a:lnTo>
                <a:lnTo>
                  <a:pt x="84" y="816"/>
                </a:lnTo>
                <a:lnTo>
                  <a:pt x="84" y="810"/>
                </a:lnTo>
                <a:lnTo>
                  <a:pt x="84" y="804"/>
                </a:lnTo>
                <a:lnTo>
                  <a:pt x="78" y="804"/>
                </a:lnTo>
                <a:lnTo>
                  <a:pt x="78" y="798"/>
                </a:lnTo>
                <a:lnTo>
                  <a:pt x="78" y="792"/>
                </a:lnTo>
                <a:lnTo>
                  <a:pt x="78" y="786"/>
                </a:lnTo>
                <a:lnTo>
                  <a:pt x="78" y="780"/>
                </a:lnTo>
                <a:lnTo>
                  <a:pt x="72" y="774"/>
                </a:lnTo>
                <a:lnTo>
                  <a:pt x="66" y="774"/>
                </a:lnTo>
                <a:lnTo>
                  <a:pt x="60" y="774"/>
                </a:lnTo>
                <a:lnTo>
                  <a:pt x="60" y="768"/>
                </a:lnTo>
                <a:lnTo>
                  <a:pt x="60" y="762"/>
                </a:lnTo>
                <a:lnTo>
                  <a:pt x="54" y="756"/>
                </a:lnTo>
                <a:lnTo>
                  <a:pt x="42" y="756"/>
                </a:lnTo>
                <a:lnTo>
                  <a:pt x="36" y="756"/>
                </a:lnTo>
                <a:lnTo>
                  <a:pt x="24" y="738"/>
                </a:lnTo>
                <a:lnTo>
                  <a:pt x="18" y="732"/>
                </a:lnTo>
                <a:lnTo>
                  <a:pt x="6" y="720"/>
                </a:lnTo>
                <a:lnTo>
                  <a:pt x="6" y="714"/>
                </a:lnTo>
                <a:lnTo>
                  <a:pt x="0" y="702"/>
                </a:lnTo>
                <a:lnTo>
                  <a:pt x="0" y="696"/>
                </a:lnTo>
                <a:lnTo>
                  <a:pt x="12" y="666"/>
                </a:lnTo>
                <a:lnTo>
                  <a:pt x="18" y="648"/>
                </a:lnTo>
                <a:lnTo>
                  <a:pt x="24" y="636"/>
                </a:lnTo>
                <a:lnTo>
                  <a:pt x="30" y="630"/>
                </a:lnTo>
                <a:lnTo>
                  <a:pt x="30" y="624"/>
                </a:lnTo>
                <a:lnTo>
                  <a:pt x="30" y="612"/>
                </a:lnTo>
                <a:lnTo>
                  <a:pt x="30" y="606"/>
                </a:lnTo>
                <a:lnTo>
                  <a:pt x="30" y="600"/>
                </a:lnTo>
                <a:lnTo>
                  <a:pt x="36" y="594"/>
                </a:lnTo>
                <a:lnTo>
                  <a:pt x="48" y="594"/>
                </a:lnTo>
                <a:lnTo>
                  <a:pt x="66" y="582"/>
                </a:lnTo>
                <a:lnTo>
                  <a:pt x="72" y="588"/>
                </a:lnTo>
                <a:lnTo>
                  <a:pt x="84" y="594"/>
                </a:lnTo>
                <a:lnTo>
                  <a:pt x="90" y="600"/>
                </a:lnTo>
                <a:lnTo>
                  <a:pt x="102" y="606"/>
                </a:lnTo>
                <a:lnTo>
                  <a:pt x="114" y="606"/>
                </a:lnTo>
                <a:lnTo>
                  <a:pt x="114" y="612"/>
                </a:lnTo>
                <a:lnTo>
                  <a:pt x="120" y="612"/>
                </a:lnTo>
                <a:lnTo>
                  <a:pt x="126" y="618"/>
                </a:lnTo>
                <a:lnTo>
                  <a:pt x="138" y="594"/>
                </a:lnTo>
                <a:lnTo>
                  <a:pt x="138" y="582"/>
                </a:lnTo>
                <a:lnTo>
                  <a:pt x="138" y="570"/>
                </a:lnTo>
                <a:lnTo>
                  <a:pt x="138" y="564"/>
                </a:lnTo>
                <a:lnTo>
                  <a:pt x="138" y="552"/>
                </a:lnTo>
                <a:lnTo>
                  <a:pt x="144" y="540"/>
                </a:lnTo>
                <a:lnTo>
                  <a:pt x="150" y="528"/>
                </a:lnTo>
                <a:lnTo>
                  <a:pt x="156" y="510"/>
                </a:lnTo>
                <a:lnTo>
                  <a:pt x="168" y="498"/>
                </a:lnTo>
                <a:lnTo>
                  <a:pt x="168" y="492"/>
                </a:lnTo>
                <a:lnTo>
                  <a:pt x="168" y="486"/>
                </a:lnTo>
                <a:lnTo>
                  <a:pt x="168" y="480"/>
                </a:lnTo>
                <a:lnTo>
                  <a:pt x="168" y="462"/>
                </a:lnTo>
                <a:lnTo>
                  <a:pt x="168" y="450"/>
                </a:lnTo>
                <a:lnTo>
                  <a:pt x="168" y="444"/>
                </a:lnTo>
                <a:lnTo>
                  <a:pt x="162" y="432"/>
                </a:lnTo>
                <a:lnTo>
                  <a:pt x="162" y="426"/>
                </a:lnTo>
                <a:lnTo>
                  <a:pt x="156" y="420"/>
                </a:lnTo>
                <a:lnTo>
                  <a:pt x="144" y="414"/>
                </a:lnTo>
                <a:lnTo>
                  <a:pt x="132" y="402"/>
                </a:lnTo>
                <a:lnTo>
                  <a:pt x="126" y="390"/>
                </a:lnTo>
                <a:lnTo>
                  <a:pt x="120" y="384"/>
                </a:lnTo>
                <a:lnTo>
                  <a:pt x="120" y="372"/>
                </a:lnTo>
                <a:lnTo>
                  <a:pt x="114" y="360"/>
                </a:lnTo>
                <a:lnTo>
                  <a:pt x="108" y="360"/>
                </a:lnTo>
                <a:lnTo>
                  <a:pt x="108" y="354"/>
                </a:lnTo>
                <a:lnTo>
                  <a:pt x="102" y="348"/>
                </a:lnTo>
                <a:lnTo>
                  <a:pt x="102" y="342"/>
                </a:lnTo>
                <a:lnTo>
                  <a:pt x="108" y="330"/>
                </a:lnTo>
                <a:lnTo>
                  <a:pt x="114" y="312"/>
                </a:lnTo>
                <a:lnTo>
                  <a:pt x="114" y="300"/>
                </a:lnTo>
                <a:lnTo>
                  <a:pt x="120" y="288"/>
                </a:lnTo>
                <a:lnTo>
                  <a:pt x="120" y="282"/>
                </a:lnTo>
                <a:lnTo>
                  <a:pt x="114" y="270"/>
                </a:lnTo>
                <a:lnTo>
                  <a:pt x="114" y="258"/>
                </a:lnTo>
                <a:lnTo>
                  <a:pt x="108" y="234"/>
                </a:lnTo>
                <a:lnTo>
                  <a:pt x="108" y="228"/>
                </a:lnTo>
                <a:lnTo>
                  <a:pt x="96" y="222"/>
                </a:lnTo>
                <a:lnTo>
                  <a:pt x="90" y="222"/>
                </a:lnTo>
                <a:lnTo>
                  <a:pt x="84" y="222"/>
                </a:lnTo>
                <a:lnTo>
                  <a:pt x="84" y="216"/>
                </a:lnTo>
                <a:lnTo>
                  <a:pt x="84" y="210"/>
                </a:lnTo>
                <a:lnTo>
                  <a:pt x="90" y="198"/>
                </a:lnTo>
                <a:lnTo>
                  <a:pt x="90" y="192"/>
                </a:lnTo>
                <a:lnTo>
                  <a:pt x="84" y="186"/>
                </a:lnTo>
                <a:lnTo>
                  <a:pt x="84" y="180"/>
                </a:lnTo>
                <a:lnTo>
                  <a:pt x="108" y="174"/>
                </a:lnTo>
                <a:lnTo>
                  <a:pt x="132" y="186"/>
                </a:lnTo>
                <a:lnTo>
                  <a:pt x="138" y="192"/>
                </a:lnTo>
                <a:lnTo>
                  <a:pt x="144" y="198"/>
                </a:lnTo>
                <a:lnTo>
                  <a:pt x="144" y="204"/>
                </a:lnTo>
                <a:lnTo>
                  <a:pt x="150" y="204"/>
                </a:lnTo>
                <a:lnTo>
                  <a:pt x="156" y="204"/>
                </a:lnTo>
                <a:lnTo>
                  <a:pt x="162" y="198"/>
                </a:lnTo>
                <a:lnTo>
                  <a:pt x="168" y="198"/>
                </a:lnTo>
                <a:lnTo>
                  <a:pt x="174" y="204"/>
                </a:lnTo>
                <a:lnTo>
                  <a:pt x="180" y="216"/>
                </a:lnTo>
                <a:lnTo>
                  <a:pt x="186" y="228"/>
                </a:lnTo>
                <a:lnTo>
                  <a:pt x="192" y="234"/>
                </a:lnTo>
                <a:lnTo>
                  <a:pt x="198" y="234"/>
                </a:lnTo>
                <a:lnTo>
                  <a:pt x="204" y="240"/>
                </a:lnTo>
                <a:lnTo>
                  <a:pt x="210" y="240"/>
                </a:lnTo>
                <a:lnTo>
                  <a:pt x="216" y="240"/>
                </a:lnTo>
                <a:lnTo>
                  <a:pt x="222" y="240"/>
                </a:lnTo>
                <a:lnTo>
                  <a:pt x="228" y="246"/>
                </a:lnTo>
                <a:lnTo>
                  <a:pt x="234" y="246"/>
                </a:lnTo>
                <a:lnTo>
                  <a:pt x="240" y="246"/>
                </a:lnTo>
                <a:lnTo>
                  <a:pt x="252" y="252"/>
                </a:lnTo>
                <a:lnTo>
                  <a:pt x="330" y="246"/>
                </a:lnTo>
                <a:lnTo>
                  <a:pt x="360" y="228"/>
                </a:lnTo>
                <a:lnTo>
                  <a:pt x="396" y="228"/>
                </a:lnTo>
                <a:lnTo>
                  <a:pt x="402" y="240"/>
                </a:lnTo>
                <a:lnTo>
                  <a:pt x="432" y="240"/>
                </a:lnTo>
                <a:lnTo>
                  <a:pt x="450" y="258"/>
                </a:lnTo>
                <a:lnTo>
                  <a:pt x="468" y="258"/>
                </a:lnTo>
                <a:lnTo>
                  <a:pt x="474" y="294"/>
                </a:lnTo>
                <a:lnTo>
                  <a:pt x="558" y="318"/>
                </a:lnTo>
                <a:lnTo>
                  <a:pt x="588" y="318"/>
                </a:lnTo>
                <a:lnTo>
                  <a:pt x="588" y="312"/>
                </a:lnTo>
                <a:lnTo>
                  <a:pt x="594" y="306"/>
                </a:lnTo>
                <a:lnTo>
                  <a:pt x="600" y="306"/>
                </a:lnTo>
                <a:lnTo>
                  <a:pt x="612" y="300"/>
                </a:lnTo>
                <a:lnTo>
                  <a:pt x="618" y="300"/>
                </a:lnTo>
                <a:lnTo>
                  <a:pt x="630" y="300"/>
                </a:lnTo>
                <a:lnTo>
                  <a:pt x="642" y="306"/>
                </a:lnTo>
                <a:lnTo>
                  <a:pt x="660" y="306"/>
                </a:lnTo>
                <a:lnTo>
                  <a:pt x="666" y="306"/>
                </a:lnTo>
                <a:lnTo>
                  <a:pt x="672" y="306"/>
                </a:lnTo>
                <a:lnTo>
                  <a:pt x="684" y="300"/>
                </a:lnTo>
                <a:lnTo>
                  <a:pt x="696" y="294"/>
                </a:lnTo>
                <a:lnTo>
                  <a:pt x="702" y="288"/>
                </a:lnTo>
                <a:lnTo>
                  <a:pt x="714" y="282"/>
                </a:lnTo>
                <a:lnTo>
                  <a:pt x="714" y="288"/>
                </a:lnTo>
                <a:lnTo>
                  <a:pt x="726" y="300"/>
                </a:lnTo>
                <a:lnTo>
                  <a:pt x="732" y="306"/>
                </a:lnTo>
                <a:lnTo>
                  <a:pt x="732" y="318"/>
                </a:lnTo>
                <a:lnTo>
                  <a:pt x="732" y="330"/>
                </a:lnTo>
                <a:lnTo>
                  <a:pt x="726" y="342"/>
                </a:lnTo>
                <a:lnTo>
                  <a:pt x="720" y="354"/>
                </a:lnTo>
                <a:lnTo>
                  <a:pt x="720" y="360"/>
                </a:lnTo>
                <a:lnTo>
                  <a:pt x="714" y="372"/>
                </a:lnTo>
                <a:lnTo>
                  <a:pt x="714" y="378"/>
                </a:lnTo>
                <a:lnTo>
                  <a:pt x="714" y="408"/>
                </a:lnTo>
                <a:lnTo>
                  <a:pt x="708" y="420"/>
                </a:lnTo>
                <a:lnTo>
                  <a:pt x="714" y="432"/>
                </a:lnTo>
                <a:lnTo>
                  <a:pt x="708" y="450"/>
                </a:lnTo>
                <a:lnTo>
                  <a:pt x="708" y="468"/>
                </a:lnTo>
                <a:lnTo>
                  <a:pt x="696" y="480"/>
                </a:lnTo>
                <a:lnTo>
                  <a:pt x="684" y="486"/>
                </a:lnTo>
                <a:lnTo>
                  <a:pt x="672" y="492"/>
                </a:lnTo>
                <a:lnTo>
                  <a:pt x="660" y="498"/>
                </a:lnTo>
                <a:lnTo>
                  <a:pt x="654" y="510"/>
                </a:lnTo>
                <a:lnTo>
                  <a:pt x="648" y="516"/>
                </a:lnTo>
                <a:lnTo>
                  <a:pt x="642" y="522"/>
                </a:lnTo>
                <a:lnTo>
                  <a:pt x="630" y="522"/>
                </a:lnTo>
                <a:lnTo>
                  <a:pt x="624" y="528"/>
                </a:lnTo>
                <a:lnTo>
                  <a:pt x="618" y="540"/>
                </a:lnTo>
                <a:lnTo>
                  <a:pt x="618" y="558"/>
                </a:lnTo>
                <a:lnTo>
                  <a:pt x="612" y="576"/>
                </a:lnTo>
                <a:lnTo>
                  <a:pt x="612" y="684"/>
                </a:lnTo>
                <a:lnTo>
                  <a:pt x="618" y="696"/>
                </a:lnTo>
                <a:lnTo>
                  <a:pt x="636" y="696"/>
                </a:lnTo>
                <a:lnTo>
                  <a:pt x="636" y="720"/>
                </a:lnTo>
                <a:lnTo>
                  <a:pt x="636" y="732"/>
                </a:lnTo>
                <a:lnTo>
                  <a:pt x="618" y="750"/>
                </a:lnTo>
                <a:lnTo>
                  <a:pt x="606" y="762"/>
                </a:lnTo>
                <a:lnTo>
                  <a:pt x="600" y="774"/>
                </a:lnTo>
                <a:lnTo>
                  <a:pt x="594" y="798"/>
                </a:lnTo>
                <a:lnTo>
                  <a:pt x="606" y="798"/>
                </a:lnTo>
                <a:lnTo>
                  <a:pt x="660" y="792"/>
                </a:lnTo>
                <a:lnTo>
                  <a:pt x="696" y="798"/>
                </a:lnTo>
                <a:lnTo>
                  <a:pt x="720" y="798"/>
                </a:lnTo>
                <a:lnTo>
                  <a:pt x="720" y="786"/>
                </a:lnTo>
                <a:lnTo>
                  <a:pt x="720" y="774"/>
                </a:lnTo>
                <a:lnTo>
                  <a:pt x="702" y="762"/>
                </a:lnTo>
                <a:lnTo>
                  <a:pt x="702" y="750"/>
                </a:lnTo>
                <a:lnTo>
                  <a:pt x="702" y="726"/>
                </a:lnTo>
                <a:lnTo>
                  <a:pt x="714" y="714"/>
                </a:lnTo>
                <a:lnTo>
                  <a:pt x="720" y="702"/>
                </a:lnTo>
                <a:lnTo>
                  <a:pt x="720" y="696"/>
                </a:lnTo>
                <a:lnTo>
                  <a:pt x="744" y="690"/>
                </a:lnTo>
                <a:lnTo>
                  <a:pt x="744" y="696"/>
                </a:lnTo>
                <a:lnTo>
                  <a:pt x="756" y="696"/>
                </a:lnTo>
                <a:lnTo>
                  <a:pt x="762" y="690"/>
                </a:lnTo>
                <a:lnTo>
                  <a:pt x="768" y="690"/>
                </a:lnTo>
                <a:lnTo>
                  <a:pt x="774" y="696"/>
                </a:lnTo>
                <a:lnTo>
                  <a:pt x="780" y="696"/>
                </a:lnTo>
                <a:lnTo>
                  <a:pt x="786" y="696"/>
                </a:lnTo>
                <a:lnTo>
                  <a:pt x="804" y="684"/>
                </a:lnTo>
                <a:lnTo>
                  <a:pt x="810" y="684"/>
                </a:lnTo>
                <a:lnTo>
                  <a:pt x="810" y="654"/>
                </a:lnTo>
                <a:lnTo>
                  <a:pt x="816" y="588"/>
                </a:lnTo>
                <a:lnTo>
                  <a:pt x="804" y="582"/>
                </a:lnTo>
                <a:lnTo>
                  <a:pt x="798" y="552"/>
                </a:lnTo>
                <a:lnTo>
                  <a:pt x="798" y="480"/>
                </a:lnTo>
                <a:lnTo>
                  <a:pt x="780" y="468"/>
                </a:lnTo>
                <a:lnTo>
                  <a:pt x="780" y="462"/>
                </a:lnTo>
                <a:lnTo>
                  <a:pt x="774" y="450"/>
                </a:lnTo>
                <a:lnTo>
                  <a:pt x="762" y="444"/>
                </a:lnTo>
                <a:lnTo>
                  <a:pt x="762" y="438"/>
                </a:lnTo>
                <a:lnTo>
                  <a:pt x="768" y="432"/>
                </a:lnTo>
                <a:lnTo>
                  <a:pt x="774" y="426"/>
                </a:lnTo>
                <a:lnTo>
                  <a:pt x="780" y="426"/>
                </a:lnTo>
                <a:lnTo>
                  <a:pt x="780" y="414"/>
                </a:lnTo>
                <a:lnTo>
                  <a:pt x="834" y="414"/>
                </a:lnTo>
                <a:lnTo>
                  <a:pt x="834" y="426"/>
                </a:lnTo>
                <a:lnTo>
                  <a:pt x="840" y="432"/>
                </a:lnTo>
                <a:lnTo>
                  <a:pt x="846" y="432"/>
                </a:lnTo>
                <a:lnTo>
                  <a:pt x="852" y="432"/>
                </a:lnTo>
                <a:lnTo>
                  <a:pt x="858" y="432"/>
                </a:lnTo>
                <a:lnTo>
                  <a:pt x="870" y="432"/>
                </a:lnTo>
                <a:lnTo>
                  <a:pt x="870" y="426"/>
                </a:lnTo>
                <a:lnTo>
                  <a:pt x="870" y="420"/>
                </a:lnTo>
                <a:lnTo>
                  <a:pt x="876" y="420"/>
                </a:lnTo>
                <a:lnTo>
                  <a:pt x="882" y="420"/>
                </a:lnTo>
                <a:lnTo>
                  <a:pt x="894" y="414"/>
                </a:lnTo>
                <a:lnTo>
                  <a:pt x="900" y="414"/>
                </a:lnTo>
                <a:lnTo>
                  <a:pt x="906" y="408"/>
                </a:lnTo>
                <a:lnTo>
                  <a:pt x="918" y="408"/>
                </a:lnTo>
                <a:lnTo>
                  <a:pt x="924" y="402"/>
                </a:lnTo>
                <a:lnTo>
                  <a:pt x="930" y="384"/>
                </a:lnTo>
                <a:lnTo>
                  <a:pt x="948" y="396"/>
                </a:lnTo>
                <a:lnTo>
                  <a:pt x="954" y="384"/>
                </a:lnTo>
                <a:lnTo>
                  <a:pt x="960" y="384"/>
                </a:lnTo>
                <a:lnTo>
                  <a:pt x="972" y="384"/>
                </a:lnTo>
                <a:lnTo>
                  <a:pt x="978" y="378"/>
                </a:lnTo>
                <a:lnTo>
                  <a:pt x="972" y="366"/>
                </a:lnTo>
                <a:lnTo>
                  <a:pt x="966" y="342"/>
                </a:lnTo>
                <a:lnTo>
                  <a:pt x="960" y="330"/>
                </a:lnTo>
                <a:lnTo>
                  <a:pt x="942" y="324"/>
                </a:lnTo>
                <a:lnTo>
                  <a:pt x="936" y="318"/>
                </a:lnTo>
                <a:lnTo>
                  <a:pt x="936" y="294"/>
                </a:lnTo>
                <a:lnTo>
                  <a:pt x="942" y="294"/>
                </a:lnTo>
                <a:lnTo>
                  <a:pt x="942" y="288"/>
                </a:lnTo>
                <a:lnTo>
                  <a:pt x="954" y="288"/>
                </a:lnTo>
                <a:lnTo>
                  <a:pt x="954" y="282"/>
                </a:lnTo>
                <a:lnTo>
                  <a:pt x="954" y="276"/>
                </a:lnTo>
                <a:lnTo>
                  <a:pt x="960" y="276"/>
                </a:lnTo>
                <a:lnTo>
                  <a:pt x="966" y="276"/>
                </a:lnTo>
                <a:lnTo>
                  <a:pt x="960" y="258"/>
                </a:lnTo>
                <a:lnTo>
                  <a:pt x="954" y="240"/>
                </a:lnTo>
                <a:lnTo>
                  <a:pt x="948" y="204"/>
                </a:lnTo>
                <a:lnTo>
                  <a:pt x="954" y="204"/>
                </a:lnTo>
                <a:lnTo>
                  <a:pt x="960" y="198"/>
                </a:lnTo>
                <a:lnTo>
                  <a:pt x="930" y="192"/>
                </a:lnTo>
                <a:lnTo>
                  <a:pt x="930" y="186"/>
                </a:lnTo>
                <a:lnTo>
                  <a:pt x="900" y="186"/>
                </a:lnTo>
                <a:lnTo>
                  <a:pt x="876" y="180"/>
                </a:lnTo>
                <a:lnTo>
                  <a:pt x="858" y="180"/>
                </a:lnTo>
                <a:lnTo>
                  <a:pt x="852" y="168"/>
                </a:lnTo>
                <a:lnTo>
                  <a:pt x="834" y="156"/>
                </a:lnTo>
                <a:lnTo>
                  <a:pt x="822" y="156"/>
                </a:lnTo>
                <a:lnTo>
                  <a:pt x="804" y="156"/>
                </a:lnTo>
                <a:lnTo>
                  <a:pt x="804" y="150"/>
                </a:lnTo>
                <a:lnTo>
                  <a:pt x="792" y="144"/>
                </a:lnTo>
                <a:lnTo>
                  <a:pt x="762" y="138"/>
                </a:lnTo>
                <a:lnTo>
                  <a:pt x="768" y="120"/>
                </a:lnTo>
                <a:lnTo>
                  <a:pt x="756" y="120"/>
                </a:lnTo>
                <a:lnTo>
                  <a:pt x="744" y="108"/>
                </a:lnTo>
                <a:lnTo>
                  <a:pt x="744" y="96"/>
                </a:lnTo>
                <a:lnTo>
                  <a:pt x="762" y="84"/>
                </a:lnTo>
                <a:lnTo>
                  <a:pt x="768" y="84"/>
                </a:lnTo>
                <a:lnTo>
                  <a:pt x="768" y="72"/>
                </a:lnTo>
                <a:lnTo>
                  <a:pt x="780" y="66"/>
                </a:lnTo>
                <a:lnTo>
                  <a:pt x="798" y="54"/>
                </a:lnTo>
                <a:lnTo>
                  <a:pt x="792" y="54"/>
                </a:lnTo>
                <a:lnTo>
                  <a:pt x="798" y="36"/>
                </a:lnTo>
                <a:lnTo>
                  <a:pt x="804" y="36"/>
                </a:lnTo>
                <a:lnTo>
                  <a:pt x="816" y="30"/>
                </a:lnTo>
                <a:lnTo>
                  <a:pt x="828" y="30"/>
                </a:lnTo>
                <a:lnTo>
                  <a:pt x="846" y="12"/>
                </a:lnTo>
                <a:lnTo>
                  <a:pt x="876" y="0"/>
                </a:lnTo>
                <a:lnTo>
                  <a:pt x="882" y="6"/>
                </a:lnTo>
                <a:lnTo>
                  <a:pt x="900" y="6"/>
                </a:lnTo>
                <a:lnTo>
                  <a:pt x="912" y="36"/>
                </a:lnTo>
                <a:lnTo>
                  <a:pt x="918" y="42"/>
                </a:lnTo>
                <a:lnTo>
                  <a:pt x="924" y="54"/>
                </a:lnTo>
                <a:lnTo>
                  <a:pt x="930" y="54"/>
                </a:lnTo>
                <a:lnTo>
                  <a:pt x="930" y="78"/>
                </a:lnTo>
                <a:lnTo>
                  <a:pt x="954" y="72"/>
                </a:lnTo>
                <a:lnTo>
                  <a:pt x="954" y="60"/>
                </a:lnTo>
                <a:lnTo>
                  <a:pt x="966" y="66"/>
                </a:lnTo>
                <a:lnTo>
                  <a:pt x="966" y="78"/>
                </a:lnTo>
                <a:lnTo>
                  <a:pt x="960" y="84"/>
                </a:lnTo>
                <a:lnTo>
                  <a:pt x="954" y="102"/>
                </a:lnTo>
                <a:lnTo>
                  <a:pt x="972" y="102"/>
                </a:lnTo>
                <a:lnTo>
                  <a:pt x="978" y="84"/>
                </a:lnTo>
                <a:lnTo>
                  <a:pt x="984" y="72"/>
                </a:lnTo>
                <a:lnTo>
                  <a:pt x="990" y="72"/>
                </a:lnTo>
                <a:lnTo>
                  <a:pt x="996" y="18"/>
                </a:lnTo>
                <a:lnTo>
                  <a:pt x="990" y="12"/>
                </a:lnTo>
                <a:lnTo>
                  <a:pt x="1014" y="12"/>
                </a:lnTo>
                <a:lnTo>
                  <a:pt x="1026" y="12"/>
                </a:lnTo>
                <a:lnTo>
                  <a:pt x="1026" y="24"/>
                </a:lnTo>
                <a:lnTo>
                  <a:pt x="1050" y="24"/>
                </a:lnTo>
                <a:lnTo>
                  <a:pt x="1050" y="36"/>
                </a:lnTo>
                <a:lnTo>
                  <a:pt x="1062" y="66"/>
                </a:lnTo>
                <a:lnTo>
                  <a:pt x="1074" y="66"/>
                </a:lnTo>
                <a:lnTo>
                  <a:pt x="1080" y="60"/>
                </a:lnTo>
                <a:lnTo>
                  <a:pt x="1074" y="24"/>
                </a:lnTo>
                <a:lnTo>
                  <a:pt x="1086" y="18"/>
                </a:lnTo>
                <a:lnTo>
                  <a:pt x="1086" y="12"/>
                </a:lnTo>
                <a:lnTo>
                  <a:pt x="1104" y="6"/>
                </a:lnTo>
                <a:lnTo>
                  <a:pt x="1122" y="0"/>
                </a:lnTo>
                <a:lnTo>
                  <a:pt x="1134" y="6"/>
                </a:lnTo>
                <a:lnTo>
                  <a:pt x="1134" y="42"/>
                </a:lnTo>
                <a:lnTo>
                  <a:pt x="1140" y="72"/>
                </a:lnTo>
                <a:lnTo>
                  <a:pt x="1158" y="114"/>
                </a:lnTo>
                <a:lnTo>
                  <a:pt x="1170" y="114"/>
                </a:lnTo>
                <a:lnTo>
                  <a:pt x="1170" y="126"/>
                </a:lnTo>
                <a:lnTo>
                  <a:pt x="1182" y="126"/>
                </a:lnTo>
                <a:lnTo>
                  <a:pt x="1182" y="138"/>
                </a:lnTo>
                <a:lnTo>
                  <a:pt x="1194" y="144"/>
                </a:lnTo>
                <a:lnTo>
                  <a:pt x="1194" y="156"/>
                </a:lnTo>
                <a:lnTo>
                  <a:pt x="1188" y="156"/>
                </a:lnTo>
                <a:lnTo>
                  <a:pt x="1194" y="162"/>
                </a:lnTo>
                <a:lnTo>
                  <a:pt x="1194" y="168"/>
                </a:lnTo>
                <a:lnTo>
                  <a:pt x="1188" y="168"/>
                </a:lnTo>
                <a:lnTo>
                  <a:pt x="1188" y="174"/>
                </a:lnTo>
                <a:lnTo>
                  <a:pt x="1188" y="180"/>
                </a:lnTo>
                <a:lnTo>
                  <a:pt x="1182" y="180"/>
                </a:lnTo>
                <a:lnTo>
                  <a:pt x="1188" y="186"/>
                </a:lnTo>
                <a:lnTo>
                  <a:pt x="1188" y="192"/>
                </a:lnTo>
                <a:lnTo>
                  <a:pt x="1182" y="198"/>
                </a:lnTo>
                <a:lnTo>
                  <a:pt x="1182" y="204"/>
                </a:lnTo>
                <a:lnTo>
                  <a:pt x="1182" y="210"/>
                </a:lnTo>
                <a:lnTo>
                  <a:pt x="1188" y="210"/>
                </a:lnTo>
                <a:lnTo>
                  <a:pt x="1182" y="210"/>
                </a:lnTo>
                <a:lnTo>
                  <a:pt x="1182" y="216"/>
                </a:lnTo>
                <a:lnTo>
                  <a:pt x="1182" y="222"/>
                </a:lnTo>
                <a:lnTo>
                  <a:pt x="1194" y="264"/>
                </a:lnTo>
                <a:lnTo>
                  <a:pt x="1200" y="264"/>
                </a:lnTo>
                <a:lnTo>
                  <a:pt x="1212" y="264"/>
                </a:lnTo>
                <a:lnTo>
                  <a:pt x="1212" y="258"/>
                </a:lnTo>
                <a:lnTo>
                  <a:pt x="1224" y="258"/>
                </a:lnTo>
                <a:lnTo>
                  <a:pt x="1248" y="252"/>
                </a:lnTo>
                <a:lnTo>
                  <a:pt x="1248" y="264"/>
                </a:lnTo>
                <a:lnTo>
                  <a:pt x="1254" y="264"/>
                </a:lnTo>
                <a:lnTo>
                  <a:pt x="1254" y="270"/>
                </a:lnTo>
                <a:lnTo>
                  <a:pt x="1260" y="270"/>
                </a:lnTo>
                <a:lnTo>
                  <a:pt x="1266" y="270"/>
                </a:lnTo>
                <a:lnTo>
                  <a:pt x="1272" y="270"/>
                </a:lnTo>
                <a:lnTo>
                  <a:pt x="1272" y="264"/>
                </a:lnTo>
                <a:lnTo>
                  <a:pt x="1272" y="258"/>
                </a:lnTo>
                <a:lnTo>
                  <a:pt x="1278" y="258"/>
                </a:lnTo>
                <a:lnTo>
                  <a:pt x="1278" y="252"/>
                </a:lnTo>
                <a:lnTo>
                  <a:pt x="1290" y="252"/>
                </a:lnTo>
                <a:lnTo>
                  <a:pt x="1296" y="246"/>
                </a:lnTo>
                <a:lnTo>
                  <a:pt x="1308" y="246"/>
                </a:lnTo>
                <a:lnTo>
                  <a:pt x="1308" y="240"/>
                </a:lnTo>
                <a:lnTo>
                  <a:pt x="1320" y="240"/>
                </a:lnTo>
                <a:lnTo>
                  <a:pt x="1326" y="246"/>
                </a:lnTo>
                <a:lnTo>
                  <a:pt x="1338" y="246"/>
                </a:lnTo>
                <a:lnTo>
                  <a:pt x="1338" y="240"/>
                </a:lnTo>
                <a:lnTo>
                  <a:pt x="1350" y="240"/>
                </a:lnTo>
                <a:lnTo>
                  <a:pt x="1386" y="234"/>
                </a:lnTo>
                <a:lnTo>
                  <a:pt x="1398" y="228"/>
                </a:lnTo>
                <a:lnTo>
                  <a:pt x="1404" y="216"/>
                </a:lnTo>
                <a:lnTo>
                  <a:pt x="1416" y="204"/>
                </a:lnTo>
                <a:lnTo>
                  <a:pt x="1434" y="192"/>
                </a:lnTo>
                <a:lnTo>
                  <a:pt x="1446" y="198"/>
                </a:lnTo>
                <a:lnTo>
                  <a:pt x="1446" y="204"/>
                </a:lnTo>
                <a:lnTo>
                  <a:pt x="1452" y="210"/>
                </a:lnTo>
                <a:lnTo>
                  <a:pt x="1464" y="222"/>
                </a:lnTo>
                <a:lnTo>
                  <a:pt x="1464" y="228"/>
                </a:lnTo>
                <a:lnTo>
                  <a:pt x="1464" y="234"/>
                </a:lnTo>
                <a:lnTo>
                  <a:pt x="1470" y="240"/>
                </a:lnTo>
                <a:lnTo>
                  <a:pt x="1476" y="228"/>
                </a:lnTo>
                <a:lnTo>
                  <a:pt x="1476" y="222"/>
                </a:lnTo>
                <a:lnTo>
                  <a:pt x="1482" y="210"/>
                </a:lnTo>
                <a:lnTo>
                  <a:pt x="1488" y="192"/>
                </a:lnTo>
                <a:lnTo>
                  <a:pt x="1488" y="186"/>
                </a:lnTo>
                <a:lnTo>
                  <a:pt x="1488" y="180"/>
                </a:lnTo>
                <a:lnTo>
                  <a:pt x="1500" y="180"/>
                </a:lnTo>
                <a:lnTo>
                  <a:pt x="1500" y="174"/>
                </a:lnTo>
                <a:lnTo>
                  <a:pt x="1518" y="162"/>
                </a:lnTo>
                <a:lnTo>
                  <a:pt x="1536" y="150"/>
                </a:lnTo>
                <a:lnTo>
                  <a:pt x="1554" y="168"/>
                </a:lnTo>
                <a:lnTo>
                  <a:pt x="1572" y="180"/>
                </a:lnTo>
                <a:lnTo>
                  <a:pt x="1596" y="216"/>
                </a:lnTo>
                <a:lnTo>
                  <a:pt x="1602" y="216"/>
                </a:lnTo>
                <a:lnTo>
                  <a:pt x="1614" y="228"/>
                </a:lnTo>
                <a:lnTo>
                  <a:pt x="1614" y="234"/>
                </a:lnTo>
                <a:lnTo>
                  <a:pt x="1620" y="240"/>
                </a:lnTo>
                <a:lnTo>
                  <a:pt x="1620" y="246"/>
                </a:lnTo>
                <a:lnTo>
                  <a:pt x="1626" y="252"/>
                </a:lnTo>
                <a:lnTo>
                  <a:pt x="1632" y="258"/>
                </a:lnTo>
                <a:lnTo>
                  <a:pt x="1632" y="264"/>
                </a:lnTo>
                <a:lnTo>
                  <a:pt x="1638" y="264"/>
                </a:lnTo>
                <a:lnTo>
                  <a:pt x="1638" y="270"/>
                </a:lnTo>
                <a:lnTo>
                  <a:pt x="1638" y="276"/>
                </a:lnTo>
                <a:lnTo>
                  <a:pt x="1638" y="282"/>
                </a:lnTo>
                <a:lnTo>
                  <a:pt x="1644" y="288"/>
                </a:lnTo>
                <a:lnTo>
                  <a:pt x="1644" y="294"/>
                </a:lnTo>
                <a:lnTo>
                  <a:pt x="1644" y="300"/>
                </a:lnTo>
                <a:lnTo>
                  <a:pt x="1644" y="306"/>
                </a:lnTo>
                <a:lnTo>
                  <a:pt x="1650" y="306"/>
                </a:lnTo>
                <a:lnTo>
                  <a:pt x="1650" y="312"/>
                </a:lnTo>
                <a:lnTo>
                  <a:pt x="1650" y="318"/>
                </a:lnTo>
                <a:lnTo>
                  <a:pt x="1650" y="324"/>
                </a:lnTo>
                <a:lnTo>
                  <a:pt x="1644" y="330"/>
                </a:lnTo>
                <a:lnTo>
                  <a:pt x="1626" y="330"/>
                </a:lnTo>
                <a:lnTo>
                  <a:pt x="1626" y="336"/>
                </a:lnTo>
                <a:lnTo>
                  <a:pt x="1626" y="342"/>
                </a:lnTo>
                <a:lnTo>
                  <a:pt x="1626" y="348"/>
                </a:lnTo>
                <a:lnTo>
                  <a:pt x="1620" y="354"/>
                </a:lnTo>
                <a:lnTo>
                  <a:pt x="1614" y="354"/>
                </a:lnTo>
                <a:lnTo>
                  <a:pt x="1614" y="360"/>
                </a:lnTo>
                <a:lnTo>
                  <a:pt x="1614" y="372"/>
                </a:lnTo>
                <a:lnTo>
                  <a:pt x="1608" y="378"/>
                </a:lnTo>
                <a:lnTo>
                  <a:pt x="1608" y="384"/>
                </a:lnTo>
                <a:lnTo>
                  <a:pt x="1614" y="390"/>
                </a:lnTo>
                <a:lnTo>
                  <a:pt x="1614" y="396"/>
                </a:lnTo>
                <a:lnTo>
                  <a:pt x="1614" y="402"/>
                </a:lnTo>
                <a:lnTo>
                  <a:pt x="1614" y="408"/>
                </a:lnTo>
                <a:lnTo>
                  <a:pt x="1614" y="414"/>
                </a:lnTo>
                <a:lnTo>
                  <a:pt x="1602" y="420"/>
                </a:lnTo>
                <a:lnTo>
                  <a:pt x="1602" y="426"/>
                </a:lnTo>
                <a:lnTo>
                  <a:pt x="1608" y="432"/>
                </a:lnTo>
                <a:lnTo>
                  <a:pt x="1614" y="426"/>
                </a:lnTo>
                <a:lnTo>
                  <a:pt x="1620" y="438"/>
                </a:lnTo>
                <a:lnTo>
                  <a:pt x="1626" y="438"/>
                </a:lnTo>
                <a:lnTo>
                  <a:pt x="1632" y="444"/>
                </a:lnTo>
                <a:lnTo>
                  <a:pt x="1626" y="456"/>
                </a:lnTo>
                <a:lnTo>
                  <a:pt x="1626" y="468"/>
                </a:lnTo>
                <a:lnTo>
                  <a:pt x="1620" y="474"/>
                </a:lnTo>
                <a:lnTo>
                  <a:pt x="1614" y="474"/>
                </a:lnTo>
                <a:lnTo>
                  <a:pt x="1614" y="486"/>
                </a:lnTo>
                <a:lnTo>
                  <a:pt x="1614" y="492"/>
                </a:lnTo>
                <a:lnTo>
                  <a:pt x="1620" y="492"/>
                </a:lnTo>
                <a:lnTo>
                  <a:pt x="1626" y="498"/>
                </a:lnTo>
                <a:lnTo>
                  <a:pt x="1626" y="504"/>
                </a:lnTo>
                <a:lnTo>
                  <a:pt x="1626" y="510"/>
                </a:lnTo>
                <a:lnTo>
                  <a:pt x="1620" y="516"/>
                </a:lnTo>
                <a:lnTo>
                  <a:pt x="1620" y="522"/>
                </a:lnTo>
                <a:lnTo>
                  <a:pt x="1614" y="522"/>
                </a:lnTo>
                <a:lnTo>
                  <a:pt x="1608" y="528"/>
                </a:lnTo>
                <a:lnTo>
                  <a:pt x="1602" y="522"/>
                </a:lnTo>
                <a:lnTo>
                  <a:pt x="1602" y="528"/>
                </a:lnTo>
                <a:lnTo>
                  <a:pt x="1602" y="540"/>
                </a:lnTo>
                <a:lnTo>
                  <a:pt x="1602" y="558"/>
                </a:lnTo>
                <a:lnTo>
                  <a:pt x="1602" y="564"/>
                </a:lnTo>
                <a:lnTo>
                  <a:pt x="1602" y="570"/>
                </a:lnTo>
                <a:lnTo>
                  <a:pt x="1602" y="576"/>
                </a:lnTo>
                <a:lnTo>
                  <a:pt x="1596" y="576"/>
                </a:lnTo>
                <a:lnTo>
                  <a:pt x="1632" y="582"/>
                </a:lnTo>
                <a:lnTo>
                  <a:pt x="1644" y="618"/>
                </a:lnTo>
                <a:lnTo>
                  <a:pt x="1650" y="648"/>
                </a:lnTo>
                <a:lnTo>
                  <a:pt x="1662" y="636"/>
                </a:lnTo>
                <a:lnTo>
                  <a:pt x="1668" y="636"/>
                </a:lnTo>
                <a:lnTo>
                  <a:pt x="1674" y="636"/>
                </a:lnTo>
                <a:lnTo>
                  <a:pt x="1680" y="630"/>
                </a:lnTo>
                <a:lnTo>
                  <a:pt x="1686" y="630"/>
                </a:lnTo>
                <a:lnTo>
                  <a:pt x="1692" y="630"/>
                </a:lnTo>
                <a:lnTo>
                  <a:pt x="1698" y="630"/>
                </a:lnTo>
                <a:lnTo>
                  <a:pt x="1704" y="630"/>
                </a:lnTo>
                <a:lnTo>
                  <a:pt x="1704" y="624"/>
                </a:lnTo>
                <a:lnTo>
                  <a:pt x="1710" y="624"/>
                </a:lnTo>
                <a:lnTo>
                  <a:pt x="1716" y="624"/>
                </a:lnTo>
                <a:lnTo>
                  <a:pt x="1722" y="624"/>
                </a:lnTo>
                <a:lnTo>
                  <a:pt x="1728" y="624"/>
                </a:lnTo>
                <a:lnTo>
                  <a:pt x="1722" y="618"/>
                </a:lnTo>
                <a:lnTo>
                  <a:pt x="1728" y="606"/>
                </a:lnTo>
                <a:lnTo>
                  <a:pt x="1734" y="606"/>
                </a:lnTo>
                <a:lnTo>
                  <a:pt x="1740" y="600"/>
                </a:lnTo>
                <a:lnTo>
                  <a:pt x="1746" y="594"/>
                </a:lnTo>
                <a:lnTo>
                  <a:pt x="1752" y="588"/>
                </a:lnTo>
                <a:lnTo>
                  <a:pt x="1752" y="582"/>
                </a:lnTo>
                <a:lnTo>
                  <a:pt x="1758" y="576"/>
                </a:lnTo>
                <a:lnTo>
                  <a:pt x="1764" y="576"/>
                </a:lnTo>
                <a:lnTo>
                  <a:pt x="1770" y="570"/>
                </a:lnTo>
                <a:lnTo>
                  <a:pt x="1776" y="564"/>
                </a:lnTo>
                <a:lnTo>
                  <a:pt x="1788" y="558"/>
                </a:lnTo>
                <a:lnTo>
                  <a:pt x="1788" y="546"/>
                </a:lnTo>
                <a:lnTo>
                  <a:pt x="1788" y="540"/>
                </a:lnTo>
                <a:lnTo>
                  <a:pt x="1794" y="540"/>
                </a:lnTo>
                <a:lnTo>
                  <a:pt x="1788" y="534"/>
                </a:lnTo>
                <a:lnTo>
                  <a:pt x="1788" y="528"/>
                </a:lnTo>
                <a:lnTo>
                  <a:pt x="1794" y="516"/>
                </a:lnTo>
                <a:lnTo>
                  <a:pt x="1800" y="510"/>
                </a:lnTo>
                <a:lnTo>
                  <a:pt x="1812" y="510"/>
                </a:lnTo>
                <a:lnTo>
                  <a:pt x="1818" y="504"/>
                </a:lnTo>
                <a:lnTo>
                  <a:pt x="1824" y="504"/>
                </a:lnTo>
                <a:lnTo>
                  <a:pt x="1830" y="498"/>
                </a:lnTo>
                <a:lnTo>
                  <a:pt x="1836" y="498"/>
                </a:lnTo>
                <a:lnTo>
                  <a:pt x="1848" y="492"/>
                </a:lnTo>
                <a:lnTo>
                  <a:pt x="1848" y="480"/>
                </a:lnTo>
                <a:lnTo>
                  <a:pt x="1854" y="480"/>
                </a:lnTo>
                <a:lnTo>
                  <a:pt x="1890" y="504"/>
                </a:lnTo>
                <a:lnTo>
                  <a:pt x="1908" y="534"/>
                </a:lnTo>
                <a:lnTo>
                  <a:pt x="1902" y="534"/>
                </a:lnTo>
                <a:lnTo>
                  <a:pt x="1920" y="528"/>
                </a:lnTo>
                <a:lnTo>
                  <a:pt x="1920" y="516"/>
                </a:lnTo>
                <a:lnTo>
                  <a:pt x="1944" y="516"/>
                </a:lnTo>
                <a:lnTo>
                  <a:pt x="2004" y="516"/>
                </a:lnTo>
                <a:lnTo>
                  <a:pt x="2010" y="510"/>
                </a:lnTo>
                <a:lnTo>
                  <a:pt x="2004" y="510"/>
                </a:lnTo>
                <a:lnTo>
                  <a:pt x="2010" y="498"/>
                </a:lnTo>
                <a:lnTo>
                  <a:pt x="2004" y="486"/>
                </a:lnTo>
                <a:lnTo>
                  <a:pt x="2004" y="480"/>
                </a:lnTo>
                <a:lnTo>
                  <a:pt x="2004" y="474"/>
                </a:lnTo>
                <a:lnTo>
                  <a:pt x="2004" y="462"/>
                </a:lnTo>
                <a:lnTo>
                  <a:pt x="2004" y="456"/>
                </a:lnTo>
                <a:lnTo>
                  <a:pt x="2058" y="462"/>
                </a:lnTo>
                <a:lnTo>
                  <a:pt x="2076" y="474"/>
                </a:lnTo>
                <a:lnTo>
                  <a:pt x="2082" y="522"/>
                </a:lnTo>
                <a:lnTo>
                  <a:pt x="2088" y="516"/>
                </a:lnTo>
                <a:lnTo>
                  <a:pt x="2094" y="522"/>
                </a:lnTo>
                <a:lnTo>
                  <a:pt x="2100" y="528"/>
                </a:lnTo>
                <a:lnTo>
                  <a:pt x="2130" y="540"/>
                </a:lnTo>
                <a:lnTo>
                  <a:pt x="2160" y="564"/>
                </a:lnTo>
                <a:lnTo>
                  <a:pt x="2166" y="600"/>
                </a:lnTo>
                <a:lnTo>
                  <a:pt x="2160" y="618"/>
                </a:lnTo>
                <a:lnTo>
                  <a:pt x="2142" y="636"/>
                </a:lnTo>
                <a:lnTo>
                  <a:pt x="2148" y="648"/>
                </a:lnTo>
                <a:lnTo>
                  <a:pt x="2154" y="660"/>
                </a:lnTo>
                <a:lnTo>
                  <a:pt x="2196" y="654"/>
                </a:lnTo>
                <a:lnTo>
                  <a:pt x="2214" y="660"/>
                </a:lnTo>
                <a:lnTo>
                  <a:pt x="2214" y="666"/>
                </a:lnTo>
                <a:lnTo>
                  <a:pt x="2220" y="672"/>
                </a:lnTo>
                <a:lnTo>
                  <a:pt x="2214" y="678"/>
                </a:lnTo>
                <a:lnTo>
                  <a:pt x="2214" y="684"/>
                </a:lnTo>
                <a:lnTo>
                  <a:pt x="2214" y="690"/>
                </a:lnTo>
                <a:lnTo>
                  <a:pt x="2208" y="690"/>
                </a:lnTo>
                <a:lnTo>
                  <a:pt x="2202" y="696"/>
                </a:lnTo>
                <a:lnTo>
                  <a:pt x="2196" y="702"/>
                </a:lnTo>
                <a:lnTo>
                  <a:pt x="2190" y="708"/>
                </a:lnTo>
                <a:lnTo>
                  <a:pt x="2190" y="720"/>
                </a:lnTo>
                <a:lnTo>
                  <a:pt x="2184" y="720"/>
                </a:lnTo>
                <a:lnTo>
                  <a:pt x="2178" y="726"/>
                </a:lnTo>
                <a:lnTo>
                  <a:pt x="2166" y="732"/>
                </a:lnTo>
                <a:lnTo>
                  <a:pt x="2160" y="744"/>
                </a:lnTo>
                <a:lnTo>
                  <a:pt x="2154" y="756"/>
                </a:lnTo>
                <a:lnTo>
                  <a:pt x="2148" y="762"/>
                </a:lnTo>
                <a:lnTo>
                  <a:pt x="2124" y="762"/>
                </a:lnTo>
                <a:lnTo>
                  <a:pt x="2124" y="768"/>
                </a:lnTo>
                <a:lnTo>
                  <a:pt x="2118" y="768"/>
                </a:lnTo>
                <a:lnTo>
                  <a:pt x="2124" y="774"/>
                </a:lnTo>
                <a:lnTo>
                  <a:pt x="2118" y="774"/>
                </a:lnTo>
                <a:lnTo>
                  <a:pt x="2112" y="774"/>
                </a:lnTo>
                <a:lnTo>
                  <a:pt x="2106" y="780"/>
                </a:lnTo>
                <a:lnTo>
                  <a:pt x="2112" y="786"/>
                </a:lnTo>
                <a:lnTo>
                  <a:pt x="2106" y="792"/>
                </a:lnTo>
                <a:lnTo>
                  <a:pt x="2106" y="798"/>
                </a:lnTo>
                <a:lnTo>
                  <a:pt x="2106" y="810"/>
                </a:lnTo>
                <a:lnTo>
                  <a:pt x="2112" y="828"/>
                </a:lnTo>
                <a:lnTo>
                  <a:pt x="2112" y="834"/>
                </a:lnTo>
                <a:lnTo>
                  <a:pt x="2112" y="840"/>
                </a:lnTo>
                <a:lnTo>
                  <a:pt x="2112" y="834"/>
                </a:lnTo>
                <a:lnTo>
                  <a:pt x="2124" y="834"/>
                </a:lnTo>
                <a:lnTo>
                  <a:pt x="2130" y="834"/>
                </a:lnTo>
                <a:lnTo>
                  <a:pt x="2136" y="840"/>
                </a:lnTo>
                <a:lnTo>
                  <a:pt x="2142" y="840"/>
                </a:lnTo>
                <a:lnTo>
                  <a:pt x="2154" y="852"/>
                </a:lnTo>
                <a:lnTo>
                  <a:pt x="2160" y="852"/>
                </a:lnTo>
                <a:lnTo>
                  <a:pt x="2172" y="846"/>
                </a:lnTo>
                <a:lnTo>
                  <a:pt x="2178" y="846"/>
                </a:lnTo>
                <a:lnTo>
                  <a:pt x="2184" y="846"/>
                </a:lnTo>
                <a:lnTo>
                  <a:pt x="2190" y="846"/>
                </a:lnTo>
                <a:lnTo>
                  <a:pt x="2196" y="852"/>
                </a:lnTo>
                <a:lnTo>
                  <a:pt x="2196" y="858"/>
                </a:lnTo>
                <a:lnTo>
                  <a:pt x="2202" y="852"/>
                </a:lnTo>
                <a:lnTo>
                  <a:pt x="2208" y="846"/>
                </a:lnTo>
                <a:lnTo>
                  <a:pt x="2214" y="846"/>
                </a:lnTo>
                <a:lnTo>
                  <a:pt x="2226" y="846"/>
                </a:lnTo>
                <a:lnTo>
                  <a:pt x="2232" y="852"/>
                </a:lnTo>
                <a:lnTo>
                  <a:pt x="2238" y="852"/>
                </a:lnTo>
                <a:lnTo>
                  <a:pt x="2244" y="858"/>
                </a:lnTo>
                <a:lnTo>
                  <a:pt x="2250" y="858"/>
                </a:lnTo>
                <a:lnTo>
                  <a:pt x="2256" y="858"/>
                </a:lnTo>
                <a:lnTo>
                  <a:pt x="2262" y="858"/>
                </a:lnTo>
                <a:lnTo>
                  <a:pt x="2268" y="852"/>
                </a:lnTo>
                <a:lnTo>
                  <a:pt x="2274" y="852"/>
                </a:lnTo>
                <a:lnTo>
                  <a:pt x="2280" y="852"/>
                </a:lnTo>
                <a:lnTo>
                  <a:pt x="2286" y="852"/>
                </a:lnTo>
                <a:lnTo>
                  <a:pt x="2298" y="858"/>
                </a:lnTo>
                <a:lnTo>
                  <a:pt x="2304" y="858"/>
                </a:lnTo>
                <a:lnTo>
                  <a:pt x="2310" y="858"/>
                </a:lnTo>
                <a:lnTo>
                  <a:pt x="2316" y="852"/>
                </a:lnTo>
                <a:lnTo>
                  <a:pt x="2322" y="858"/>
                </a:lnTo>
                <a:lnTo>
                  <a:pt x="2328" y="858"/>
                </a:lnTo>
                <a:lnTo>
                  <a:pt x="2328" y="852"/>
                </a:lnTo>
                <a:lnTo>
                  <a:pt x="2364" y="858"/>
                </a:lnTo>
                <a:lnTo>
                  <a:pt x="2376" y="876"/>
                </a:lnTo>
                <a:lnTo>
                  <a:pt x="2382" y="936"/>
                </a:lnTo>
                <a:lnTo>
                  <a:pt x="2388" y="966"/>
                </a:lnTo>
                <a:lnTo>
                  <a:pt x="2382" y="972"/>
                </a:lnTo>
                <a:lnTo>
                  <a:pt x="2382" y="978"/>
                </a:lnTo>
                <a:lnTo>
                  <a:pt x="2382" y="984"/>
                </a:lnTo>
                <a:lnTo>
                  <a:pt x="2388" y="990"/>
                </a:lnTo>
                <a:lnTo>
                  <a:pt x="2382" y="990"/>
                </a:lnTo>
                <a:lnTo>
                  <a:pt x="2382" y="996"/>
                </a:lnTo>
                <a:lnTo>
                  <a:pt x="2376" y="996"/>
                </a:lnTo>
                <a:lnTo>
                  <a:pt x="2376" y="1020"/>
                </a:lnTo>
                <a:lnTo>
                  <a:pt x="2370" y="1032"/>
                </a:lnTo>
                <a:lnTo>
                  <a:pt x="2352" y="1032"/>
                </a:lnTo>
                <a:lnTo>
                  <a:pt x="2346" y="1020"/>
                </a:lnTo>
                <a:lnTo>
                  <a:pt x="2328" y="1032"/>
                </a:lnTo>
                <a:lnTo>
                  <a:pt x="2316" y="1038"/>
                </a:lnTo>
                <a:lnTo>
                  <a:pt x="2328" y="1044"/>
                </a:lnTo>
                <a:lnTo>
                  <a:pt x="2340" y="1056"/>
                </a:lnTo>
                <a:lnTo>
                  <a:pt x="2376" y="1062"/>
                </a:lnTo>
                <a:lnTo>
                  <a:pt x="2376" y="1068"/>
                </a:lnTo>
                <a:lnTo>
                  <a:pt x="2382" y="1086"/>
                </a:lnTo>
                <a:lnTo>
                  <a:pt x="2376" y="1086"/>
                </a:lnTo>
                <a:lnTo>
                  <a:pt x="2370" y="1086"/>
                </a:lnTo>
                <a:lnTo>
                  <a:pt x="2364" y="1086"/>
                </a:lnTo>
                <a:lnTo>
                  <a:pt x="2364" y="1098"/>
                </a:lnTo>
                <a:lnTo>
                  <a:pt x="2388" y="1104"/>
                </a:lnTo>
                <a:lnTo>
                  <a:pt x="2400" y="1122"/>
                </a:lnTo>
                <a:lnTo>
                  <a:pt x="2400" y="1134"/>
                </a:lnTo>
                <a:lnTo>
                  <a:pt x="2400" y="1146"/>
                </a:lnTo>
                <a:lnTo>
                  <a:pt x="2394" y="1146"/>
                </a:lnTo>
                <a:lnTo>
                  <a:pt x="2394" y="1152"/>
                </a:lnTo>
                <a:lnTo>
                  <a:pt x="2388" y="1152"/>
                </a:lnTo>
                <a:lnTo>
                  <a:pt x="2388" y="1146"/>
                </a:lnTo>
                <a:lnTo>
                  <a:pt x="2382" y="1152"/>
                </a:lnTo>
                <a:lnTo>
                  <a:pt x="2376" y="1152"/>
                </a:lnTo>
                <a:lnTo>
                  <a:pt x="2370" y="1158"/>
                </a:lnTo>
                <a:lnTo>
                  <a:pt x="2370" y="1164"/>
                </a:lnTo>
                <a:lnTo>
                  <a:pt x="2364" y="1170"/>
                </a:lnTo>
                <a:lnTo>
                  <a:pt x="2370" y="1170"/>
                </a:lnTo>
                <a:lnTo>
                  <a:pt x="2376" y="1170"/>
                </a:lnTo>
                <a:lnTo>
                  <a:pt x="2370" y="1176"/>
                </a:lnTo>
                <a:lnTo>
                  <a:pt x="2364" y="1176"/>
                </a:lnTo>
                <a:lnTo>
                  <a:pt x="2358" y="1182"/>
                </a:lnTo>
                <a:lnTo>
                  <a:pt x="2352" y="1182"/>
                </a:lnTo>
                <a:lnTo>
                  <a:pt x="2346" y="1188"/>
                </a:lnTo>
                <a:lnTo>
                  <a:pt x="2340" y="1182"/>
                </a:lnTo>
                <a:lnTo>
                  <a:pt x="2334" y="1182"/>
                </a:lnTo>
                <a:lnTo>
                  <a:pt x="2334" y="1188"/>
                </a:lnTo>
                <a:lnTo>
                  <a:pt x="2328" y="1194"/>
                </a:lnTo>
                <a:lnTo>
                  <a:pt x="2328" y="1200"/>
                </a:lnTo>
                <a:lnTo>
                  <a:pt x="2322" y="1224"/>
                </a:lnTo>
                <a:lnTo>
                  <a:pt x="2328" y="1230"/>
                </a:lnTo>
                <a:lnTo>
                  <a:pt x="2358" y="1230"/>
                </a:lnTo>
                <a:lnTo>
                  <a:pt x="2358" y="1242"/>
                </a:lnTo>
                <a:lnTo>
                  <a:pt x="2358" y="1254"/>
                </a:lnTo>
                <a:lnTo>
                  <a:pt x="2346" y="1254"/>
                </a:lnTo>
                <a:lnTo>
                  <a:pt x="2346" y="1278"/>
                </a:lnTo>
                <a:lnTo>
                  <a:pt x="2358" y="1278"/>
                </a:lnTo>
                <a:lnTo>
                  <a:pt x="2358" y="1284"/>
                </a:lnTo>
                <a:lnTo>
                  <a:pt x="2376" y="1284"/>
                </a:lnTo>
                <a:lnTo>
                  <a:pt x="2388" y="1278"/>
                </a:lnTo>
                <a:lnTo>
                  <a:pt x="2406" y="1278"/>
                </a:lnTo>
                <a:lnTo>
                  <a:pt x="2430" y="1284"/>
                </a:lnTo>
                <a:lnTo>
                  <a:pt x="2430" y="1302"/>
                </a:lnTo>
                <a:lnTo>
                  <a:pt x="2430" y="1314"/>
                </a:lnTo>
                <a:lnTo>
                  <a:pt x="2424" y="1326"/>
                </a:lnTo>
                <a:lnTo>
                  <a:pt x="2412" y="1326"/>
                </a:lnTo>
                <a:lnTo>
                  <a:pt x="2412" y="1344"/>
                </a:lnTo>
                <a:lnTo>
                  <a:pt x="2406" y="1344"/>
                </a:lnTo>
                <a:lnTo>
                  <a:pt x="2400" y="1362"/>
                </a:lnTo>
                <a:lnTo>
                  <a:pt x="2394" y="1368"/>
                </a:lnTo>
                <a:lnTo>
                  <a:pt x="2388" y="1374"/>
                </a:lnTo>
                <a:lnTo>
                  <a:pt x="2382" y="1380"/>
                </a:lnTo>
                <a:lnTo>
                  <a:pt x="2376" y="1386"/>
                </a:lnTo>
                <a:lnTo>
                  <a:pt x="2376" y="1392"/>
                </a:lnTo>
                <a:lnTo>
                  <a:pt x="2370" y="1404"/>
                </a:lnTo>
                <a:lnTo>
                  <a:pt x="2364" y="1416"/>
                </a:lnTo>
                <a:lnTo>
                  <a:pt x="2346" y="1434"/>
                </a:lnTo>
                <a:lnTo>
                  <a:pt x="2328" y="1440"/>
                </a:lnTo>
                <a:lnTo>
                  <a:pt x="2328" y="1446"/>
                </a:lnTo>
                <a:lnTo>
                  <a:pt x="2322" y="1452"/>
                </a:lnTo>
                <a:lnTo>
                  <a:pt x="2316" y="1452"/>
                </a:lnTo>
                <a:lnTo>
                  <a:pt x="2304" y="1446"/>
                </a:lnTo>
                <a:lnTo>
                  <a:pt x="2298" y="1446"/>
                </a:lnTo>
                <a:lnTo>
                  <a:pt x="2298" y="1434"/>
                </a:lnTo>
                <a:lnTo>
                  <a:pt x="2292" y="1434"/>
                </a:lnTo>
                <a:lnTo>
                  <a:pt x="2286" y="1428"/>
                </a:lnTo>
                <a:lnTo>
                  <a:pt x="2274" y="1416"/>
                </a:lnTo>
                <a:lnTo>
                  <a:pt x="2256" y="1404"/>
                </a:lnTo>
                <a:lnTo>
                  <a:pt x="2244" y="1386"/>
                </a:lnTo>
                <a:lnTo>
                  <a:pt x="2220" y="1368"/>
                </a:lnTo>
                <a:lnTo>
                  <a:pt x="2208" y="1362"/>
                </a:lnTo>
                <a:lnTo>
                  <a:pt x="2202" y="1350"/>
                </a:lnTo>
                <a:lnTo>
                  <a:pt x="2196" y="1350"/>
                </a:lnTo>
                <a:lnTo>
                  <a:pt x="2190" y="1356"/>
                </a:lnTo>
                <a:lnTo>
                  <a:pt x="2184" y="1356"/>
                </a:lnTo>
                <a:lnTo>
                  <a:pt x="2094" y="1350"/>
                </a:lnTo>
                <a:lnTo>
                  <a:pt x="2058" y="1350"/>
                </a:lnTo>
                <a:lnTo>
                  <a:pt x="2034" y="1890"/>
                </a:lnTo>
                <a:lnTo>
                  <a:pt x="2064" y="1890"/>
                </a:lnTo>
                <a:lnTo>
                  <a:pt x="2070" y="1896"/>
                </a:lnTo>
                <a:lnTo>
                  <a:pt x="2076" y="1896"/>
                </a:lnTo>
                <a:close/>
              </a:path>
            </a:pathLst>
          </a:custGeom>
          <a:solidFill>
            <a:srgbClr val="FF9900"/>
          </a:solidFill>
          <a:ln w="9525">
            <a:solidFill>
              <a:schemeClr val="bg1"/>
            </a:solidFill>
            <a:round/>
            <a:headEnd/>
            <a:tailEnd/>
          </a:ln>
        </p:spPr>
        <p:txBody>
          <a:bodyPr/>
          <a:lstStyle/>
          <a:p>
            <a:endParaRPr lang="en-GB"/>
          </a:p>
        </p:txBody>
      </p:sp>
      <p:sp>
        <p:nvSpPr>
          <p:cNvPr id="20517" name="Freeform 34"/>
          <p:cNvSpPr>
            <a:spLocks/>
          </p:cNvSpPr>
          <p:nvPr/>
        </p:nvSpPr>
        <p:spPr bwMode="gray">
          <a:xfrm>
            <a:off x="2154238" y="1501775"/>
            <a:ext cx="1330325" cy="1179513"/>
          </a:xfrm>
          <a:custGeom>
            <a:avLst/>
            <a:gdLst>
              <a:gd name="T0" fmla="*/ 112034 w 1698"/>
              <a:gd name="T1" fmla="*/ 34626 h 1464"/>
              <a:gd name="T2" fmla="*/ 102633 w 1698"/>
              <a:gd name="T3" fmla="*/ 35431 h 1464"/>
              <a:gd name="T4" fmla="*/ 98715 w 1698"/>
              <a:gd name="T5" fmla="*/ 33016 h 1464"/>
              <a:gd name="T6" fmla="*/ 93231 w 1698"/>
              <a:gd name="T7" fmla="*/ 36237 h 1464"/>
              <a:gd name="T8" fmla="*/ 86963 w 1698"/>
              <a:gd name="T9" fmla="*/ 37042 h 1464"/>
              <a:gd name="T10" fmla="*/ 83830 w 1698"/>
              <a:gd name="T11" fmla="*/ 40263 h 1464"/>
              <a:gd name="T12" fmla="*/ 83830 w 1698"/>
              <a:gd name="T13" fmla="*/ 48315 h 1464"/>
              <a:gd name="T14" fmla="*/ 81479 w 1698"/>
              <a:gd name="T15" fmla="*/ 49926 h 1464"/>
              <a:gd name="T16" fmla="*/ 75995 w 1698"/>
              <a:gd name="T17" fmla="*/ 47510 h 1464"/>
              <a:gd name="T18" fmla="*/ 72078 w 1698"/>
              <a:gd name="T19" fmla="*/ 47510 h 1464"/>
              <a:gd name="T20" fmla="*/ 70511 w 1698"/>
              <a:gd name="T21" fmla="*/ 49926 h 1464"/>
              <a:gd name="T22" fmla="*/ 72861 w 1698"/>
              <a:gd name="T23" fmla="*/ 62005 h 1464"/>
              <a:gd name="T24" fmla="*/ 66594 w 1698"/>
              <a:gd name="T25" fmla="*/ 70863 h 1464"/>
              <a:gd name="T26" fmla="*/ 54842 w 1698"/>
              <a:gd name="T27" fmla="*/ 71668 h 1464"/>
              <a:gd name="T28" fmla="*/ 50925 w 1698"/>
              <a:gd name="T29" fmla="*/ 70863 h 1464"/>
              <a:gd name="T30" fmla="*/ 39173 w 1698"/>
              <a:gd name="T31" fmla="*/ 70863 h 1464"/>
              <a:gd name="T32" fmla="*/ 37606 w 1698"/>
              <a:gd name="T33" fmla="*/ 86162 h 1464"/>
              <a:gd name="T34" fmla="*/ 36822 w 1698"/>
              <a:gd name="T35" fmla="*/ 96631 h 1464"/>
              <a:gd name="T36" fmla="*/ 33689 w 1698"/>
              <a:gd name="T37" fmla="*/ 97436 h 1464"/>
              <a:gd name="T38" fmla="*/ 31338 w 1698"/>
              <a:gd name="T39" fmla="*/ 96631 h 1464"/>
              <a:gd name="T40" fmla="*/ 27421 w 1698"/>
              <a:gd name="T41" fmla="*/ 98241 h 1464"/>
              <a:gd name="T42" fmla="*/ 22720 w 1698"/>
              <a:gd name="T43" fmla="*/ 99046 h 1464"/>
              <a:gd name="T44" fmla="*/ 18803 w 1698"/>
              <a:gd name="T45" fmla="*/ 100657 h 1464"/>
              <a:gd name="T46" fmla="*/ 15669 w 1698"/>
              <a:gd name="T47" fmla="*/ 100657 h 1464"/>
              <a:gd name="T48" fmla="*/ 14102 w 1698"/>
              <a:gd name="T49" fmla="*/ 98241 h 1464"/>
              <a:gd name="T50" fmla="*/ 20370 w 1698"/>
              <a:gd name="T51" fmla="*/ 86968 h 1464"/>
              <a:gd name="T52" fmla="*/ 18803 w 1698"/>
              <a:gd name="T53" fmla="*/ 71668 h 1464"/>
              <a:gd name="T54" fmla="*/ 21937 w 1698"/>
              <a:gd name="T55" fmla="*/ 68447 h 1464"/>
              <a:gd name="T56" fmla="*/ 25071 w 1698"/>
              <a:gd name="T57" fmla="*/ 64420 h 1464"/>
              <a:gd name="T58" fmla="*/ 28204 w 1698"/>
              <a:gd name="T59" fmla="*/ 69252 h 1464"/>
              <a:gd name="T60" fmla="*/ 30555 w 1698"/>
              <a:gd name="T61" fmla="*/ 64420 h 1464"/>
              <a:gd name="T62" fmla="*/ 32122 w 1698"/>
              <a:gd name="T63" fmla="*/ 58784 h 1464"/>
              <a:gd name="T64" fmla="*/ 29771 w 1698"/>
              <a:gd name="T65" fmla="*/ 51536 h 1464"/>
              <a:gd name="T66" fmla="*/ 30555 w 1698"/>
              <a:gd name="T67" fmla="*/ 47510 h 1464"/>
              <a:gd name="T68" fmla="*/ 25071 w 1698"/>
              <a:gd name="T69" fmla="*/ 43484 h 1464"/>
              <a:gd name="T70" fmla="*/ 25071 w 1698"/>
              <a:gd name="T71" fmla="*/ 36237 h 1464"/>
              <a:gd name="T72" fmla="*/ 24287 w 1698"/>
              <a:gd name="T73" fmla="*/ 33016 h 1464"/>
              <a:gd name="T74" fmla="*/ 18803 w 1698"/>
              <a:gd name="T75" fmla="*/ 34626 h 1464"/>
              <a:gd name="T76" fmla="*/ 13319 w 1698"/>
              <a:gd name="T77" fmla="*/ 32210 h 1464"/>
              <a:gd name="T78" fmla="*/ 8618 w 1698"/>
              <a:gd name="T79" fmla="*/ 30600 h 1464"/>
              <a:gd name="T80" fmla="*/ 1567 w 1698"/>
              <a:gd name="T81" fmla="*/ 28989 h 1464"/>
              <a:gd name="T82" fmla="*/ 0 w 1698"/>
              <a:gd name="T83" fmla="*/ 19326 h 1464"/>
              <a:gd name="T84" fmla="*/ 8618 w 1698"/>
              <a:gd name="T85" fmla="*/ 14495 h 1464"/>
              <a:gd name="T86" fmla="*/ 14886 w 1698"/>
              <a:gd name="T87" fmla="*/ 8053 h 1464"/>
              <a:gd name="T88" fmla="*/ 21937 w 1698"/>
              <a:gd name="T89" fmla="*/ 7247 h 1464"/>
              <a:gd name="T90" fmla="*/ 31338 w 1698"/>
              <a:gd name="T91" fmla="*/ 4832 h 1464"/>
              <a:gd name="T92" fmla="*/ 38389 w 1698"/>
              <a:gd name="T93" fmla="*/ 6442 h 1464"/>
              <a:gd name="T94" fmla="*/ 43873 w 1698"/>
              <a:gd name="T95" fmla="*/ 6442 h 1464"/>
              <a:gd name="T96" fmla="*/ 50141 w 1698"/>
              <a:gd name="T97" fmla="*/ 5637 h 1464"/>
              <a:gd name="T98" fmla="*/ 57976 w 1698"/>
              <a:gd name="T99" fmla="*/ 805 h 1464"/>
              <a:gd name="T100" fmla="*/ 65027 w 1698"/>
              <a:gd name="T101" fmla="*/ 2416 h 1464"/>
              <a:gd name="T102" fmla="*/ 77562 w 1698"/>
              <a:gd name="T103" fmla="*/ 7247 h 1464"/>
              <a:gd name="T104" fmla="*/ 87747 w 1698"/>
              <a:gd name="T105" fmla="*/ 11274 h 1464"/>
              <a:gd name="T106" fmla="*/ 93231 w 1698"/>
              <a:gd name="T107" fmla="*/ 9663 h 1464"/>
              <a:gd name="T108" fmla="*/ 100282 w 1698"/>
              <a:gd name="T109" fmla="*/ 13689 h 1464"/>
              <a:gd name="T110" fmla="*/ 110467 w 1698"/>
              <a:gd name="T111" fmla="*/ 23352 h 1464"/>
              <a:gd name="T112" fmla="*/ 113601 w 1698"/>
              <a:gd name="T113" fmla="*/ 28184 h 14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98"/>
              <a:gd name="T172" fmla="*/ 0 h 1464"/>
              <a:gd name="T173" fmla="*/ 1698 w 1698"/>
              <a:gd name="T174" fmla="*/ 1464 h 14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98" h="1464">
                <a:moveTo>
                  <a:pt x="1698" y="462"/>
                </a:moveTo>
                <a:lnTo>
                  <a:pt x="1686" y="468"/>
                </a:lnTo>
                <a:lnTo>
                  <a:pt x="1680" y="474"/>
                </a:lnTo>
                <a:lnTo>
                  <a:pt x="1674" y="480"/>
                </a:lnTo>
                <a:lnTo>
                  <a:pt x="1668" y="480"/>
                </a:lnTo>
                <a:lnTo>
                  <a:pt x="1662" y="486"/>
                </a:lnTo>
                <a:lnTo>
                  <a:pt x="1656" y="492"/>
                </a:lnTo>
                <a:lnTo>
                  <a:pt x="1644" y="498"/>
                </a:lnTo>
                <a:lnTo>
                  <a:pt x="1626" y="504"/>
                </a:lnTo>
                <a:lnTo>
                  <a:pt x="1614" y="510"/>
                </a:lnTo>
                <a:lnTo>
                  <a:pt x="1602" y="516"/>
                </a:lnTo>
                <a:lnTo>
                  <a:pt x="1590" y="516"/>
                </a:lnTo>
                <a:lnTo>
                  <a:pt x="1590" y="522"/>
                </a:lnTo>
                <a:lnTo>
                  <a:pt x="1566" y="522"/>
                </a:lnTo>
                <a:lnTo>
                  <a:pt x="1506" y="510"/>
                </a:lnTo>
                <a:lnTo>
                  <a:pt x="1500" y="510"/>
                </a:lnTo>
                <a:lnTo>
                  <a:pt x="1488" y="504"/>
                </a:lnTo>
                <a:lnTo>
                  <a:pt x="1482" y="498"/>
                </a:lnTo>
                <a:lnTo>
                  <a:pt x="1476" y="498"/>
                </a:lnTo>
                <a:lnTo>
                  <a:pt x="1476" y="492"/>
                </a:lnTo>
                <a:lnTo>
                  <a:pt x="1470" y="492"/>
                </a:lnTo>
                <a:lnTo>
                  <a:pt x="1464" y="486"/>
                </a:lnTo>
                <a:lnTo>
                  <a:pt x="1452" y="486"/>
                </a:lnTo>
                <a:lnTo>
                  <a:pt x="1446" y="474"/>
                </a:lnTo>
                <a:lnTo>
                  <a:pt x="1434" y="468"/>
                </a:lnTo>
                <a:lnTo>
                  <a:pt x="1416" y="468"/>
                </a:lnTo>
                <a:lnTo>
                  <a:pt x="1392" y="468"/>
                </a:lnTo>
                <a:lnTo>
                  <a:pt x="1374" y="474"/>
                </a:lnTo>
                <a:lnTo>
                  <a:pt x="1368" y="474"/>
                </a:lnTo>
                <a:lnTo>
                  <a:pt x="1368" y="486"/>
                </a:lnTo>
                <a:lnTo>
                  <a:pt x="1368" y="498"/>
                </a:lnTo>
                <a:lnTo>
                  <a:pt x="1368" y="522"/>
                </a:lnTo>
                <a:lnTo>
                  <a:pt x="1368" y="534"/>
                </a:lnTo>
                <a:lnTo>
                  <a:pt x="1362" y="546"/>
                </a:lnTo>
                <a:lnTo>
                  <a:pt x="1356" y="546"/>
                </a:lnTo>
                <a:lnTo>
                  <a:pt x="1344" y="540"/>
                </a:lnTo>
                <a:lnTo>
                  <a:pt x="1338" y="534"/>
                </a:lnTo>
                <a:lnTo>
                  <a:pt x="1308" y="522"/>
                </a:lnTo>
                <a:lnTo>
                  <a:pt x="1296" y="522"/>
                </a:lnTo>
                <a:lnTo>
                  <a:pt x="1278" y="528"/>
                </a:lnTo>
                <a:lnTo>
                  <a:pt x="1260" y="534"/>
                </a:lnTo>
                <a:lnTo>
                  <a:pt x="1242" y="546"/>
                </a:lnTo>
                <a:lnTo>
                  <a:pt x="1236" y="552"/>
                </a:lnTo>
                <a:lnTo>
                  <a:pt x="1224" y="558"/>
                </a:lnTo>
                <a:lnTo>
                  <a:pt x="1218" y="558"/>
                </a:lnTo>
                <a:lnTo>
                  <a:pt x="1218" y="564"/>
                </a:lnTo>
                <a:lnTo>
                  <a:pt x="1224" y="570"/>
                </a:lnTo>
                <a:lnTo>
                  <a:pt x="1224" y="582"/>
                </a:lnTo>
                <a:lnTo>
                  <a:pt x="1224" y="594"/>
                </a:lnTo>
                <a:lnTo>
                  <a:pt x="1212" y="618"/>
                </a:lnTo>
                <a:lnTo>
                  <a:pt x="1212" y="624"/>
                </a:lnTo>
                <a:lnTo>
                  <a:pt x="1212" y="630"/>
                </a:lnTo>
                <a:lnTo>
                  <a:pt x="1212" y="636"/>
                </a:lnTo>
                <a:lnTo>
                  <a:pt x="1218" y="654"/>
                </a:lnTo>
                <a:lnTo>
                  <a:pt x="1224" y="672"/>
                </a:lnTo>
                <a:lnTo>
                  <a:pt x="1230" y="696"/>
                </a:lnTo>
                <a:lnTo>
                  <a:pt x="1236" y="708"/>
                </a:lnTo>
                <a:lnTo>
                  <a:pt x="1236" y="714"/>
                </a:lnTo>
                <a:lnTo>
                  <a:pt x="1236" y="720"/>
                </a:lnTo>
                <a:lnTo>
                  <a:pt x="1218" y="726"/>
                </a:lnTo>
                <a:lnTo>
                  <a:pt x="1212" y="726"/>
                </a:lnTo>
                <a:lnTo>
                  <a:pt x="1206" y="726"/>
                </a:lnTo>
                <a:lnTo>
                  <a:pt x="1194" y="720"/>
                </a:lnTo>
                <a:lnTo>
                  <a:pt x="1194" y="714"/>
                </a:lnTo>
                <a:lnTo>
                  <a:pt x="1176" y="714"/>
                </a:lnTo>
                <a:lnTo>
                  <a:pt x="1164" y="708"/>
                </a:lnTo>
                <a:lnTo>
                  <a:pt x="1158" y="708"/>
                </a:lnTo>
                <a:lnTo>
                  <a:pt x="1140" y="702"/>
                </a:lnTo>
                <a:lnTo>
                  <a:pt x="1134" y="696"/>
                </a:lnTo>
                <a:lnTo>
                  <a:pt x="1128" y="690"/>
                </a:lnTo>
                <a:lnTo>
                  <a:pt x="1116" y="678"/>
                </a:lnTo>
                <a:lnTo>
                  <a:pt x="1110" y="678"/>
                </a:lnTo>
                <a:lnTo>
                  <a:pt x="1104" y="672"/>
                </a:lnTo>
                <a:lnTo>
                  <a:pt x="1092" y="672"/>
                </a:lnTo>
                <a:lnTo>
                  <a:pt x="1086" y="672"/>
                </a:lnTo>
                <a:lnTo>
                  <a:pt x="1080" y="672"/>
                </a:lnTo>
                <a:lnTo>
                  <a:pt x="1074" y="672"/>
                </a:lnTo>
                <a:lnTo>
                  <a:pt x="1068" y="672"/>
                </a:lnTo>
                <a:lnTo>
                  <a:pt x="1062" y="678"/>
                </a:lnTo>
                <a:lnTo>
                  <a:pt x="1056" y="678"/>
                </a:lnTo>
                <a:lnTo>
                  <a:pt x="1056" y="684"/>
                </a:lnTo>
                <a:lnTo>
                  <a:pt x="1056" y="690"/>
                </a:lnTo>
                <a:lnTo>
                  <a:pt x="1050" y="690"/>
                </a:lnTo>
                <a:lnTo>
                  <a:pt x="1044" y="696"/>
                </a:lnTo>
                <a:lnTo>
                  <a:pt x="1032" y="708"/>
                </a:lnTo>
                <a:lnTo>
                  <a:pt x="1026" y="708"/>
                </a:lnTo>
                <a:lnTo>
                  <a:pt x="1032" y="714"/>
                </a:lnTo>
                <a:lnTo>
                  <a:pt x="1026" y="720"/>
                </a:lnTo>
                <a:lnTo>
                  <a:pt x="1020" y="720"/>
                </a:lnTo>
                <a:lnTo>
                  <a:pt x="1014" y="732"/>
                </a:lnTo>
                <a:lnTo>
                  <a:pt x="1014" y="744"/>
                </a:lnTo>
                <a:lnTo>
                  <a:pt x="1038" y="810"/>
                </a:lnTo>
                <a:lnTo>
                  <a:pt x="1050" y="834"/>
                </a:lnTo>
                <a:lnTo>
                  <a:pt x="1056" y="858"/>
                </a:lnTo>
                <a:lnTo>
                  <a:pt x="1062" y="876"/>
                </a:lnTo>
                <a:lnTo>
                  <a:pt x="1068" y="882"/>
                </a:lnTo>
                <a:lnTo>
                  <a:pt x="1062" y="972"/>
                </a:lnTo>
                <a:lnTo>
                  <a:pt x="1056" y="972"/>
                </a:lnTo>
                <a:lnTo>
                  <a:pt x="1050" y="996"/>
                </a:lnTo>
                <a:lnTo>
                  <a:pt x="1044" y="1014"/>
                </a:lnTo>
                <a:lnTo>
                  <a:pt x="1008" y="1014"/>
                </a:lnTo>
                <a:lnTo>
                  <a:pt x="1008" y="1008"/>
                </a:lnTo>
                <a:lnTo>
                  <a:pt x="990" y="1008"/>
                </a:lnTo>
                <a:lnTo>
                  <a:pt x="972" y="1014"/>
                </a:lnTo>
                <a:lnTo>
                  <a:pt x="948" y="1020"/>
                </a:lnTo>
                <a:lnTo>
                  <a:pt x="918" y="1026"/>
                </a:lnTo>
                <a:lnTo>
                  <a:pt x="840" y="1032"/>
                </a:lnTo>
                <a:lnTo>
                  <a:pt x="834" y="1032"/>
                </a:lnTo>
                <a:lnTo>
                  <a:pt x="834" y="1026"/>
                </a:lnTo>
                <a:lnTo>
                  <a:pt x="822" y="1026"/>
                </a:lnTo>
                <a:lnTo>
                  <a:pt x="816" y="1032"/>
                </a:lnTo>
                <a:lnTo>
                  <a:pt x="804" y="1032"/>
                </a:lnTo>
                <a:lnTo>
                  <a:pt x="798" y="1026"/>
                </a:lnTo>
                <a:lnTo>
                  <a:pt x="780" y="1026"/>
                </a:lnTo>
                <a:lnTo>
                  <a:pt x="762" y="1026"/>
                </a:lnTo>
                <a:lnTo>
                  <a:pt x="756" y="1026"/>
                </a:lnTo>
                <a:lnTo>
                  <a:pt x="750" y="1026"/>
                </a:lnTo>
                <a:lnTo>
                  <a:pt x="756" y="1020"/>
                </a:lnTo>
                <a:lnTo>
                  <a:pt x="750" y="1020"/>
                </a:lnTo>
                <a:lnTo>
                  <a:pt x="744" y="1014"/>
                </a:lnTo>
                <a:lnTo>
                  <a:pt x="684" y="1020"/>
                </a:lnTo>
                <a:lnTo>
                  <a:pt x="648" y="1020"/>
                </a:lnTo>
                <a:lnTo>
                  <a:pt x="630" y="1020"/>
                </a:lnTo>
                <a:lnTo>
                  <a:pt x="618" y="1020"/>
                </a:lnTo>
                <a:lnTo>
                  <a:pt x="606" y="1014"/>
                </a:lnTo>
                <a:lnTo>
                  <a:pt x="582" y="1014"/>
                </a:lnTo>
                <a:lnTo>
                  <a:pt x="576" y="1014"/>
                </a:lnTo>
                <a:lnTo>
                  <a:pt x="570" y="1014"/>
                </a:lnTo>
                <a:lnTo>
                  <a:pt x="564" y="1020"/>
                </a:lnTo>
                <a:lnTo>
                  <a:pt x="558" y="1026"/>
                </a:lnTo>
                <a:lnTo>
                  <a:pt x="552" y="1032"/>
                </a:lnTo>
                <a:lnTo>
                  <a:pt x="552" y="1038"/>
                </a:lnTo>
                <a:lnTo>
                  <a:pt x="558" y="1194"/>
                </a:lnTo>
                <a:lnTo>
                  <a:pt x="558" y="1206"/>
                </a:lnTo>
                <a:lnTo>
                  <a:pt x="552" y="1218"/>
                </a:lnTo>
                <a:lnTo>
                  <a:pt x="552" y="1236"/>
                </a:lnTo>
                <a:lnTo>
                  <a:pt x="546" y="1272"/>
                </a:lnTo>
                <a:lnTo>
                  <a:pt x="546" y="1308"/>
                </a:lnTo>
                <a:lnTo>
                  <a:pt x="540" y="1332"/>
                </a:lnTo>
                <a:lnTo>
                  <a:pt x="546" y="1356"/>
                </a:lnTo>
                <a:lnTo>
                  <a:pt x="546" y="1362"/>
                </a:lnTo>
                <a:lnTo>
                  <a:pt x="546" y="1374"/>
                </a:lnTo>
                <a:lnTo>
                  <a:pt x="546" y="1380"/>
                </a:lnTo>
                <a:lnTo>
                  <a:pt x="540" y="1380"/>
                </a:lnTo>
                <a:lnTo>
                  <a:pt x="522" y="1380"/>
                </a:lnTo>
                <a:lnTo>
                  <a:pt x="516" y="1380"/>
                </a:lnTo>
                <a:lnTo>
                  <a:pt x="516" y="1386"/>
                </a:lnTo>
                <a:lnTo>
                  <a:pt x="516" y="1392"/>
                </a:lnTo>
                <a:lnTo>
                  <a:pt x="510" y="1392"/>
                </a:lnTo>
                <a:lnTo>
                  <a:pt x="504" y="1386"/>
                </a:lnTo>
                <a:lnTo>
                  <a:pt x="498" y="1392"/>
                </a:lnTo>
                <a:lnTo>
                  <a:pt x="492" y="1398"/>
                </a:lnTo>
                <a:lnTo>
                  <a:pt x="486" y="1398"/>
                </a:lnTo>
                <a:lnTo>
                  <a:pt x="486" y="1392"/>
                </a:lnTo>
                <a:lnTo>
                  <a:pt x="486" y="1380"/>
                </a:lnTo>
                <a:lnTo>
                  <a:pt x="486" y="1374"/>
                </a:lnTo>
                <a:lnTo>
                  <a:pt x="480" y="1374"/>
                </a:lnTo>
                <a:lnTo>
                  <a:pt x="474" y="1374"/>
                </a:lnTo>
                <a:lnTo>
                  <a:pt x="468" y="1380"/>
                </a:lnTo>
                <a:lnTo>
                  <a:pt x="462" y="1380"/>
                </a:lnTo>
                <a:lnTo>
                  <a:pt x="456" y="1380"/>
                </a:lnTo>
                <a:lnTo>
                  <a:pt x="450" y="1386"/>
                </a:lnTo>
                <a:lnTo>
                  <a:pt x="444" y="1386"/>
                </a:lnTo>
                <a:lnTo>
                  <a:pt x="444" y="1392"/>
                </a:lnTo>
                <a:lnTo>
                  <a:pt x="432" y="1398"/>
                </a:lnTo>
                <a:lnTo>
                  <a:pt x="426" y="1404"/>
                </a:lnTo>
                <a:lnTo>
                  <a:pt x="420" y="1404"/>
                </a:lnTo>
                <a:lnTo>
                  <a:pt x="408" y="1404"/>
                </a:lnTo>
                <a:lnTo>
                  <a:pt x="378" y="1410"/>
                </a:lnTo>
                <a:lnTo>
                  <a:pt x="372" y="1410"/>
                </a:lnTo>
                <a:lnTo>
                  <a:pt x="360" y="1410"/>
                </a:lnTo>
                <a:lnTo>
                  <a:pt x="354" y="1416"/>
                </a:lnTo>
                <a:lnTo>
                  <a:pt x="348" y="1416"/>
                </a:lnTo>
                <a:lnTo>
                  <a:pt x="342" y="1410"/>
                </a:lnTo>
                <a:lnTo>
                  <a:pt x="336" y="1410"/>
                </a:lnTo>
                <a:lnTo>
                  <a:pt x="336" y="1416"/>
                </a:lnTo>
                <a:lnTo>
                  <a:pt x="330" y="1422"/>
                </a:lnTo>
                <a:lnTo>
                  <a:pt x="324" y="1422"/>
                </a:lnTo>
                <a:lnTo>
                  <a:pt x="318" y="1422"/>
                </a:lnTo>
                <a:lnTo>
                  <a:pt x="312" y="1428"/>
                </a:lnTo>
                <a:lnTo>
                  <a:pt x="312" y="1434"/>
                </a:lnTo>
                <a:lnTo>
                  <a:pt x="300" y="1428"/>
                </a:lnTo>
                <a:lnTo>
                  <a:pt x="288" y="1434"/>
                </a:lnTo>
                <a:lnTo>
                  <a:pt x="282" y="1440"/>
                </a:lnTo>
                <a:lnTo>
                  <a:pt x="282" y="1446"/>
                </a:lnTo>
                <a:lnTo>
                  <a:pt x="276" y="1446"/>
                </a:lnTo>
                <a:lnTo>
                  <a:pt x="276" y="1452"/>
                </a:lnTo>
                <a:lnTo>
                  <a:pt x="270" y="1452"/>
                </a:lnTo>
                <a:lnTo>
                  <a:pt x="258" y="1464"/>
                </a:lnTo>
                <a:lnTo>
                  <a:pt x="240" y="1458"/>
                </a:lnTo>
                <a:lnTo>
                  <a:pt x="234" y="1452"/>
                </a:lnTo>
                <a:lnTo>
                  <a:pt x="234" y="1446"/>
                </a:lnTo>
                <a:lnTo>
                  <a:pt x="228" y="1446"/>
                </a:lnTo>
                <a:lnTo>
                  <a:pt x="222" y="1440"/>
                </a:lnTo>
                <a:lnTo>
                  <a:pt x="216" y="1440"/>
                </a:lnTo>
                <a:lnTo>
                  <a:pt x="210" y="1428"/>
                </a:lnTo>
                <a:lnTo>
                  <a:pt x="210" y="1422"/>
                </a:lnTo>
                <a:lnTo>
                  <a:pt x="198" y="1416"/>
                </a:lnTo>
                <a:lnTo>
                  <a:pt x="204" y="1410"/>
                </a:lnTo>
                <a:lnTo>
                  <a:pt x="210" y="1404"/>
                </a:lnTo>
                <a:lnTo>
                  <a:pt x="210" y="1398"/>
                </a:lnTo>
                <a:lnTo>
                  <a:pt x="252" y="1368"/>
                </a:lnTo>
                <a:lnTo>
                  <a:pt x="276" y="1350"/>
                </a:lnTo>
                <a:lnTo>
                  <a:pt x="300" y="1338"/>
                </a:lnTo>
                <a:lnTo>
                  <a:pt x="294" y="1314"/>
                </a:lnTo>
                <a:lnTo>
                  <a:pt x="288" y="1308"/>
                </a:lnTo>
                <a:lnTo>
                  <a:pt x="300" y="1266"/>
                </a:lnTo>
                <a:lnTo>
                  <a:pt x="300" y="1242"/>
                </a:lnTo>
                <a:lnTo>
                  <a:pt x="300" y="1206"/>
                </a:lnTo>
                <a:lnTo>
                  <a:pt x="300" y="1164"/>
                </a:lnTo>
                <a:lnTo>
                  <a:pt x="294" y="1134"/>
                </a:lnTo>
                <a:lnTo>
                  <a:pt x="282" y="1086"/>
                </a:lnTo>
                <a:lnTo>
                  <a:pt x="276" y="1074"/>
                </a:lnTo>
                <a:lnTo>
                  <a:pt x="276" y="1056"/>
                </a:lnTo>
                <a:lnTo>
                  <a:pt x="270" y="1038"/>
                </a:lnTo>
                <a:lnTo>
                  <a:pt x="270" y="1020"/>
                </a:lnTo>
                <a:lnTo>
                  <a:pt x="282" y="1020"/>
                </a:lnTo>
                <a:lnTo>
                  <a:pt x="282" y="1014"/>
                </a:lnTo>
                <a:lnTo>
                  <a:pt x="288" y="1008"/>
                </a:lnTo>
                <a:lnTo>
                  <a:pt x="294" y="1002"/>
                </a:lnTo>
                <a:lnTo>
                  <a:pt x="306" y="996"/>
                </a:lnTo>
                <a:lnTo>
                  <a:pt x="312" y="990"/>
                </a:lnTo>
                <a:lnTo>
                  <a:pt x="318" y="990"/>
                </a:lnTo>
                <a:lnTo>
                  <a:pt x="324" y="984"/>
                </a:lnTo>
                <a:lnTo>
                  <a:pt x="324" y="978"/>
                </a:lnTo>
                <a:lnTo>
                  <a:pt x="324" y="972"/>
                </a:lnTo>
                <a:lnTo>
                  <a:pt x="324" y="954"/>
                </a:lnTo>
                <a:lnTo>
                  <a:pt x="336" y="948"/>
                </a:lnTo>
                <a:lnTo>
                  <a:pt x="342" y="936"/>
                </a:lnTo>
                <a:lnTo>
                  <a:pt x="348" y="924"/>
                </a:lnTo>
                <a:lnTo>
                  <a:pt x="354" y="924"/>
                </a:lnTo>
                <a:lnTo>
                  <a:pt x="372" y="924"/>
                </a:lnTo>
                <a:lnTo>
                  <a:pt x="372" y="930"/>
                </a:lnTo>
                <a:lnTo>
                  <a:pt x="378" y="930"/>
                </a:lnTo>
                <a:lnTo>
                  <a:pt x="378" y="936"/>
                </a:lnTo>
                <a:lnTo>
                  <a:pt x="384" y="936"/>
                </a:lnTo>
                <a:lnTo>
                  <a:pt x="384" y="942"/>
                </a:lnTo>
                <a:lnTo>
                  <a:pt x="402" y="942"/>
                </a:lnTo>
                <a:lnTo>
                  <a:pt x="402" y="996"/>
                </a:lnTo>
                <a:lnTo>
                  <a:pt x="414" y="996"/>
                </a:lnTo>
                <a:lnTo>
                  <a:pt x="420" y="996"/>
                </a:lnTo>
                <a:lnTo>
                  <a:pt x="426" y="996"/>
                </a:lnTo>
                <a:lnTo>
                  <a:pt x="432" y="996"/>
                </a:lnTo>
                <a:lnTo>
                  <a:pt x="438" y="996"/>
                </a:lnTo>
                <a:lnTo>
                  <a:pt x="438" y="942"/>
                </a:lnTo>
                <a:lnTo>
                  <a:pt x="444" y="930"/>
                </a:lnTo>
                <a:lnTo>
                  <a:pt x="444" y="924"/>
                </a:lnTo>
                <a:lnTo>
                  <a:pt x="444" y="918"/>
                </a:lnTo>
                <a:lnTo>
                  <a:pt x="462" y="918"/>
                </a:lnTo>
                <a:lnTo>
                  <a:pt x="474" y="906"/>
                </a:lnTo>
                <a:lnTo>
                  <a:pt x="480" y="900"/>
                </a:lnTo>
                <a:lnTo>
                  <a:pt x="486" y="888"/>
                </a:lnTo>
                <a:lnTo>
                  <a:pt x="492" y="876"/>
                </a:lnTo>
                <a:lnTo>
                  <a:pt x="492" y="858"/>
                </a:lnTo>
                <a:lnTo>
                  <a:pt x="480" y="858"/>
                </a:lnTo>
                <a:lnTo>
                  <a:pt x="474" y="840"/>
                </a:lnTo>
                <a:lnTo>
                  <a:pt x="450" y="834"/>
                </a:lnTo>
                <a:lnTo>
                  <a:pt x="438" y="816"/>
                </a:lnTo>
                <a:lnTo>
                  <a:pt x="432" y="792"/>
                </a:lnTo>
                <a:lnTo>
                  <a:pt x="432" y="786"/>
                </a:lnTo>
                <a:lnTo>
                  <a:pt x="432" y="774"/>
                </a:lnTo>
                <a:lnTo>
                  <a:pt x="432" y="762"/>
                </a:lnTo>
                <a:lnTo>
                  <a:pt x="438" y="750"/>
                </a:lnTo>
                <a:lnTo>
                  <a:pt x="438" y="738"/>
                </a:lnTo>
                <a:lnTo>
                  <a:pt x="444" y="732"/>
                </a:lnTo>
                <a:lnTo>
                  <a:pt x="450" y="732"/>
                </a:lnTo>
                <a:lnTo>
                  <a:pt x="456" y="732"/>
                </a:lnTo>
                <a:lnTo>
                  <a:pt x="456" y="726"/>
                </a:lnTo>
                <a:lnTo>
                  <a:pt x="456" y="714"/>
                </a:lnTo>
                <a:lnTo>
                  <a:pt x="450" y="702"/>
                </a:lnTo>
                <a:lnTo>
                  <a:pt x="450" y="696"/>
                </a:lnTo>
                <a:lnTo>
                  <a:pt x="444" y="684"/>
                </a:lnTo>
                <a:lnTo>
                  <a:pt x="438" y="666"/>
                </a:lnTo>
                <a:lnTo>
                  <a:pt x="426" y="666"/>
                </a:lnTo>
                <a:lnTo>
                  <a:pt x="432" y="666"/>
                </a:lnTo>
                <a:lnTo>
                  <a:pt x="420" y="666"/>
                </a:lnTo>
                <a:lnTo>
                  <a:pt x="414" y="660"/>
                </a:lnTo>
                <a:lnTo>
                  <a:pt x="396" y="654"/>
                </a:lnTo>
                <a:lnTo>
                  <a:pt x="384" y="642"/>
                </a:lnTo>
                <a:lnTo>
                  <a:pt x="366" y="624"/>
                </a:lnTo>
                <a:lnTo>
                  <a:pt x="354" y="606"/>
                </a:lnTo>
                <a:lnTo>
                  <a:pt x="342" y="588"/>
                </a:lnTo>
                <a:lnTo>
                  <a:pt x="342" y="582"/>
                </a:lnTo>
                <a:lnTo>
                  <a:pt x="360" y="564"/>
                </a:lnTo>
                <a:lnTo>
                  <a:pt x="372" y="540"/>
                </a:lnTo>
                <a:lnTo>
                  <a:pt x="366" y="528"/>
                </a:lnTo>
                <a:lnTo>
                  <a:pt x="366" y="522"/>
                </a:lnTo>
                <a:lnTo>
                  <a:pt x="372" y="516"/>
                </a:lnTo>
                <a:lnTo>
                  <a:pt x="384" y="504"/>
                </a:lnTo>
                <a:lnTo>
                  <a:pt x="378" y="492"/>
                </a:lnTo>
                <a:lnTo>
                  <a:pt x="378" y="486"/>
                </a:lnTo>
                <a:lnTo>
                  <a:pt x="378" y="480"/>
                </a:lnTo>
                <a:lnTo>
                  <a:pt x="378" y="474"/>
                </a:lnTo>
                <a:lnTo>
                  <a:pt x="378" y="468"/>
                </a:lnTo>
                <a:lnTo>
                  <a:pt x="366" y="468"/>
                </a:lnTo>
                <a:lnTo>
                  <a:pt x="360" y="474"/>
                </a:lnTo>
                <a:lnTo>
                  <a:pt x="354" y="480"/>
                </a:lnTo>
                <a:lnTo>
                  <a:pt x="348" y="486"/>
                </a:lnTo>
                <a:lnTo>
                  <a:pt x="348" y="492"/>
                </a:lnTo>
                <a:lnTo>
                  <a:pt x="336" y="510"/>
                </a:lnTo>
                <a:lnTo>
                  <a:pt x="300" y="516"/>
                </a:lnTo>
                <a:lnTo>
                  <a:pt x="300" y="510"/>
                </a:lnTo>
                <a:lnTo>
                  <a:pt x="282" y="504"/>
                </a:lnTo>
                <a:lnTo>
                  <a:pt x="282" y="498"/>
                </a:lnTo>
                <a:lnTo>
                  <a:pt x="264" y="486"/>
                </a:lnTo>
                <a:lnTo>
                  <a:pt x="258" y="492"/>
                </a:lnTo>
                <a:lnTo>
                  <a:pt x="234" y="492"/>
                </a:lnTo>
                <a:lnTo>
                  <a:pt x="222" y="486"/>
                </a:lnTo>
                <a:lnTo>
                  <a:pt x="204" y="480"/>
                </a:lnTo>
                <a:lnTo>
                  <a:pt x="198" y="474"/>
                </a:lnTo>
                <a:lnTo>
                  <a:pt x="192" y="474"/>
                </a:lnTo>
                <a:lnTo>
                  <a:pt x="192" y="462"/>
                </a:lnTo>
                <a:lnTo>
                  <a:pt x="186" y="462"/>
                </a:lnTo>
                <a:lnTo>
                  <a:pt x="180" y="468"/>
                </a:lnTo>
                <a:lnTo>
                  <a:pt x="150" y="450"/>
                </a:lnTo>
                <a:lnTo>
                  <a:pt x="144" y="438"/>
                </a:lnTo>
                <a:lnTo>
                  <a:pt x="138" y="438"/>
                </a:lnTo>
                <a:lnTo>
                  <a:pt x="132" y="432"/>
                </a:lnTo>
                <a:lnTo>
                  <a:pt x="126" y="432"/>
                </a:lnTo>
                <a:lnTo>
                  <a:pt x="120" y="432"/>
                </a:lnTo>
                <a:lnTo>
                  <a:pt x="102" y="426"/>
                </a:lnTo>
                <a:lnTo>
                  <a:pt x="96" y="420"/>
                </a:lnTo>
                <a:lnTo>
                  <a:pt x="90" y="414"/>
                </a:lnTo>
                <a:lnTo>
                  <a:pt x="84" y="414"/>
                </a:lnTo>
                <a:lnTo>
                  <a:pt x="72" y="414"/>
                </a:lnTo>
                <a:lnTo>
                  <a:pt x="60" y="414"/>
                </a:lnTo>
                <a:lnTo>
                  <a:pt x="30" y="414"/>
                </a:lnTo>
                <a:lnTo>
                  <a:pt x="24" y="414"/>
                </a:lnTo>
                <a:lnTo>
                  <a:pt x="12" y="414"/>
                </a:lnTo>
                <a:lnTo>
                  <a:pt x="0" y="420"/>
                </a:lnTo>
                <a:lnTo>
                  <a:pt x="0" y="360"/>
                </a:lnTo>
                <a:lnTo>
                  <a:pt x="0" y="354"/>
                </a:lnTo>
                <a:lnTo>
                  <a:pt x="0" y="336"/>
                </a:lnTo>
                <a:lnTo>
                  <a:pt x="0" y="288"/>
                </a:lnTo>
                <a:lnTo>
                  <a:pt x="0" y="282"/>
                </a:lnTo>
                <a:lnTo>
                  <a:pt x="0" y="276"/>
                </a:lnTo>
                <a:lnTo>
                  <a:pt x="0" y="270"/>
                </a:lnTo>
                <a:lnTo>
                  <a:pt x="30" y="270"/>
                </a:lnTo>
                <a:lnTo>
                  <a:pt x="42" y="270"/>
                </a:lnTo>
                <a:lnTo>
                  <a:pt x="54" y="264"/>
                </a:lnTo>
                <a:lnTo>
                  <a:pt x="78" y="240"/>
                </a:lnTo>
                <a:lnTo>
                  <a:pt x="102" y="216"/>
                </a:lnTo>
                <a:lnTo>
                  <a:pt x="114" y="210"/>
                </a:lnTo>
                <a:lnTo>
                  <a:pt x="120" y="204"/>
                </a:lnTo>
                <a:lnTo>
                  <a:pt x="126" y="198"/>
                </a:lnTo>
                <a:lnTo>
                  <a:pt x="138" y="186"/>
                </a:lnTo>
                <a:lnTo>
                  <a:pt x="174" y="156"/>
                </a:lnTo>
                <a:lnTo>
                  <a:pt x="180" y="150"/>
                </a:lnTo>
                <a:lnTo>
                  <a:pt x="192" y="138"/>
                </a:lnTo>
                <a:lnTo>
                  <a:pt x="210" y="126"/>
                </a:lnTo>
                <a:lnTo>
                  <a:pt x="216" y="120"/>
                </a:lnTo>
                <a:lnTo>
                  <a:pt x="222" y="120"/>
                </a:lnTo>
                <a:lnTo>
                  <a:pt x="258" y="114"/>
                </a:lnTo>
                <a:lnTo>
                  <a:pt x="270" y="108"/>
                </a:lnTo>
                <a:lnTo>
                  <a:pt x="282" y="108"/>
                </a:lnTo>
                <a:lnTo>
                  <a:pt x="288" y="108"/>
                </a:lnTo>
                <a:lnTo>
                  <a:pt x="294" y="108"/>
                </a:lnTo>
                <a:lnTo>
                  <a:pt x="300" y="102"/>
                </a:lnTo>
                <a:lnTo>
                  <a:pt x="312" y="102"/>
                </a:lnTo>
                <a:lnTo>
                  <a:pt x="318" y="102"/>
                </a:lnTo>
                <a:lnTo>
                  <a:pt x="348" y="96"/>
                </a:lnTo>
                <a:lnTo>
                  <a:pt x="366" y="90"/>
                </a:lnTo>
                <a:lnTo>
                  <a:pt x="384" y="90"/>
                </a:lnTo>
                <a:lnTo>
                  <a:pt x="390" y="90"/>
                </a:lnTo>
                <a:lnTo>
                  <a:pt x="396" y="84"/>
                </a:lnTo>
                <a:lnTo>
                  <a:pt x="408" y="84"/>
                </a:lnTo>
                <a:lnTo>
                  <a:pt x="420" y="84"/>
                </a:lnTo>
                <a:lnTo>
                  <a:pt x="462" y="72"/>
                </a:lnTo>
                <a:lnTo>
                  <a:pt x="474" y="72"/>
                </a:lnTo>
                <a:lnTo>
                  <a:pt x="474" y="78"/>
                </a:lnTo>
                <a:lnTo>
                  <a:pt x="492" y="90"/>
                </a:lnTo>
                <a:lnTo>
                  <a:pt x="498" y="90"/>
                </a:lnTo>
                <a:lnTo>
                  <a:pt x="522" y="96"/>
                </a:lnTo>
                <a:lnTo>
                  <a:pt x="540" y="96"/>
                </a:lnTo>
                <a:lnTo>
                  <a:pt x="546" y="96"/>
                </a:lnTo>
                <a:lnTo>
                  <a:pt x="558" y="96"/>
                </a:lnTo>
                <a:lnTo>
                  <a:pt x="564" y="96"/>
                </a:lnTo>
                <a:lnTo>
                  <a:pt x="576" y="96"/>
                </a:lnTo>
                <a:lnTo>
                  <a:pt x="588" y="96"/>
                </a:lnTo>
                <a:lnTo>
                  <a:pt x="612" y="90"/>
                </a:lnTo>
                <a:lnTo>
                  <a:pt x="624" y="90"/>
                </a:lnTo>
                <a:lnTo>
                  <a:pt x="636" y="90"/>
                </a:lnTo>
                <a:lnTo>
                  <a:pt x="642" y="90"/>
                </a:lnTo>
                <a:lnTo>
                  <a:pt x="648" y="96"/>
                </a:lnTo>
                <a:lnTo>
                  <a:pt x="660" y="96"/>
                </a:lnTo>
                <a:lnTo>
                  <a:pt x="666" y="96"/>
                </a:lnTo>
                <a:lnTo>
                  <a:pt x="672" y="96"/>
                </a:lnTo>
                <a:lnTo>
                  <a:pt x="684" y="96"/>
                </a:lnTo>
                <a:lnTo>
                  <a:pt x="708" y="96"/>
                </a:lnTo>
                <a:lnTo>
                  <a:pt x="714" y="96"/>
                </a:lnTo>
                <a:lnTo>
                  <a:pt x="726" y="96"/>
                </a:lnTo>
                <a:lnTo>
                  <a:pt x="738" y="84"/>
                </a:lnTo>
                <a:lnTo>
                  <a:pt x="744" y="78"/>
                </a:lnTo>
                <a:lnTo>
                  <a:pt x="756" y="66"/>
                </a:lnTo>
                <a:lnTo>
                  <a:pt x="774" y="42"/>
                </a:lnTo>
                <a:lnTo>
                  <a:pt x="780" y="30"/>
                </a:lnTo>
                <a:lnTo>
                  <a:pt x="816" y="24"/>
                </a:lnTo>
                <a:lnTo>
                  <a:pt x="840" y="18"/>
                </a:lnTo>
                <a:lnTo>
                  <a:pt x="840" y="12"/>
                </a:lnTo>
                <a:lnTo>
                  <a:pt x="846" y="12"/>
                </a:lnTo>
                <a:lnTo>
                  <a:pt x="852" y="12"/>
                </a:lnTo>
                <a:lnTo>
                  <a:pt x="864" y="6"/>
                </a:lnTo>
                <a:lnTo>
                  <a:pt x="870" y="6"/>
                </a:lnTo>
                <a:lnTo>
                  <a:pt x="894" y="0"/>
                </a:lnTo>
                <a:lnTo>
                  <a:pt x="900" y="6"/>
                </a:lnTo>
                <a:lnTo>
                  <a:pt x="930" y="18"/>
                </a:lnTo>
                <a:lnTo>
                  <a:pt x="942" y="24"/>
                </a:lnTo>
                <a:lnTo>
                  <a:pt x="954" y="30"/>
                </a:lnTo>
                <a:lnTo>
                  <a:pt x="1026" y="60"/>
                </a:lnTo>
                <a:lnTo>
                  <a:pt x="1032" y="60"/>
                </a:lnTo>
                <a:lnTo>
                  <a:pt x="1038" y="66"/>
                </a:lnTo>
                <a:lnTo>
                  <a:pt x="1068" y="72"/>
                </a:lnTo>
                <a:lnTo>
                  <a:pt x="1098" y="84"/>
                </a:lnTo>
                <a:lnTo>
                  <a:pt x="1122" y="90"/>
                </a:lnTo>
                <a:lnTo>
                  <a:pt x="1122" y="96"/>
                </a:lnTo>
                <a:lnTo>
                  <a:pt x="1140" y="102"/>
                </a:lnTo>
                <a:lnTo>
                  <a:pt x="1182" y="114"/>
                </a:lnTo>
                <a:lnTo>
                  <a:pt x="1188" y="114"/>
                </a:lnTo>
                <a:lnTo>
                  <a:pt x="1200" y="120"/>
                </a:lnTo>
                <a:lnTo>
                  <a:pt x="1212" y="126"/>
                </a:lnTo>
                <a:lnTo>
                  <a:pt x="1224" y="126"/>
                </a:lnTo>
                <a:lnTo>
                  <a:pt x="1248" y="138"/>
                </a:lnTo>
                <a:lnTo>
                  <a:pt x="1272" y="150"/>
                </a:lnTo>
                <a:lnTo>
                  <a:pt x="1284" y="156"/>
                </a:lnTo>
                <a:lnTo>
                  <a:pt x="1290" y="162"/>
                </a:lnTo>
                <a:lnTo>
                  <a:pt x="1296" y="162"/>
                </a:lnTo>
                <a:lnTo>
                  <a:pt x="1308" y="156"/>
                </a:lnTo>
                <a:lnTo>
                  <a:pt x="1320" y="150"/>
                </a:lnTo>
                <a:lnTo>
                  <a:pt x="1326" y="150"/>
                </a:lnTo>
                <a:lnTo>
                  <a:pt x="1338" y="144"/>
                </a:lnTo>
                <a:lnTo>
                  <a:pt x="1362" y="144"/>
                </a:lnTo>
                <a:lnTo>
                  <a:pt x="1368" y="144"/>
                </a:lnTo>
                <a:lnTo>
                  <a:pt x="1374" y="144"/>
                </a:lnTo>
                <a:lnTo>
                  <a:pt x="1386" y="150"/>
                </a:lnTo>
                <a:lnTo>
                  <a:pt x="1392" y="150"/>
                </a:lnTo>
                <a:lnTo>
                  <a:pt x="1398" y="150"/>
                </a:lnTo>
                <a:lnTo>
                  <a:pt x="1416" y="162"/>
                </a:lnTo>
                <a:lnTo>
                  <a:pt x="1458" y="186"/>
                </a:lnTo>
                <a:lnTo>
                  <a:pt x="1464" y="186"/>
                </a:lnTo>
                <a:lnTo>
                  <a:pt x="1470" y="192"/>
                </a:lnTo>
                <a:lnTo>
                  <a:pt x="1482" y="204"/>
                </a:lnTo>
                <a:lnTo>
                  <a:pt x="1512" y="234"/>
                </a:lnTo>
                <a:lnTo>
                  <a:pt x="1554" y="276"/>
                </a:lnTo>
                <a:lnTo>
                  <a:pt x="1560" y="276"/>
                </a:lnTo>
                <a:lnTo>
                  <a:pt x="1566" y="282"/>
                </a:lnTo>
                <a:lnTo>
                  <a:pt x="1578" y="294"/>
                </a:lnTo>
                <a:lnTo>
                  <a:pt x="1602" y="318"/>
                </a:lnTo>
                <a:lnTo>
                  <a:pt x="1614" y="330"/>
                </a:lnTo>
                <a:lnTo>
                  <a:pt x="1620" y="336"/>
                </a:lnTo>
                <a:lnTo>
                  <a:pt x="1626" y="342"/>
                </a:lnTo>
                <a:lnTo>
                  <a:pt x="1632" y="354"/>
                </a:lnTo>
                <a:lnTo>
                  <a:pt x="1644" y="366"/>
                </a:lnTo>
                <a:lnTo>
                  <a:pt x="1650" y="378"/>
                </a:lnTo>
                <a:lnTo>
                  <a:pt x="1650" y="384"/>
                </a:lnTo>
                <a:lnTo>
                  <a:pt x="1656" y="384"/>
                </a:lnTo>
                <a:lnTo>
                  <a:pt x="1662" y="402"/>
                </a:lnTo>
                <a:lnTo>
                  <a:pt x="1668" y="408"/>
                </a:lnTo>
                <a:lnTo>
                  <a:pt x="1674" y="426"/>
                </a:lnTo>
                <a:lnTo>
                  <a:pt x="1686" y="438"/>
                </a:lnTo>
                <a:lnTo>
                  <a:pt x="1698" y="462"/>
                </a:lnTo>
                <a:close/>
              </a:path>
            </a:pathLst>
          </a:custGeom>
          <a:solidFill>
            <a:srgbClr val="CD202C"/>
          </a:solidFill>
          <a:ln w="9525">
            <a:solidFill>
              <a:schemeClr val="bg1"/>
            </a:solidFill>
            <a:round/>
            <a:headEnd/>
            <a:tailEnd/>
          </a:ln>
        </p:spPr>
        <p:txBody>
          <a:bodyPr/>
          <a:lstStyle/>
          <a:p>
            <a:endParaRPr lang="en-GB"/>
          </a:p>
        </p:txBody>
      </p:sp>
      <p:sp>
        <p:nvSpPr>
          <p:cNvPr id="20518" name="Freeform 35"/>
          <p:cNvSpPr>
            <a:spLocks/>
          </p:cNvSpPr>
          <p:nvPr/>
        </p:nvSpPr>
        <p:spPr bwMode="gray">
          <a:xfrm>
            <a:off x="1836738" y="1836738"/>
            <a:ext cx="1282700" cy="1608137"/>
          </a:xfrm>
          <a:custGeom>
            <a:avLst/>
            <a:gdLst>
              <a:gd name="T0" fmla="*/ 3132 w 1638"/>
              <a:gd name="T1" fmla="*/ 89347 h 1998"/>
              <a:gd name="T2" fmla="*/ 4698 w 1638"/>
              <a:gd name="T3" fmla="*/ 70029 h 1998"/>
              <a:gd name="T4" fmla="*/ 7830 w 1638"/>
              <a:gd name="T5" fmla="*/ 64394 h 1998"/>
              <a:gd name="T6" fmla="*/ 7830 w 1638"/>
              <a:gd name="T7" fmla="*/ 57150 h 1998"/>
              <a:gd name="T8" fmla="*/ 7047 w 1638"/>
              <a:gd name="T9" fmla="*/ 45076 h 1998"/>
              <a:gd name="T10" fmla="*/ 6264 w 1638"/>
              <a:gd name="T11" fmla="*/ 32197 h 1998"/>
              <a:gd name="T12" fmla="*/ 15661 w 1638"/>
              <a:gd name="T13" fmla="*/ 24148 h 1998"/>
              <a:gd name="T14" fmla="*/ 23491 w 1638"/>
              <a:gd name="T15" fmla="*/ 15294 h 1998"/>
              <a:gd name="T16" fmla="*/ 27406 w 1638"/>
              <a:gd name="T17" fmla="*/ 1610 h 1998"/>
              <a:gd name="T18" fmla="*/ 36802 w 1638"/>
              <a:gd name="T19" fmla="*/ 1610 h 1998"/>
              <a:gd name="T20" fmla="*/ 43850 w 1638"/>
              <a:gd name="T21" fmla="*/ 5634 h 1998"/>
              <a:gd name="T22" fmla="*/ 52463 w 1638"/>
              <a:gd name="T23" fmla="*/ 4025 h 1998"/>
              <a:gd name="T24" fmla="*/ 50897 w 1638"/>
              <a:gd name="T25" fmla="*/ 12074 h 1998"/>
              <a:gd name="T26" fmla="*/ 57944 w 1638"/>
              <a:gd name="T27" fmla="*/ 19318 h 1998"/>
              <a:gd name="T28" fmla="*/ 57161 w 1638"/>
              <a:gd name="T29" fmla="*/ 26563 h 1998"/>
              <a:gd name="T30" fmla="*/ 57944 w 1638"/>
              <a:gd name="T31" fmla="*/ 35417 h 1998"/>
              <a:gd name="T32" fmla="*/ 53246 w 1638"/>
              <a:gd name="T33" fmla="*/ 36222 h 1998"/>
              <a:gd name="T34" fmla="*/ 49331 w 1638"/>
              <a:gd name="T35" fmla="*/ 40246 h 1998"/>
              <a:gd name="T36" fmla="*/ 47765 w 1638"/>
              <a:gd name="T37" fmla="*/ 49906 h 1998"/>
              <a:gd name="T38" fmla="*/ 41501 w 1638"/>
              <a:gd name="T39" fmla="*/ 69224 h 1998"/>
              <a:gd name="T40" fmla="*/ 46199 w 1638"/>
              <a:gd name="T41" fmla="*/ 72444 h 1998"/>
              <a:gd name="T42" fmla="*/ 50897 w 1638"/>
              <a:gd name="T43" fmla="*/ 69224 h 1998"/>
              <a:gd name="T44" fmla="*/ 57944 w 1638"/>
              <a:gd name="T45" fmla="*/ 67614 h 1998"/>
              <a:gd name="T46" fmla="*/ 61860 w 1638"/>
              <a:gd name="T47" fmla="*/ 68419 h 1998"/>
              <a:gd name="T48" fmla="*/ 65775 w 1638"/>
              <a:gd name="T49" fmla="*/ 67614 h 1998"/>
              <a:gd name="T50" fmla="*/ 71256 w 1638"/>
              <a:gd name="T51" fmla="*/ 67614 h 1998"/>
              <a:gd name="T52" fmla="*/ 73605 w 1638"/>
              <a:gd name="T53" fmla="*/ 65199 h 1998"/>
              <a:gd name="T54" fmla="*/ 78303 w 1638"/>
              <a:gd name="T55" fmla="*/ 65199 h 1998"/>
              <a:gd name="T56" fmla="*/ 79869 w 1638"/>
              <a:gd name="T57" fmla="*/ 67614 h 1998"/>
              <a:gd name="T58" fmla="*/ 84567 w 1638"/>
              <a:gd name="T59" fmla="*/ 68419 h 1998"/>
              <a:gd name="T60" fmla="*/ 88483 w 1638"/>
              <a:gd name="T61" fmla="*/ 70834 h 1998"/>
              <a:gd name="T62" fmla="*/ 90832 w 1638"/>
              <a:gd name="T63" fmla="*/ 70834 h 1998"/>
              <a:gd name="T64" fmla="*/ 96313 w 1638"/>
              <a:gd name="T65" fmla="*/ 70029 h 1998"/>
              <a:gd name="T66" fmla="*/ 100228 w 1638"/>
              <a:gd name="T67" fmla="*/ 69224 h 1998"/>
              <a:gd name="T68" fmla="*/ 103360 w 1638"/>
              <a:gd name="T69" fmla="*/ 72444 h 1998"/>
              <a:gd name="T70" fmla="*/ 108058 w 1638"/>
              <a:gd name="T71" fmla="*/ 77273 h 1998"/>
              <a:gd name="T72" fmla="*/ 108058 w 1638"/>
              <a:gd name="T73" fmla="*/ 88542 h 1998"/>
              <a:gd name="T74" fmla="*/ 107275 w 1638"/>
              <a:gd name="T75" fmla="*/ 94982 h 1998"/>
              <a:gd name="T76" fmla="*/ 104143 w 1638"/>
              <a:gd name="T77" fmla="*/ 99811 h 1998"/>
              <a:gd name="T78" fmla="*/ 95530 w 1638"/>
              <a:gd name="T79" fmla="*/ 100616 h 1998"/>
              <a:gd name="T80" fmla="*/ 90832 w 1638"/>
              <a:gd name="T81" fmla="*/ 102226 h 1998"/>
              <a:gd name="T82" fmla="*/ 84567 w 1638"/>
              <a:gd name="T83" fmla="*/ 99006 h 1998"/>
              <a:gd name="T84" fmla="*/ 85350 w 1638"/>
              <a:gd name="T85" fmla="*/ 95786 h 1998"/>
              <a:gd name="T86" fmla="*/ 81435 w 1638"/>
              <a:gd name="T87" fmla="*/ 83713 h 1998"/>
              <a:gd name="T88" fmla="*/ 73605 w 1638"/>
              <a:gd name="T89" fmla="*/ 84517 h 1998"/>
              <a:gd name="T90" fmla="*/ 68907 w 1638"/>
              <a:gd name="T91" fmla="*/ 87737 h 1998"/>
              <a:gd name="T92" fmla="*/ 59510 w 1638"/>
              <a:gd name="T93" fmla="*/ 86127 h 1998"/>
              <a:gd name="T94" fmla="*/ 56378 w 1638"/>
              <a:gd name="T95" fmla="*/ 91762 h 1998"/>
              <a:gd name="T96" fmla="*/ 67341 w 1638"/>
              <a:gd name="T97" fmla="*/ 97396 h 1998"/>
              <a:gd name="T98" fmla="*/ 68124 w 1638"/>
              <a:gd name="T99" fmla="*/ 103836 h 1998"/>
              <a:gd name="T100" fmla="*/ 67341 w 1638"/>
              <a:gd name="T101" fmla="*/ 110275 h 1998"/>
              <a:gd name="T102" fmla="*/ 61860 w 1638"/>
              <a:gd name="T103" fmla="*/ 113495 h 1998"/>
              <a:gd name="T104" fmla="*/ 57161 w 1638"/>
              <a:gd name="T105" fmla="*/ 115910 h 1998"/>
              <a:gd name="T106" fmla="*/ 56378 w 1638"/>
              <a:gd name="T107" fmla="*/ 132008 h 1998"/>
              <a:gd name="T108" fmla="*/ 53246 w 1638"/>
              <a:gd name="T109" fmla="*/ 138448 h 1998"/>
              <a:gd name="T110" fmla="*/ 46199 w 1638"/>
              <a:gd name="T111" fmla="*/ 132008 h 1998"/>
              <a:gd name="T112" fmla="*/ 50897 w 1638"/>
              <a:gd name="T113" fmla="*/ 117520 h 1998"/>
              <a:gd name="T114" fmla="*/ 54029 w 1638"/>
              <a:gd name="T115" fmla="*/ 107056 h 1998"/>
              <a:gd name="T116" fmla="*/ 47765 w 1638"/>
              <a:gd name="T117" fmla="*/ 105446 h 1998"/>
              <a:gd name="T118" fmla="*/ 33670 w 1638"/>
              <a:gd name="T119" fmla="*/ 100616 h 1998"/>
              <a:gd name="T120" fmla="*/ 18010 w 1638"/>
              <a:gd name="T121" fmla="*/ 100616 h 1998"/>
              <a:gd name="T122" fmla="*/ 13312 w 1638"/>
              <a:gd name="T123" fmla="*/ 97396 h 19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38"/>
              <a:gd name="T187" fmla="*/ 0 h 1998"/>
              <a:gd name="T188" fmla="*/ 1638 w 1638"/>
              <a:gd name="T189" fmla="*/ 1998 h 19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38" h="1998">
                <a:moveTo>
                  <a:pt x="144" y="1380"/>
                </a:moveTo>
                <a:lnTo>
                  <a:pt x="150" y="1368"/>
                </a:lnTo>
                <a:lnTo>
                  <a:pt x="150" y="1362"/>
                </a:lnTo>
                <a:lnTo>
                  <a:pt x="150" y="1356"/>
                </a:lnTo>
                <a:lnTo>
                  <a:pt x="144" y="1356"/>
                </a:lnTo>
                <a:lnTo>
                  <a:pt x="138" y="1356"/>
                </a:lnTo>
                <a:lnTo>
                  <a:pt x="126" y="1356"/>
                </a:lnTo>
                <a:lnTo>
                  <a:pt x="114" y="1344"/>
                </a:lnTo>
                <a:lnTo>
                  <a:pt x="84" y="1320"/>
                </a:lnTo>
                <a:lnTo>
                  <a:pt x="54" y="1296"/>
                </a:lnTo>
                <a:lnTo>
                  <a:pt x="48" y="1290"/>
                </a:lnTo>
                <a:lnTo>
                  <a:pt x="42" y="1278"/>
                </a:lnTo>
                <a:lnTo>
                  <a:pt x="30" y="1272"/>
                </a:lnTo>
                <a:lnTo>
                  <a:pt x="0" y="1248"/>
                </a:lnTo>
                <a:lnTo>
                  <a:pt x="6" y="1230"/>
                </a:lnTo>
                <a:lnTo>
                  <a:pt x="12" y="1194"/>
                </a:lnTo>
                <a:lnTo>
                  <a:pt x="18" y="1170"/>
                </a:lnTo>
                <a:lnTo>
                  <a:pt x="30" y="1134"/>
                </a:lnTo>
                <a:lnTo>
                  <a:pt x="36" y="1086"/>
                </a:lnTo>
                <a:lnTo>
                  <a:pt x="42" y="1050"/>
                </a:lnTo>
                <a:lnTo>
                  <a:pt x="48" y="1044"/>
                </a:lnTo>
                <a:lnTo>
                  <a:pt x="54" y="1026"/>
                </a:lnTo>
                <a:lnTo>
                  <a:pt x="60" y="1014"/>
                </a:lnTo>
                <a:lnTo>
                  <a:pt x="66" y="1002"/>
                </a:lnTo>
                <a:lnTo>
                  <a:pt x="66" y="996"/>
                </a:lnTo>
                <a:lnTo>
                  <a:pt x="72" y="996"/>
                </a:lnTo>
                <a:lnTo>
                  <a:pt x="72" y="990"/>
                </a:lnTo>
                <a:lnTo>
                  <a:pt x="78" y="990"/>
                </a:lnTo>
                <a:lnTo>
                  <a:pt x="90" y="978"/>
                </a:lnTo>
                <a:lnTo>
                  <a:pt x="96" y="966"/>
                </a:lnTo>
                <a:lnTo>
                  <a:pt x="102" y="966"/>
                </a:lnTo>
                <a:lnTo>
                  <a:pt x="114" y="954"/>
                </a:lnTo>
                <a:lnTo>
                  <a:pt x="120" y="954"/>
                </a:lnTo>
                <a:lnTo>
                  <a:pt x="120" y="948"/>
                </a:lnTo>
                <a:lnTo>
                  <a:pt x="114" y="930"/>
                </a:lnTo>
                <a:lnTo>
                  <a:pt x="114" y="924"/>
                </a:lnTo>
                <a:lnTo>
                  <a:pt x="108" y="918"/>
                </a:lnTo>
                <a:lnTo>
                  <a:pt x="102" y="912"/>
                </a:lnTo>
                <a:lnTo>
                  <a:pt x="90" y="906"/>
                </a:lnTo>
                <a:lnTo>
                  <a:pt x="84" y="900"/>
                </a:lnTo>
                <a:lnTo>
                  <a:pt x="84" y="888"/>
                </a:lnTo>
                <a:lnTo>
                  <a:pt x="84" y="882"/>
                </a:lnTo>
                <a:lnTo>
                  <a:pt x="78" y="858"/>
                </a:lnTo>
                <a:lnTo>
                  <a:pt x="78" y="852"/>
                </a:lnTo>
                <a:lnTo>
                  <a:pt x="84" y="846"/>
                </a:lnTo>
                <a:lnTo>
                  <a:pt x="84" y="840"/>
                </a:lnTo>
                <a:lnTo>
                  <a:pt x="96" y="828"/>
                </a:lnTo>
                <a:lnTo>
                  <a:pt x="114" y="816"/>
                </a:lnTo>
                <a:lnTo>
                  <a:pt x="114" y="810"/>
                </a:lnTo>
                <a:lnTo>
                  <a:pt x="114" y="804"/>
                </a:lnTo>
                <a:lnTo>
                  <a:pt x="108" y="780"/>
                </a:lnTo>
                <a:lnTo>
                  <a:pt x="96" y="756"/>
                </a:lnTo>
                <a:lnTo>
                  <a:pt x="96" y="750"/>
                </a:lnTo>
                <a:lnTo>
                  <a:pt x="90" y="720"/>
                </a:lnTo>
                <a:lnTo>
                  <a:pt x="90" y="708"/>
                </a:lnTo>
                <a:lnTo>
                  <a:pt x="90" y="690"/>
                </a:lnTo>
                <a:lnTo>
                  <a:pt x="96" y="672"/>
                </a:lnTo>
                <a:lnTo>
                  <a:pt x="90" y="666"/>
                </a:lnTo>
                <a:lnTo>
                  <a:pt x="96" y="666"/>
                </a:lnTo>
                <a:lnTo>
                  <a:pt x="102" y="642"/>
                </a:lnTo>
                <a:lnTo>
                  <a:pt x="108" y="624"/>
                </a:lnTo>
                <a:lnTo>
                  <a:pt x="102" y="618"/>
                </a:lnTo>
                <a:lnTo>
                  <a:pt x="102" y="588"/>
                </a:lnTo>
                <a:lnTo>
                  <a:pt x="102" y="564"/>
                </a:lnTo>
                <a:lnTo>
                  <a:pt x="102" y="546"/>
                </a:lnTo>
                <a:lnTo>
                  <a:pt x="102" y="522"/>
                </a:lnTo>
                <a:lnTo>
                  <a:pt x="96" y="522"/>
                </a:lnTo>
                <a:lnTo>
                  <a:pt x="96" y="510"/>
                </a:lnTo>
                <a:lnTo>
                  <a:pt x="96" y="498"/>
                </a:lnTo>
                <a:lnTo>
                  <a:pt x="96" y="486"/>
                </a:lnTo>
                <a:lnTo>
                  <a:pt x="96" y="474"/>
                </a:lnTo>
                <a:lnTo>
                  <a:pt x="96" y="462"/>
                </a:lnTo>
                <a:lnTo>
                  <a:pt x="114" y="450"/>
                </a:lnTo>
                <a:lnTo>
                  <a:pt x="126" y="438"/>
                </a:lnTo>
                <a:lnTo>
                  <a:pt x="132" y="432"/>
                </a:lnTo>
                <a:lnTo>
                  <a:pt x="144" y="426"/>
                </a:lnTo>
                <a:lnTo>
                  <a:pt x="144" y="420"/>
                </a:lnTo>
                <a:lnTo>
                  <a:pt x="156" y="414"/>
                </a:lnTo>
                <a:lnTo>
                  <a:pt x="162" y="408"/>
                </a:lnTo>
                <a:lnTo>
                  <a:pt x="180" y="396"/>
                </a:lnTo>
                <a:lnTo>
                  <a:pt x="210" y="372"/>
                </a:lnTo>
                <a:lnTo>
                  <a:pt x="210" y="366"/>
                </a:lnTo>
                <a:lnTo>
                  <a:pt x="216" y="360"/>
                </a:lnTo>
                <a:lnTo>
                  <a:pt x="234" y="348"/>
                </a:lnTo>
                <a:lnTo>
                  <a:pt x="240" y="348"/>
                </a:lnTo>
                <a:lnTo>
                  <a:pt x="246" y="342"/>
                </a:lnTo>
                <a:lnTo>
                  <a:pt x="276" y="318"/>
                </a:lnTo>
                <a:lnTo>
                  <a:pt x="282" y="312"/>
                </a:lnTo>
                <a:lnTo>
                  <a:pt x="288" y="306"/>
                </a:lnTo>
                <a:lnTo>
                  <a:pt x="300" y="288"/>
                </a:lnTo>
                <a:lnTo>
                  <a:pt x="306" y="276"/>
                </a:lnTo>
                <a:lnTo>
                  <a:pt x="324" y="246"/>
                </a:lnTo>
                <a:lnTo>
                  <a:pt x="330" y="240"/>
                </a:lnTo>
                <a:lnTo>
                  <a:pt x="336" y="234"/>
                </a:lnTo>
                <a:lnTo>
                  <a:pt x="342" y="228"/>
                </a:lnTo>
                <a:lnTo>
                  <a:pt x="342" y="216"/>
                </a:lnTo>
                <a:lnTo>
                  <a:pt x="354" y="204"/>
                </a:lnTo>
                <a:lnTo>
                  <a:pt x="360" y="204"/>
                </a:lnTo>
                <a:lnTo>
                  <a:pt x="366" y="186"/>
                </a:lnTo>
                <a:lnTo>
                  <a:pt x="384" y="162"/>
                </a:lnTo>
                <a:lnTo>
                  <a:pt x="390" y="144"/>
                </a:lnTo>
                <a:lnTo>
                  <a:pt x="396" y="114"/>
                </a:lnTo>
                <a:lnTo>
                  <a:pt x="396" y="102"/>
                </a:lnTo>
                <a:lnTo>
                  <a:pt x="402" y="90"/>
                </a:lnTo>
                <a:lnTo>
                  <a:pt x="408" y="66"/>
                </a:lnTo>
                <a:lnTo>
                  <a:pt x="408" y="60"/>
                </a:lnTo>
                <a:lnTo>
                  <a:pt x="408" y="36"/>
                </a:lnTo>
                <a:lnTo>
                  <a:pt x="408" y="24"/>
                </a:lnTo>
                <a:lnTo>
                  <a:pt x="408" y="6"/>
                </a:lnTo>
                <a:lnTo>
                  <a:pt x="420" y="0"/>
                </a:lnTo>
                <a:lnTo>
                  <a:pt x="432" y="0"/>
                </a:lnTo>
                <a:lnTo>
                  <a:pt x="438" y="0"/>
                </a:lnTo>
                <a:lnTo>
                  <a:pt x="468" y="0"/>
                </a:lnTo>
                <a:lnTo>
                  <a:pt x="480" y="0"/>
                </a:lnTo>
                <a:lnTo>
                  <a:pt x="492" y="0"/>
                </a:lnTo>
                <a:lnTo>
                  <a:pt x="498" y="0"/>
                </a:lnTo>
                <a:lnTo>
                  <a:pt x="504" y="6"/>
                </a:lnTo>
                <a:lnTo>
                  <a:pt x="510" y="12"/>
                </a:lnTo>
                <a:lnTo>
                  <a:pt x="528" y="18"/>
                </a:lnTo>
                <a:lnTo>
                  <a:pt x="534" y="18"/>
                </a:lnTo>
                <a:lnTo>
                  <a:pt x="540" y="18"/>
                </a:lnTo>
                <a:lnTo>
                  <a:pt x="546" y="24"/>
                </a:lnTo>
                <a:lnTo>
                  <a:pt x="552" y="24"/>
                </a:lnTo>
                <a:lnTo>
                  <a:pt x="558" y="36"/>
                </a:lnTo>
                <a:lnTo>
                  <a:pt x="588" y="54"/>
                </a:lnTo>
                <a:lnTo>
                  <a:pt x="594" y="48"/>
                </a:lnTo>
                <a:lnTo>
                  <a:pt x="600" y="48"/>
                </a:lnTo>
                <a:lnTo>
                  <a:pt x="600" y="60"/>
                </a:lnTo>
                <a:lnTo>
                  <a:pt x="606" y="60"/>
                </a:lnTo>
                <a:lnTo>
                  <a:pt x="612" y="66"/>
                </a:lnTo>
                <a:lnTo>
                  <a:pt x="630" y="72"/>
                </a:lnTo>
                <a:lnTo>
                  <a:pt x="642" y="78"/>
                </a:lnTo>
                <a:lnTo>
                  <a:pt x="666" y="78"/>
                </a:lnTo>
                <a:lnTo>
                  <a:pt x="672" y="72"/>
                </a:lnTo>
                <a:lnTo>
                  <a:pt x="690" y="84"/>
                </a:lnTo>
                <a:lnTo>
                  <a:pt x="690" y="90"/>
                </a:lnTo>
                <a:lnTo>
                  <a:pt x="708" y="96"/>
                </a:lnTo>
                <a:lnTo>
                  <a:pt x="708" y="102"/>
                </a:lnTo>
                <a:lnTo>
                  <a:pt x="744" y="96"/>
                </a:lnTo>
                <a:lnTo>
                  <a:pt x="756" y="78"/>
                </a:lnTo>
                <a:lnTo>
                  <a:pt x="756" y="72"/>
                </a:lnTo>
                <a:lnTo>
                  <a:pt x="762" y="66"/>
                </a:lnTo>
                <a:lnTo>
                  <a:pt x="768" y="60"/>
                </a:lnTo>
                <a:lnTo>
                  <a:pt x="774" y="54"/>
                </a:lnTo>
                <a:lnTo>
                  <a:pt x="786" y="54"/>
                </a:lnTo>
                <a:lnTo>
                  <a:pt x="786" y="60"/>
                </a:lnTo>
                <a:lnTo>
                  <a:pt x="786" y="66"/>
                </a:lnTo>
                <a:lnTo>
                  <a:pt x="786" y="72"/>
                </a:lnTo>
                <a:lnTo>
                  <a:pt x="786" y="78"/>
                </a:lnTo>
                <a:lnTo>
                  <a:pt x="792" y="90"/>
                </a:lnTo>
                <a:lnTo>
                  <a:pt x="780" y="102"/>
                </a:lnTo>
                <a:lnTo>
                  <a:pt x="774" y="108"/>
                </a:lnTo>
                <a:lnTo>
                  <a:pt x="774" y="114"/>
                </a:lnTo>
                <a:lnTo>
                  <a:pt x="780" y="126"/>
                </a:lnTo>
                <a:lnTo>
                  <a:pt x="768" y="150"/>
                </a:lnTo>
                <a:lnTo>
                  <a:pt x="750" y="168"/>
                </a:lnTo>
                <a:lnTo>
                  <a:pt x="750" y="174"/>
                </a:lnTo>
                <a:lnTo>
                  <a:pt x="762" y="192"/>
                </a:lnTo>
                <a:lnTo>
                  <a:pt x="774" y="210"/>
                </a:lnTo>
                <a:lnTo>
                  <a:pt x="792" y="228"/>
                </a:lnTo>
                <a:lnTo>
                  <a:pt x="804" y="240"/>
                </a:lnTo>
                <a:lnTo>
                  <a:pt x="822" y="246"/>
                </a:lnTo>
                <a:lnTo>
                  <a:pt x="828" y="252"/>
                </a:lnTo>
                <a:lnTo>
                  <a:pt x="840" y="252"/>
                </a:lnTo>
                <a:lnTo>
                  <a:pt x="834" y="252"/>
                </a:lnTo>
                <a:lnTo>
                  <a:pt x="846" y="252"/>
                </a:lnTo>
                <a:lnTo>
                  <a:pt x="852" y="270"/>
                </a:lnTo>
                <a:lnTo>
                  <a:pt x="858" y="282"/>
                </a:lnTo>
                <a:lnTo>
                  <a:pt x="858" y="288"/>
                </a:lnTo>
                <a:lnTo>
                  <a:pt x="864" y="300"/>
                </a:lnTo>
                <a:lnTo>
                  <a:pt x="864" y="312"/>
                </a:lnTo>
                <a:lnTo>
                  <a:pt x="864" y="318"/>
                </a:lnTo>
                <a:lnTo>
                  <a:pt x="858" y="318"/>
                </a:lnTo>
                <a:lnTo>
                  <a:pt x="852" y="318"/>
                </a:lnTo>
                <a:lnTo>
                  <a:pt x="846" y="324"/>
                </a:lnTo>
                <a:lnTo>
                  <a:pt x="846" y="336"/>
                </a:lnTo>
                <a:lnTo>
                  <a:pt x="840" y="348"/>
                </a:lnTo>
                <a:lnTo>
                  <a:pt x="840" y="360"/>
                </a:lnTo>
                <a:lnTo>
                  <a:pt x="840" y="372"/>
                </a:lnTo>
                <a:lnTo>
                  <a:pt x="840" y="378"/>
                </a:lnTo>
                <a:lnTo>
                  <a:pt x="846" y="402"/>
                </a:lnTo>
                <a:lnTo>
                  <a:pt x="858" y="420"/>
                </a:lnTo>
                <a:lnTo>
                  <a:pt x="882" y="426"/>
                </a:lnTo>
                <a:lnTo>
                  <a:pt x="888" y="444"/>
                </a:lnTo>
                <a:lnTo>
                  <a:pt x="900" y="444"/>
                </a:lnTo>
                <a:lnTo>
                  <a:pt x="900" y="462"/>
                </a:lnTo>
                <a:lnTo>
                  <a:pt x="894" y="474"/>
                </a:lnTo>
                <a:lnTo>
                  <a:pt x="888" y="486"/>
                </a:lnTo>
                <a:lnTo>
                  <a:pt x="882" y="492"/>
                </a:lnTo>
                <a:lnTo>
                  <a:pt x="870" y="504"/>
                </a:lnTo>
                <a:lnTo>
                  <a:pt x="852" y="504"/>
                </a:lnTo>
                <a:lnTo>
                  <a:pt x="852" y="510"/>
                </a:lnTo>
                <a:lnTo>
                  <a:pt x="852" y="516"/>
                </a:lnTo>
                <a:lnTo>
                  <a:pt x="846" y="528"/>
                </a:lnTo>
                <a:lnTo>
                  <a:pt x="846" y="582"/>
                </a:lnTo>
                <a:lnTo>
                  <a:pt x="840" y="582"/>
                </a:lnTo>
                <a:lnTo>
                  <a:pt x="834" y="582"/>
                </a:lnTo>
                <a:lnTo>
                  <a:pt x="828" y="582"/>
                </a:lnTo>
                <a:lnTo>
                  <a:pt x="822" y="582"/>
                </a:lnTo>
                <a:lnTo>
                  <a:pt x="810" y="582"/>
                </a:lnTo>
                <a:lnTo>
                  <a:pt x="810" y="528"/>
                </a:lnTo>
                <a:lnTo>
                  <a:pt x="792" y="528"/>
                </a:lnTo>
                <a:lnTo>
                  <a:pt x="792" y="522"/>
                </a:lnTo>
                <a:lnTo>
                  <a:pt x="786" y="522"/>
                </a:lnTo>
                <a:lnTo>
                  <a:pt x="786" y="516"/>
                </a:lnTo>
                <a:lnTo>
                  <a:pt x="780" y="516"/>
                </a:lnTo>
                <a:lnTo>
                  <a:pt x="780" y="510"/>
                </a:lnTo>
                <a:lnTo>
                  <a:pt x="762" y="510"/>
                </a:lnTo>
                <a:lnTo>
                  <a:pt x="756" y="510"/>
                </a:lnTo>
                <a:lnTo>
                  <a:pt x="750" y="522"/>
                </a:lnTo>
                <a:lnTo>
                  <a:pt x="744" y="534"/>
                </a:lnTo>
                <a:lnTo>
                  <a:pt x="732" y="540"/>
                </a:lnTo>
                <a:lnTo>
                  <a:pt x="732" y="558"/>
                </a:lnTo>
                <a:lnTo>
                  <a:pt x="732" y="564"/>
                </a:lnTo>
                <a:lnTo>
                  <a:pt x="732" y="570"/>
                </a:lnTo>
                <a:lnTo>
                  <a:pt x="726" y="576"/>
                </a:lnTo>
                <a:lnTo>
                  <a:pt x="720" y="576"/>
                </a:lnTo>
                <a:lnTo>
                  <a:pt x="714" y="582"/>
                </a:lnTo>
                <a:lnTo>
                  <a:pt x="702" y="588"/>
                </a:lnTo>
                <a:lnTo>
                  <a:pt x="696" y="594"/>
                </a:lnTo>
                <a:lnTo>
                  <a:pt x="690" y="600"/>
                </a:lnTo>
                <a:lnTo>
                  <a:pt x="690" y="606"/>
                </a:lnTo>
                <a:lnTo>
                  <a:pt x="678" y="606"/>
                </a:lnTo>
                <a:lnTo>
                  <a:pt x="678" y="624"/>
                </a:lnTo>
                <a:lnTo>
                  <a:pt x="684" y="642"/>
                </a:lnTo>
                <a:lnTo>
                  <a:pt x="684" y="660"/>
                </a:lnTo>
                <a:lnTo>
                  <a:pt x="690" y="672"/>
                </a:lnTo>
                <a:lnTo>
                  <a:pt x="702" y="720"/>
                </a:lnTo>
                <a:lnTo>
                  <a:pt x="708" y="750"/>
                </a:lnTo>
                <a:lnTo>
                  <a:pt x="708" y="792"/>
                </a:lnTo>
                <a:lnTo>
                  <a:pt x="708" y="828"/>
                </a:lnTo>
                <a:lnTo>
                  <a:pt x="708" y="852"/>
                </a:lnTo>
                <a:lnTo>
                  <a:pt x="696" y="894"/>
                </a:lnTo>
                <a:lnTo>
                  <a:pt x="702" y="900"/>
                </a:lnTo>
                <a:lnTo>
                  <a:pt x="708" y="924"/>
                </a:lnTo>
                <a:lnTo>
                  <a:pt x="684" y="936"/>
                </a:lnTo>
                <a:lnTo>
                  <a:pt x="660" y="954"/>
                </a:lnTo>
                <a:lnTo>
                  <a:pt x="618" y="984"/>
                </a:lnTo>
                <a:lnTo>
                  <a:pt x="618" y="990"/>
                </a:lnTo>
                <a:lnTo>
                  <a:pt x="612" y="996"/>
                </a:lnTo>
                <a:lnTo>
                  <a:pt x="606" y="1002"/>
                </a:lnTo>
                <a:lnTo>
                  <a:pt x="618" y="1008"/>
                </a:lnTo>
                <a:lnTo>
                  <a:pt x="618" y="1014"/>
                </a:lnTo>
                <a:lnTo>
                  <a:pt x="624" y="1026"/>
                </a:lnTo>
                <a:lnTo>
                  <a:pt x="630" y="1026"/>
                </a:lnTo>
                <a:lnTo>
                  <a:pt x="636" y="1032"/>
                </a:lnTo>
                <a:lnTo>
                  <a:pt x="642" y="1032"/>
                </a:lnTo>
                <a:lnTo>
                  <a:pt x="642" y="1038"/>
                </a:lnTo>
                <a:lnTo>
                  <a:pt x="648" y="1044"/>
                </a:lnTo>
                <a:lnTo>
                  <a:pt x="666" y="1050"/>
                </a:lnTo>
                <a:lnTo>
                  <a:pt x="678" y="1038"/>
                </a:lnTo>
                <a:lnTo>
                  <a:pt x="684" y="1038"/>
                </a:lnTo>
                <a:lnTo>
                  <a:pt x="684" y="1032"/>
                </a:lnTo>
                <a:lnTo>
                  <a:pt x="690" y="1032"/>
                </a:lnTo>
                <a:lnTo>
                  <a:pt x="690" y="1026"/>
                </a:lnTo>
                <a:lnTo>
                  <a:pt x="696" y="1020"/>
                </a:lnTo>
                <a:lnTo>
                  <a:pt x="708" y="1014"/>
                </a:lnTo>
                <a:lnTo>
                  <a:pt x="720" y="1020"/>
                </a:lnTo>
                <a:lnTo>
                  <a:pt x="720" y="1014"/>
                </a:lnTo>
                <a:lnTo>
                  <a:pt x="726" y="1008"/>
                </a:lnTo>
                <a:lnTo>
                  <a:pt x="732" y="1008"/>
                </a:lnTo>
                <a:lnTo>
                  <a:pt x="738" y="1008"/>
                </a:lnTo>
                <a:lnTo>
                  <a:pt x="744" y="1002"/>
                </a:lnTo>
                <a:lnTo>
                  <a:pt x="744" y="996"/>
                </a:lnTo>
                <a:lnTo>
                  <a:pt x="750" y="996"/>
                </a:lnTo>
                <a:lnTo>
                  <a:pt x="756" y="1002"/>
                </a:lnTo>
                <a:lnTo>
                  <a:pt x="762" y="1002"/>
                </a:lnTo>
                <a:lnTo>
                  <a:pt x="768" y="996"/>
                </a:lnTo>
                <a:lnTo>
                  <a:pt x="780" y="996"/>
                </a:lnTo>
                <a:lnTo>
                  <a:pt x="786" y="996"/>
                </a:lnTo>
                <a:lnTo>
                  <a:pt x="816" y="990"/>
                </a:lnTo>
                <a:lnTo>
                  <a:pt x="828" y="990"/>
                </a:lnTo>
                <a:lnTo>
                  <a:pt x="834" y="990"/>
                </a:lnTo>
                <a:lnTo>
                  <a:pt x="840" y="984"/>
                </a:lnTo>
                <a:lnTo>
                  <a:pt x="852" y="978"/>
                </a:lnTo>
                <a:lnTo>
                  <a:pt x="852" y="972"/>
                </a:lnTo>
                <a:lnTo>
                  <a:pt x="858" y="972"/>
                </a:lnTo>
                <a:lnTo>
                  <a:pt x="864" y="966"/>
                </a:lnTo>
                <a:lnTo>
                  <a:pt x="870" y="966"/>
                </a:lnTo>
                <a:lnTo>
                  <a:pt x="876" y="966"/>
                </a:lnTo>
                <a:lnTo>
                  <a:pt x="882" y="960"/>
                </a:lnTo>
                <a:lnTo>
                  <a:pt x="888" y="960"/>
                </a:lnTo>
                <a:lnTo>
                  <a:pt x="894" y="960"/>
                </a:lnTo>
                <a:lnTo>
                  <a:pt x="894" y="966"/>
                </a:lnTo>
                <a:lnTo>
                  <a:pt x="894" y="978"/>
                </a:lnTo>
                <a:lnTo>
                  <a:pt x="894" y="984"/>
                </a:lnTo>
                <a:lnTo>
                  <a:pt x="900" y="984"/>
                </a:lnTo>
                <a:lnTo>
                  <a:pt x="906" y="978"/>
                </a:lnTo>
                <a:lnTo>
                  <a:pt x="912" y="972"/>
                </a:lnTo>
                <a:lnTo>
                  <a:pt x="918" y="978"/>
                </a:lnTo>
                <a:lnTo>
                  <a:pt x="924" y="978"/>
                </a:lnTo>
                <a:lnTo>
                  <a:pt x="924" y="972"/>
                </a:lnTo>
                <a:lnTo>
                  <a:pt x="924" y="966"/>
                </a:lnTo>
                <a:lnTo>
                  <a:pt x="930" y="966"/>
                </a:lnTo>
                <a:lnTo>
                  <a:pt x="948" y="966"/>
                </a:lnTo>
                <a:lnTo>
                  <a:pt x="954" y="966"/>
                </a:lnTo>
                <a:lnTo>
                  <a:pt x="954" y="960"/>
                </a:lnTo>
                <a:lnTo>
                  <a:pt x="960" y="960"/>
                </a:lnTo>
                <a:lnTo>
                  <a:pt x="966" y="960"/>
                </a:lnTo>
                <a:lnTo>
                  <a:pt x="966" y="966"/>
                </a:lnTo>
                <a:lnTo>
                  <a:pt x="978" y="972"/>
                </a:lnTo>
                <a:lnTo>
                  <a:pt x="978" y="978"/>
                </a:lnTo>
                <a:lnTo>
                  <a:pt x="978" y="984"/>
                </a:lnTo>
                <a:lnTo>
                  <a:pt x="984" y="978"/>
                </a:lnTo>
                <a:lnTo>
                  <a:pt x="990" y="978"/>
                </a:lnTo>
                <a:lnTo>
                  <a:pt x="996" y="984"/>
                </a:lnTo>
                <a:lnTo>
                  <a:pt x="1002" y="990"/>
                </a:lnTo>
                <a:lnTo>
                  <a:pt x="1008" y="972"/>
                </a:lnTo>
                <a:lnTo>
                  <a:pt x="1026" y="972"/>
                </a:lnTo>
                <a:lnTo>
                  <a:pt x="1032" y="972"/>
                </a:lnTo>
                <a:lnTo>
                  <a:pt x="1038" y="972"/>
                </a:lnTo>
                <a:lnTo>
                  <a:pt x="1050" y="972"/>
                </a:lnTo>
                <a:lnTo>
                  <a:pt x="1056" y="972"/>
                </a:lnTo>
                <a:lnTo>
                  <a:pt x="1062" y="966"/>
                </a:lnTo>
                <a:lnTo>
                  <a:pt x="1074" y="966"/>
                </a:lnTo>
                <a:lnTo>
                  <a:pt x="1074" y="960"/>
                </a:lnTo>
                <a:lnTo>
                  <a:pt x="1080" y="954"/>
                </a:lnTo>
                <a:lnTo>
                  <a:pt x="1080" y="948"/>
                </a:lnTo>
                <a:lnTo>
                  <a:pt x="1074" y="948"/>
                </a:lnTo>
                <a:lnTo>
                  <a:pt x="1068" y="948"/>
                </a:lnTo>
                <a:lnTo>
                  <a:pt x="1062" y="942"/>
                </a:lnTo>
                <a:lnTo>
                  <a:pt x="1068" y="936"/>
                </a:lnTo>
                <a:lnTo>
                  <a:pt x="1074" y="936"/>
                </a:lnTo>
                <a:lnTo>
                  <a:pt x="1080" y="936"/>
                </a:lnTo>
                <a:lnTo>
                  <a:pt x="1086" y="942"/>
                </a:lnTo>
                <a:lnTo>
                  <a:pt x="1092" y="942"/>
                </a:lnTo>
                <a:lnTo>
                  <a:pt x="1098" y="948"/>
                </a:lnTo>
                <a:lnTo>
                  <a:pt x="1104" y="954"/>
                </a:lnTo>
                <a:lnTo>
                  <a:pt x="1110" y="954"/>
                </a:lnTo>
                <a:lnTo>
                  <a:pt x="1116" y="948"/>
                </a:lnTo>
                <a:lnTo>
                  <a:pt x="1122" y="942"/>
                </a:lnTo>
                <a:lnTo>
                  <a:pt x="1128" y="942"/>
                </a:lnTo>
                <a:lnTo>
                  <a:pt x="1134" y="942"/>
                </a:lnTo>
                <a:lnTo>
                  <a:pt x="1140" y="948"/>
                </a:lnTo>
                <a:lnTo>
                  <a:pt x="1146" y="942"/>
                </a:lnTo>
                <a:lnTo>
                  <a:pt x="1152" y="942"/>
                </a:lnTo>
                <a:lnTo>
                  <a:pt x="1152" y="930"/>
                </a:lnTo>
                <a:lnTo>
                  <a:pt x="1164" y="936"/>
                </a:lnTo>
                <a:lnTo>
                  <a:pt x="1158" y="942"/>
                </a:lnTo>
                <a:lnTo>
                  <a:pt x="1158" y="948"/>
                </a:lnTo>
                <a:lnTo>
                  <a:pt x="1146" y="954"/>
                </a:lnTo>
                <a:lnTo>
                  <a:pt x="1152" y="954"/>
                </a:lnTo>
                <a:lnTo>
                  <a:pt x="1158" y="954"/>
                </a:lnTo>
                <a:lnTo>
                  <a:pt x="1158" y="948"/>
                </a:lnTo>
                <a:lnTo>
                  <a:pt x="1164" y="948"/>
                </a:lnTo>
                <a:lnTo>
                  <a:pt x="1170" y="948"/>
                </a:lnTo>
                <a:lnTo>
                  <a:pt x="1176" y="954"/>
                </a:lnTo>
                <a:lnTo>
                  <a:pt x="1176" y="966"/>
                </a:lnTo>
                <a:lnTo>
                  <a:pt x="1182" y="972"/>
                </a:lnTo>
                <a:lnTo>
                  <a:pt x="1188" y="972"/>
                </a:lnTo>
                <a:lnTo>
                  <a:pt x="1182" y="984"/>
                </a:lnTo>
                <a:lnTo>
                  <a:pt x="1188" y="984"/>
                </a:lnTo>
                <a:lnTo>
                  <a:pt x="1194" y="984"/>
                </a:lnTo>
                <a:lnTo>
                  <a:pt x="1200" y="984"/>
                </a:lnTo>
                <a:lnTo>
                  <a:pt x="1212" y="984"/>
                </a:lnTo>
                <a:lnTo>
                  <a:pt x="1218" y="990"/>
                </a:lnTo>
                <a:lnTo>
                  <a:pt x="1224" y="990"/>
                </a:lnTo>
                <a:lnTo>
                  <a:pt x="1224" y="984"/>
                </a:lnTo>
                <a:lnTo>
                  <a:pt x="1230" y="990"/>
                </a:lnTo>
                <a:lnTo>
                  <a:pt x="1236" y="984"/>
                </a:lnTo>
                <a:lnTo>
                  <a:pt x="1242" y="984"/>
                </a:lnTo>
                <a:lnTo>
                  <a:pt x="1248" y="990"/>
                </a:lnTo>
                <a:lnTo>
                  <a:pt x="1254" y="990"/>
                </a:lnTo>
                <a:lnTo>
                  <a:pt x="1254" y="996"/>
                </a:lnTo>
                <a:lnTo>
                  <a:pt x="1254" y="1002"/>
                </a:lnTo>
                <a:lnTo>
                  <a:pt x="1254" y="1008"/>
                </a:lnTo>
                <a:lnTo>
                  <a:pt x="1260" y="1014"/>
                </a:lnTo>
                <a:lnTo>
                  <a:pt x="1266" y="1014"/>
                </a:lnTo>
                <a:lnTo>
                  <a:pt x="1272" y="1014"/>
                </a:lnTo>
                <a:lnTo>
                  <a:pt x="1278" y="1020"/>
                </a:lnTo>
                <a:lnTo>
                  <a:pt x="1284" y="1020"/>
                </a:lnTo>
                <a:lnTo>
                  <a:pt x="1290" y="1014"/>
                </a:lnTo>
                <a:lnTo>
                  <a:pt x="1290" y="1008"/>
                </a:lnTo>
                <a:lnTo>
                  <a:pt x="1296" y="1008"/>
                </a:lnTo>
                <a:lnTo>
                  <a:pt x="1302" y="1014"/>
                </a:lnTo>
                <a:lnTo>
                  <a:pt x="1308" y="1014"/>
                </a:lnTo>
                <a:lnTo>
                  <a:pt x="1314" y="1008"/>
                </a:lnTo>
                <a:lnTo>
                  <a:pt x="1320" y="1008"/>
                </a:lnTo>
                <a:lnTo>
                  <a:pt x="1320" y="1002"/>
                </a:lnTo>
                <a:lnTo>
                  <a:pt x="1320" y="996"/>
                </a:lnTo>
                <a:lnTo>
                  <a:pt x="1332" y="1002"/>
                </a:lnTo>
                <a:lnTo>
                  <a:pt x="1332" y="1008"/>
                </a:lnTo>
                <a:lnTo>
                  <a:pt x="1326" y="1014"/>
                </a:lnTo>
                <a:lnTo>
                  <a:pt x="1332" y="1014"/>
                </a:lnTo>
                <a:lnTo>
                  <a:pt x="1338" y="1014"/>
                </a:lnTo>
                <a:lnTo>
                  <a:pt x="1338" y="1008"/>
                </a:lnTo>
                <a:lnTo>
                  <a:pt x="1344" y="1008"/>
                </a:lnTo>
                <a:lnTo>
                  <a:pt x="1350" y="1008"/>
                </a:lnTo>
                <a:lnTo>
                  <a:pt x="1356" y="1014"/>
                </a:lnTo>
                <a:lnTo>
                  <a:pt x="1356" y="1008"/>
                </a:lnTo>
                <a:lnTo>
                  <a:pt x="1362" y="1014"/>
                </a:lnTo>
                <a:lnTo>
                  <a:pt x="1392" y="1014"/>
                </a:lnTo>
                <a:lnTo>
                  <a:pt x="1398" y="1014"/>
                </a:lnTo>
                <a:lnTo>
                  <a:pt x="1404" y="1008"/>
                </a:lnTo>
                <a:lnTo>
                  <a:pt x="1404" y="1014"/>
                </a:lnTo>
                <a:lnTo>
                  <a:pt x="1410" y="1008"/>
                </a:lnTo>
                <a:lnTo>
                  <a:pt x="1416" y="1008"/>
                </a:lnTo>
                <a:lnTo>
                  <a:pt x="1422" y="1002"/>
                </a:lnTo>
                <a:lnTo>
                  <a:pt x="1428" y="1002"/>
                </a:lnTo>
                <a:lnTo>
                  <a:pt x="1428" y="996"/>
                </a:lnTo>
                <a:lnTo>
                  <a:pt x="1428" y="990"/>
                </a:lnTo>
                <a:lnTo>
                  <a:pt x="1440" y="1002"/>
                </a:lnTo>
                <a:lnTo>
                  <a:pt x="1446" y="1002"/>
                </a:lnTo>
                <a:lnTo>
                  <a:pt x="1452" y="1002"/>
                </a:lnTo>
                <a:lnTo>
                  <a:pt x="1446" y="996"/>
                </a:lnTo>
                <a:lnTo>
                  <a:pt x="1452" y="996"/>
                </a:lnTo>
                <a:lnTo>
                  <a:pt x="1458" y="996"/>
                </a:lnTo>
                <a:lnTo>
                  <a:pt x="1464" y="996"/>
                </a:lnTo>
                <a:lnTo>
                  <a:pt x="1464" y="1002"/>
                </a:lnTo>
                <a:lnTo>
                  <a:pt x="1476" y="1014"/>
                </a:lnTo>
                <a:lnTo>
                  <a:pt x="1476" y="1008"/>
                </a:lnTo>
                <a:lnTo>
                  <a:pt x="1482" y="1008"/>
                </a:lnTo>
                <a:lnTo>
                  <a:pt x="1488" y="1020"/>
                </a:lnTo>
                <a:lnTo>
                  <a:pt x="1494" y="1020"/>
                </a:lnTo>
                <a:lnTo>
                  <a:pt x="1500" y="1014"/>
                </a:lnTo>
                <a:lnTo>
                  <a:pt x="1500" y="1020"/>
                </a:lnTo>
                <a:lnTo>
                  <a:pt x="1506" y="1026"/>
                </a:lnTo>
                <a:lnTo>
                  <a:pt x="1512" y="1032"/>
                </a:lnTo>
                <a:lnTo>
                  <a:pt x="1518" y="1032"/>
                </a:lnTo>
                <a:lnTo>
                  <a:pt x="1518" y="1038"/>
                </a:lnTo>
                <a:lnTo>
                  <a:pt x="1518" y="1044"/>
                </a:lnTo>
                <a:lnTo>
                  <a:pt x="1524" y="1044"/>
                </a:lnTo>
                <a:lnTo>
                  <a:pt x="1524" y="1050"/>
                </a:lnTo>
                <a:lnTo>
                  <a:pt x="1530" y="1056"/>
                </a:lnTo>
                <a:lnTo>
                  <a:pt x="1548" y="1062"/>
                </a:lnTo>
                <a:lnTo>
                  <a:pt x="1560" y="1074"/>
                </a:lnTo>
                <a:lnTo>
                  <a:pt x="1560" y="1080"/>
                </a:lnTo>
                <a:lnTo>
                  <a:pt x="1560" y="1086"/>
                </a:lnTo>
                <a:lnTo>
                  <a:pt x="1566" y="1086"/>
                </a:lnTo>
                <a:lnTo>
                  <a:pt x="1572" y="1098"/>
                </a:lnTo>
                <a:lnTo>
                  <a:pt x="1572" y="1104"/>
                </a:lnTo>
                <a:lnTo>
                  <a:pt x="1584" y="1110"/>
                </a:lnTo>
                <a:lnTo>
                  <a:pt x="1590" y="1116"/>
                </a:lnTo>
                <a:lnTo>
                  <a:pt x="1596" y="1116"/>
                </a:lnTo>
                <a:lnTo>
                  <a:pt x="1608" y="1122"/>
                </a:lnTo>
                <a:lnTo>
                  <a:pt x="1620" y="1140"/>
                </a:lnTo>
                <a:lnTo>
                  <a:pt x="1626" y="1158"/>
                </a:lnTo>
                <a:lnTo>
                  <a:pt x="1638" y="1200"/>
                </a:lnTo>
                <a:lnTo>
                  <a:pt x="1638" y="1218"/>
                </a:lnTo>
                <a:lnTo>
                  <a:pt x="1620" y="1230"/>
                </a:lnTo>
                <a:lnTo>
                  <a:pt x="1554" y="1230"/>
                </a:lnTo>
                <a:lnTo>
                  <a:pt x="1560" y="1248"/>
                </a:lnTo>
                <a:lnTo>
                  <a:pt x="1584" y="1260"/>
                </a:lnTo>
                <a:lnTo>
                  <a:pt x="1584" y="1266"/>
                </a:lnTo>
                <a:lnTo>
                  <a:pt x="1578" y="1272"/>
                </a:lnTo>
                <a:lnTo>
                  <a:pt x="1572" y="1272"/>
                </a:lnTo>
                <a:lnTo>
                  <a:pt x="1566" y="1278"/>
                </a:lnTo>
                <a:lnTo>
                  <a:pt x="1566" y="1284"/>
                </a:lnTo>
                <a:lnTo>
                  <a:pt x="1560" y="1290"/>
                </a:lnTo>
                <a:lnTo>
                  <a:pt x="1554" y="1290"/>
                </a:lnTo>
                <a:lnTo>
                  <a:pt x="1554" y="1296"/>
                </a:lnTo>
                <a:lnTo>
                  <a:pt x="1554" y="1302"/>
                </a:lnTo>
                <a:lnTo>
                  <a:pt x="1560" y="1332"/>
                </a:lnTo>
                <a:lnTo>
                  <a:pt x="1566" y="1356"/>
                </a:lnTo>
                <a:lnTo>
                  <a:pt x="1572" y="1356"/>
                </a:lnTo>
                <a:lnTo>
                  <a:pt x="1572" y="1362"/>
                </a:lnTo>
                <a:lnTo>
                  <a:pt x="1578" y="1362"/>
                </a:lnTo>
                <a:lnTo>
                  <a:pt x="1560" y="1374"/>
                </a:lnTo>
                <a:lnTo>
                  <a:pt x="1560" y="1380"/>
                </a:lnTo>
                <a:lnTo>
                  <a:pt x="1548" y="1380"/>
                </a:lnTo>
                <a:lnTo>
                  <a:pt x="1548" y="1386"/>
                </a:lnTo>
                <a:lnTo>
                  <a:pt x="1548" y="1392"/>
                </a:lnTo>
                <a:lnTo>
                  <a:pt x="1542" y="1410"/>
                </a:lnTo>
                <a:lnTo>
                  <a:pt x="1536" y="1422"/>
                </a:lnTo>
                <a:lnTo>
                  <a:pt x="1536" y="1428"/>
                </a:lnTo>
                <a:lnTo>
                  <a:pt x="1530" y="1440"/>
                </a:lnTo>
                <a:lnTo>
                  <a:pt x="1524" y="1434"/>
                </a:lnTo>
                <a:lnTo>
                  <a:pt x="1524" y="1428"/>
                </a:lnTo>
                <a:lnTo>
                  <a:pt x="1524" y="1422"/>
                </a:lnTo>
                <a:lnTo>
                  <a:pt x="1512" y="1410"/>
                </a:lnTo>
                <a:lnTo>
                  <a:pt x="1506" y="1404"/>
                </a:lnTo>
                <a:lnTo>
                  <a:pt x="1506" y="1398"/>
                </a:lnTo>
                <a:lnTo>
                  <a:pt x="1494" y="1392"/>
                </a:lnTo>
                <a:lnTo>
                  <a:pt x="1476" y="1404"/>
                </a:lnTo>
                <a:lnTo>
                  <a:pt x="1464" y="1416"/>
                </a:lnTo>
                <a:lnTo>
                  <a:pt x="1458" y="1428"/>
                </a:lnTo>
                <a:lnTo>
                  <a:pt x="1446" y="1434"/>
                </a:lnTo>
                <a:lnTo>
                  <a:pt x="1410" y="1440"/>
                </a:lnTo>
                <a:lnTo>
                  <a:pt x="1398" y="1440"/>
                </a:lnTo>
                <a:lnTo>
                  <a:pt x="1398" y="1446"/>
                </a:lnTo>
                <a:lnTo>
                  <a:pt x="1386" y="1446"/>
                </a:lnTo>
                <a:lnTo>
                  <a:pt x="1380" y="1440"/>
                </a:lnTo>
                <a:lnTo>
                  <a:pt x="1368" y="1440"/>
                </a:lnTo>
                <a:lnTo>
                  <a:pt x="1368" y="1446"/>
                </a:lnTo>
                <a:lnTo>
                  <a:pt x="1356" y="1446"/>
                </a:lnTo>
                <a:lnTo>
                  <a:pt x="1350" y="1452"/>
                </a:lnTo>
                <a:lnTo>
                  <a:pt x="1338" y="1452"/>
                </a:lnTo>
                <a:lnTo>
                  <a:pt x="1338" y="1458"/>
                </a:lnTo>
                <a:lnTo>
                  <a:pt x="1332" y="1458"/>
                </a:lnTo>
                <a:lnTo>
                  <a:pt x="1332" y="1464"/>
                </a:lnTo>
                <a:lnTo>
                  <a:pt x="1332" y="1470"/>
                </a:lnTo>
                <a:lnTo>
                  <a:pt x="1326" y="1470"/>
                </a:lnTo>
                <a:lnTo>
                  <a:pt x="1320" y="1470"/>
                </a:lnTo>
                <a:lnTo>
                  <a:pt x="1314" y="1470"/>
                </a:lnTo>
                <a:lnTo>
                  <a:pt x="1314" y="1464"/>
                </a:lnTo>
                <a:lnTo>
                  <a:pt x="1308" y="1464"/>
                </a:lnTo>
                <a:lnTo>
                  <a:pt x="1308" y="1452"/>
                </a:lnTo>
                <a:lnTo>
                  <a:pt x="1284" y="1458"/>
                </a:lnTo>
                <a:lnTo>
                  <a:pt x="1272" y="1458"/>
                </a:lnTo>
                <a:lnTo>
                  <a:pt x="1272" y="1464"/>
                </a:lnTo>
                <a:lnTo>
                  <a:pt x="1260" y="1464"/>
                </a:lnTo>
                <a:lnTo>
                  <a:pt x="1254" y="1464"/>
                </a:lnTo>
                <a:lnTo>
                  <a:pt x="1242" y="1422"/>
                </a:lnTo>
                <a:lnTo>
                  <a:pt x="1242" y="1416"/>
                </a:lnTo>
                <a:lnTo>
                  <a:pt x="1242" y="1410"/>
                </a:lnTo>
                <a:lnTo>
                  <a:pt x="1248" y="1410"/>
                </a:lnTo>
                <a:lnTo>
                  <a:pt x="1242" y="1410"/>
                </a:lnTo>
                <a:lnTo>
                  <a:pt x="1242" y="1404"/>
                </a:lnTo>
                <a:lnTo>
                  <a:pt x="1242" y="1398"/>
                </a:lnTo>
                <a:lnTo>
                  <a:pt x="1248" y="1392"/>
                </a:lnTo>
                <a:lnTo>
                  <a:pt x="1248" y="1386"/>
                </a:lnTo>
                <a:lnTo>
                  <a:pt x="1242" y="1380"/>
                </a:lnTo>
                <a:lnTo>
                  <a:pt x="1248" y="1380"/>
                </a:lnTo>
                <a:lnTo>
                  <a:pt x="1248" y="1374"/>
                </a:lnTo>
                <a:lnTo>
                  <a:pt x="1248" y="1368"/>
                </a:lnTo>
                <a:lnTo>
                  <a:pt x="1254" y="1368"/>
                </a:lnTo>
                <a:lnTo>
                  <a:pt x="1254" y="1362"/>
                </a:lnTo>
                <a:lnTo>
                  <a:pt x="1248" y="1356"/>
                </a:lnTo>
                <a:lnTo>
                  <a:pt x="1254" y="1356"/>
                </a:lnTo>
                <a:lnTo>
                  <a:pt x="1254" y="1344"/>
                </a:lnTo>
                <a:lnTo>
                  <a:pt x="1242" y="1338"/>
                </a:lnTo>
                <a:lnTo>
                  <a:pt x="1242" y="1326"/>
                </a:lnTo>
                <a:lnTo>
                  <a:pt x="1230" y="1326"/>
                </a:lnTo>
                <a:lnTo>
                  <a:pt x="1230" y="1314"/>
                </a:lnTo>
                <a:lnTo>
                  <a:pt x="1218" y="1314"/>
                </a:lnTo>
                <a:lnTo>
                  <a:pt x="1200" y="1272"/>
                </a:lnTo>
                <a:lnTo>
                  <a:pt x="1194" y="1242"/>
                </a:lnTo>
                <a:lnTo>
                  <a:pt x="1194" y="1206"/>
                </a:lnTo>
                <a:lnTo>
                  <a:pt x="1182" y="1200"/>
                </a:lnTo>
                <a:lnTo>
                  <a:pt x="1164" y="1206"/>
                </a:lnTo>
                <a:lnTo>
                  <a:pt x="1146" y="1212"/>
                </a:lnTo>
                <a:lnTo>
                  <a:pt x="1146" y="1218"/>
                </a:lnTo>
                <a:lnTo>
                  <a:pt x="1134" y="1224"/>
                </a:lnTo>
                <a:lnTo>
                  <a:pt x="1140" y="1260"/>
                </a:lnTo>
                <a:lnTo>
                  <a:pt x="1134" y="1266"/>
                </a:lnTo>
                <a:lnTo>
                  <a:pt x="1122" y="1266"/>
                </a:lnTo>
                <a:lnTo>
                  <a:pt x="1110" y="1236"/>
                </a:lnTo>
                <a:lnTo>
                  <a:pt x="1110" y="1224"/>
                </a:lnTo>
                <a:lnTo>
                  <a:pt x="1086" y="1224"/>
                </a:lnTo>
                <a:lnTo>
                  <a:pt x="1086" y="1212"/>
                </a:lnTo>
                <a:lnTo>
                  <a:pt x="1074" y="1212"/>
                </a:lnTo>
                <a:lnTo>
                  <a:pt x="1050" y="1212"/>
                </a:lnTo>
                <a:lnTo>
                  <a:pt x="1056" y="1218"/>
                </a:lnTo>
                <a:lnTo>
                  <a:pt x="1050" y="1272"/>
                </a:lnTo>
                <a:lnTo>
                  <a:pt x="1044" y="1272"/>
                </a:lnTo>
                <a:lnTo>
                  <a:pt x="1038" y="1284"/>
                </a:lnTo>
                <a:lnTo>
                  <a:pt x="1032" y="1302"/>
                </a:lnTo>
                <a:lnTo>
                  <a:pt x="1014" y="1302"/>
                </a:lnTo>
                <a:lnTo>
                  <a:pt x="1020" y="1284"/>
                </a:lnTo>
                <a:lnTo>
                  <a:pt x="1026" y="1278"/>
                </a:lnTo>
                <a:lnTo>
                  <a:pt x="1026" y="1266"/>
                </a:lnTo>
                <a:lnTo>
                  <a:pt x="1014" y="1260"/>
                </a:lnTo>
                <a:lnTo>
                  <a:pt x="1014" y="1272"/>
                </a:lnTo>
                <a:lnTo>
                  <a:pt x="990" y="1278"/>
                </a:lnTo>
                <a:lnTo>
                  <a:pt x="990" y="1254"/>
                </a:lnTo>
                <a:lnTo>
                  <a:pt x="984" y="1254"/>
                </a:lnTo>
                <a:lnTo>
                  <a:pt x="978" y="1242"/>
                </a:lnTo>
                <a:lnTo>
                  <a:pt x="972" y="1236"/>
                </a:lnTo>
                <a:lnTo>
                  <a:pt x="960" y="1206"/>
                </a:lnTo>
                <a:lnTo>
                  <a:pt x="942" y="1206"/>
                </a:lnTo>
                <a:lnTo>
                  <a:pt x="936" y="1200"/>
                </a:lnTo>
                <a:lnTo>
                  <a:pt x="906" y="1212"/>
                </a:lnTo>
                <a:lnTo>
                  <a:pt x="888" y="1230"/>
                </a:lnTo>
                <a:lnTo>
                  <a:pt x="876" y="1230"/>
                </a:lnTo>
                <a:lnTo>
                  <a:pt x="864" y="1236"/>
                </a:lnTo>
                <a:lnTo>
                  <a:pt x="858" y="1236"/>
                </a:lnTo>
                <a:lnTo>
                  <a:pt x="852" y="1254"/>
                </a:lnTo>
                <a:lnTo>
                  <a:pt x="858" y="1254"/>
                </a:lnTo>
                <a:lnTo>
                  <a:pt x="840" y="1266"/>
                </a:lnTo>
                <a:lnTo>
                  <a:pt x="828" y="1272"/>
                </a:lnTo>
                <a:lnTo>
                  <a:pt x="828" y="1284"/>
                </a:lnTo>
                <a:lnTo>
                  <a:pt x="822" y="1284"/>
                </a:lnTo>
                <a:lnTo>
                  <a:pt x="804" y="1296"/>
                </a:lnTo>
                <a:lnTo>
                  <a:pt x="804" y="1308"/>
                </a:lnTo>
                <a:lnTo>
                  <a:pt x="816" y="1320"/>
                </a:lnTo>
                <a:lnTo>
                  <a:pt x="828" y="1320"/>
                </a:lnTo>
                <a:lnTo>
                  <a:pt x="822" y="1338"/>
                </a:lnTo>
                <a:lnTo>
                  <a:pt x="852" y="1344"/>
                </a:lnTo>
                <a:lnTo>
                  <a:pt x="864" y="1350"/>
                </a:lnTo>
                <a:lnTo>
                  <a:pt x="864" y="1356"/>
                </a:lnTo>
                <a:lnTo>
                  <a:pt x="882" y="1356"/>
                </a:lnTo>
                <a:lnTo>
                  <a:pt x="894" y="1356"/>
                </a:lnTo>
                <a:lnTo>
                  <a:pt x="912" y="1368"/>
                </a:lnTo>
                <a:lnTo>
                  <a:pt x="918" y="1380"/>
                </a:lnTo>
                <a:lnTo>
                  <a:pt x="936" y="1380"/>
                </a:lnTo>
                <a:lnTo>
                  <a:pt x="960" y="1386"/>
                </a:lnTo>
                <a:lnTo>
                  <a:pt x="990" y="1386"/>
                </a:lnTo>
                <a:lnTo>
                  <a:pt x="990" y="1392"/>
                </a:lnTo>
                <a:lnTo>
                  <a:pt x="1020" y="1398"/>
                </a:lnTo>
                <a:lnTo>
                  <a:pt x="1014" y="1404"/>
                </a:lnTo>
                <a:lnTo>
                  <a:pt x="1008" y="1404"/>
                </a:lnTo>
                <a:lnTo>
                  <a:pt x="1014" y="1440"/>
                </a:lnTo>
                <a:lnTo>
                  <a:pt x="1020" y="1458"/>
                </a:lnTo>
                <a:lnTo>
                  <a:pt x="1026" y="1476"/>
                </a:lnTo>
                <a:lnTo>
                  <a:pt x="1020" y="1476"/>
                </a:lnTo>
                <a:lnTo>
                  <a:pt x="1014" y="1476"/>
                </a:lnTo>
                <a:lnTo>
                  <a:pt x="1014" y="1482"/>
                </a:lnTo>
                <a:lnTo>
                  <a:pt x="1014" y="1488"/>
                </a:lnTo>
                <a:lnTo>
                  <a:pt x="1002" y="1488"/>
                </a:lnTo>
                <a:lnTo>
                  <a:pt x="1002" y="1494"/>
                </a:lnTo>
                <a:lnTo>
                  <a:pt x="996" y="1494"/>
                </a:lnTo>
                <a:lnTo>
                  <a:pt x="996" y="1518"/>
                </a:lnTo>
                <a:lnTo>
                  <a:pt x="1002" y="1524"/>
                </a:lnTo>
                <a:lnTo>
                  <a:pt x="1020" y="1530"/>
                </a:lnTo>
                <a:lnTo>
                  <a:pt x="1026" y="1542"/>
                </a:lnTo>
                <a:lnTo>
                  <a:pt x="1032" y="1566"/>
                </a:lnTo>
                <a:lnTo>
                  <a:pt x="1038" y="1578"/>
                </a:lnTo>
                <a:lnTo>
                  <a:pt x="1032" y="1584"/>
                </a:lnTo>
                <a:lnTo>
                  <a:pt x="1020" y="1584"/>
                </a:lnTo>
                <a:lnTo>
                  <a:pt x="1014" y="1584"/>
                </a:lnTo>
                <a:lnTo>
                  <a:pt x="1008" y="1596"/>
                </a:lnTo>
                <a:lnTo>
                  <a:pt x="990" y="1584"/>
                </a:lnTo>
                <a:lnTo>
                  <a:pt x="984" y="1602"/>
                </a:lnTo>
                <a:lnTo>
                  <a:pt x="978" y="1608"/>
                </a:lnTo>
                <a:lnTo>
                  <a:pt x="966" y="1608"/>
                </a:lnTo>
                <a:lnTo>
                  <a:pt x="960" y="1614"/>
                </a:lnTo>
                <a:lnTo>
                  <a:pt x="954" y="1614"/>
                </a:lnTo>
                <a:lnTo>
                  <a:pt x="942" y="1620"/>
                </a:lnTo>
                <a:lnTo>
                  <a:pt x="936" y="1620"/>
                </a:lnTo>
                <a:lnTo>
                  <a:pt x="930" y="1620"/>
                </a:lnTo>
                <a:lnTo>
                  <a:pt x="930" y="1626"/>
                </a:lnTo>
                <a:lnTo>
                  <a:pt x="930" y="1632"/>
                </a:lnTo>
                <a:lnTo>
                  <a:pt x="918" y="1632"/>
                </a:lnTo>
                <a:lnTo>
                  <a:pt x="912" y="1632"/>
                </a:lnTo>
                <a:lnTo>
                  <a:pt x="906" y="1632"/>
                </a:lnTo>
                <a:lnTo>
                  <a:pt x="900" y="1632"/>
                </a:lnTo>
                <a:lnTo>
                  <a:pt x="894" y="1626"/>
                </a:lnTo>
                <a:lnTo>
                  <a:pt x="894" y="1614"/>
                </a:lnTo>
                <a:lnTo>
                  <a:pt x="840" y="1614"/>
                </a:lnTo>
                <a:lnTo>
                  <a:pt x="840" y="1626"/>
                </a:lnTo>
                <a:lnTo>
                  <a:pt x="834" y="1626"/>
                </a:lnTo>
                <a:lnTo>
                  <a:pt x="828" y="1632"/>
                </a:lnTo>
                <a:lnTo>
                  <a:pt x="822" y="1638"/>
                </a:lnTo>
                <a:lnTo>
                  <a:pt x="822" y="1644"/>
                </a:lnTo>
                <a:lnTo>
                  <a:pt x="834" y="1650"/>
                </a:lnTo>
                <a:lnTo>
                  <a:pt x="840" y="1662"/>
                </a:lnTo>
                <a:lnTo>
                  <a:pt x="840" y="1668"/>
                </a:lnTo>
                <a:lnTo>
                  <a:pt x="858" y="1680"/>
                </a:lnTo>
                <a:lnTo>
                  <a:pt x="858" y="1752"/>
                </a:lnTo>
                <a:lnTo>
                  <a:pt x="864" y="1782"/>
                </a:lnTo>
                <a:lnTo>
                  <a:pt x="876" y="1788"/>
                </a:lnTo>
                <a:lnTo>
                  <a:pt x="870" y="1854"/>
                </a:lnTo>
                <a:lnTo>
                  <a:pt x="870" y="1884"/>
                </a:lnTo>
                <a:lnTo>
                  <a:pt x="864" y="1884"/>
                </a:lnTo>
                <a:lnTo>
                  <a:pt x="846" y="1896"/>
                </a:lnTo>
                <a:lnTo>
                  <a:pt x="840" y="1896"/>
                </a:lnTo>
                <a:lnTo>
                  <a:pt x="834" y="1896"/>
                </a:lnTo>
                <a:lnTo>
                  <a:pt x="828" y="1890"/>
                </a:lnTo>
                <a:lnTo>
                  <a:pt x="822" y="1890"/>
                </a:lnTo>
                <a:lnTo>
                  <a:pt x="816" y="1896"/>
                </a:lnTo>
                <a:lnTo>
                  <a:pt x="804" y="1896"/>
                </a:lnTo>
                <a:lnTo>
                  <a:pt x="804" y="1890"/>
                </a:lnTo>
                <a:lnTo>
                  <a:pt x="780" y="1896"/>
                </a:lnTo>
                <a:lnTo>
                  <a:pt x="780" y="1902"/>
                </a:lnTo>
                <a:lnTo>
                  <a:pt x="774" y="1914"/>
                </a:lnTo>
                <a:lnTo>
                  <a:pt x="762" y="1926"/>
                </a:lnTo>
                <a:lnTo>
                  <a:pt x="762" y="1950"/>
                </a:lnTo>
                <a:lnTo>
                  <a:pt x="762" y="1962"/>
                </a:lnTo>
                <a:lnTo>
                  <a:pt x="780" y="1974"/>
                </a:lnTo>
                <a:lnTo>
                  <a:pt x="780" y="1986"/>
                </a:lnTo>
                <a:lnTo>
                  <a:pt x="780" y="1998"/>
                </a:lnTo>
                <a:lnTo>
                  <a:pt x="756" y="1998"/>
                </a:lnTo>
                <a:lnTo>
                  <a:pt x="720" y="1992"/>
                </a:lnTo>
                <a:lnTo>
                  <a:pt x="666" y="1998"/>
                </a:lnTo>
                <a:lnTo>
                  <a:pt x="654" y="1998"/>
                </a:lnTo>
                <a:lnTo>
                  <a:pt x="660" y="1974"/>
                </a:lnTo>
                <a:lnTo>
                  <a:pt x="666" y="1962"/>
                </a:lnTo>
                <a:lnTo>
                  <a:pt x="678" y="1950"/>
                </a:lnTo>
                <a:lnTo>
                  <a:pt x="696" y="1932"/>
                </a:lnTo>
                <a:lnTo>
                  <a:pt x="696" y="1920"/>
                </a:lnTo>
                <a:lnTo>
                  <a:pt x="696" y="1896"/>
                </a:lnTo>
                <a:lnTo>
                  <a:pt x="678" y="1896"/>
                </a:lnTo>
                <a:lnTo>
                  <a:pt x="672" y="1884"/>
                </a:lnTo>
                <a:lnTo>
                  <a:pt x="672" y="1776"/>
                </a:lnTo>
                <a:lnTo>
                  <a:pt x="678" y="1758"/>
                </a:lnTo>
                <a:lnTo>
                  <a:pt x="678" y="1740"/>
                </a:lnTo>
                <a:lnTo>
                  <a:pt x="684" y="1728"/>
                </a:lnTo>
                <a:lnTo>
                  <a:pt x="690" y="1722"/>
                </a:lnTo>
                <a:lnTo>
                  <a:pt x="702" y="1722"/>
                </a:lnTo>
                <a:lnTo>
                  <a:pt x="708" y="1716"/>
                </a:lnTo>
                <a:lnTo>
                  <a:pt x="714" y="1710"/>
                </a:lnTo>
                <a:lnTo>
                  <a:pt x="720" y="1698"/>
                </a:lnTo>
                <a:lnTo>
                  <a:pt x="732" y="1692"/>
                </a:lnTo>
                <a:lnTo>
                  <a:pt x="744" y="1686"/>
                </a:lnTo>
                <a:lnTo>
                  <a:pt x="756" y="1680"/>
                </a:lnTo>
                <a:lnTo>
                  <a:pt x="768" y="1668"/>
                </a:lnTo>
                <a:lnTo>
                  <a:pt x="768" y="1650"/>
                </a:lnTo>
                <a:lnTo>
                  <a:pt x="774" y="1632"/>
                </a:lnTo>
                <a:lnTo>
                  <a:pt x="768" y="1620"/>
                </a:lnTo>
                <a:lnTo>
                  <a:pt x="774" y="1608"/>
                </a:lnTo>
                <a:lnTo>
                  <a:pt x="774" y="1578"/>
                </a:lnTo>
                <a:lnTo>
                  <a:pt x="774" y="1572"/>
                </a:lnTo>
                <a:lnTo>
                  <a:pt x="780" y="1560"/>
                </a:lnTo>
                <a:lnTo>
                  <a:pt x="780" y="1554"/>
                </a:lnTo>
                <a:lnTo>
                  <a:pt x="786" y="1542"/>
                </a:lnTo>
                <a:lnTo>
                  <a:pt x="792" y="1530"/>
                </a:lnTo>
                <a:lnTo>
                  <a:pt x="792" y="1518"/>
                </a:lnTo>
                <a:lnTo>
                  <a:pt x="792" y="1506"/>
                </a:lnTo>
                <a:lnTo>
                  <a:pt x="786" y="1500"/>
                </a:lnTo>
                <a:lnTo>
                  <a:pt x="774" y="1488"/>
                </a:lnTo>
                <a:lnTo>
                  <a:pt x="774" y="1482"/>
                </a:lnTo>
                <a:lnTo>
                  <a:pt x="762" y="1488"/>
                </a:lnTo>
                <a:lnTo>
                  <a:pt x="756" y="1494"/>
                </a:lnTo>
                <a:lnTo>
                  <a:pt x="744" y="1500"/>
                </a:lnTo>
                <a:lnTo>
                  <a:pt x="732" y="1506"/>
                </a:lnTo>
                <a:lnTo>
                  <a:pt x="726" y="1506"/>
                </a:lnTo>
                <a:lnTo>
                  <a:pt x="720" y="1506"/>
                </a:lnTo>
                <a:lnTo>
                  <a:pt x="702" y="1506"/>
                </a:lnTo>
                <a:lnTo>
                  <a:pt x="690" y="1500"/>
                </a:lnTo>
                <a:lnTo>
                  <a:pt x="678" y="1500"/>
                </a:lnTo>
                <a:lnTo>
                  <a:pt x="672" y="1500"/>
                </a:lnTo>
                <a:lnTo>
                  <a:pt x="660" y="1506"/>
                </a:lnTo>
                <a:lnTo>
                  <a:pt x="654" y="1506"/>
                </a:lnTo>
                <a:lnTo>
                  <a:pt x="648" y="1512"/>
                </a:lnTo>
                <a:lnTo>
                  <a:pt x="648" y="1518"/>
                </a:lnTo>
                <a:lnTo>
                  <a:pt x="618" y="1518"/>
                </a:lnTo>
                <a:lnTo>
                  <a:pt x="534" y="1494"/>
                </a:lnTo>
                <a:lnTo>
                  <a:pt x="528" y="1458"/>
                </a:lnTo>
                <a:lnTo>
                  <a:pt x="510" y="1458"/>
                </a:lnTo>
                <a:lnTo>
                  <a:pt x="492" y="1440"/>
                </a:lnTo>
                <a:lnTo>
                  <a:pt x="462" y="1440"/>
                </a:lnTo>
                <a:lnTo>
                  <a:pt x="456" y="1428"/>
                </a:lnTo>
                <a:lnTo>
                  <a:pt x="420" y="1428"/>
                </a:lnTo>
                <a:lnTo>
                  <a:pt x="390" y="1446"/>
                </a:lnTo>
                <a:lnTo>
                  <a:pt x="312" y="1452"/>
                </a:lnTo>
                <a:lnTo>
                  <a:pt x="300" y="1446"/>
                </a:lnTo>
                <a:lnTo>
                  <a:pt x="294" y="1446"/>
                </a:lnTo>
                <a:lnTo>
                  <a:pt x="288" y="1446"/>
                </a:lnTo>
                <a:lnTo>
                  <a:pt x="282" y="1440"/>
                </a:lnTo>
                <a:lnTo>
                  <a:pt x="276" y="1440"/>
                </a:lnTo>
                <a:lnTo>
                  <a:pt x="270" y="1440"/>
                </a:lnTo>
                <a:lnTo>
                  <a:pt x="264" y="1440"/>
                </a:lnTo>
                <a:lnTo>
                  <a:pt x="258" y="1434"/>
                </a:lnTo>
                <a:lnTo>
                  <a:pt x="252" y="1434"/>
                </a:lnTo>
                <a:lnTo>
                  <a:pt x="246" y="1428"/>
                </a:lnTo>
                <a:lnTo>
                  <a:pt x="240" y="1416"/>
                </a:lnTo>
                <a:lnTo>
                  <a:pt x="234" y="1404"/>
                </a:lnTo>
                <a:lnTo>
                  <a:pt x="228" y="1398"/>
                </a:lnTo>
                <a:lnTo>
                  <a:pt x="222" y="1398"/>
                </a:lnTo>
                <a:lnTo>
                  <a:pt x="216" y="1404"/>
                </a:lnTo>
                <a:lnTo>
                  <a:pt x="210" y="1404"/>
                </a:lnTo>
                <a:lnTo>
                  <a:pt x="204" y="1404"/>
                </a:lnTo>
                <a:lnTo>
                  <a:pt x="204" y="1398"/>
                </a:lnTo>
                <a:lnTo>
                  <a:pt x="198" y="1392"/>
                </a:lnTo>
                <a:lnTo>
                  <a:pt x="192" y="1386"/>
                </a:lnTo>
                <a:lnTo>
                  <a:pt x="168" y="1374"/>
                </a:lnTo>
                <a:lnTo>
                  <a:pt x="144" y="1380"/>
                </a:lnTo>
                <a:close/>
              </a:path>
            </a:pathLst>
          </a:custGeom>
          <a:solidFill>
            <a:srgbClr val="33CC33"/>
          </a:solidFill>
          <a:ln w="9525">
            <a:solidFill>
              <a:schemeClr val="bg1"/>
            </a:solidFill>
            <a:round/>
            <a:headEnd/>
            <a:tailEnd/>
          </a:ln>
        </p:spPr>
        <p:txBody>
          <a:bodyPr/>
          <a:lstStyle/>
          <a:p>
            <a:endParaRPr lang="en-GB">
              <a:solidFill>
                <a:schemeClr val="bg1"/>
              </a:solidFill>
            </a:endParaRPr>
          </a:p>
        </p:txBody>
      </p:sp>
      <p:sp>
        <p:nvSpPr>
          <p:cNvPr id="20519" name="Freeform 36"/>
          <p:cNvSpPr>
            <a:spLocks/>
          </p:cNvSpPr>
          <p:nvPr/>
        </p:nvSpPr>
        <p:spPr bwMode="gray">
          <a:xfrm>
            <a:off x="2576513" y="1874838"/>
            <a:ext cx="1128712" cy="1190625"/>
          </a:xfrm>
          <a:custGeom>
            <a:avLst/>
            <a:gdLst>
              <a:gd name="T0" fmla="*/ 79964 w 1440"/>
              <a:gd name="T1" fmla="*/ 83835 h 1476"/>
              <a:gd name="T2" fmla="*/ 77612 w 1440"/>
              <a:gd name="T3" fmla="*/ 87059 h 1476"/>
              <a:gd name="T4" fmla="*/ 76828 w 1440"/>
              <a:gd name="T5" fmla="*/ 90284 h 1476"/>
              <a:gd name="T6" fmla="*/ 75260 w 1440"/>
              <a:gd name="T7" fmla="*/ 93508 h 1476"/>
              <a:gd name="T8" fmla="*/ 71341 w 1440"/>
              <a:gd name="T9" fmla="*/ 95120 h 1476"/>
              <a:gd name="T10" fmla="*/ 68205 w 1440"/>
              <a:gd name="T11" fmla="*/ 96733 h 1476"/>
              <a:gd name="T12" fmla="*/ 58797 w 1440"/>
              <a:gd name="T13" fmla="*/ 96733 h 1476"/>
              <a:gd name="T14" fmla="*/ 56445 w 1440"/>
              <a:gd name="T15" fmla="*/ 99151 h 1476"/>
              <a:gd name="T16" fmla="*/ 54093 w 1440"/>
              <a:gd name="T17" fmla="*/ 103182 h 1476"/>
              <a:gd name="T18" fmla="*/ 52525 w 1440"/>
              <a:gd name="T19" fmla="*/ 102375 h 1476"/>
              <a:gd name="T20" fmla="*/ 51741 w 1440"/>
              <a:gd name="T21" fmla="*/ 99151 h 1476"/>
              <a:gd name="T22" fmla="*/ 49390 w 1440"/>
              <a:gd name="T23" fmla="*/ 95927 h 1476"/>
              <a:gd name="T24" fmla="*/ 42334 w 1440"/>
              <a:gd name="T25" fmla="*/ 91896 h 1476"/>
              <a:gd name="T26" fmla="*/ 43118 w 1440"/>
              <a:gd name="T27" fmla="*/ 85447 h 1476"/>
              <a:gd name="T28" fmla="*/ 47038 w 1440"/>
              <a:gd name="T29" fmla="*/ 80611 h 1476"/>
              <a:gd name="T30" fmla="*/ 43118 w 1440"/>
              <a:gd name="T31" fmla="*/ 73356 h 1476"/>
              <a:gd name="T32" fmla="*/ 39982 w 1440"/>
              <a:gd name="T33" fmla="*/ 69325 h 1476"/>
              <a:gd name="T34" fmla="*/ 36846 w 1440"/>
              <a:gd name="T35" fmla="*/ 68519 h 1476"/>
              <a:gd name="T36" fmla="*/ 34494 w 1440"/>
              <a:gd name="T37" fmla="*/ 66101 h 1476"/>
              <a:gd name="T38" fmla="*/ 32142 w 1440"/>
              <a:gd name="T39" fmla="*/ 66907 h 1476"/>
              <a:gd name="T40" fmla="*/ 28223 w 1440"/>
              <a:gd name="T41" fmla="*/ 66907 h 1476"/>
              <a:gd name="T42" fmla="*/ 25871 w 1440"/>
              <a:gd name="T43" fmla="*/ 66907 h 1476"/>
              <a:gd name="T44" fmla="*/ 23519 w 1440"/>
              <a:gd name="T45" fmla="*/ 66907 h 1476"/>
              <a:gd name="T46" fmla="*/ 21167 w 1440"/>
              <a:gd name="T47" fmla="*/ 66907 h 1476"/>
              <a:gd name="T48" fmla="*/ 18815 w 1440"/>
              <a:gd name="T49" fmla="*/ 66101 h 1476"/>
              <a:gd name="T50" fmla="*/ 16463 w 1440"/>
              <a:gd name="T51" fmla="*/ 64488 h 1476"/>
              <a:gd name="T52" fmla="*/ 14111 w 1440"/>
              <a:gd name="T53" fmla="*/ 63682 h 1476"/>
              <a:gd name="T54" fmla="*/ 13327 w 1440"/>
              <a:gd name="T55" fmla="*/ 62876 h 1476"/>
              <a:gd name="T56" fmla="*/ 9408 w 1440"/>
              <a:gd name="T57" fmla="*/ 62876 h 1476"/>
              <a:gd name="T58" fmla="*/ 9408 w 1440"/>
              <a:gd name="T59" fmla="*/ 62876 h 1476"/>
              <a:gd name="T60" fmla="*/ 5488 w 1440"/>
              <a:gd name="T61" fmla="*/ 64488 h 1476"/>
              <a:gd name="T62" fmla="*/ 2352 w 1440"/>
              <a:gd name="T63" fmla="*/ 65295 h 1476"/>
              <a:gd name="T64" fmla="*/ 0 w 1440"/>
              <a:gd name="T65" fmla="*/ 61264 h 1476"/>
              <a:gd name="T66" fmla="*/ 784 w 1440"/>
              <a:gd name="T67" fmla="*/ 40305 h 1476"/>
              <a:gd name="T68" fmla="*/ 6272 w 1440"/>
              <a:gd name="T69" fmla="*/ 38693 h 1476"/>
              <a:gd name="T70" fmla="*/ 15679 w 1440"/>
              <a:gd name="T71" fmla="*/ 39499 h 1476"/>
              <a:gd name="T72" fmla="*/ 20383 w 1440"/>
              <a:gd name="T73" fmla="*/ 40305 h 1476"/>
              <a:gd name="T74" fmla="*/ 34494 w 1440"/>
              <a:gd name="T75" fmla="*/ 37887 h 1476"/>
              <a:gd name="T76" fmla="*/ 32142 w 1440"/>
              <a:gd name="T77" fmla="*/ 19347 h 1476"/>
              <a:gd name="T78" fmla="*/ 34494 w 1440"/>
              <a:gd name="T79" fmla="*/ 16122 h 1476"/>
              <a:gd name="T80" fmla="*/ 36846 w 1440"/>
              <a:gd name="T81" fmla="*/ 14510 h 1476"/>
              <a:gd name="T82" fmla="*/ 42334 w 1440"/>
              <a:gd name="T83" fmla="*/ 16928 h 1476"/>
              <a:gd name="T84" fmla="*/ 47822 w 1440"/>
              <a:gd name="T85" fmla="*/ 18540 h 1476"/>
              <a:gd name="T86" fmla="*/ 46254 w 1440"/>
              <a:gd name="T87" fmla="*/ 11285 h 1476"/>
              <a:gd name="T88" fmla="*/ 47822 w 1440"/>
              <a:gd name="T89" fmla="*/ 6449 h 1476"/>
              <a:gd name="T90" fmla="*/ 55661 w 1440"/>
              <a:gd name="T91" fmla="*/ 5643 h 1476"/>
              <a:gd name="T92" fmla="*/ 58797 w 1440"/>
              <a:gd name="T93" fmla="*/ 0 h 1476"/>
              <a:gd name="T94" fmla="*/ 64285 w 1440"/>
              <a:gd name="T95" fmla="*/ 2418 h 1476"/>
              <a:gd name="T96" fmla="*/ 72908 w 1440"/>
              <a:gd name="T97" fmla="*/ 4031 h 1476"/>
              <a:gd name="T98" fmla="*/ 78396 w 1440"/>
              <a:gd name="T99" fmla="*/ 806 h 1476"/>
              <a:gd name="T100" fmla="*/ 81532 w 1440"/>
              <a:gd name="T101" fmla="*/ 3224 h 1476"/>
              <a:gd name="T102" fmla="*/ 86236 w 1440"/>
              <a:gd name="T103" fmla="*/ 8061 h 1476"/>
              <a:gd name="T104" fmla="*/ 90156 w 1440"/>
              <a:gd name="T105" fmla="*/ 18540 h 1476"/>
              <a:gd name="T106" fmla="*/ 91724 w 1440"/>
              <a:gd name="T107" fmla="*/ 33856 h 1476"/>
              <a:gd name="T108" fmla="*/ 94859 w 1440"/>
              <a:gd name="T109" fmla="*/ 41917 h 1476"/>
              <a:gd name="T110" fmla="*/ 92507 w 1440"/>
              <a:gd name="T111" fmla="*/ 49979 h 1476"/>
              <a:gd name="T112" fmla="*/ 97211 w 1440"/>
              <a:gd name="T113" fmla="*/ 53203 h 1476"/>
              <a:gd name="T114" fmla="*/ 94859 w 1440"/>
              <a:gd name="T115" fmla="*/ 57234 h 1476"/>
              <a:gd name="T116" fmla="*/ 90156 w 1440"/>
              <a:gd name="T117" fmla="*/ 61264 h 1476"/>
              <a:gd name="T118" fmla="*/ 85452 w 1440"/>
              <a:gd name="T119" fmla="*/ 61264 h 1476"/>
              <a:gd name="T120" fmla="*/ 82316 w 1440"/>
              <a:gd name="T121" fmla="*/ 69325 h 1476"/>
              <a:gd name="T122" fmla="*/ 83884 w 1440"/>
              <a:gd name="T123" fmla="*/ 78192 h 14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0"/>
              <a:gd name="T187" fmla="*/ 0 h 1476"/>
              <a:gd name="T188" fmla="*/ 1440 w 1440"/>
              <a:gd name="T189" fmla="*/ 1476 h 147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0" h="1476">
                <a:moveTo>
                  <a:pt x="1212" y="1164"/>
                </a:moveTo>
                <a:lnTo>
                  <a:pt x="1206" y="1170"/>
                </a:lnTo>
                <a:lnTo>
                  <a:pt x="1200" y="1176"/>
                </a:lnTo>
                <a:lnTo>
                  <a:pt x="1194" y="1176"/>
                </a:lnTo>
                <a:lnTo>
                  <a:pt x="1188" y="1188"/>
                </a:lnTo>
                <a:lnTo>
                  <a:pt x="1182" y="1194"/>
                </a:lnTo>
                <a:lnTo>
                  <a:pt x="1176" y="1194"/>
                </a:lnTo>
                <a:lnTo>
                  <a:pt x="1170" y="1194"/>
                </a:lnTo>
                <a:lnTo>
                  <a:pt x="1170" y="1200"/>
                </a:lnTo>
                <a:lnTo>
                  <a:pt x="1164" y="1206"/>
                </a:lnTo>
                <a:lnTo>
                  <a:pt x="1158" y="1206"/>
                </a:lnTo>
                <a:lnTo>
                  <a:pt x="1152" y="1212"/>
                </a:lnTo>
                <a:lnTo>
                  <a:pt x="1146" y="1212"/>
                </a:lnTo>
                <a:lnTo>
                  <a:pt x="1140" y="1224"/>
                </a:lnTo>
                <a:lnTo>
                  <a:pt x="1134" y="1230"/>
                </a:lnTo>
                <a:lnTo>
                  <a:pt x="1128" y="1236"/>
                </a:lnTo>
                <a:lnTo>
                  <a:pt x="1128" y="1242"/>
                </a:lnTo>
                <a:lnTo>
                  <a:pt x="1128" y="1254"/>
                </a:lnTo>
                <a:lnTo>
                  <a:pt x="1128" y="1260"/>
                </a:lnTo>
                <a:lnTo>
                  <a:pt x="1122" y="1260"/>
                </a:lnTo>
                <a:lnTo>
                  <a:pt x="1122" y="1266"/>
                </a:lnTo>
                <a:lnTo>
                  <a:pt x="1128" y="1278"/>
                </a:lnTo>
                <a:lnTo>
                  <a:pt x="1122" y="1278"/>
                </a:lnTo>
                <a:lnTo>
                  <a:pt x="1122" y="1284"/>
                </a:lnTo>
                <a:lnTo>
                  <a:pt x="1128" y="1290"/>
                </a:lnTo>
                <a:lnTo>
                  <a:pt x="1122" y="1296"/>
                </a:lnTo>
                <a:lnTo>
                  <a:pt x="1122" y="1302"/>
                </a:lnTo>
                <a:lnTo>
                  <a:pt x="1116" y="1302"/>
                </a:lnTo>
                <a:lnTo>
                  <a:pt x="1110" y="1314"/>
                </a:lnTo>
                <a:lnTo>
                  <a:pt x="1110" y="1320"/>
                </a:lnTo>
                <a:lnTo>
                  <a:pt x="1110" y="1326"/>
                </a:lnTo>
                <a:lnTo>
                  <a:pt x="1098" y="1332"/>
                </a:lnTo>
                <a:lnTo>
                  <a:pt x="1092" y="1338"/>
                </a:lnTo>
                <a:lnTo>
                  <a:pt x="1092" y="1344"/>
                </a:lnTo>
                <a:lnTo>
                  <a:pt x="1086" y="1350"/>
                </a:lnTo>
                <a:lnTo>
                  <a:pt x="1080" y="1350"/>
                </a:lnTo>
                <a:lnTo>
                  <a:pt x="1074" y="1350"/>
                </a:lnTo>
                <a:lnTo>
                  <a:pt x="1068" y="1356"/>
                </a:lnTo>
                <a:lnTo>
                  <a:pt x="1062" y="1356"/>
                </a:lnTo>
                <a:lnTo>
                  <a:pt x="1044" y="1356"/>
                </a:lnTo>
                <a:lnTo>
                  <a:pt x="1038" y="1362"/>
                </a:lnTo>
                <a:lnTo>
                  <a:pt x="1032" y="1368"/>
                </a:lnTo>
                <a:lnTo>
                  <a:pt x="1026" y="1368"/>
                </a:lnTo>
                <a:lnTo>
                  <a:pt x="1020" y="1374"/>
                </a:lnTo>
                <a:lnTo>
                  <a:pt x="1008" y="1374"/>
                </a:lnTo>
                <a:lnTo>
                  <a:pt x="1002" y="1374"/>
                </a:lnTo>
                <a:lnTo>
                  <a:pt x="996" y="1368"/>
                </a:lnTo>
                <a:lnTo>
                  <a:pt x="990" y="1374"/>
                </a:lnTo>
                <a:lnTo>
                  <a:pt x="978" y="1380"/>
                </a:lnTo>
                <a:lnTo>
                  <a:pt x="972" y="1380"/>
                </a:lnTo>
                <a:lnTo>
                  <a:pt x="954" y="1368"/>
                </a:lnTo>
                <a:lnTo>
                  <a:pt x="930" y="1368"/>
                </a:lnTo>
                <a:lnTo>
                  <a:pt x="918" y="1368"/>
                </a:lnTo>
                <a:lnTo>
                  <a:pt x="906" y="1368"/>
                </a:lnTo>
                <a:lnTo>
                  <a:pt x="894" y="1368"/>
                </a:lnTo>
                <a:lnTo>
                  <a:pt x="864" y="1374"/>
                </a:lnTo>
                <a:lnTo>
                  <a:pt x="852" y="1374"/>
                </a:lnTo>
                <a:lnTo>
                  <a:pt x="846" y="1386"/>
                </a:lnTo>
                <a:lnTo>
                  <a:pt x="846" y="1392"/>
                </a:lnTo>
                <a:lnTo>
                  <a:pt x="840" y="1398"/>
                </a:lnTo>
                <a:lnTo>
                  <a:pt x="840" y="1404"/>
                </a:lnTo>
                <a:lnTo>
                  <a:pt x="834" y="1416"/>
                </a:lnTo>
                <a:lnTo>
                  <a:pt x="828" y="1416"/>
                </a:lnTo>
                <a:lnTo>
                  <a:pt x="828" y="1410"/>
                </a:lnTo>
                <a:lnTo>
                  <a:pt x="822" y="1416"/>
                </a:lnTo>
                <a:lnTo>
                  <a:pt x="816" y="1422"/>
                </a:lnTo>
                <a:lnTo>
                  <a:pt x="804" y="1428"/>
                </a:lnTo>
                <a:lnTo>
                  <a:pt x="804" y="1434"/>
                </a:lnTo>
                <a:lnTo>
                  <a:pt x="804" y="1440"/>
                </a:lnTo>
                <a:lnTo>
                  <a:pt x="798" y="1446"/>
                </a:lnTo>
                <a:lnTo>
                  <a:pt x="798" y="1458"/>
                </a:lnTo>
                <a:lnTo>
                  <a:pt x="792" y="1464"/>
                </a:lnTo>
                <a:lnTo>
                  <a:pt x="786" y="1476"/>
                </a:lnTo>
                <a:lnTo>
                  <a:pt x="780" y="1470"/>
                </a:lnTo>
                <a:lnTo>
                  <a:pt x="774" y="1470"/>
                </a:lnTo>
                <a:lnTo>
                  <a:pt x="768" y="1470"/>
                </a:lnTo>
                <a:lnTo>
                  <a:pt x="762" y="1476"/>
                </a:lnTo>
                <a:lnTo>
                  <a:pt x="762" y="1470"/>
                </a:lnTo>
                <a:lnTo>
                  <a:pt x="762" y="1464"/>
                </a:lnTo>
                <a:lnTo>
                  <a:pt x="762" y="1458"/>
                </a:lnTo>
                <a:lnTo>
                  <a:pt x="756" y="1458"/>
                </a:lnTo>
                <a:lnTo>
                  <a:pt x="756" y="1452"/>
                </a:lnTo>
                <a:lnTo>
                  <a:pt x="756" y="1446"/>
                </a:lnTo>
                <a:lnTo>
                  <a:pt x="756" y="1440"/>
                </a:lnTo>
                <a:lnTo>
                  <a:pt x="750" y="1434"/>
                </a:lnTo>
                <a:lnTo>
                  <a:pt x="750" y="1428"/>
                </a:lnTo>
                <a:lnTo>
                  <a:pt x="750" y="1422"/>
                </a:lnTo>
                <a:lnTo>
                  <a:pt x="750" y="1416"/>
                </a:lnTo>
                <a:lnTo>
                  <a:pt x="744" y="1416"/>
                </a:lnTo>
                <a:lnTo>
                  <a:pt x="744" y="1410"/>
                </a:lnTo>
                <a:lnTo>
                  <a:pt x="738" y="1404"/>
                </a:lnTo>
                <a:lnTo>
                  <a:pt x="732" y="1398"/>
                </a:lnTo>
                <a:lnTo>
                  <a:pt x="732" y="1392"/>
                </a:lnTo>
                <a:lnTo>
                  <a:pt x="726" y="1386"/>
                </a:lnTo>
                <a:lnTo>
                  <a:pt x="726" y="1380"/>
                </a:lnTo>
                <a:lnTo>
                  <a:pt x="714" y="1368"/>
                </a:lnTo>
                <a:lnTo>
                  <a:pt x="708" y="1368"/>
                </a:lnTo>
                <a:lnTo>
                  <a:pt x="684" y="1332"/>
                </a:lnTo>
                <a:lnTo>
                  <a:pt x="666" y="1320"/>
                </a:lnTo>
                <a:lnTo>
                  <a:pt x="648" y="1302"/>
                </a:lnTo>
                <a:lnTo>
                  <a:pt x="630" y="1314"/>
                </a:lnTo>
                <a:lnTo>
                  <a:pt x="624" y="1314"/>
                </a:lnTo>
                <a:lnTo>
                  <a:pt x="624" y="1308"/>
                </a:lnTo>
                <a:lnTo>
                  <a:pt x="618" y="1308"/>
                </a:lnTo>
                <a:lnTo>
                  <a:pt x="612" y="1284"/>
                </a:lnTo>
                <a:lnTo>
                  <a:pt x="606" y="1254"/>
                </a:lnTo>
                <a:lnTo>
                  <a:pt x="606" y="1248"/>
                </a:lnTo>
                <a:lnTo>
                  <a:pt x="606" y="1242"/>
                </a:lnTo>
                <a:lnTo>
                  <a:pt x="612" y="1242"/>
                </a:lnTo>
                <a:lnTo>
                  <a:pt x="618" y="1236"/>
                </a:lnTo>
                <a:lnTo>
                  <a:pt x="618" y="1230"/>
                </a:lnTo>
                <a:lnTo>
                  <a:pt x="624" y="1224"/>
                </a:lnTo>
                <a:lnTo>
                  <a:pt x="630" y="1224"/>
                </a:lnTo>
                <a:lnTo>
                  <a:pt x="636" y="1218"/>
                </a:lnTo>
                <a:lnTo>
                  <a:pt x="636" y="1212"/>
                </a:lnTo>
                <a:lnTo>
                  <a:pt x="612" y="1200"/>
                </a:lnTo>
                <a:lnTo>
                  <a:pt x="606" y="1182"/>
                </a:lnTo>
                <a:lnTo>
                  <a:pt x="672" y="1182"/>
                </a:lnTo>
                <a:lnTo>
                  <a:pt x="690" y="1170"/>
                </a:lnTo>
                <a:lnTo>
                  <a:pt x="690" y="1152"/>
                </a:lnTo>
                <a:lnTo>
                  <a:pt x="678" y="1110"/>
                </a:lnTo>
                <a:lnTo>
                  <a:pt x="672" y="1092"/>
                </a:lnTo>
                <a:lnTo>
                  <a:pt x="660" y="1074"/>
                </a:lnTo>
                <a:lnTo>
                  <a:pt x="648" y="1068"/>
                </a:lnTo>
                <a:lnTo>
                  <a:pt x="642" y="1068"/>
                </a:lnTo>
                <a:lnTo>
                  <a:pt x="636" y="1062"/>
                </a:lnTo>
                <a:lnTo>
                  <a:pt x="624" y="1056"/>
                </a:lnTo>
                <a:lnTo>
                  <a:pt x="624" y="1050"/>
                </a:lnTo>
                <a:lnTo>
                  <a:pt x="618" y="1038"/>
                </a:lnTo>
                <a:lnTo>
                  <a:pt x="612" y="1038"/>
                </a:lnTo>
                <a:lnTo>
                  <a:pt x="612" y="1032"/>
                </a:lnTo>
                <a:lnTo>
                  <a:pt x="612" y="1026"/>
                </a:lnTo>
                <a:lnTo>
                  <a:pt x="600" y="1014"/>
                </a:lnTo>
                <a:lnTo>
                  <a:pt x="582" y="1008"/>
                </a:lnTo>
                <a:lnTo>
                  <a:pt x="576" y="1002"/>
                </a:lnTo>
                <a:lnTo>
                  <a:pt x="576" y="996"/>
                </a:lnTo>
                <a:lnTo>
                  <a:pt x="570" y="996"/>
                </a:lnTo>
                <a:lnTo>
                  <a:pt x="570" y="990"/>
                </a:lnTo>
                <a:lnTo>
                  <a:pt x="570" y="984"/>
                </a:lnTo>
                <a:lnTo>
                  <a:pt x="564" y="984"/>
                </a:lnTo>
                <a:lnTo>
                  <a:pt x="558" y="978"/>
                </a:lnTo>
                <a:lnTo>
                  <a:pt x="552" y="972"/>
                </a:lnTo>
                <a:lnTo>
                  <a:pt x="552" y="966"/>
                </a:lnTo>
                <a:lnTo>
                  <a:pt x="546" y="972"/>
                </a:lnTo>
                <a:lnTo>
                  <a:pt x="540" y="972"/>
                </a:lnTo>
                <a:lnTo>
                  <a:pt x="534" y="960"/>
                </a:lnTo>
                <a:lnTo>
                  <a:pt x="528" y="960"/>
                </a:lnTo>
                <a:lnTo>
                  <a:pt x="528" y="966"/>
                </a:lnTo>
                <a:lnTo>
                  <a:pt x="516" y="954"/>
                </a:lnTo>
                <a:lnTo>
                  <a:pt x="516" y="948"/>
                </a:lnTo>
                <a:lnTo>
                  <a:pt x="510" y="948"/>
                </a:lnTo>
                <a:lnTo>
                  <a:pt x="504" y="948"/>
                </a:lnTo>
                <a:lnTo>
                  <a:pt x="498" y="948"/>
                </a:lnTo>
                <a:lnTo>
                  <a:pt x="504" y="954"/>
                </a:lnTo>
                <a:lnTo>
                  <a:pt x="498" y="954"/>
                </a:lnTo>
                <a:lnTo>
                  <a:pt x="492" y="954"/>
                </a:lnTo>
                <a:lnTo>
                  <a:pt x="480" y="942"/>
                </a:lnTo>
                <a:lnTo>
                  <a:pt x="480" y="948"/>
                </a:lnTo>
                <a:lnTo>
                  <a:pt x="480" y="954"/>
                </a:lnTo>
                <a:lnTo>
                  <a:pt x="474" y="954"/>
                </a:lnTo>
                <a:lnTo>
                  <a:pt x="468" y="960"/>
                </a:lnTo>
                <a:lnTo>
                  <a:pt x="462" y="960"/>
                </a:lnTo>
                <a:lnTo>
                  <a:pt x="456" y="966"/>
                </a:lnTo>
                <a:lnTo>
                  <a:pt x="456" y="960"/>
                </a:lnTo>
                <a:lnTo>
                  <a:pt x="450" y="966"/>
                </a:lnTo>
                <a:lnTo>
                  <a:pt x="444" y="966"/>
                </a:lnTo>
                <a:lnTo>
                  <a:pt x="414" y="966"/>
                </a:lnTo>
                <a:lnTo>
                  <a:pt x="408" y="960"/>
                </a:lnTo>
                <a:lnTo>
                  <a:pt x="408" y="966"/>
                </a:lnTo>
                <a:lnTo>
                  <a:pt x="402" y="960"/>
                </a:lnTo>
                <a:lnTo>
                  <a:pt x="396" y="960"/>
                </a:lnTo>
                <a:lnTo>
                  <a:pt x="390" y="960"/>
                </a:lnTo>
                <a:lnTo>
                  <a:pt x="390" y="966"/>
                </a:lnTo>
                <a:lnTo>
                  <a:pt x="384" y="966"/>
                </a:lnTo>
                <a:lnTo>
                  <a:pt x="378" y="966"/>
                </a:lnTo>
                <a:lnTo>
                  <a:pt x="384" y="960"/>
                </a:lnTo>
                <a:lnTo>
                  <a:pt x="384" y="954"/>
                </a:lnTo>
                <a:lnTo>
                  <a:pt x="372" y="948"/>
                </a:lnTo>
                <a:lnTo>
                  <a:pt x="372" y="954"/>
                </a:lnTo>
                <a:lnTo>
                  <a:pt x="372" y="960"/>
                </a:lnTo>
                <a:lnTo>
                  <a:pt x="366" y="960"/>
                </a:lnTo>
                <a:lnTo>
                  <a:pt x="360" y="966"/>
                </a:lnTo>
                <a:lnTo>
                  <a:pt x="354" y="966"/>
                </a:lnTo>
                <a:lnTo>
                  <a:pt x="348" y="960"/>
                </a:lnTo>
                <a:lnTo>
                  <a:pt x="342" y="960"/>
                </a:lnTo>
                <a:lnTo>
                  <a:pt x="342" y="966"/>
                </a:lnTo>
                <a:lnTo>
                  <a:pt x="336" y="972"/>
                </a:lnTo>
                <a:lnTo>
                  <a:pt x="330" y="972"/>
                </a:lnTo>
                <a:lnTo>
                  <a:pt x="324" y="966"/>
                </a:lnTo>
                <a:lnTo>
                  <a:pt x="318" y="966"/>
                </a:lnTo>
                <a:lnTo>
                  <a:pt x="312" y="966"/>
                </a:lnTo>
                <a:lnTo>
                  <a:pt x="306" y="960"/>
                </a:lnTo>
                <a:lnTo>
                  <a:pt x="306" y="954"/>
                </a:lnTo>
                <a:lnTo>
                  <a:pt x="306" y="948"/>
                </a:lnTo>
                <a:lnTo>
                  <a:pt x="306" y="942"/>
                </a:lnTo>
                <a:lnTo>
                  <a:pt x="300" y="942"/>
                </a:lnTo>
                <a:lnTo>
                  <a:pt x="294" y="936"/>
                </a:lnTo>
                <a:lnTo>
                  <a:pt x="288" y="936"/>
                </a:lnTo>
                <a:lnTo>
                  <a:pt x="282" y="942"/>
                </a:lnTo>
                <a:lnTo>
                  <a:pt x="276" y="936"/>
                </a:lnTo>
                <a:lnTo>
                  <a:pt x="276" y="942"/>
                </a:lnTo>
                <a:lnTo>
                  <a:pt x="270" y="942"/>
                </a:lnTo>
                <a:lnTo>
                  <a:pt x="264" y="936"/>
                </a:lnTo>
                <a:lnTo>
                  <a:pt x="252" y="936"/>
                </a:lnTo>
                <a:lnTo>
                  <a:pt x="246" y="936"/>
                </a:lnTo>
                <a:lnTo>
                  <a:pt x="240" y="936"/>
                </a:lnTo>
                <a:lnTo>
                  <a:pt x="234" y="936"/>
                </a:lnTo>
                <a:lnTo>
                  <a:pt x="240" y="924"/>
                </a:lnTo>
                <a:lnTo>
                  <a:pt x="234" y="924"/>
                </a:lnTo>
                <a:lnTo>
                  <a:pt x="228" y="918"/>
                </a:lnTo>
                <a:lnTo>
                  <a:pt x="228" y="906"/>
                </a:lnTo>
                <a:lnTo>
                  <a:pt x="222" y="900"/>
                </a:lnTo>
                <a:lnTo>
                  <a:pt x="216" y="900"/>
                </a:lnTo>
                <a:lnTo>
                  <a:pt x="210" y="900"/>
                </a:lnTo>
                <a:lnTo>
                  <a:pt x="210" y="906"/>
                </a:lnTo>
                <a:lnTo>
                  <a:pt x="204" y="906"/>
                </a:lnTo>
                <a:lnTo>
                  <a:pt x="198" y="906"/>
                </a:lnTo>
                <a:lnTo>
                  <a:pt x="210" y="900"/>
                </a:lnTo>
                <a:lnTo>
                  <a:pt x="210" y="894"/>
                </a:lnTo>
                <a:lnTo>
                  <a:pt x="216" y="888"/>
                </a:lnTo>
                <a:lnTo>
                  <a:pt x="204" y="882"/>
                </a:lnTo>
                <a:lnTo>
                  <a:pt x="204" y="894"/>
                </a:lnTo>
                <a:lnTo>
                  <a:pt x="198" y="894"/>
                </a:lnTo>
                <a:lnTo>
                  <a:pt x="192" y="900"/>
                </a:lnTo>
                <a:lnTo>
                  <a:pt x="186" y="894"/>
                </a:lnTo>
                <a:lnTo>
                  <a:pt x="180" y="894"/>
                </a:lnTo>
                <a:lnTo>
                  <a:pt x="174" y="894"/>
                </a:lnTo>
                <a:lnTo>
                  <a:pt x="168" y="900"/>
                </a:lnTo>
                <a:lnTo>
                  <a:pt x="162" y="906"/>
                </a:lnTo>
                <a:lnTo>
                  <a:pt x="156" y="906"/>
                </a:lnTo>
                <a:lnTo>
                  <a:pt x="150" y="900"/>
                </a:lnTo>
                <a:lnTo>
                  <a:pt x="144" y="894"/>
                </a:lnTo>
                <a:lnTo>
                  <a:pt x="138" y="894"/>
                </a:lnTo>
                <a:lnTo>
                  <a:pt x="132" y="888"/>
                </a:lnTo>
                <a:lnTo>
                  <a:pt x="126" y="888"/>
                </a:lnTo>
                <a:lnTo>
                  <a:pt x="120" y="888"/>
                </a:lnTo>
                <a:lnTo>
                  <a:pt x="114" y="894"/>
                </a:lnTo>
                <a:lnTo>
                  <a:pt x="120" y="900"/>
                </a:lnTo>
                <a:lnTo>
                  <a:pt x="126" y="900"/>
                </a:lnTo>
                <a:lnTo>
                  <a:pt x="132" y="900"/>
                </a:lnTo>
                <a:lnTo>
                  <a:pt x="132" y="906"/>
                </a:lnTo>
                <a:lnTo>
                  <a:pt x="126" y="912"/>
                </a:lnTo>
                <a:lnTo>
                  <a:pt x="126" y="918"/>
                </a:lnTo>
                <a:lnTo>
                  <a:pt x="114" y="918"/>
                </a:lnTo>
                <a:lnTo>
                  <a:pt x="108" y="924"/>
                </a:lnTo>
                <a:lnTo>
                  <a:pt x="102" y="924"/>
                </a:lnTo>
                <a:lnTo>
                  <a:pt x="90" y="924"/>
                </a:lnTo>
                <a:lnTo>
                  <a:pt x="84" y="924"/>
                </a:lnTo>
                <a:lnTo>
                  <a:pt x="78" y="924"/>
                </a:lnTo>
                <a:lnTo>
                  <a:pt x="60" y="924"/>
                </a:lnTo>
                <a:lnTo>
                  <a:pt x="54" y="942"/>
                </a:lnTo>
                <a:lnTo>
                  <a:pt x="48" y="936"/>
                </a:lnTo>
                <a:lnTo>
                  <a:pt x="42" y="930"/>
                </a:lnTo>
                <a:lnTo>
                  <a:pt x="36" y="930"/>
                </a:lnTo>
                <a:lnTo>
                  <a:pt x="30" y="936"/>
                </a:lnTo>
                <a:lnTo>
                  <a:pt x="30" y="930"/>
                </a:lnTo>
                <a:lnTo>
                  <a:pt x="30" y="924"/>
                </a:lnTo>
                <a:lnTo>
                  <a:pt x="18" y="918"/>
                </a:lnTo>
                <a:lnTo>
                  <a:pt x="18" y="912"/>
                </a:lnTo>
                <a:lnTo>
                  <a:pt x="12" y="912"/>
                </a:lnTo>
                <a:lnTo>
                  <a:pt x="6" y="912"/>
                </a:lnTo>
                <a:lnTo>
                  <a:pt x="6" y="900"/>
                </a:lnTo>
                <a:lnTo>
                  <a:pt x="6" y="894"/>
                </a:lnTo>
                <a:lnTo>
                  <a:pt x="0" y="870"/>
                </a:lnTo>
                <a:lnTo>
                  <a:pt x="6" y="846"/>
                </a:lnTo>
                <a:lnTo>
                  <a:pt x="6" y="810"/>
                </a:lnTo>
                <a:lnTo>
                  <a:pt x="12" y="774"/>
                </a:lnTo>
                <a:lnTo>
                  <a:pt x="12" y="756"/>
                </a:lnTo>
                <a:lnTo>
                  <a:pt x="18" y="744"/>
                </a:lnTo>
                <a:lnTo>
                  <a:pt x="18" y="732"/>
                </a:lnTo>
                <a:lnTo>
                  <a:pt x="12" y="576"/>
                </a:lnTo>
                <a:lnTo>
                  <a:pt x="12" y="570"/>
                </a:lnTo>
                <a:lnTo>
                  <a:pt x="18" y="564"/>
                </a:lnTo>
                <a:lnTo>
                  <a:pt x="24" y="558"/>
                </a:lnTo>
                <a:lnTo>
                  <a:pt x="30" y="552"/>
                </a:lnTo>
                <a:lnTo>
                  <a:pt x="36" y="552"/>
                </a:lnTo>
                <a:lnTo>
                  <a:pt x="42" y="552"/>
                </a:lnTo>
                <a:lnTo>
                  <a:pt x="66" y="552"/>
                </a:lnTo>
                <a:lnTo>
                  <a:pt x="78" y="558"/>
                </a:lnTo>
                <a:lnTo>
                  <a:pt x="90" y="558"/>
                </a:lnTo>
                <a:lnTo>
                  <a:pt x="108" y="558"/>
                </a:lnTo>
                <a:lnTo>
                  <a:pt x="144" y="558"/>
                </a:lnTo>
                <a:lnTo>
                  <a:pt x="204" y="552"/>
                </a:lnTo>
                <a:lnTo>
                  <a:pt x="210" y="558"/>
                </a:lnTo>
                <a:lnTo>
                  <a:pt x="216" y="558"/>
                </a:lnTo>
                <a:lnTo>
                  <a:pt x="210" y="564"/>
                </a:lnTo>
                <a:lnTo>
                  <a:pt x="216" y="564"/>
                </a:lnTo>
                <a:lnTo>
                  <a:pt x="222" y="564"/>
                </a:lnTo>
                <a:lnTo>
                  <a:pt x="240" y="564"/>
                </a:lnTo>
                <a:lnTo>
                  <a:pt x="258" y="564"/>
                </a:lnTo>
                <a:lnTo>
                  <a:pt x="264" y="570"/>
                </a:lnTo>
                <a:lnTo>
                  <a:pt x="276" y="570"/>
                </a:lnTo>
                <a:lnTo>
                  <a:pt x="282" y="564"/>
                </a:lnTo>
                <a:lnTo>
                  <a:pt x="294" y="564"/>
                </a:lnTo>
                <a:lnTo>
                  <a:pt x="294" y="570"/>
                </a:lnTo>
                <a:lnTo>
                  <a:pt x="300" y="570"/>
                </a:lnTo>
                <a:lnTo>
                  <a:pt x="378" y="564"/>
                </a:lnTo>
                <a:lnTo>
                  <a:pt x="408" y="558"/>
                </a:lnTo>
                <a:lnTo>
                  <a:pt x="432" y="552"/>
                </a:lnTo>
                <a:lnTo>
                  <a:pt x="450" y="546"/>
                </a:lnTo>
                <a:lnTo>
                  <a:pt x="468" y="546"/>
                </a:lnTo>
                <a:lnTo>
                  <a:pt x="468" y="552"/>
                </a:lnTo>
                <a:lnTo>
                  <a:pt x="504" y="552"/>
                </a:lnTo>
                <a:lnTo>
                  <a:pt x="510" y="534"/>
                </a:lnTo>
                <a:lnTo>
                  <a:pt x="516" y="510"/>
                </a:lnTo>
                <a:lnTo>
                  <a:pt x="522" y="510"/>
                </a:lnTo>
                <a:lnTo>
                  <a:pt x="528" y="420"/>
                </a:lnTo>
                <a:lnTo>
                  <a:pt x="522" y="414"/>
                </a:lnTo>
                <a:lnTo>
                  <a:pt x="516" y="396"/>
                </a:lnTo>
                <a:lnTo>
                  <a:pt x="510" y="372"/>
                </a:lnTo>
                <a:lnTo>
                  <a:pt x="498" y="348"/>
                </a:lnTo>
                <a:lnTo>
                  <a:pt x="474" y="282"/>
                </a:lnTo>
                <a:lnTo>
                  <a:pt x="474" y="270"/>
                </a:lnTo>
                <a:lnTo>
                  <a:pt x="480" y="258"/>
                </a:lnTo>
                <a:lnTo>
                  <a:pt x="486" y="258"/>
                </a:lnTo>
                <a:lnTo>
                  <a:pt x="492" y="252"/>
                </a:lnTo>
                <a:lnTo>
                  <a:pt x="486" y="246"/>
                </a:lnTo>
                <a:lnTo>
                  <a:pt x="492" y="246"/>
                </a:lnTo>
                <a:lnTo>
                  <a:pt x="504" y="234"/>
                </a:lnTo>
                <a:lnTo>
                  <a:pt x="510" y="228"/>
                </a:lnTo>
                <a:lnTo>
                  <a:pt x="516" y="228"/>
                </a:lnTo>
                <a:lnTo>
                  <a:pt x="516" y="222"/>
                </a:lnTo>
                <a:lnTo>
                  <a:pt x="516" y="216"/>
                </a:lnTo>
                <a:lnTo>
                  <a:pt x="522" y="216"/>
                </a:lnTo>
                <a:lnTo>
                  <a:pt x="528" y="210"/>
                </a:lnTo>
                <a:lnTo>
                  <a:pt x="534" y="210"/>
                </a:lnTo>
                <a:lnTo>
                  <a:pt x="540" y="210"/>
                </a:lnTo>
                <a:lnTo>
                  <a:pt x="546" y="210"/>
                </a:lnTo>
                <a:lnTo>
                  <a:pt x="552" y="210"/>
                </a:lnTo>
                <a:lnTo>
                  <a:pt x="564" y="210"/>
                </a:lnTo>
                <a:lnTo>
                  <a:pt x="570" y="216"/>
                </a:lnTo>
                <a:lnTo>
                  <a:pt x="576" y="216"/>
                </a:lnTo>
                <a:lnTo>
                  <a:pt x="588" y="228"/>
                </a:lnTo>
                <a:lnTo>
                  <a:pt x="594" y="234"/>
                </a:lnTo>
                <a:lnTo>
                  <a:pt x="600" y="240"/>
                </a:lnTo>
                <a:lnTo>
                  <a:pt x="618" y="246"/>
                </a:lnTo>
                <a:lnTo>
                  <a:pt x="624" y="246"/>
                </a:lnTo>
                <a:lnTo>
                  <a:pt x="636" y="252"/>
                </a:lnTo>
                <a:lnTo>
                  <a:pt x="654" y="252"/>
                </a:lnTo>
                <a:lnTo>
                  <a:pt x="654" y="258"/>
                </a:lnTo>
                <a:lnTo>
                  <a:pt x="666" y="264"/>
                </a:lnTo>
                <a:lnTo>
                  <a:pt x="672" y="264"/>
                </a:lnTo>
                <a:lnTo>
                  <a:pt x="678" y="264"/>
                </a:lnTo>
                <a:lnTo>
                  <a:pt x="696" y="258"/>
                </a:lnTo>
                <a:lnTo>
                  <a:pt x="696" y="252"/>
                </a:lnTo>
                <a:lnTo>
                  <a:pt x="696" y="246"/>
                </a:lnTo>
                <a:lnTo>
                  <a:pt x="690" y="234"/>
                </a:lnTo>
                <a:lnTo>
                  <a:pt x="684" y="210"/>
                </a:lnTo>
                <a:lnTo>
                  <a:pt x="678" y="192"/>
                </a:lnTo>
                <a:lnTo>
                  <a:pt x="672" y="174"/>
                </a:lnTo>
                <a:lnTo>
                  <a:pt x="672" y="168"/>
                </a:lnTo>
                <a:lnTo>
                  <a:pt x="672" y="162"/>
                </a:lnTo>
                <a:lnTo>
                  <a:pt x="672" y="156"/>
                </a:lnTo>
                <a:lnTo>
                  <a:pt x="684" y="132"/>
                </a:lnTo>
                <a:lnTo>
                  <a:pt x="684" y="120"/>
                </a:lnTo>
                <a:lnTo>
                  <a:pt x="684" y="108"/>
                </a:lnTo>
                <a:lnTo>
                  <a:pt x="678" y="102"/>
                </a:lnTo>
                <a:lnTo>
                  <a:pt x="678" y="96"/>
                </a:lnTo>
                <a:lnTo>
                  <a:pt x="684" y="96"/>
                </a:lnTo>
                <a:lnTo>
                  <a:pt x="696" y="90"/>
                </a:lnTo>
                <a:lnTo>
                  <a:pt x="702" y="84"/>
                </a:lnTo>
                <a:lnTo>
                  <a:pt x="720" y="72"/>
                </a:lnTo>
                <a:lnTo>
                  <a:pt x="738" y="66"/>
                </a:lnTo>
                <a:lnTo>
                  <a:pt x="756" y="60"/>
                </a:lnTo>
                <a:lnTo>
                  <a:pt x="768" y="60"/>
                </a:lnTo>
                <a:lnTo>
                  <a:pt x="798" y="72"/>
                </a:lnTo>
                <a:lnTo>
                  <a:pt x="804" y="78"/>
                </a:lnTo>
                <a:lnTo>
                  <a:pt x="816" y="84"/>
                </a:lnTo>
                <a:lnTo>
                  <a:pt x="822" y="84"/>
                </a:lnTo>
                <a:lnTo>
                  <a:pt x="828" y="72"/>
                </a:lnTo>
                <a:lnTo>
                  <a:pt x="828" y="60"/>
                </a:lnTo>
                <a:lnTo>
                  <a:pt x="828" y="36"/>
                </a:lnTo>
                <a:lnTo>
                  <a:pt x="828" y="24"/>
                </a:lnTo>
                <a:lnTo>
                  <a:pt x="828" y="12"/>
                </a:lnTo>
                <a:lnTo>
                  <a:pt x="834" y="12"/>
                </a:lnTo>
                <a:lnTo>
                  <a:pt x="852" y="6"/>
                </a:lnTo>
                <a:lnTo>
                  <a:pt x="876" y="6"/>
                </a:lnTo>
                <a:lnTo>
                  <a:pt x="894" y="6"/>
                </a:lnTo>
                <a:lnTo>
                  <a:pt x="906" y="12"/>
                </a:lnTo>
                <a:lnTo>
                  <a:pt x="912" y="24"/>
                </a:lnTo>
                <a:lnTo>
                  <a:pt x="924" y="24"/>
                </a:lnTo>
                <a:lnTo>
                  <a:pt x="930" y="30"/>
                </a:lnTo>
                <a:lnTo>
                  <a:pt x="936" y="30"/>
                </a:lnTo>
                <a:lnTo>
                  <a:pt x="936" y="36"/>
                </a:lnTo>
                <a:lnTo>
                  <a:pt x="942" y="36"/>
                </a:lnTo>
                <a:lnTo>
                  <a:pt x="948" y="42"/>
                </a:lnTo>
                <a:lnTo>
                  <a:pt x="960" y="48"/>
                </a:lnTo>
                <a:lnTo>
                  <a:pt x="966" y="48"/>
                </a:lnTo>
                <a:lnTo>
                  <a:pt x="1026" y="60"/>
                </a:lnTo>
                <a:lnTo>
                  <a:pt x="1050" y="60"/>
                </a:lnTo>
                <a:lnTo>
                  <a:pt x="1050" y="54"/>
                </a:lnTo>
                <a:lnTo>
                  <a:pt x="1062" y="54"/>
                </a:lnTo>
                <a:lnTo>
                  <a:pt x="1074" y="48"/>
                </a:lnTo>
                <a:lnTo>
                  <a:pt x="1086" y="42"/>
                </a:lnTo>
                <a:lnTo>
                  <a:pt x="1104" y="36"/>
                </a:lnTo>
                <a:lnTo>
                  <a:pt x="1116" y="30"/>
                </a:lnTo>
                <a:lnTo>
                  <a:pt x="1122" y="24"/>
                </a:lnTo>
                <a:lnTo>
                  <a:pt x="1128" y="18"/>
                </a:lnTo>
                <a:lnTo>
                  <a:pt x="1134" y="18"/>
                </a:lnTo>
                <a:lnTo>
                  <a:pt x="1140" y="12"/>
                </a:lnTo>
                <a:lnTo>
                  <a:pt x="1146" y="6"/>
                </a:lnTo>
                <a:lnTo>
                  <a:pt x="1158" y="0"/>
                </a:lnTo>
                <a:lnTo>
                  <a:pt x="1158" y="6"/>
                </a:lnTo>
                <a:lnTo>
                  <a:pt x="1164" y="6"/>
                </a:lnTo>
                <a:lnTo>
                  <a:pt x="1164" y="12"/>
                </a:lnTo>
                <a:lnTo>
                  <a:pt x="1170" y="24"/>
                </a:lnTo>
                <a:lnTo>
                  <a:pt x="1176" y="36"/>
                </a:lnTo>
                <a:lnTo>
                  <a:pt x="1188" y="42"/>
                </a:lnTo>
                <a:lnTo>
                  <a:pt x="1200" y="54"/>
                </a:lnTo>
                <a:lnTo>
                  <a:pt x="1224" y="84"/>
                </a:lnTo>
                <a:lnTo>
                  <a:pt x="1224" y="90"/>
                </a:lnTo>
                <a:lnTo>
                  <a:pt x="1236" y="96"/>
                </a:lnTo>
                <a:lnTo>
                  <a:pt x="1236" y="108"/>
                </a:lnTo>
                <a:lnTo>
                  <a:pt x="1248" y="114"/>
                </a:lnTo>
                <a:lnTo>
                  <a:pt x="1254" y="114"/>
                </a:lnTo>
                <a:lnTo>
                  <a:pt x="1260" y="114"/>
                </a:lnTo>
                <a:lnTo>
                  <a:pt x="1296" y="114"/>
                </a:lnTo>
                <a:lnTo>
                  <a:pt x="1302" y="114"/>
                </a:lnTo>
                <a:lnTo>
                  <a:pt x="1320" y="108"/>
                </a:lnTo>
                <a:lnTo>
                  <a:pt x="1326" y="108"/>
                </a:lnTo>
                <a:lnTo>
                  <a:pt x="1326" y="138"/>
                </a:lnTo>
                <a:lnTo>
                  <a:pt x="1326" y="210"/>
                </a:lnTo>
                <a:lnTo>
                  <a:pt x="1320" y="252"/>
                </a:lnTo>
                <a:lnTo>
                  <a:pt x="1320" y="270"/>
                </a:lnTo>
                <a:lnTo>
                  <a:pt x="1320" y="288"/>
                </a:lnTo>
                <a:lnTo>
                  <a:pt x="1320" y="318"/>
                </a:lnTo>
                <a:lnTo>
                  <a:pt x="1326" y="354"/>
                </a:lnTo>
                <a:lnTo>
                  <a:pt x="1326" y="372"/>
                </a:lnTo>
                <a:lnTo>
                  <a:pt x="1332" y="420"/>
                </a:lnTo>
                <a:lnTo>
                  <a:pt x="1332" y="450"/>
                </a:lnTo>
                <a:lnTo>
                  <a:pt x="1338" y="480"/>
                </a:lnTo>
                <a:lnTo>
                  <a:pt x="1344" y="486"/>
                </a:lnTo>
                <a:lnTo>
                  <a:pt x="1338" y="492"/>
                </a:lnTo>
                <a:lnTo>
                  <a:pt x="1344" y="492"/>
                </a:lnTo>
                <a:lnTo>
                  <a:pt x="1344" y="498"/>
                </a:lnTo>
                <a:lnTo>
                  <a:pt x="1350" y="498"/>
                </a:lnTo>
                <a:lnTo>
                  <a:pt x="1350" y="522"/>
                </a:lnTo>
                <a:lnTo>
                  <a:pt x="1362" y="564"/>
                </a:lnTo>
                <a:lnTo>
                  <a:pt x="1368" y="582"/>
                </a:lnTo>
                <a:lnTo>
                  <a:pt x="1380" y="600"/>
                </a:lnTo>
                <a:lnTo>
                  <a:pt x="1386" y="636"/>
                </a:lnTo>
                <a:lnTo>
                  <a:pt x="1380" y="660"/>
                </a:lnTo>
                <a:lnTo>
                  <a:pt x="1380" y="678"/>
                </a:lnTo>
                <a:lnTo>
                  <a:pt x="1380" y="684"/>
                </a:lnTo>
                <a:lnTo>
                  <a:pt x="1374" y="684"/>
                </a:lnTo>
                <a:lnTo>
                  <a:pt x="1368" y="690"/>
                </a:lnTo>
                <a:lnTo>
                  <a:pt x="1356" y="702"/>
                </a:lnTo>
                <a:lnTo>
                  <a:pt x="1350" y="708"/>
                </a:lnTo>
                <a:lnTo>
                  <a:pt x="1356" y="714"/>
                </a:lnTo>
                <a:lnTo>
                  <a:pt x="1368" y="726"/>
                </a:lnTo>
                <a:lnTo>
                  <a:pt x="1380" y="738"/>
                </a:lnTo>
                <a:lnTo>
                  <a:pt x="1386" y="744"/>
                </a:lnTo>
                <a:lnTo>
                  <a:pt x="1392" y="744"/>
                </a:lnTo>
                <a:lnTo>
                  <a:pt x="1410" y="750"/>
                </a:lnTo>
                <a:lnTo>
                  <a:pt x="1416" y="756"/>
                </a:lnTo>
                <a:lnTo>
                  <a:pt x="1422" y="756"/>
                </a:lnTo>
                <a:lnTo>
                  <a:pt x="1422" y="762"/>
                </a:lnTo>
                <a:lnTo>
                  <a:pt x="1428" y="774"/>
                </a:lnTo>
                <a:lnTo>
                  <a:pt x="1428" y="780"/>
                </a:lnTo>
                <a:lnTo>
                  <a:pt x="1434" y="780"/>
                </a:lnTo>
                <a:lnTo>
                  <a:pt x="1440" y="798"/>
                </a:lnTo>
                <a:lnTo>
                  <a:pt x="1422" y="816"/>
                </a:lnTo>
                <a:lnTo>
                  <a:pt x="1386" y="810"/>
                </a:lnTo>
                <a:lnTo>
                  <a:pt x="1380" y="816"/>
                </a:lnTo>
                <a:lnTo>
                  <a:pt x="1374" y="840"/>
                </a:lnTo>
                <a:lnTo>
                  <a:pt x="1350" y="852"/>
                </a:lnTo>
                <a:lnTo>
                  <a:pt x="1350" y="858"/>
                </a:lnTo>
                <a:lnTo>
                  <a:pt x="1350" y="864"/>
                </a:lnTo>
                <a:lnTo>
                  <a:pt x="1344" y="864"/>
                </a:lnTo>
                <a:lnTo>
                  <a:pt x="1338" y="870"/>
                </a:lnTo>
                <a:lnTo>
                  <a:pt x="1332" y="876"/>
                </a:lnTo>
                <a:lnTo>
                  <a:pt x="1314" y="876"/>
                </a:lnTo>
                <a:lnTo>
                  <a:pt x="1314" y="870"/>
                </a:lnTo>
                <a:lnTo>
                  <a:pt x="1308" y="870"/>
                </a:lnTo>
                <a:lnTo>
                  <a:pt x="1302" y="864"/>
                </a:lnTo>
                <a:lnTo>
                  <a:pt x="1296" y="864"/>
                </a:lnTo>
                <a:lnTo>
                  <a:pt x="1284" y="870"/>
                </a:lnTo>
                <a:lnTo>
                  <a:pt x="1266" y="870"/>
                </a:lnTo>
                <a:lnTo>
                  <a:pt x="1260" y="870"/>
                </a:lnTo>
                <a:lnTo>
                  <a:pt x="1248" y="876"/>
                </a:lnTo>
                <a:lnTo>
                  <a:pt x="1236" y="876"/>
                </a:lnTo>
                <a:lnTo>
                  <a:pt x="1230" y="882"/>
                </a:lnTo>
                <a:lnTo>
                  <a:pt x="1224" y="894"/>
                </a:lnTo>
                <a:lnTo>
                  <a:pt x="1218" y="918"/>
                </a:lnTo>
                <a:lnTo>
                  <a:pt x="1218" y="930"/>
                </a:lnTo>
                <a:lnTo>
                  <a:pt x="1218" y="942"/>
                </a:lnTo>
                <a:lnTo>
                  <a:pt x="1212" y="948"/>
                </a:lnTo>
                <a:lnTo>
                  <a:pt x="1200" y="984"/>
                </a:lnTo>
                <a:lnTo>
                  <a:pt x="1194" y="1008"/>
                </a:lnTo>
                <a:lnTo>
                  <a:pt x="1218" y="1038"/>
                </a:lnTo>
                <a:lnTo>
                  <a:pt x="1224" y="1044"/>
                </a:lnTo>
                <a:lnTo>
                  <a:pt x="1224" y="1062"/>
                </a:lnTo>
                <a:lnTo>
                  <a:pt x="1236" y="1080"/>
                </a:lnTo>
                <a:lnTo>
                  <a:pt x="1236" y="1086"/>
                </a:lnTo>
                <a:lnTo>
                  <a:pt x="1230" y="1092"/>
                </a:lnTo>
                <a:lnTo>
                  <a:pt x="1224" y="1110"/>
                </a:lnTo>
                <a:lnTo>
                  <a:pt x="1218" y="1122"/>
                </a:lnTo>
                <a:lnTo>
                  <a:pt x="1224" y="1140"/>
                </a:lnTo>
                <a:lnTo>
                  <a:pt x="1218" y="1146"/>
                </a:lnTo>
                <a:lnTo>
                  <a:pt x="1218" y="1152"/>
                </a:lnTo>
                <a:lnTo>
                  <a:pt x="1212" y="1164"/>
                </a:lnTo>
                <a:close/>
              </a:path>
            </a:pathLst>
          </a:custGeom>
          <a:solidFill>
            <a:srgbClr val="FF9900"/>
          </a:solidFill>
          <a:ln w="9525">
            <a:solidFill>
              <a:schemeClr val="bg1"/>
            </a:solidFill>
            <a:round/>
            <a:headEnd/>
            <a:tailEnd/>
          </a:ln>
        </p:spPr>
        <p:txBody>
          <a:bodyPr/>
          <a:lstStyle/>
          <a:p>
            <a:endParaRPr lang="en-GB">
              <a:solidFill>
                <a:schemeClr val="bg1"/>
              </a:solidFill>
            </a:endParaRPr>
          </a:p>
        </p:txBody>
      </p:sp>
      <p:sp>
        <p:nvSpPr>
          <p:cNvPr id="20520" name="Freeform 37"/>
          <p:cNvSpPr>
            <a:spLocks/>
          </p:cNvSpPr>
          <p:nvPr/>
        </p:nvSpPr>
        <p:spPr bwMode="gray">
          <a:xfrm>
            <a:off x="3513138" y="1787525"/>
            <a:ext cx="1093787" cy="1149350"/>
          </a:xfrm>
          <a:custGeom>
            <a:avLst/>
            <a:gdLst>
              <a:gd name="T0" fmla="*/ 58668 w 1398"/>
              <a:gd name="T1" fmla="*/ 38648 h 1428"/>
              <a:gd name="T2" fmla="*/ 53192 w 1398"/>
              <a:gd name="T3" fmla="*/ 43479 h 1428"/>
              <a:gd name="T4" fmla="*/ 44588 w 1398"/>
              <a:gd name="T5" fmla="*/ 47505 h 1428"/>
              <a:gd name="T6" fmla="*/ 43023 w 1398"/>
              <a:gd name="T7" fmla="*/ 54752 h 1428"/>
              <a:gd name="T8" fmla="*/ 43023 w 1398"/>
              <a:gd name="T9" fmla="*/ 61998 h 1428"/>
              <a:gd name="T10" fmla="*/ 44588 w 1398"/>
              <a:gd name="T11" fmla="*/ 65219 h 1428"/>
              <a:gd name="T12" fmla="*/ 43805 w 1398"/>
              <a:gd name="T13" fmla="*/ 69245 h 1428"/>
              <a:gd name="T14" fmla="*/ 44588 w 1398"/>
              <a:gd name="T15" fmla="*/ 71660 h 1428"/>
              <a:gd name="T16" fmla="*/ 45370 w 1398"/>
              <a:gd name="T17" fmla="*/ 74076 h 1428"/>
              <a:gd name="T18" fmla="*/ 45370 w 1398"/>
              <a:gd name="T19" fmla="*/ 77297 h 1428"/>
              <a:gd name="T20" fmla="*/ 38330 w 1398"/>
              <a:gd name="T21" fmla="*/ 80517 h 1428"/>
              <a:gd name="T22" fmla="*/ 36765 w 1398"/>
              <a:gd name="T23" fmla="*/ 86959 h 1428"/>
              <a:gd name="T24" fmla="*/ 37548 w 1398"/>
              <a:gd name="T25" fmla="*/ 90985 h 1428"/>
              <a:gd name="T26" fmla="*/ 33636 w 1398"/>
              <a:gd name="T27" fmla="*/ 91790 h 1428"/>
              <a:gd name="T28" fmla="*/ 30507 w 1398"/>
              <a:gd name="T29" fmla="*/ 90985 h 1428"/>
              <a:gd name="T30" fmla="*/ 25814 w 1398"/>
              <a:gd name="T31" fmla="*/ 87764 h 1428"/>
              <a:gd name="T32" fmla="*/ 22685 w 1398"/>
              <a:gd name="T33" fmla="*/ 91790 h 1428"/>
              <a:gd name="T34" fmla="*/ 17209 w 1398"/>
              <a:gd name="T35" fmla="*/ 92595 h 1428"/>
              <a:gd name="T36" fmla="*/ 16427 w 1398"/>
              <a:gd name="T37" fmla="*/ 97426 h 1428"/>
              <a:gd name="T38" fmla="*/ 9387 w 1398"/>
              <a:gd name="T39" fmla="*/ 95816 h 1428"/>
              <a:gd name="T40" fmla="*/ 7040 w 1398"/>
              <a:gd name="T41" fmla="*/ 90985 h 1428"/>
              <a:gd name="T42" fmla="*/ 1564 w 1398"/>
              <a:gd name="T43" fmla="*/ 87764 h 1428"/>
              <a:gd name="T44" fmla="*/ 3129 w 1398"/>
              <a:gd name="T45" fmla="*/ 82933 h 1428"/>
              <a:gd name="T46" fmla="*/ 1564 w 1398"/>
              <a:gd name="T47" fmla="*/ 73271 h 1428"/>
              <a:gd name="T48" fmla="*/ 4693 w 1398"/>
              <a:gd name="T49" fmla="*/ 68440 h 1428"/>
              <a:gd name="T50" fmla="*/ 7822 w 1398"/>
              <a:gd name="T51" fmla="*/ 68440 h 1428"/>
              <a:gd name="T52" fmla="*/ 11734 w 1398"/>
              <a:gd name="T53" fmla="*/ 66024 h 1428"/>
              <a:gd name="T54" fmla="*/ 15645 w 1398"/>
              <a:gd name="T55" fmla="*/ 61998 h 1428"/>
              <a:gd name="T56" fmla="*/ 12516 w 1398"/>
              <a:gd name="T57" fmla="*/ 58778 h 1428"/>
              <a:gd name="T58" fmla="*/ 12516 w 1398"/>
              <a:gd name="T59" fmla="*/ 55557 h 1428"/>
              <a:gd name="T60" fmla="*/ 10951 w 1398"/>
              <a:gd name="T61" fmla="*/ 43479 h 1428"/>
              <a:gd name="T62" fmla="*/ 9387 w 1398"/>
              <a:gd name="T63" fmla="*/ 38648 h 1428"/>
              <a:gd name="T64" fmla="*/ 8605 w 1398"/>
              <a:gd name="T65" fmla="*/ 24960 h 1428"/>
              <a:gd name="T66" fmla="*/ 10951 w 1398"/>
              <a:gd name="T67" fmla="*/ 14493 h 1428"/>
              <a:gd name="T68" fmla="*/ 14863 w 1398"/>
              <a:gd name="T69" fmla="*/ 12078 h 1428"/>
              <a:gd name="T70" fmla="*/ 20338 w 1398"/>
              <a:gd name="T71" fmla="*/ 10467 h 1428"/>
              <a:gd name="T72" fmla="*/ 26596 w 1398"/>
              <a:gd name="T73" fmla="*/ 9662 h 1428"/>
              <a:gd name="T74" fmla="*/ 30507 w 1398"/>
              <a:gd name="T75" fmla="*/ 7247 h 1428"/>
              <a:gd name="T76" fmla="*/ 33636 w 1398"/>
              <a:gd name="T77" fmla="*/ 5636 h 1428"/>
              <a:gd name="T78" fmla="*/ 37548 w 1398"/>
              <a:gd name="T79" fmla="*/ 2416 h 1428"/>
              <a:gd name="T80" fmla="*/ 42241 w 1398"/>
              <a:gd name="T81" fmla="*/ 0 h 1428"/>
              <a:gd name="T82" fmla="*/ 45370 w 1398"/>
              <a:gd name="T83" fmla="*/ 0 h 1428"/>
              <a:gd name="T84" fmla="*/ 51628 w 1398"/>
              <a:gd name="T85" fmla="*/ 1610 h 1428"/>
              <a:gd name="T86" fmla="*/ 54757 w 1398"/>
              <a:gd name="T87" fmla="*/ 2416 h 1428"/>
              <a:gd name="T88" fmla="*/ 58668 w 1398"/>
              <a:gd name="T89" fmla="*/ 4831 h 1428"/>
              <a:gd name="T90" fmla="*/ 62579 w 1398"/>
              <a:gd name="T91" fmla="*/ 7247 h 1428"/>
              <a:gd name="T92" fmla="*/ 64926 w 1398"/>
              <a:gd name="T93" fmla="*/ 9662 h 1428"/>
              <a:gd name="T94" fmla="*/ 68055 w 1398"/>
              <a:gd name="T95" fmla="*/ 12078 h 1428"/>
              <a:gd name="T96" fmla="*/ 73531 w 1398"/>
              <a:gd name="T97" fmla="*/ 12078 h 1428"/>
              <a:gd name="T98" fmla="*/ 77442 w 1398"/>
              <a:gd name="T99" fmla="*/ 16909 h 1428"/>
              <a:gd name="T100" fmla="*/ 80571 w 1398"/>
              <a:gd name="T101" fmla="*/ 18519 h 1428"/>
              <a:gd name="T102" fmla="*/ 86046 w 1398"/>
              <a:gd name="T103" fmla="*/ 20934 h 1428"/>
              <a:gd name="T104" fmla="*/ 90740 w 1398"/>
              <a:gd name="T105" fmla="*/ 21740 h 1428"/>
              <a:gd name="T106" fmla="*/ 93869 w 1398"/>
              <a:gd name="T107" fmla="*/ 21740 h 1428"/>
              <a:gd name="T108" fmla="*/ 90740 w 1398"/>
              <a:gd name="T109" fmla="*/ 28181 h 1428"/>
              <a:gd name="T110" fmla="*/ 81353 w 1398"/>
              <a:gd name="T111" fmla="*/ 29791 h 1428"/>
              <a:gd name="T112" fmla="*/ 75877 w 1398"/>
              <a:gd name="T113" fmla="*/ 27376 h 1428"/>
              <a:gd name="T114" fmla="*/ 71184 w 1398"/>
              <a:gd name="T115" fmla="*/ 23350 h 1428"/>
              <a:gd name="T116" fmla="*/ 58668 w 1398"/>
              <a:gd name="T117" fmla="*/ 23350 h 1428"/>
              <a:gd name="T118" fmla="*/ 56321 w 1398"/>
              <a:gd name="T119" fmla="*/ 31402 h 1428"/>
              <a:gd name="T120" fmla="*/ 62579 w 1398"/>
              <a:gd name="T121" fmla="*/ 33012 h 14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98"/>
              <a:gd name="T184" fmla="*/ 0 h 1428"/>
              <a:gd name="T185" fmla="*/ 1398 w 1398"/>
              <a:gd name="T186" fmla="*/ 1428 h 142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98" h="1428">
                <a:moveTo>
                  <a:pt x="924" y="474"/>
                </a:moveTo>
                <a:lnTo>
                  <a:pt x="900" y="480"/>
                </a:lnTo>
                <a:lnTo>
                  <a:pt x="864" y="486"/>
                </a:lnTo>
                <a:lnTo>
                  <a:pt x="864" y="504"/>
                </a:lnTo>
                <a:lnTo>
                  <a:pt x="858" y="522"/>
                </a:lnTo>
                <a:lnTo>
                  <a:pt x="864" y="528"/>
                </a:lnTo>
                <a:lnTo>
                  <a:pt x="864" y="552"/>
                </a:lnTo>
                <a:lnTo>
                  <a:pt x="852" y="552"/>
                </a:lnTo>
                <a:lnTo>
                  <a:pt x="846" y="564"/>
                </a:lnTo>
                <a:lnTo>
                  <a:pt x="840" y="582"/>
                </a:lnTo>
                <a:lnTo>
                  <a:pt x="834" y="594"/>
                </a:lnTo>
                <a:lnTo>
                  <a:pt x="828" y="606"/>
                </a:lnTo>
                <a:lnTo>
                  <a:pt x="828" y="618"/>
                </a:lnTo>
                <a:lnTo>
                  <a:pt x="786" y="630"/>
                </a:lnTo>
                <a:lnTo>
                  <a:pt x="774" y="636"/>
                </a:lnTo>
                <a:lnTo>
                  <a:pt x="762" y="642"/>
                </a:lnTo>
                <a:lnTo>
                  <a:pt x="744" y="648"/>
                </a:lnTo>
                <a:lnTo>
                  <a:pt x="714" y="660"/>
                </a:lnTo>
                <a:lnTo>
                  <a:pt x="696" y="666"/>
                </a:lnTo>
                <a:lnTo>
                  <a:pt x="666" y="672"/>
                </a:lnTo>
                <a:lnTo>
                  <a:pt x="654" y="684"/>
                </a:lnTo>
                <a:lnTo>
                  <a:pt x="648" y="684"/>
                </a:lnTo>
                <a:lnTo>
                  <a:pt x="642" y="696"/>
                </a:lnTo>
                <a:lnTo>
                  <a:pt x="636" y="696"/>
                </a:lnTo>
                <a:lnTo>
                  <a:pt x="630" y="714"/>
                </a:lnTo>
                <a:lnTo>
                  <a:pt x="624" y="738"/>
                </a:lnTo>
                <a:lnTo>
                  <a:pt x="624" y="762"/>
                </a:lnTo>
                <a:lnTo>
                  <a:pt x="630" y="780"/>
                </a:lnTo>
                <a:lnTo>
                  <a:pt x="636" y="804"/>
                </a:lnTo>
                <a:lnTo>
                  <a:pt x="642" y="822"/>
                </a:lnTo>
                <a:lnTo>
                  <a:pt x="642" y="828"/>
                </a:lnTo>
                <a:lnTo>
                  <a:pt x="636" y="828"/>
                </a:lnTo>
                <a:lnTo>
                  <a:pt x="636" y="834"/>
                </a:lnTo>
                <a:lnTo>
                  <a:pt x="636" y="870"/>
                </a:lnTo>
                <a:lnTo>
                  <a:pt x="636" y="882"/>
                </a:lnTo>
                <a:lnTo>
                  <a:pt x="636" y="906"/>
                </a:lnTo>
                <a:lnTo>
                  <a:pt x="630" y="906"/>
                </a:lnTo>
                <a:lnTo>
                  <a:pt x="636" y="918"/>
                </a:lnTo>
                <a:lnTo>
                  <a:pt x="642" y="918"/>
                </a:lnTo>
                <a:lnTo>
                  <a:pt x="642" y="930"/>
                </a:lnTo>
                <a:lnTo>
                  <a:pt x="648" y="936"/>
                </a:lnTo>
                <a:lnTo>
                  <a:pt x="654" y="936"/>
                </a:lnTo>
                <a:lnTo>
                  <a:pt x="654" y="942"/>
                </a:lnTo>
                <a:lnTo>
                  <a:pt x="654" y="948"/>
                </a:lnTo>
                <a:lnTo>
                  <a:pt x="648" y="954"/>
                </a:lnTo>
                <a:lnTo>
                  <a:pt x="648" y="960"/>
                </a:lnTo>
                <a:lnTo>
                  <a:pt x="648" y="966"/>
                </a:lnTo>
                <a:lnTo>
                  <a:pt x="648" y="972"/>
                </a:lnTo>
                <a:lnTo>
                  <a:pt x="648" y="990"/>
                </a:lnTo>
                <a:lnTo>
                  <a:pt x="654" y="996"/>
                </a:lnTo>
                <a:lnTo>
                  <a:pt x="648" y="1002"/>
                </a:lnTo>
                <a:lnTo>
                  <a:pt x="648" y="1008"/>
                </a:lnTo>
                <a:lnTo>
                  <a:pt x="654" y="1014"/>
                </a:lnTo>
                <a:lnTo>
                  <a:pt x="654" y="1020"/>
                </a:lnTo>
                <a:lnTo>
                  <a:pt x="654" y="1026"/>
                </a:lnTo>
                <a:lnTo>
                  <a:pt x="660" y="1026"/>
                </a:lnTo>
                <a:lnTo>
                  <a:pt x="660" y="1032"/>
                </a:lnTo>
                <a:lnTo>
                  <a:pt x="660" y="1038"/>
                </a:lnTo>
                <a:lnTo>
                  <a:pt x="666" y="1044"/>
                </a:lnTo>
                <a:lnTo>
                  <a:pt x="672" y="1050"/>
                </a:lnTo>
                <a:lnTo>
                  <a:pt x="672" y="1056"/>
                </a:lnTo>
                <a:lnTo>
                  <a:pt x="672" y="1062"/>
                </a:lnTo>
                <a:lnTo>
                  <a:pt x="672" y="1068"/>
                </a:lnTo>
                <a:lnTo>
                  <a:pt x="672" y="1074"/>
                </a:lnTo>
                <a:lnTo>
                  <a:pt x="678" y="1074"/>
                </a:lnTo>
                <a:lnTo>
                  <a:pt x="678" y="1080"/>
                </a:lnTo>
                <a:lnTo>
                  <a:pt x="678" y="1086"/>
                </a:lnTo>
                <a:lnTo>
                  <a:pt x="672" y="1092"/>
                </a:lnTo>
                <a:lnTo>
                  <a:pt x="672" y="1098"/>
                </a:lnTo>
                <a:lnTo>
                  <a:pt x="672" y="1104"/>
                </a:lnTo>
                <a:lnTo>
                  <a:pt x="666" y="1116"/>
                </a:lnTo>
                <a:lnTo>
                  <a:pt x="624" y="1122"/>
                </a:lnTo>
                <a:lnTo>
                  <a:pt x="576" y="1134"/>
                </a:lnTo>
                <a:lnTo>
                  <a:pt x="570" y="1140"/>
                </a:lnTo>
                <a:lnTo>
                  <a:pt x="570" y="1146"/>
                </a:lnTo>
                <a:lnTo>
                  <a:pt x="564" y="1146"/>
                </a:lnTo>
                <a:lnTo>
                  <a:pt x="564" y="1152"/>
                </a:lnTo>
                <a:lnTo>
                  <a:pt x="564" y="1164"/>
                </a:lnTo>
                <a:lnTo>
                  <a:pt x="564" y="1170"/>
                </a:lnTo>
                <a:lnTo>
                  <a:pt x="564" y="1176"/>
                </a:lnTo>
                <a:lnTo>
                  <a:pt x="546" y="1176"/>
                </a:lnTo>
                <a:lnTo>
                  <a:pt x="540" y="1212"/>
                </a:lnTo>
                <a:lnTo>
                  <a:pt x="540" y="1230"/>
                </a:lnTo>
                <a:lnTo>
                  <a:pt x="546" y="1242"/>
                </a:lnTo>
                <a:lnTo>
                  <a:pt x="546" y="1254"/>
                </a:lnTo>
                <a:lnTo>
                  <a:pt x="558" y="1266"/>
                </a:lnTo>
                <a:lnTo>
                  <a:pt x="576" y="1272"/>
                </a:lnTo>
                <a:lnTo>
                  <a:pt x="570" y="1278"/>
                </a:lnTo>
                <a:lnTo>
                  <a:pt x="576" y="1284"/>
                </a:lnTo>
                <a:lnTo>
                  <a:pt x="570" y="1296"/>
                </a:lnTo>
                <a:lnTo>
                  <a:pt x="558" y="1302"/>
                </a:lnTo>
                <a:lnTo>
                  <a:pt x="540" y="1308"/>
                </a:lnTo>
                <a:lnTo>
                  <a:pt x="522" y="1314"/>
                </a:lnTo>
                <a:lnTo>
                  <a:pt x="516" y="1314"/>
                </a:lnTo>
                <a:lnTo>
                  <a:pt x="510" y="1314"/>
                </a:lnTo>
                <a:lnTo>
                  <a:pt x="504" y="1314"/>
                </a:lnTo>
                <a:lnTo>
                  <a:pt x="498" y="1320"/>
                </a:lnTo>
                <a:lnTo>
                  <a:pt x="492" y="1320"/>
                </a:lnTo>
                <a:lnTo>
                  <a:pt x="492" y="1326"/>
                </a:lnTo>
                <a:lnTo>
                  <a:pt x="486" y="1326"/>
                </a:lnTo>
                <a:lnTo>
                  <a:pt x="480" y="1326"/>
                </a:lnTo>
                <a:lnTo>
                  <a:pt x="480" y="1320"/>
                </a:lnTo>
                <a:lnTo>
                  <a:pt x="468" y="1314"/>
                </a:lnTo>
                <a:lnTo>
                  <a:pt x="462" y="1308"/>
                </a:lnTo>
                <a:lnTo>
                  <a:pt x="456" y="1302"/>
                </a:lnTo>
                <a:lnTo>
                  <a:pt x="444" y="1296"/>
                </a:lnTo>
                <a:lnTo>
                  <a:pt x="420" y="1290"/>
                </a:lnTo>
                <a:lnTo>
                  <a:pt x="414" y="1278"/>
                </a:lnTo>
                <a:lnTo>
                  <a:pt x="408" y="1278"/>
                </a:lnTo>
                <a:lnTo>
                  <a:pt x="408" y="1266"/>
                </a:lnTo>
                <a:lnTo>
                  <a:pt x="402" y="1260"/>
                </a:lnTo>
                <a:lnTo>
                  <a:pt x="384" y="1260"/>
                </a:lnTo>
                <a:lnTo>
                  <a:pt x="372" y="1266"/>
                </a:lnTo>
                <a:lnTo>
                  <a:pt x="360" y="1272"/>
                </a:lnTo>
                <a:lnTo>
                  <a:pt x="348" y="1272"/>
                </a:lnTo>
                <a:lnTo>
                  <a:pt x="342" y="1284"/>
                </a:lnTo>
                <a:lnTo>
                  <a:pt x="336" y="1290"/>
                </a:lnTo>
                <a:lnTo>
                  <a:pt x="336" y="1308"/>
                </a:lnTo>
                <a:lnTo>
                  <a:pt x="336" y="1314"/>
                </a:lnTo>
                <a:lnTo>
                  <a:pt x="336" y="1320"/>
                </a:lnTo>
                <a:lnTo>
                  <a:pt x="330" y="1326"/>
                </a:lnTo>
                <a:lnTo>
                  <a:pt x="330" y="1332"/>
                </a:lnTo>
                <a:lnTo>
                  <a:pt x="330" y="1338"/>
                </a:lnTo>
                <a:lnTo>
                  <a:pt x="300" y="1338"/>
                </a:lnTo>
                <a:lnTo>
                  <a:pt x="288" y="1338"/>
                </a:lnTo>
                <a:lnTo>
                  <a:pt x="258" y="1326"/>
                </a:lnTo>
                <a:lnTo>
                  <a:pt x="246" y="1332"/>
                </a:lnTo>
                <a:lnTo>
                  <a:pt x="240" y="1338"/>
                </a:lnTo>
                <a:lnTo>
                  <a:pt x="234" y="1338"/>
                </a:lnTo>
                <a:lnTo>
                  <a:pt x="228" y="1350"/>
                </a:lnTo>
                <a:lnTo>
                  <a:pt x="228" y="1374"/>
                </a:lnTo>
                <a:lnTo>
                  <a:pt x="234" y="1392"/>
                </a:lnTo>
                <a:lnTo>
                  <a:pt x="246" y="1398"/>
                </a:lnTo>
                <a:lnTo>
                  <a:pt x="246" y="1410"/>
                </a:lnTo>
                <a:lnTo>
                  <a:pt x="216" y="1428"/>
                </a:lnTo>
                <a:lnTo>
                  <a:pt x="198" y="1428"/>
                </a:lnTo>
                <a:lnTo>
                  <a:pt x="192" y="1422"/>
                </a:lnTo>
                <a:lnTo>
                  <a:pt x="174" y="1410"/>
                </a:lnTo>
                <a:lnTo>
                  <a:pt x="156" y="1386"/>
                </a:lnTo>
                <a:lnTo>
                  <a:pt x="132" y="1374"/>
                </a:lnTo>
                <a:lnTo>
                  <a:pt x="108" y="1368"/>
                </a:lnTo>
                <a:lnTo>
                  <a:pt x="84" y="1368"/>
                </a:lnTo>
                <a:lnTo>
                  <a:pt x="96" y="1356"/>
                </a:lnTo>
                <a:lnTo>
                  <a:pt x="102" y="1344"/>
                </a:lnTo>
                <a:lnTo>
                  <a:pt x="102" y="1332"/>
                </a:lnTo>
                <a:lnTo>
                  <a:pt x="108" y="1320"/>
                </a:lnTo>
                <a:lnTo>
                  <a:pt x="108" y="1302"/>
                </a:lnTo>
                <a:lnTo>
                  <a:pt x="96" y="1278"/>
                </a:lnTo>
                <a:lnTo>
                  <a:pt x="66" y="1284"/>
                </a:lnTo>
                <a:lnTo>
                  <a:pt x="54" y="1278"/>
                </a:lnTo>
                <a:lnTo>
                  <a:pt x="36" y="1278"/>
                </a:lnTo>
                <a:lnTo>
                  <a:pt x="18" y="1284"/>
                </a:lnTo>
                <a:lnTo>
                  <a:pt x="18" y="1272"/>
                </a:lnTo>
                <a:lnTo>
                  <a:pt x="24" y="1260"/>
                </a:lnTo>
                <a:lnTo>
                  <a:pt x="24" y="1254"/>
                </a:lnTo>
                <a:lnTo>
                  <a:pt x="30" y="1248"/>
                </a:lnTo>
                <a:lnTo>
                  <a:pt x="24" y="1230"/>
                </a:lnTo>
                <a:lnTo>
                  <a:pt x="30" y="1218"/>
                </a:lnTo>
                <a:lnTo>
                  <a:pt x="36" y="1200"/>
                </a:lnTo>
                <a:lnTo>
                  <a:pt x="42" y="1194"/>
                </a:lnTo>
                <a:lnTo>
                  <a:pt x="42" y="1188"/>
                </a:lnTo>
                <a:lnTo>
                  <a:pt x="30" y="1170"/>
                </a:lnTo>
                <a:lnTo>
                  <a:pt x="30" y="1152"/>
                </a:lnTo>
                <a:lnTo>
                  <a:pt x="24" y="1146"/>
                </a:lnTo>
                <a:lnTo>
                  <a:pt x="0" y="1116"/>
                </a:lnTo>
                <a:lnTo>
                  <a:pt x="6" y="1092"/>
                </a:lnTo>
                <a:lnTo>
                  <a:pt x="18" y="1056"/>
                </a:lnTo>
                <a:lnTo>
                  <a:pt x="24" y="1050"/>
                </a:lnTo>
                <a:lnTo>
                  <a:pt x="24" y="1038"/>
                </a:lnTo>
                <a:lnTo>
                  <a:pt x="24" y="1026"/>
                </a:lnTo>
                <a:lnTo>
                  <a:pt x="30" y="1002"/>
                </a:lnTo>
                <a:lnTo>
                  <a:pt x="36" y="990"/>
                </a:lnTo>
                <a:lnTo>
                  <a:pt x="42" y="984"/>
                </a:lnTo>
                <a:lnTo>
                  <a:pt x="54" y="984"/>
                </a:lnTo>
                <a:lnTo>
                  <a:pt x="66" y="978"/>
                </a:lnTo>
                <a:lnTo>
                  <a:pt x="72" y="978"/>
                </a:lnTo>
                <a:lnTo>
                  <a:pt x="90" y="978"/>
                </a:lnTo>
                <a:lnTo>
                  <a:pt x="102" y="972"/>
                </a:lnTo>
                <a:lnTo>
                  <a:pt x="108" y="972"/>
                </a:lnTo>
                <a:lnTo>
                  <a:pt x="114" y="978"/>
                </a:lnTo>
                <a:lnTo>
                  <a:pt x="120" y="978"/>
                </a:lnTo>
                <a:lnTo>
                  <a:pt x="120" y="984"/>
                </a:lnTo>
                <a:lnTo>
                  <a:pt x="138" y="984"/>
                </a:lnTo>
                <a:lnTo>
                  <a:pt x="144" y="978"/>
                </a:lnTo>
                <a:lnTo>
                  <a:pt x="150" y="972"/>
                </a:lnTo>
                <a:lnTo>
                  <a:pt x="156" y="972"/>
                </a:lnTo>
                <a:lnTo>
                  <a:pt x="156" y="966"/>
                </a:lnTo>
                <a:lnTo>
                  <a:pt x="156" y="960"/>
                </a:lnTo>
                <a:lnTo>
                  <a:pt x="180" y="948"/>
                </a:lnTo>
                <a:lnTo>
                  <a:pt x="186" y="924"/>
                </a:lnTo>
                <a:lnTo>
                  <a:pt x="192" y="918"/>
                </a:lnTo>
                <a:lnTo>
                  <a:pt x="228" y="924"/>
                </a:lnTo>
                <a:lnTo>
                  <a:pt x="246" y="906"/>
                </a:lnTo>
                <a:lnTo>
                  <a:pt x="240" y="888"/>
                </a:lnTo>
                <a:lnTo>
                  <a:pt x="234" y="888"/>
                </a:lnTo>
                <a:lnTo>
                  <a:pt x="234" y="882"/>
                </a:lnTo>
                <a:lnTo>
                  <a:pt x="228" y="870"/>
                </a:lnTo>
                <a:lnTo>
                  <a:pt x="228" y="864"/>
                </a:lnTo>
                <a:lnTo>
                  <a:pt x="222" y="864"/>
                </a:lnTo>
                <a:lnTo>
                  <a:pt x="216" y="858"/>
                </a:lnTo>
                <a:lnTo>
                  <a:pt x="198" y="852"/>
                </a:lnTo>
                <a:lnTo>
                  <a:pt x="192" y="852"/>
                </a:lnTo>
                <a:lnTo>
                  <a:pt x="186" y="846"/>
                </a:lnTo>
                <a:lnTo>
                  <a:pt x="174" y="834"/>
                </a:lnTo>
                <a:lnTo>
                  <a:pt x="162" y="822"/>
                </a:lnTo>
                <a:lnTo>
                  <a:pt x="156" y="816"/>
                </a:lnTo>
                <a:lnTo>
                  <a:pt x="162" y="810"/>
                </a:lnTo>
                <a:lnTo>
                  <a:pt x="174" y="798"/>
                </a:lnTo>
                <a:lnTo>
                  <a:pt x="180" y="792"/>
                </a:lnTo>
                <a:lnTo>
                  <a:pt x="186" y="792"/>
                </a:lnTo>
                <a:lnTo>
                  <a:pt x="186" y="786"/>
                </a:lnTo>
                <a:lnTo>
                  <a:pt x="186" y="768"/>
                </a:lnTo>
                <a:lnTo>
                  <a:pt x="192" y="744"/>
                </a:lnTo>
                <a:lnTo>
                  <a:pt x="186" y="708"/>
                </a:lnTo>
                <a:lnTo>
                  <a:pt x="174" y="690"/>
                </a:lnTo>
                <a:lnTo>
                  <a:pt x="168" y="672"/>
                </a:lnTo>
                <a:lnTo>
                  <a:pt x="156" y="630"/>
                </a:lnTo>
                <a:lnTo>
                  <a:pt x="156" y="606"/>
                </a:lnTo>
                <a:lnTo>
                  <a:pt x="150" y="606"/>
                </a:lnTo>
                <a:lnTo>
                  <a:pt x="150" y="600"/>
                </a:lnTo>
                <a:lnTo>
                  <a:pt x="144" y="600"/>
                </a:lnTo>
                <a:lnTo>
                  <a:pt x="150" y="594"/>
                </a:lnTo>
                <a:lnTo>
                  <a:pt x="144" y="588"/>
                </a:lnTo>
                <a:lnTo>
                  <a:pt x="138" y="558"/>
                </a:lnTo>
                <a:lnTo>
                  <a:pt x="138" y="528"/>
                </a:lnTo>
                <a:lnTo>
                  <a:pt x="132" y="480"/>
                </a:lnTo>
                <a:lnTo>
                  <a:pt x="132" y="462"/>
                </a:lnTo>
                <a:lnTo>
                  <a:pt x="126" y="426"/>
                </a:lnTo>
                <a:lnTo>
                  <a:pt x="126" y="396"/>
                </a:lnTo>
                <a:lnTo>
                  <a:pt x="126" y="378"/>
                </a:lnTo>
                <a:lnTo>
                  <a:pt x="126" y="360"/>
                </a:lnTo>
                <a:lnTo>
                  <a:pt x="132" y="318"/>
                </a:lnTo>
                <a:lnTo>
                  <a:pt x="132" y="246"/>
                </a:lnTo>
                <a:lnTo>
                  <a:pt x="132" y="216"/>
                </a:lnTo>
                <a:lnTo>
                  <a:pt x="138" y="216"/>
                </a:lnTo>
                <a:lnTo>
                  <a:pt x="144" y="216"/>
                </a:lnTo>
                <a:lnTo>
                  <a:pt x="156" y="210"/>
                </a:lnTo>
                <a:lnTo>
                  <a:pt x="162" y="210"/>
                </a:lnTo>
                <a:lnTo>
                  <a:pt x="180" y="204"/>
                </a:lnTo>
                <a:lnTo>
                  <a:pt x="186" y="204"/>
                </a:lnTo>
                <a:lnTo>
                  <a:pt x="192" y="198"/>
                </a:lnTo>
                <a:lnTo>
                  <a:pt x="198" y="198"/>
                </a:lnTo>
                <a:lnTo>
                  <a:pt x="216" y="180"/>
                </a:lnTo>
                <a:lnTo>
                  <a:pt x="222" y="174"/>
                </a:lnTo>
                <a:lnTo>
                  <a:pt x="222" y="168"/>
                </a:lnTo>
                <a:lnTo>
                  <a:pt x="228" y="168"/>
                </a:lnTo>
                <a:lnTo>
                  <a:pt x="234" y="156"/>
                </a:lnTo>
                <a:lnTo>
                  <a:pt x="240" y="150"/>
                </a:lnTo>
                <a:lnTo>
                  <a:pt x="246" y="144"/>
                </a:lnTo>
                <a:lnTo>
                  <a:pt x="258" y="144"/>
                </a:lnTo>
                <a:lnTo>
                  <a:pt x="276" y="150"/>
                </a:lnTo>
                <a:lnTo>
                  <a:pt x="300" y="150"/>
                </a:lnTo>
                <a:lnTo>
                  <a:pt x="312" y="150"/>
                </a:lnTo>
                <a:lnTo>
                  <a:pt x="330" y="156"/>
                </a:lnTo>
                <a:lnTo>
                  <a:pt x="336" y="156"/>
                </a:lnTo>
                <a:lnTo>
                  <a:pt x="348" y="156"/>
                </a:lnTo>
                <a:lnTo>
                  <a:pt x="354" y="150"/>
                </a:lnTo>
                <a:lnTo>
                  <a:pt x="372" y="144"/>
                </a:lnTo>
                <a:lnTo>
                  <a:pt x="390" y="138"/>
                </a:lnTo>
                <a:lnTo>
                  <a:pt x="402" y="126"/>
                </a:lnTo>
                <a:lnTo>
                  <a:pt x="408" y="126"/>
                </a:lnTo>
                <a:lnTo>
                  <a:pt x="414" y="120"/>
                </a:lnTo>
                <a:lnTo>
                  <a:pt x="420" y="120"/>
                </a:lnTo>
                <a:lnTo>
                  <a:pt x="426" y="120"/>
                </a:lnTo>
                <a:lnTo>
                  <a:pt x="432" y="114"/>
                </a:lnTo>
                <a:lnTo>
                  <a:pt x="450" y="102"/>
                </a:lnTo>
                <a:lnTo>
                  <a:pt x="456" y="96"/>
                </a:lnTo>
                <a:lnTo>
                  <a:pt x="468" y="90"/>
                </a:lnTo>
                <a:lnTo>
                  <a:pt x="474" y="90"/>
                </a:lnTo>
                <a:lnTo>
                  <a:pt x="480" y="84"/>
                </a:lnTo>
                <a:lnTo>
                  <a:pt x="486" y="84"/>
                </a:lnTo>
                <a:lnTo>
                  <a:pt x="492" y="78"/>
                </a:lnTo>
                <a:lnTo>
                  <a:pt x="498" y="78"/>
                </a:lnTo>
                <a:lnTo>
                  <a:pt x="498" y="72"/>
                </a:lnTo>
                <a:lnTo>
                  <a:pt x="504" y="72"/>
                </a:lnTo>
                <a:lnTo>
                  <a:pt x="510" y="66"/>
                </a:lnTo>
                <a:lnTo>
                  <a:pt x="516" y="66"/>
                </a:lnTo>
                <a:lnTo>
                  <a:pt x="522" y="60"/>
                </a:lnTo>
                <a:lnTo>
                  <a:pt x="552" y="42"/>
                </a:lnTo>
                <a:lnTo>
                  <a:pt x="558" y="36"/>
                </a:lnTo>
                <a:lnTo>
                  <a:pt x="576" y="30"/>
                </a:lnTo>
                <a:lnTo>
                  <a:pt x="576" y="24"/>
                </a:lnTo>
                <a:lnTo>
                  <a:pt x="582" y="24"/>
                </a:lnTo>
                <a:lnTo>
                  <a:pt x="594" y="18"/>
                </a:lnTo>
                <a:lnTo>
                  <a:pt x="600" y="12"/>
                </a:lnTo>
                <a:lnTo>
                  <a:pt x="612" y="6"/>
                </a:lnTo>
                <a:lnTo>
                  <a:pt x="624" y="0"/>
                </a:lnTo>
                <a:lnTo>
                  <a:pt x="630" y="0"/>
                </a:lnTo>
                <a:lnTo>
                  <a:pt x="636" y="0"/>
                </a:lnTo>
                <a:lnTo>
                  <a:pt x="642" y="6"/>
                </a:lnTo>
                <a:lnTo>
                  <a:pt x="648" y="6"/>
                </a:lnTo>
                <a:lnTo>
                  <a:pt x="660" y="6"/>
                </a:lnTo>
                <a:lnTo>
                  <a:pt x="666" y="6"/>
                </a:lnTo>
                <a:lnTo>
                  <a:pt x="672" y="6"/>
                </a:lnTo>
                <a:lnTo>
                  <a:pt x="678" y="6"/>
                </a:lnTo>
                <a:lnTo>
                  <a:pt x="684" y="6"/>
                </a:lnTo>
                <a:lnTo>
                  <a:pt x="708" y="12"/>
                </a:lnTo>
                <a:lnTo>
                  <a:pt x="732" y="12"/>
                </a:lnTo>
                <a:lnTo>
                  <a:pt x="738" y="18"/>
                </a:lnTo>
                <a:lnTo>
                  <a:pt x="744" y="18"/>
                </a:lnTo>
                <a:lnTo>
                  <a:pt x="756" y="18"/>
                </a:lnTo>
                <a:lnTo>
                  <a:pt x="762" y="18"/>
                </a:lnTo>
                <a:lnTo>
                  <a:pt x="762" y="24"/>
                </a:lnTo>
                <a:lnTo>
                  <a:pt x="768" y="24"/>
                </a:lnTo>
                <a:lnTo>
                  <a:pt x="780" y="24"/>
                </a:lnTo>
                <a:lnTo>
                  <a:pt x="792" y="24"/>
                </a:lnTo>
                <a:lnTo>
                  <a:pt x="792" y="30"/>
                </a:lnTo>
                <a:lnTo>
                  <a:pt x="810" y="30"/>
                </a:lnTo>
                <a:lnTo>
                  <a:pt x="822" y="36"/>
                </a:lnTo>
                <a:lnTo>
                  <a:pt x="834" y="42"/>
                </a:lnTo>
                <a:lnTo>
                  <a:pt x="840" y="48"/>
                </a:lnTo>
                <a:lnTo>
                  <a:pt x="846" y="54"/>
                </a:lnTo>
                <a:lnTo>
                  <a:pt x="852" y="60"/>
                </a:lnTo>
                <a:lnTo>
                  <a:pt x="858" y="66"/>
                </a:lnTo>
                <a:lnTo>
                  <a:pt x="864" y="66"/>
                </a:lnTo>
                <a:lnTo>
                  <a:pt x="864" y="72"/>
                </a:lnTo>
                <a:lnTo>
                  <a:pt x="876" y="78"/>
                </a:lnTo>
                <a:lnTo>
                  <a:pt x="900" y="84"/>
                </a:lnTo>
                <a:lnTo>
                  <a:pt x="906" y="90"/>
                </a:lnTo>
                <a:lnTo>
                  <a:pt x="912" y="90"/>
                </a:lnTo>
                <a:lnTo>
                  <a:pt x="912" y="96"/>
                </a:lnTo>
                <a:lnTo>
                  <a:pt x="924" y="108"/>
                </a:lnTo>
                <a:lnTo>
                  <a:pt x="930" y="108"/>
                </a:lnTo>
                <a:lnTo>
                  <a:pt x="936" y="114"/>
                </a:lnTo>
                <a:lnTo>
                  <a:pt x="936" y="120"/>
                </a:lnTo>
                <a:lnTo>
                  <a:pt x="942" y="120"/>
                </a:lnTo>
                <a:lnTo>
                  <a:pt x="942" y="126"/>
                </a:lnTo>
                <a:lnTo>
                  <a:pt x="948" y="132"/>
                </a:lnTo>
                <a:lnTo>
                  <a:pt x="960" y="138"/>
                </a:lnTo>
                <a:lnTo>
                  <a:pt x="966" y="144"/>
                </a:lnTo>
                <a:lnTo>
                  <a:pt x="972" y="156"/>
                </a:lnTo>
                <a:lnTo>
                  <a:pt x="978" y="162"/>
                </a:lnTo>
                <a:lnTo>
                  <a:pt x="984" y="162"/>
                </a:lnTo>
                <a:lnTo>
                  <a:pt x="990" y="168"/>
                </a:lnTo>
                <a:lnTo>
                  <a:pt x="996" y="174"/>
                </a:lnTo>
                <a:lnTo>
                  <a:pt x="1002" y="180"/>
                </a:lnTo>
                <a:lnTo>
                  <a:pt x="1008" y="180"/>
                </a:lnTo>
                <a:lnTo>
                  <a:pt x="1020" y="180"/>
                </a:lnTo>
                <a:lnTo>
                  <a:pt x="1038" y="174"/>
                </a:lnTo>
                <a:lnTo>
                  <a:pt x="1050" y="174"/>
                </a:lnTo>
                <a:lnTo>
                  <a:pt x="1056" y="174"/>
                </a:lnTo>
                <a:lnTo>
                  <a:pt x="1068" y="180"/>
                </a:lnTo>
                <a:lnTo>
                  <a:pt x="1080" y="180"/>
                </a:lnTo>
                <a:lnTo>
                  <a:pt x="1086" y="186"/>
                </a:lnTo>
                <a:lnTo>
                  <a:pt x="1098" y="192"/>
                </a:lnTo>
                <a:lnTo>
                  <a:pt x="1116" y="204"/>
                </a:lnTo>
                <a:lnTo>
                  <a:pt x="1122" y="210"/>
                </a:lnTo>
                <a:lnTo>
                  <a:pt x="1134" y="222"/>
                </a:lnTo>
                <a:lnTo>
                  <a:pt x="1146" y="234"/>
                </a:lnTo>
                <a:lnTo>
                  <a:pt x="1146" y="240"/>
                </a:lnTo>
                <a:lnTo>
                  <a:pt x="1152" y="246"/>
                </a:lnTo>
                <a:lnTo>
                  <a:pt x="1152" y="252"/>
                </a:lnTo>
                <a:lnTo>
                  <a:pt x="1152" y="258"/>
                </a:lnTo>
                <a:lnTo>
                  <a:pt x="1164" y="258"/>
                </a:lnTo>
                <a:lnTo>
                  <a:pt x="1170" y="264"/>
                </a:lnTo>
                <a:lnTo>
                  <a:pt x="1182" y="270"/>
                </a:lnTo>
                <a:lnTo>
                  <a:pt x="1188" y="270"/>
                </a:lnTo>
                <a:lnTo>
                  <a:pt x="1194" y="270"/>
                </a:lnTo>
                <a:lnTo>
                  <a:pt x="1206" y="276"/>
                </a:lnTo>
                <a:lnTo>
                  <a:pt x="1224" y="282"/>
                </a:lnTo>
                <a:lnTo>
                  <a:pt x="1236" y="282"/>
                </a:lnTo>
                <a:lnTo>
                  <a:pt x="1242" y="288"/>
                </a:lnTo>
                <a:lnTo>
                  <a:pt x="1254" y="288"/>
                </a:lnTo>
                <a:lnTo>
                  <a:pt x="1266" y="294"/>
                </a:lnTo>
                <a:lnTo>
                  <a:pt x="1272" y="294"/>
                </a:lnTo>
                <a:lnTo>
                  <a:pt x="1284" y="300"/>
                </a:lnTo>
                <a:lnTo>
                  <a:pt x="1290" y="300"/>
                </a:lnTo>
                <a:lnTo>
                  <a:pt x="1296" y="300"/>
                </a:lnTo>
                <a:lnTo>
                  <a:pt x="1302" y="306"/>
                </a:lnTo>
                <a:lnTo>
                  <a:pt x="1326" y="312"/>
                </a:lnTo>
                <a:lnTo>
                  <a:pt x="1338" y="312"/>
                </a:lnTo>
                <a:lnTo>
                  <a:pt x="1338" y="318"/>
                </a:lnTo>
                <a:lnTo>
                  <a:pt x="1344" y="318"/>
                </a:lnTo>
                <a:lnTo>
                  <a:pt x="1350" y="318"/>
                </a:lnTo>
                <a:lnTo>
                  <a:pt x="1362" y="324"/>
                </a:lnTo>
                <a:lnTo>
                  <a:pt x="1368" y="318"/>
                </a:lnTo>
                <a:lnTo>
                  <a:pt x="1374" y="318"/>
                </a:lnTo>
                <a:lnTo>
                  <a:pt x="1386" y="318"/>
                </a:lnTo>
                <a:lnTo>
                  <a:pt x="1398" y="324"/>
                </a:lnTo>
                <a:lnTo>
                  <a:pt x="1398" y="342"/>
                </a:lnTo>
                <a:lnTo>
                  <a:pt x="1356" y="342"/>
                </a:lnTo>
                <a:lnTo>
                  <a:pt x="1350" y="348"/>
                </a:lnTo>
                <a:lnTo>
                  <a:pt x="1350" y="372"/>
                </a:lnTo>
                <a:lnTo>
                  <a:pt x="1338" y="384"/>
                </a:lnTo>
                <a:lnTo>
                  <a:pt x="1332" y="408"/>
                </a:lnTo>
                <a:lnTo>
                  <a:pt x="1320" y="420"/>
                </a:lnTo>
                <a:lnTo>
                  <a:pt x="1254" y="426"/>
                </a:lnTo>
                <a:lnTo>
                  <a:pt x="1248" y="432"/>
                </a:lnTo>
                <a:lnTo>
                  <a:pt x="1230" y="432"/>
                </a:lnTo>
                <a:lnTo>
                  <a:pt x="1212" y="432"/>
                </a:lnTo>
                <a:lnTo>
                  <a:pt x="1212" y="426"/>
                </a:lnTo>
                <a:lnTo>
                  <a:pt x="1200" y="426"/>
                </a:lnTo>
                <a:lnTo>
                  <a:pt x="1182" y="414"/>
                </a:lnTo>
                <a:lnTo>
                  <a:pt x="1182" y="420"/>
                </a:lnTo>
                <a:lnTo>
                  <a:pt x="1164" y="420"/>
                </a:lnTo>
                <a:lnTo>
                  <a:pt x="1158" y="414"/>
                </a:lnTo>
                <a:lnTo>
                  <a:pt x="1152" y="408"/>
                </a:lnTo>
                <a:lnTo>
                  <a:pt x="1146" y="402"/>
                </a:lnTo>
                <a:lnTo>
                  <a:pt x="1122" y="396"/>
                </a:lnTo>
                <a:lnTo>
                  <a:pt x="1116" y="366"/>
                </a:lnTo>
                <a:lnTo>
                  <a:pt x="1116" y="348"/>
                </a:lnTo>
                <a:lnTo>
                  <a:pt x="1110" y="342"/>
                </a:lnTo>
                <a:lnTo>
                  <a:pt x="1104" y="336"/>
                </a:lnTo>
                <a:lnTo>
                  <a:pt x="1092" y="330"/>
                </a:lnTo>
                <a:lnTo>
                  <a:pt x="1074" y="330"/>
                </a:lnTo>
                <a:lnTo>
                  <a:pt x="1044" y="330"/>
                </a:lnTo>
                <a:lnTo>
                  <a:pt x="1014" y="336"/>
                </a:lnTo>
                <a:lnTo>
                  <a:pt x="984" y="342"/>
                </a:lnTo>
                <a:lnTo>
                  <a:pt x="978" y="330"/>
                </a:lnTo>
                <a:lnTo>
                  <a:pt x="966" y="324"/>
                </a:lnTo>
                <a:lnTo>
                  <a:pt x="888" y="336"/>
                </a:lnTo>
                <a:lnTo>
                  <a:pt x="888" y="330"/>
                </a:lnTo>
                <a:lnTo>
                  <a:pt x="870" y="336"/>
                </a:lnTo>
                <a:lnTo>
                  <a:pt x="858" y="336"/>
                </a:lnTo>
                <a:lnTo>
                  <a:pt x="852" y="354"/>
                </a:lnTo>
                <a:lnTo>
                  <a:pt x="852" y="402"/>
                </a:lnTo>
                <a:lnTo>
                  <a:pt x="840" y="414"/>
                </a:lnTo>
                <a:lnTo>
                  <a:pt x="834" y="420"/>
                </a:lnTo>
                <a:lnTo>
                  <a:pt x="834" y="444"/>
                </a:lnTo>
                <a:lnTo>
                  <a:pt x="834" y="450"/>
                </a:lnTo>
                <a:lnTo>
                  <a:pt x="852" y="456"/>
                </a:lnTo>
                <a:lnTo>
                  <a:pt x="864" y="462"/>
                </a:lnTo>
                <a:lnTo>
                  <a:pt x="894" y="456"/>
                </a:lnTo>
                <a:lnTo>
                  <a:pt x="900" y="468"/>
                </a:lnTo>
                <a:lnTo>
                  <a:pt x="918" y="462"/>
                </a:lnTo>
                <a:lnTo>
                  <a:pt x="924" y="468"/>
                </a:lnTo>
                <a:lnTo>
                  <a:pt x="924" y="47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20521" name="Freeform 38"/>
          <p:cNvSpPr>
            <a:spLocks/>
          </p:cNvSpPr>
          <p:nvPr/>
        </p:nvSpPr>
        <p:spPr bwMode="gray">
          <a:xfrm>
            <a:off x="3935413" y="2168525"/>
            <a:ext cx="835025" cy="1039813"/>
          </a:xfrm>
          <a:custGeom>
            <a:avLst/>
            <a:gdLst>
              <a:gd name="T0" fmla="*/ 61812 w 1068"/>
              <a:gd name="T1" fmla="*/ 58082 h 1290"/>
              <a:gd name="T2" fmla="*/ 58682 w 1068"/>
              <a:gd name="T3" fmla="*/ 58888 h 1290"/>
              <a:gd name="T4" fmla="*/ 56335 w 1068"/>
              <a:gd name="T5" fmla="*/ 61308 h 1290"/>
              <a:gd name="T6" fmla="*/ 54770 w 1068"/>
              <a:gd name="T7" fmla="*/ 62922 h 1290"/>
              <a:gd name="T8" fmla="*/ 52423 w 1068"/>
              <a:gd name="T9" fmla="*/ 66149 h 1290"/>
              <a:gd name="T10" fmla="*/ 47728 w 1068"/>
              <a:gd name="T11" fmla="*/ 69375 h 1290"/>
              <a:gd name="T12" fmla="*/ 46946 w 1068"/>
              <a:gd name="T13" fmla="*/ 75022 h 1290"/>
              <a:gd name="T14" fmla="*/ 46163 w 1068"/>
              <a:gd name="T15" fmla="*/ 78249 h 1290"/>
              <a:gd name="T16" fmla="*/ 47728 w 1068"/>
              <a:gd name="T17" fmla="*/ 81476 h 1290"/>
              <a:gd name="T18" fmla="*/ 49293 w 1068"/>
              <a:gd name="T19" fmla="*/ 83896 h 1290"/>
              <a:gd name="T20" fmla="*/ 48511 w 1068"/>
              <a:gd name="T21" fmla="*/ 87123 h 1290"/>
              <a:gd name="T22" fmla="*/ 46946 w 1068"/>
              <a:gd name="T23" fmla="*/ 89543 h 1290"/>
              <a:gd name="T24" fmla="*/ 43816 w 1068"/>
              <a:gd name="T25" fmla="*/ 89543 h 1290"/>
              <a:gd name="T26" fmla="*/ 41469 w 1068"/>
              <a:gd name="T27" fmla="*/ 88736 h 1290"/>
              <a:gd name="T28" fmla="*/ 39122 w 1068"/>
              <a:gd name="T29" fmla="*/ 87929 h 1290"/>
              <a:gd name="T30" fmla="*/ 36774 w 1068"/>
              <a:gd name="T31" fmla="*/ 88736 h 1290"/>
              <a:gd name="T32" fmla="*/ 39904 w 1068"/>
              <a:gd name="T33" fmla="*/ 83896 h 1290"/>
              <a:gd name="T34" fmla="*/ 39122 w 1068"/>
              <a:gd name="T35" fmla="*/ 76636 h 1290"/>
              <a:gd name="T36" fmla="*/ 39904 w 1068"/>
              <a:gd name="T37" fmla="*/ 72602 h 1290"/>
              <a:gd name="T38" fmla="*/ 36774 w 1068"/>
              <a:gd name="T39" fmla="*/ 67762 h 1290"/>
              <a:gd name="T40" fmla="*/ 32862 w 1068"/>
              <a:gd name="T41" fmla="*/ 62922 h 1290"/>
              <a:gd name="T42" fmla="*/ 25820 w 1068"/>
              <a:gd name="T43" fmla="*/ 58888 h 1290"/>
              <a:gd name="T44" fmla="*/ 20343 w 1068"/>
              <a:gd name="T45" fmla="*/ 54855 h 1290"/>
              <a:gd name="T46" fmla="*/ 17213 w 1068"/>
              <a:gd name="T47" fmla="*/ 50821 h 1290"/>
              <a:gd name="T48" fmla="*/ 8607 w 1068"/>
              <a:gd name="T49" fmla="*/ 54048 h 1290"/>
              <a:gd name="T50" fmla="*/ 0 w 1068"/>
              <a:gd name="T51" fmla="*/ 54855 h 1290"/>
              <a:gd name="T52" fmla="*/ 1565 w 1068"/>
              <a:gd name="T53" fmla="*/ 47595 h 1290"/>
              <a:gd name="T54" fmla="*/ 9389 w 1068"/>
              <a:gd name="T55" fmla="*/ 44368 h 1290"/>
              <a:gd name="T56" fmla="*/ 9389 w 1068"/>
              <a:gd name="T57" fmla="*/ 41141 h 1290"/>
              <a:gd name="T58" fmla="*/ 7824 w 1068"/>
              <a:gd name="T59" fmla="*/ 37914 h 1290"/>
              <a:gd name="T60" fmla="*/ 7042 w 1068"/>
              <a:gd name="T61" fmla="*/ 33881 h 1290"/>
              <a:gd name="T62" fmla="*/ 6259 w 1068"/>
              <a:gd name="T63" fmla="*/ 30654 h 1290"/>
              <a:gd name="T64" fmla="*/ 6259 w 1068"/>
              <a:gd name="T65" fmla="*/ 23394 h 1290"/>
              <a:gd name="T66" fmla="*/ 7824 w 1068"/>
              <a:gd name="T67" fmla="*/ 14520 h 1290"/>
              <a:gd name="T68" fmla="*/ 19561 w 1068"/>
              <a:gd name="T69" fmla="*/ 9680 h 1290"/>
              <a:gd name="T70" fmla="*/ 21126 w 1068"/>
              <a:gd name="T71" fmla="*/ 3227 h 1290"/>
              <a:gd name="T72" fmla="*/ 27385 w 1068"/>
              <a:gd name="T73" fmla="*/ 4840 h 1290"/>
              <a:gd name="T74" fmla="*/ 30515 w 1068"/>
              <a:gd name="T75" fmla="*/ 6454 h 1290"/>
              <a:gd name="T76" fmla="*/ 32080 w 1068"/>
              <a:gd name="T77" fmla="*/ 2420 h 1290"/>
              <a:gd name="T78" fmla="*/ 35209 w 1068"/>
              <a:gd name="T79" fmla="*/ 0 h 1290"/>
              <a:gd name="T80" fmla="*/ 39904 w 1068"/>
              <a:gd name="T81" fmla="*/ 0 h 1290"/>
              <a:gd name="T82" fmla="*/ 43816 w 1068"/>
              <a:gd name="T83" fmla="*/ 3227 h 1290"/>
              <a:gd name="T84" fmla="*/ 48511 w 1068"/>
              <a:gd name="T85" fmla="*/ 9680 h 1290"/>
              <a:gd name="T86" fmla="*/ 45381 w 1068"/>
              <a:gd name="T87" fmla="*/ 13714 h 1290"/>
              <a:gd name="T88" fmla="*/ 46946 w 1068"/>
              <a:gd name="T89" fmla="*/ 14520 h 1290"/>
              <a:gd name="T90" fmla="*/ 50076 w 1068"/>
              <a:gd name="T91" fmla="*/ 12907 h 1290"/>
              <a:gd name="T92" fmla="*/ 53205 w 1068"/>
              <a:gd name="T93" fmla="*/ 14520 h 1290"/>
              <a:gd name="T94" fmla="*/ 55553 w 1068"/>
              <a:gd name="T95" fmla="*/ 21781 h 1290"/>
              <a:gd name="T96" fmla="*/ 57900 w 1068"/>
              <a:gd name="T97" fmla="*/ 24201 h 1290"/>
              <a:gd name="T98" fmla="*/ 64159 w 1068"/>
              <a:gd name="T99" fmla="*/ 24201 h 1290"/>
              <a:gd name="T100" fmla="*/ 68072 w 1068"/>
              <a:gd name="T101" fmla="*/ 28234 h 1290"/>
              <a:gd name="T102" fmla="*/ 66507 w 1068"/>
              <a:gd name="T103" fmla="*/ 33881 h 1290"/>
              <a:gd name="T104" fmla="*/ 63377 w 1068"/>
              <a:gd name="T105" fmla="*/ 37108 h 1290"/>
              <a:gd name="T106" fmla="*/ 67289 w 1068"/>
              <a:gd name="T107" fmla="*/ 40334 h 1290"/>
              <a:gd name="T108" fmla="*/ 69636 w 1068"/>
              <a:gd name="T109" fmla="*/ 46788 h 1290"/>
              <a:gd name="T110" fmla="*/ 71984 w 1068"/>
              <a:gd name="T111" fmla="*/ 49208 h 1290"/>
              <a:gd name="T112" fmla="*/ 67289 w 1068"/>
              <a:gd name="T113" fmla="*/ 53242 h 1290"/>
              <a:gd name="T114" fmla="*/ 66507 w 1068"/>
              <a:gd name="T115" fmla="*/ 56468 h 129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68"/>
              <a:gd name="T175" fmla="*/ 0 h 1290"/>
              <a:gd name="T176" fmla="*/ 1068 w 1068"/>
              <a:gd name="T177" fmla="*/ 1290 h 129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68" h="1290">
                <a:moveTo>
                  <a:pt x="978" y="804"/>
                </a:moveTo>
                <a:lnTo>
                  <a:pt x="972" y="810"/>
                </a:lnTo>
                <a:lnTo>
                  <a:pt x="966" y="810"/>
                </a:lnTo>
                <a:lnTo>
                  <a:pt x="966" y="816"/>
                </a:lnTo>
                <a:lnTo>
                  <a:pt x="936" y="828"/>
                </a:lnTo>
                <a:lnTo>
                  <a:pt x="924" y="822"/>
                </a:lnTo>
                <a:lnTo>
                  <a:pt x="912" y="822"/>
                </a:lnTo>
                <a:lnTo>
                  <a:pt x="906" y="828"/>
                </a:lnTo>
                <a:lnTo>
                  <a:pt x="900" y="828"/>
                </a:lnTo>
                <a:lnTo>
                  <a:pt x="900" y="822"/>
                </a:lnTo>
                <a:lnTo>
                  <a:pt x="894" y="822"/>
                </a:lnTo>
                <a:lnTo>
                  <a:pt x="888" y="828"/>
                </a:lnTo>
                <a:lnTo>
                  <a:pt x="882" y="834"/>
                </a:lnTo>
                <a:lnTo>
                  <a:pt x="876" y="834"/>
                </a:lnTo>
                <a:lnTo>
                  <a:pt x="870" y="840"/>
                </a:lnTo>
                <a:lnTo>
                  <a:pt x="864" y="840"/>
                </a:lnTo>
                <a:lnTo>
                  <a:pt x="864" y="846"/>
                </a:lnTo>
                <a:lnTo>
                  <a:pt x="858" y="846"/>
                </a:lnTo>
                <a:lnTo>
                  <a:pt x="852" y="846"/>
                </a:lnTo>
                <a:lnTo>
                  <a:pt x="852" y="858"/>
                </a:lnTo>
                <a:lnTo>
                  <a:pt x="846" y="864"/>
                </a:lnTo>
                <a:lnTo>
                  <a:pt x="840" y="870"/>
                </a:lnTo>
                <a:lnTo>
                  <a:pt x="834" y="870"/>
                </a:lnTo>
                <a:lnTo>
                  <a:pt x="834" y="876"/>
                </a:lnTo>
                <a:lnTo>
                  <a:pt x="834" y="882"/>
                </a:lnTo>
                <a:lnTo>
                  <a:pt x="834" y="876"/>
                </a:lnTo>
                <a:lnTo>
                  <a:pt x="828" y="882"/>
                </a:lnTo>
                <a:lnTo>
                  <a:pt x="822" y="888"/>
                </a:lnTo>
                <a:lnTo>
                  <a:pt x="816" y="888"/>
                </a:lnTo>
                <a:lnTo>
                  <a:pt x="816" y="894"/>
                </a:lnTo>
                <a:lnTo>
                  <a:pt x="810" y="894"/>
                </a:lnTo>
                <a:lnTo>
                  <a:pt x="810" y="900"/>
                </a:lnTo>
                <a:lnTo>
                  <a:pt x="804" y="900"/>
                </a:lnTo>
                <a:lnTo>
                  <a:pt x="798" y="900"/>
                </a:lnTo>
                <a:lnTo>
                  <a:pt x="798" y="906"/>
                </a:lnTo>
                <a:lnTo>
                  <a:pt x="792" y="906"/>
                </a:lnTo>
                <a:lnTo>
                  <a:pt x="792" y="912"/>
                </a:lnTo>
                <a:lnTo>
                  <a:pt x="792" y="924"/>
                </a:lnTo>
                <a:lnTo>
                  <a:pt x="786" y="930"/>
                </a:lnTo>
                <a:lnTo>
                  <a:pt x="774" y="942"/>
                </a:lnTo>
                <a:lnTo>
                  <a:pt x="774" y="948"/>
                </a:lnTo>
                <a:lnTo>
                  <a:pt x="768" y="954"/>
                </a:lnTo>
                <a:lnTo>
                  <a:pt x="762" y="954"/>
                </a:lnTo>
                <a:lnTo>
                  <a:pt x="750" y="972"/>
                </a:lnTo>
                <a:lnTo>
                  <a:pt x="720" y="978"/>
                </a:lnTo>
                <a:lnTo>
                  <a:pt x="714" y="978"/>
                </a:lnTo>
                <a:lnTo>
                  <a:pt x="708" y="978"/>
                </a:lnTo>
                <a:lnTo>
                  <a:pt x="702" y="990"/>
                </a:lnTo>
                <a:lnTo>
                  <a:pt x="696" y="990"/>
                </a:lnTo>
                <a:lnTo>
                  <a:pt x="696" y="1008"/>
                </a:lnTo>
                <a:lnTo>
                  <a:pt x="690" y="1008"/>
                </a:lnTo>
                <a:lnTo>
                  <a:pt x="690" y="1014"/>
                </a:lnTo>
                <a:lnTo>
                  <a:pt x="684" y="1032"/>
                </a:lnTo>
                <a:lnTo>
                  <a:pt x="690" y="1050"/>
                </a:lnTo>
                <a:lnTo>
                  <a:pt x="690" y="1062"/>
                </a:lnTo>
                <a:lnTo>
                  <a:pt x="690" y="1068"/>
                </a:lnTo>
                <a:lnTo>
                  <a:pt x="690" y="1074"/>
                </a:lnTo>
                <a:lnTo>
                  <a:pt x="684" y="1074"/>
                </a:lnTo>
                <a:lnTo>
                  <a:pt x="684" y="1080"/>
                </a:lnTo>
                <a:lnTo>
                  <a:pt x="678" y="1086"/>
                </a:lnTo>
                <a:lnTo>
                  <a:pt x="678" y="1104"/>
                </a:lnTo>
                <a:lnTo>
                  <a:pt x="678" y="1110"/>
                </a:lnTo>
                <a:lnTo>
                  <a:pt x="678" y="1116"/>
                </a:lnTo>
                <a:lnTo>
                  <a:pt x="684" y="1116"/>
                </a:lnTo>
                <a:lnTo>
                  <a:pt x="678" y="1128"/>
                </a:lnTo>
                <a:lnTo>
                  <a:pt x="684" y="1128"/>
                </a:lnTo>
                <a:lnTo>
                  <a:pt x="690" y="1134"/>
                </a:lnTo>
                <a:lnTo>
                  <a:pt x="690" y="1140"/>
                </a:lnTo>
                <a:lnTo>
                  <a:pt x="696" y="1140"/>
                </a:lnTo>
                <a:lnTo>
                  <a:pt x="696" y="1146"/>
                </a:lnTo>
                <a:lnTo>
                  <a:pt x="696" y="1152"/>
                </a:lnTo>
                <a:lnTo>
                  <a:pt x="702" y="1152"/>
                </a:lnTo>
                <a:lnTo>
                  <a:pt x="708" y="1152"/>
                </a:lnTo>
                <a:lnTo>
                  <a:pt x="714" y="1158"/>
                </a:lnTo>
                <a:lnTo>
                  <a:pt x="714" y="1164"/>
                </a:lnTo>
                <a:lnTo>
                  <a:pt x="720" y="1170"/>
                </a:lnTo>
                <a:lnTo>
                  <a:pt x="720" y="1176"/>
                </a:lnTo>
                <a:lnTo>
                  <a:pt x="720" y="1182"/>
                </a:lnTo>
                <a:lnTo>
                  <a:pt x="726" y="1188"/>
                </a:lnTo>
                <a:lnTo>
                  <a:pt x="726" y="1194"/>
                </a:lnTo>
                <a:lnTo>
                  <a:pt x="732" y="1194"/>
                </a:lnTo>
                <a:lnTo>
                  <a:pt x="732" y="1200"/>
                </a:lnTo>
                <a:lnTo>
                  <a:pt x="738" y="1212"/>
                </a:lnTo>
                <a:lnTo>
                  <a:pt x="732" y="1218"/>
                </a:lnTo>
                <a:lnTo>
                  <a:pt x="732" y="1224"/>
                </a:lnTo>
                <a:lnTo>
                  <a:pt x="726" y="1230"/>
                </a:lnTo>
                <a:lnTo>
                  <a:pt x="720" y="1230"/>
                </a:lnTo>
                <a:lnTo>
                  <a:pt x="720" y="1236"/>
                </a:lnTo>
                <a:lnTo>
                  <a:pt x="720" y="1242"/>
                </a:lnTo>
                <a:lnTo>
                  <a:pt x="720" y="1248"/>
                </a:lnTo>
                <a:lnTo>
                  <a:pt x="714" y="1248"/>
                </a:lnTo>
                <a:lnTo>
                  <a:pt x="714" y="1254"/>
                </a:lnTo>
                <a:lnTo>
                  <a:pt x="708" y="1260"/>
                </a:lnTo>
                <a:lnTo>
                  <a:pt x="702" y="1272"/>
                </a:lnTo>
                <a:lnTo>
                  <a:pt x="696" y="1272"/>
                </a:lnTo>
                <a:lnTo>
                  <a:pt x="696" y="1278"/>
                </a:lnTo>
                <a:lnTo>
                  <a:pt x="690" y="1284"/>
                </a:lnTo>
                <a:lnTo>
                  <a:pt x="690" y="1290"/>
                </a:lnTo>
                <a:lnTo>
                  <a:pt x="684" y="1290"/>
                </a:lnTo>
                <a:lnTo>
                  <a:pt x="660" y="1284"/>
                </a:lnTo>
                <a:lnTo>
                  <a:pt x="660" y="1278"/>
                </a:lnTo>
                <a:lnTo>
                  <a:pt x="654" y="1272"/>
                </a:lnTo>
                <a:lnTo>
                  <a:pt x="648" y="1272"/>
                </a:lnTo>
                <a:lnTo>
                  <a:pt x="642" y="1272"/>
                </a:lnTo>
                <a:lnTo>
                  <a:pt x="642" y="1266"/>
                </a:lnTo>
                <a:lnTo>
                  <a:pt x="636" y="1266"/>
                </a:lnTo>
                <a:lnTo>
                  <a:pt x="630" y="1266"/>
                </a:lnTo>
                <a:lnTo>
                  <a:pt x="624" y="1266"/>
                </a:lnTo>
                <a:lnTo>
                  <a:pt x="624" y="1260"/>
                </a:lnTo>
                <a:lnTo>
                  <a:pt x="618" y="1260"/>
                </a:lnTo>
                <a:lnTo>
                  <a:pt x="612" y="1260"/>
                </a:lnTo>
                <a:lnTo>
                  <a:pt x="606" y="1260"/>
                </a:lnTo>
                <a:lnTo>
                  <a:pt x="600" y="1260"/>
                </a:lnTo>
                <a:lnTo>
                  <a:pt x="600" y="1254"/>
                </a:lnTo>
                <a:lnTo>
                  <a:pt x="594" y="1254"/>
                </a:lnTo>
                <a:lnTo>
                  <a:pt x="588" y="1248"/>
                </a:lnTo>
                <a:lnTo>
                  <a:pt x="588" y="1254"/>
                </a:lnTo>
                <a:lnTo>
                  <a:pt x="582" y="1254"/>
                </a:lnTo>
                <a:lnTo>
                  <a:pt x="582" y="1248"/>
                </a:lnTo>
                <a:lnTo>
                  <a:pt x="576" y="1248"/>
                </a:lnTo>
                <a:lnTo>
                  <a:pt x="576" y="1254"/>
                </a:lnTo>
                <a:lnTo>
                  <a:pt x="570" y="1248"/>
                </a:lnTo>
                <a:lnTo>
                  <a:pt x="564" y="1248"/>
                </a:lnTo>
                <a:lnTo>
                  <a:pt x="564" y="1254"/>
                </a:lnTo>
                <a:lnTo>
                  <a:pt x="558" y="1254"/>
                </a:lnTo>
                <a:lnTo>
                  <a:pt x="552" y="1254"/>
                </a:lnTo>
                <a:lnTo>
                  <a:pt x="552" y="1260"/>
                </a:lnTo>
                <a:lnTo>
                  <a:pt x="546" y="1260"/>
                </a:lnTo>
                <a:lnTo>
                  <a:pt x="540" y="1260"/>
                </a:lnTo>
                <a:lnTo>
                  <a:pt x="540" y="1254"/>
                </a:lnTo>
                <a:lnTo>
                  <a:pt x="534" y="1254"/>
                </a:lnTo>
                <a:lnTo>
                  <a:pt x="528" y="1224"/>
                </a:lnTo>
                <a:lnTo>
                  <a:pt x="534" y="1212"/>
                </a:lnTo>
                <a:lnTo>
                  <a:pt x="546" y="1206"/>
                </a:lnTo>
                <a:lnTo>
                  <a:pt x="582" y="1206"/>
                </a:lnTo>
                <a:lnTo>
                  <a:pt x="588" y="1188"/>
                </a:lnTo>
                <a:lnTo>
                  <a:pt x="582" y="1188"/>
                </a:lnTo>
                <a:lnTo>
                  <a:pt x="582" y="1182"/>
                </a:lnTo>
                <a:lnTo>
                  <a:pt x="576" y="1176"/>
                </a:lnTo>
                <a:lnTo>
                  <a:pt x="558" y="1128"/>
                </a:lnTo>
                <a:lnTo>
                  <a:pt x="558" y="1122"/>
                </a:lnTo>
                <a:lnTo>
                  <a:pt x="576" y="1098"/>
                </a:lnTo>
                <a:lnTo>
                  <a:pt x="576" y="1092"/>
                </a:lnTo>
                <a:lnTo>
                  <a:pt x="582" y="1092"/>
                </a:lnTo>
                <a:lnTo>
                  <a:pt x="582" y="1086"/>
                </a:lnTo>
                <a:lnTo>
                  <a:pt x="582" y="1080"/>
                </a:lnTo>
                <a:lnTo>
                  <a:pt x="582" y="1074"/>
                </a:lnTo>
                <a:lnTo>
                  <a:pt x="588" y="1074"/>
                </a:lnTo>
                <a:lnTo>
                  <a:pt x="588" y="1062"/>
                </a:lnTo>
                <a:lnTo>
                  <a:pt x="588" y="1056"/>
                </a:lnTo>
                <a:lnTo>
                  <a:pt x="588" y="1044"/>
                </a:lnTo>
                <a:lnTo>
                  <a:pt x="588" y="1038"/>
                </a:lnTo>
                <a:lnTo>
                  <a:pt x="588" y="1032"/>
                </a:lnTo>
                <a:lnTo>
                  <a:pt x="582" y="1026"/>
                </a:lnTo>
                <a:lnTo>
                  <a:pt x="582" y="1020"/>
                </a:lnTo>
                <a:lnTo>
                  <a:pt x="582" y="1008"/>
                </a:lnTo>
                <a:lnTo>
                  <a:pt x="576" y="990"/>
                </a:lnTo>
                <a:lnTo>
                  <a:pt x="570" y="972"/>
                </a:lnTo>
                <a:lnTo>
                  <a:pt x="552" y="972"/>
                </a:lnTo>
                <a:lnTo>
                  <a:pt x="540" y="960"/>
                </a:lnTo>
                <a:lnTo>
                  <a:pt x="534" y="954"/>
                </a:lnTo>
                <a:lnTo>
                  <a:pt x="534" y="948"/>
                </a:lnTo>
                <a:lnTo>
                  <a:pt x="516" y="948"/>
                </a:lnTo>
                <a:lnTo>
                  <a:pt x="522" y="936"/>
                </a:lnTo>
                <a:lnTo>
                  <a:pt x="522" y="930"/>
                </a:lnTo>
                <a:lnTo>
                  <a:pt x="504" y="918"/>
                </a:lnTo>
                <a:lnTo>
                  <a:pt x="492" y="906"/>
                </a:lnTo>
                <a:lnTo>
                  <a:pt x="486" y="894"/>
                </a:lnTo>
                <a:lnTo>
                  <a:pt x="468" y="876"/>
                </a:lnTo>
                <a:lnTo>
                  <a:pt x="450" y="876"/>
                </a:lnTo>
                <a:lnTo>
                  <a:pt x="414" y="882"/>
                </a:lnTo>
                <a:lnTo>
                  <a:pt x="402" y="870"/>
                </a:lnTo>
                <a:lnTo>
                  <a:pt x="390" y="864"/>
                </a:lnTo>
                <a:lnTo>
                  <a:pt x="384" y="852"/>
                </a:lnTo>
                <a:lnTo>
                  <a:pt x="378" y="840"/>
                </a:lnTo>
                <a:lnTo>
                  <a:pt x="378" y="834"/>
                </a:lnTo>
                <a:lnTo>
                  <a:pt x="360" y="822"/>
                </a:lnTo>
                <a:lnTo>
                  <a:pt x="342" y="828"/>
                </a:lnTo>
                <a:lnTo>
                  <a:pt x="324" y="816"/>
                </a:lnTo>
                <a:lnTo>
                  <a:pt x="318" y="816"/>
                </a:lnTo>
                <a:lnTo>
                  <a:pt x="306" y="810"/>
                </a:lnTo>
                <a:lnTo>
                  <a:pt x="306" y="804"/>
                </a:lnTo>
                <a:lnTo>
                  <a:pt x="300" y="804"/>
                </a:lnTo>
                <a:lnTo>
                  <a:pt x="300" y="780"/>
                </a:lnTo>
                <a:lnTo>
                  <a:pt x="300" y="774"/>
                </a:lnTo>
                <a:lnTo>
                  <a:pt x="306" y="774"/>
                </a:lnTo>
                <a:lnTo>
                  <a:pt x="312" y="756"/>
                </a:lnTo>
                <a:lnTo>
                  <a:pt x="312" y="732"/>
                </a:lnTo>
                <a:lnTo>
                  <a:pt x="300" y="720"/>
                </a:lnTo>
                <a:lnTo>
                  <a:pt x="288" y="702"/>
                </a:lnTo>
                <a:lnTo>
                  <a:pt x="276" y="702"/>
                </a:lnTo>
                <a:lnTo>
                  <a:pt x="258" y="714"/>
                </a:lnTo>
                <a:lnTo>
                  <a:pt x="246" y="726"/>
                </a:lnTo>
                <a:lnTo>
                  <a:pt x="222" y="726"/>
                </a:lnTo>
                <a:lnTo>
                  <a:pt x="192" y="726"/>
                </a:lnTo>
                <a:lnTo>
                  <a:pt x="174" y="738"/>
                </a:lnTo>
                <a:lnTo>
                  <a:pt x="162" y="750"/>
                </a:lnTo>
                <a:lnTo>
                  <a:pt x="144" y="762"/>
                </a:lnTo>
                <a:lnTo>
                  <a:pt x="138" y="768"/>
                </a:lnTo>
                <a:lnTo>
                  <a:pt x="126" y="774"/>
                </a:lnTo>
                <a:lnTo>
                  <a:pt x="114" y="780"/>
                </a:lnTo>
                <a:lnTo>
                  <a:pt x="108" y="786"/>
                </a:lnTo>
                <a:lnTo>
                  <a:pt x="102" y="786"/>
                </a:lnTo>
                <a:lnTo>
                  <a:pt x="54" y="786"/>
                </a:lnTo>
                <a:lnTo>
                  <a:pt x="48" y="792"/>
                </a:lnTo>
                <a:lnTo>
                  <a:pt x="36" y="798"/>
                </a:lnTo>
                <a:lnTo>
                  <a:pt x="18" y="792"/>
                </a:lnTo>
                <a:lnTo>
                  <a:pt x="6" y="780"/>
                </a:lnTo>
                <a:lnTo>
                  <a:pt x="6" y="768"/>
                </a:lnTo>
                <a:lnTo>
                  <a:pt x="0" y="756"/>
                </a:lnTo>
                <a:lnTo>
                  <a:pt x="0" y="738"/>
                </a:lnTo>
                <a:lnTo>
                  <a:pt x="6" y="702"/>
                </a:lnTo>
                <a:lnTo>
                  <a:pt x="24" y="702"/>
                </a:lnTo>
                <a:lnTo>
                  <a:pt x="24" y="696"/>
                </a:lnTo>
                <a:lnTo>
                  <a:pt x="24" y="690"/>
                </a:lnTo>
                <a:lnTo>
                  <a:pt x="24" y="678"/>
                </a:lnTo>
                <a:lnTo>
                  <a:pt x="24" y="672"/>
                </a:lnTo>
                <a:lnTo>
                  <a:pt x="30" y="672"/>
                </a:lnTo>
                <a:lnTo>
                  <a:pt x="30" y="666"/>
                </a:lnTo>
                <a:lnTo>
                  <a:pt x="36" y="660"/>
                </a:lnTo>
                <a:lnTo>
                  <a:pt x="84" y="648"/>
                </a:lnTo>
                <a:lnTo>
                  <a:pt x="126" y="642"/>
                </a:lnTo>
                <a:lnTo>
                  <a:pt x="132" y="630"/>
                </a:lnTo>
                <a:lnTo>
                  <a:pt x="132" y="624"/>
                </a:lnTo>
                <a:lnTo>
                  <a:pt x="132" y="618"/>
                </a:lnTo>
                <a:lnTo>
                  <a:pt x="138" y="612"/>
                </a:lnTo>
                <a:lnTo>
                  <a:pt x="138" y="606"/>
                </a:lnTo>
                <a:lnTo>
                  <a:pt x="138" y="600"/>
                </a:lnTo>
                <a:lnTo>
                  <a:pt x="132" y="600"/>
                </a:lnTo>
                <a:lnTo>
                  <a:pt x="132" y="594"/>
                </a:lnTo>
                <a:lnTo>
                  <a:pt x="132" y="588"/>
                </a:lnTo>
                <a:lnTo>
                  <a:pt x="132" y="582"/>
                </a:lnTo>
                <a:lnTo>
                  <a:pt x="132" y="576"/>
                </a:lnTo>
                <a:lnTo>
                  <a:pt x="126" y="570"/>
                </a:lnTo>
                <a:lnTo>
                  <a:pt x="120" y="564"/>
                </a:lnTo>
                <a:lnTo>
                  <a:pt x="120" y="558"/>
                </a:lnTo>
                <a:lnTo>
                  <a:pt x="120" y="552"/>
                </a:lnTo>
                <a:lnTo>
                  <a:pt x="114" y="552"/>
                </a:lnTo>
                <a:lnTo>
                  <a:pt x="114" y="546"/>
                </a:lnTo>
                <a:lnTo>
                  <a:pt x="114" y="540"/>
                </a:lnTo>
                <a:lnTo>
                  <a:pt x="108" y="534"/>
                </a:lnTo>
                <a:lnTo>
                  <a:pt x="108" y="528"/>
                </a:lnTo>
                <a:lnTo>
                  <a:pt x="114" y="522"/>
                </a:lnTo>
                <a:lnTo>
                  <a:pt x="108" y="516"/>
                </a:lnTo>
                <a:lnTo>
                  <a:pt x="108" y="498"/>
                </a:lnTo>
                <a:lnTo>
                  <a:pt x="108" y="492"/>
                </a:lnTo>
                <a:lnTo>
                  <a:pt x="108" y="486"/>
                </a:lnTo>
                <a:lnTo>
                  <a:pt x="108" y="480"/>
                </a:lnTo>
                <a:lnTo>
                  <a:pt x="114" y="474"/>
                </a:lnTo>
                <a:lnTo>
                  <a:pt x="114" y="468"/>
                </a:lnTo>
                <a:lnTo>
                  <a:pt x="114" y="462"/>
                </a:lnTo>
                <a:lnTo>
                  <a:pt x="108" y="462"/>
                </a:lnTo>
                <a:lnTo>
                  <a:pt x="102" y="456"/>
                </a:lnTo>
                <a:lnTo>
                  <a:pt x="102" y="444"/>
                </a:lnTo>
                <a:lnTo>
                  <a:pt x="96" y="444"/>
                </a:lnTo>
                <a:lnTo>
                  <a:pt x="90" y="432"/>
                </a:lnTo>
                <a:lnTo>
                  <a:pt x="96" y="432"/>
                </a:lnTo>
                <a:lnTo>
                  <a:pt x="96" y="408"/>
                </a:lnTo>
                <a:lnTo>
                  <a:pt x="96" y="396"/>
                </a:lnTo>
                <a:lnTo>
                  <a:pt x="96" y="360"/>
                </a:lnTo>
                <a:lnTo>
                  <a:pt x="96" y="354"/>
                </a:lnTo>
                <a:lnTo>
                  <a:pt x="102" y="354"/>
                </a:lnTo>
                <a:lnTo>
                  <a:pt x="102" y="348"/>
                </a:lnTo>
                <a:lnTo>
                  <a:pt x="96" y="330"/>
                </a:lnTo>
                <a:lnTo>
                  <a:pt x="90" y="306"/>
                </a:lnTo>
                <a:lnTo>
                  <a:pt x="84" y="288"/>
                </a:lnTo>
                <a:lnTo>
                  <a:pt x="84" y="264"/>
                </a:lnTo>
                <a:lnTo>
                  <a:pt x="90" y="240"/>
                </a:lnTo>
                <a:lnTo>
                  <a:pt x="96" y="222"/>
                </a:lnTo>
                <a:lnTo>
                  <a:pt x="102" y="222"/>
                </a:lnTo>
                <a:lnTo>
                  <a:pt x="108" y="210"/>
                </a:lnTo>
                <a:lnTo>
                  <a:pt x="114" y="210"/>
                </a:lnTo>
                <a:lnTo>
                  <a:pt x="126" y="198"/>
                </a:lnTo>
                <a:lnTo>
                  <a:pt x="156" y="192"/>
                </a:lnTo>
                <a:lnTo>
                  <a:pt x="174" y="186"/>
                </a:lnTo>
                <a:lnTo>
                  <a:pt x="204" y="174"/>
                </a:lnTo>
                <a:lnTo>
                  <a:pt x="222" y="168"/>
                </a:lnTo>
                <a:lnTo>
                  <a:pt x="234" y="162"/>
                </a:lnTo>
                <a:lnTo>
                  <a:pt x="246" y="156"/>
                </a:lnTo>
                <a:lnTo>
                  <a:pt x="288" y="144"/>
                </a:lnTo>
                <a:lnTo>
                  <a:pt x="288" y="132"/>
                </a:lnTo>
                <a:lnTo>
                  <a:pt x="294" y="120"/>
                </a:lnTo>
                <a:lnTo>
                  <a:pt x="300" y="108"/>
                </a:lnTo>
                <a:lnTo>
                  <a:pt x="306" y="90"/>
                </a:lnTo>
                <a:lnTo>
                  <a:pt x="312" y="78"/>
                </a:lnTo>
                <a:lnTo>
                  <a:pt x="324" y="78"/>
                </a:lnTo>
                <a:lnTo>
                  <a:pt x="324" y="54"/>
                </a:lnTo>
                <a:lnTo>
                  <a:pt x="318" y="48"/>
                </a:lnTo>
                <a:lnTo>
                  <a:pt x="324" y="30"/>
                </a:lnTo>
                <a:lnTo>
                  <a:pt x="324" y="12"/>
                </a:lnTo>
                <a:lnTo>
                  <a:pt x="360" y="6"/>
                </a:lnTo>
                <a:lnTo>
                  <a:pt x="384" y="0"/>
                </a:lnTo>
                <a:lnTo>
                  <a:pt x="390" y="6"/>
                </a:lnTo>
                <a:lnTo>
                  <a:pt x="390" y="18"/>
                </a:lnTo>
                <a:lnTo>
                  <a:pt x="390" y="54"/>
                </a:lnTo>
                <a:lnTo>
                  <a:pt x="396" y="66"/>
                </a:lnTo>
                <a:lnTo>
                  <a:pt x="414" y="84"/>
                </a:lnTo>
                <a:lnTo>
                  <a:pt x="426" y="90"/>
                </a:lnTo>
                <a:lnTo>
                  <a:pt x="432" y="96"/>
                </a:lnTo>
                <a:lnTo>
                  <a:pt x="426" y="102"/>
                </a:lnTo>
                <a:lnTo>
                  <a:pt x="438" y="102"/>
                </a:lnTo>
                <a:lnTo>
                  <a:pt x="444" y="108"/>
                </a:lnTo>
                <a:lnTo>
                  <a:pt x="444" y="102"/>
                </a:lnTo>
                <a:lnTo>
                  <a:pt x="450" y="90"/>
                </a:lnTo>
                <a:lnTo>
                  <a:pt x="450" y="84"/>
                </a:lnTo>
                <a:lnTo>
                  <a:pt x="450" y="78"/>
                </a:lnTo>
                <a:lnTo>
                  <a:pt x="456" y="72"/>
                </a:lnTo>
                <a:lnTo>
                  <a:pt x="462" y="66"/>
                </a:lnTo>
                <a:lnTo>
                  <a:pt x="462" y="60"/>
                </a:lnTo>
                <a:lnTo>
                  <a:pt x="462" y="54"/>
                </a:lnTo>
                <a:lnTo>
                  <a:pt x="462" y="42"/>
                </a:lnTo>
                <a:lnTo>
                  <a:pt x="468" y="36"/>
                </a:lnTo>
                <a:lnTo>
                  <a:pt x="474" y="24"/>
                </a:lnTo>
                <a:lnTo>
                  <a:pt x="480" y="18"/>
                </a:lnTo>
                <a:lnTo>
                  <a:pt x="486" y="12"/>
                </a:lnTo>
                <a:lnTo>
                  <a:pt x="492" y="12"/>
                </a:lnTo>
                <a:lnTo>
                  <a:pt x="498" y="6"/>
                </a:lnTo>
                <a:lnTo>
                  <a:pt x="504" y="6"/>
                </a:lnTo>
                <a:lnTo>
                  <a:pt x="510" y="12"/>
                </a:lnTo>
                <a:lnTo>
                  <a:pt x="522" y="6"/>
                </a:lnTo>
                <a:lnTo>
                  <a:pt x="534" y="6"/>
                </a:lnTo>
                <a:lnTo>
                  <a:pt x="540" y="6"/>
                </a:lnTo>
                <a:lnTo>
                  <a:pt x="546" y="6"/>
                </a:lnTo>
                <a:lnTo>
                  <a:pt x="564" y="0"/>
                </a:lnTo>
                <a:lnTo>
                  <a:pt x="570" y="0"/>
                </a:lnTo>
                <a:lnTo>
                  <a:pt x="576" y="6"/>
                </a:lnTo>
                <a:lnTo>
                  <a:pt x="582" y="6"/>
                </a:lnTo>
                <a:lnTo>
                  <a:pt x="594" y="6"/>
                </a:lnTo>
                <a:lnTo>
                  <a:pt x="600" y="6"/>
                </a:lnTo>
                <a:lnTo>
                  <a:pt x="606" y="6"/>
                </a:lnTo>
                <a:lnTo>
                  <a:pt x="624" y="0"/>
                </a:lnTo>
                <a:lnTo>
                  <a:pt x="636" y="0"/>
                </a:lnTo>
                <a:lnTo>
                  <a:pt x="636" y="6"/>
                </a:lnTo>
                <a:lnTo>
                  <a:pt x="654" y="18"/>
                </a:lnTo>
                <a:lnTo>
                  <a:pt x="654" y="30"/>
                </a:lnTo>
                <a:lnTo>
                  <a:pt x="642" y="42"/>
                </a:lnTo>
                <a:lnTo>
                  <a:pt x="630" y="66"/>
                </a:lnTo>
                <a:lnTo>
                  <a:pt x="636" y="84"/>
                </a:lnTo>
                <a:lnTo>
                  <a:pt x="636" y="96"/>
                </a:lnTo>
                <a:lnTo>
                  <a:pt x="648" y="102"/>
                </a:lnTo>
                <a:lnTo>
                  <a:pt x="672" y="114"/>
                </a:lnTo>
                <a:lnTo>
                  <a:pt x="702" y="120"/>
                </a:lnTo>
                <a:lnTo>
                  <a:pt x="714" y="126"/>
                </a:lnTo>
                <a:lnTo>
                  <a:pt x="720" y="144"/>
                </a:lnTo>
                <a:lnTo>
                  <a:pt x="720" y="156"/>
                </a:lnTo>
                <a:lnTo>
                  <a:pt x="708" y="156"/>
                </a:lnTo>
                <a:lnTo>
                  <a:pt x="702" y="162"/>
                </a:lnTo>
                <a:lnTo>
                  <a:pt x="702" y="174"/>
                </a:lnTo>
                <a:lnTo>
                  <a:pt x="696" y="174"/>
                </a:lnTo>
                <a:lnTo>
                  <a:pt x="690" y="180"/>
                </a:lnTo>
                <a:lnTo>
                  <a:pt x="678" y="186"/>
                </a:lnTo>
                <a:lnTo>
                  <a:pt x="672" y="192"/>
                </a:lnTo>
                <a:lnTo>
                  <a:pt x="654" y="210"/>
                </a:lnTo>
                <a:lnTo>
                  <a:pt x="654" y="216"/>
                </a:lnTo>
                <a:lnTo>
                  <a:pt x="648" y="246"/>
                </a:lnTo>
                <a:lnTo>
                  <a:pt x="660" y="246"/>
                </a:lnTo>
                <a:lnTo>
                  <a:pt x="666" y="234"/>
                </a:lnTo>
                <a:lnTo>
                  <a:pt x="678" y="240"/>
                </a:lnTo>
                <a:lnTo>
                  <a:pt x="684" y="228"/>
                </a:lnTo>
                <a:lnTo>
                  <a:pt x="690" y="210"/>
                </a:lnTo>
                <a:lnTo>
                  <a:pt x="696" y="204"/>
                </a:lnTo>
                <a:lnTo>
                  <a:pt x="702" y="204"/>
                </a:lnTo>
                <a:lnTo>
                  <a:pt x="708" y="192"/>
                </a:lnTo>
                <a:lnTo>
                  <a:pt x="714" y="192"/>
                </a:lnTo>
                <a:lnTo>
                  <a:pt x="714" y="186"/>
                </a:lnTo>
                <a:lnTo>
                  <a:pt x="726" y="186"/>
                </a:lnTo>
                <a:lnTo>
                  <a:pt x="732" y="186"/>
                </a:lnTo>
                <a:lnTo>
                  <a:pt x="738" y="186"/>
                </a:lnTo>
                <a:lnTo>
                  <a:pt x="744" y="216"/>
                </a:lnTo>
                <a:lnTo>
                  <a:pt x="750" y="210"/>
                </a:lnTo>
                <a:lnTo>
                  <a:pt x="750" y="204"/>
                </a:lnTo>
                <a:lnTo>
                  <a:pt x="756" y="192"/>
                </a:lnTo>
                <a:lnTo>
                  <a:pt x="762" y="192"/>
                </a:lnTo>
                <a:lnTo>
                  <a:pt x="768" y="192"/>
                </a:lnTo>
                <a:lnTo>
                  <a:pt x="780" y="186"/>
                </a:lnTo>
                <a:lnTo>
                  <a:pt x="786" y="204"/>
                </a:lnTo>
                <a:lnTo>
                  <a:pt x="774" y="210"/>
                </a:lnTo>
                <a:lnTo>
                  <a:pt x="774" y="234"/>
                </a:lnTo>
                <a:lnTo>
                  <a:pt x="780" y="246"/>
                </a:lnTo>
                <a:lnTo>
                  <a:pt x="804" y="264"/>
                </a:lnTo>
                <a:lnTo>
                  <a:pt x="816" y="276"/>
                </a:lnTo>
                <a:lnTo>
                  <a:pt x="822" y="288"/>
                </a:lnTo>
                <a:lnTo>
                  <a:pt x="822" y="312"/>
                </a:lnTo>
                <a:lnTo>
                  <a:pt x="816" y="312"/>
                </a:lnTo>
                <a:lnTo>
                  <a:pt x="810" y="318"/>
                </a:lnTo>
                <a:lnTo>
                  <a:pt x="810" y="348"/>
                </a:lnTo>
                <a:lnTo>
                  <a:pt x="816" y="348"/>
                </a:lnTo>
                <a:lnTo>
                  <a:pt x="816" y="342"/>
                </a:lnTo>
                <a:lnTo>
                  <a:pt x="834" y="342"/>
                </a:lnTo>
                <a:lnTo>
                  <a:pt x="834" y="348"/>
                </a:lnTo>
                <a:lnTo>
                  <a:pt x="846" y="348"/>
                </a:lnTo>
                <a:lnTo>
                  <a:pt x="846" y="342"/>
                </a:lnTo>
                <a:lnTo>
                  <a:pt x="882" y="342"/>
                </a:lnTo>
                <a:lnTo>
                  <a:pt x="894" y="366"/>
                </a:lnTo>
                <a:lnTo>
                  <a:pt x="900" y="372"/>
                </a:lnTo>
                <a:lnTo>
                  <a:pt x="906" y="384"/>
                </a:lnTo>
                <a:lnTo>
                  <a:pt x="924" y="384"/>
                </a:lnTo>
                <a:lnTo>
                  <a:pt x="930" y="372"/>
                </a:lnTo>
                <a:lnTo>
                  <a:pt x="936" y="372"/>
                </a:lnTo>
                <a:lnTo>
                  <a:pt x="942" y="348"/>
                </a:lnTo>
                <a:lnTo>
                  <a:pt x="954" y="348"/>
                </a:lnTo>
                <a:lnTo>
                  <a:pt x="954" y="342"/>
                </a:lnTo>
                <a:lnTo>
                  <a:pt x="984" y="342"/>
                </a:lnTo>
                <a:lnTo>
                  <a:pt x="978" y="390"/>
                </a:lnTo>
                <a:lnTo>
                  <a:pt x="984" y="390"/>
                </a:lnTo>
                <a:lnTo>
                  <a:pt x="990" y="396"/>
                </a:lnTo>
                <a:lnTo>
                  <a:pt x="996" y="396"/>
                </a:lnTo>
                <a:lnTo>
                  <a:pt x="1002" y="396"/>
                </a:lnTo>
                <a:lnTo>
                  <a:pt x="1002" y="408"/>
                </a:lnTo>
                <a:lnTo>
                  <a:pt x="990" y="414"/>
                </a:lnTo>
                <a:lnTo>
                  <a:pt x="984" y="426"/>
                </a:lnTo>
                <a:lnTo>
                  <a:pt x="990" y="444"/>
                </a:lnTo>
                <a:lnTo>
                  <a:pt x="996" y="450"/>
                </a:lnTo>
                <a:lnTo>
                  <a:pt x="990" y="462"/>
                </a:lnTo>
                <a:lnTo>
                  <a:pt x="990" y="468"/>
                </a:lnTo>
                <a:lnTo>
                  <a:pt x="984" y="480"/>
                </a:lnTo>
                <a:lnTo>
                  <a:pt x="978" y="486"/>
                </a:lnTo>
                <a:lnTo>
                  <a:pt x="972" y="486"/>
                </a:lnTo>
                <a:lnTo>
                  <a:pt x="966" y="492"/>
                </a:lnTo>
                <a:lnTo>
                  <a:pt x="966" y="498"/>
                </a:lnTo>
                <a:lnTo>
                  <a:pt x="954" y="510"/>
                </a:lnTo>
                <a:lnTo>
                  <a:pt x="948" y="510"/>
                </a:lnTo>
                <a:lnTo>
                  <a:pt x="942" y="516"/>
                </a:lnTo>
                <a:lnTo>
                  <a:pt x="936" y="528"/>
                </a:lnTo>
                <a:lnTo>
                  <a:pt x="936" y="534"/>
                </a:lnTo>
                <a:lnTo>
                  <a:pt x="936" y="546"/>
                </a:lnTo>
                <a:lnTo>
                  <a:pt x="936" y="558"/>
                </a:lnTo>
                <a:lnTo>
                  <a:pt x="948" y="558"/>
                </a:lnTo>
                <a:lnTo>
                  <a:pt x="954" y="558"/>
                </a:lnTo>
                <a:lnTo>
                  <a:pt x="996" y="558"/>
                </a:lnTo>
                <a:lnTo>
                  <a:pt x="1002" y="570"/>
                </a:lnTo>
                <a:lnTo>
                  <a:pt x="996" y="576"/>
                </a:lnTo>
                <a:lnTo>
                  <a:pt x="996" y="588"/>
                </a:lnTo>
                <a:lnTo>
                  <a:pt x="984" y="588"/>
                </a:lnTo>
                <a:lnTo>
                  <a:pt x="990" y="612"/>
                </a:lnTo>
                <a:lnTo>
                  <a:pt x="1014" y="606"/>
                </a:lnTo>
                <a:lnTo>
                  <a:pt x="1014" y="636"/>
                </a:lnTo>
                <a:lnTo>
                  <a:pt x="1014" y="648"/>
                </a:lnTo>
                <a:lnTo>
                  <a:pt x="1020" y="648"/>
                </a:lnTo>
                <a:lnTo>
                  <a:pt x="1026" y="660"/>
                </a:lnTo>
                <a:lnTo>
                  <a:pt x="1038" y="654"/>
                </a:lnTo>
                <a:lnTo>
                  <a:pt x="1050" y="654"/>
                </a:lnTo>
                <a:lnTo>
                  <a:pt x="1062" y="654"/>
                </a:lnTo>
                <a:lnTo>
                  <a:pt x="1068" y="660"/>
                </a:lnTo>
                <a:lnTo>
                  <a:pt x="1068" y="678"/>
                </a:lnTo>
                <a:lnTo>
                  <a:pt x="1068" y="684"/>
                </a:lnTo>
                <a:lnTo>
                  <a:pt x="1062" y="690"/>
                </a:lnTo>
                <a:lnTo>
                  <a:pt x="1056" y="696"/>
                </a:lnTo>
                <a:lnTo>
                  <a:pt x="1056" y="702"/>
                </a:lnTo>
                <a:lnTo>
                  <a:pt x="1038" y="714"/>
                </a:lnTo>
                <a:lnTo>
                  <a:pt x="1026" y="720"/>
                </a:lnTo>
                <a:lnTo>
                  <a:pt x="1008" y="726"/>
                </a:lnTo>
                <a:lnTo>
                  <a:pt x="1008" y="732"/>
                </a:lnTo>
                <a:lnTo>
                  <a:pt x="990" y="732"/>
                </a:lnTo>
                <a:lnTo>
                  <a:pt x="984" y="744"/>
                </a:lnTo>
                <a:lnTo>
                  <a:pt x="990" y="750"/>
                </a:lnTo>
                <a:lnTo>
                  <a:pt x="984" y="762"/>
                </a:lnTo>
                <a:lnTo>
                  <a:pt x="984" y="768"/>
                </a:lnTo>
                <a:lnTo>
                  <a:pt x="984" y="774"/>
                </a:lnTo>
                <a:lnTo>
                  <a:pt x="984" y="780"/>
                </a:lnTo>
                <a:lnTo>
                  <a:pt x="984" y="786"/>
                </a:lnTo>
                <a:lnTo>
                  <a:pt x="984" y="792"/>
                </a:lnTo>
                <a:lnTo>
                  <a:pt x="978" y="798"/>
                </a:lnTo>
                <a:lnTo>
                  <a:pt x="978" y="804"/>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20522" name="Freeform 39"/>
          <p:cNvSpPr>
            <a:spLocks/>
          </p:cNvSpPr>
          <p:nvPr/>
        </p:nvSpPr>
        <p:spPr bwMode="gray">
          <a:xfrm>
            <a:off x="4918075" y="1768475"/>
            <a:ext cx="1411288" cy="1454150"/>
          </a:xfrm>
          <a:custGeom>
            <a:avLst/>
            <a:gdLst>
              <a:gd name="T0" fmla="*/ 82068 w 1806"/>
              <a:gd name="T1" fmla="*/ 124912 h 1806"/>
              <a:gd name="T2" fmla="*/ 80505 w 1806"/>
              <a:gd name="T3" fmla="*/ 124912 h 1806"/>
              <a:gd name="T4" fmla="*/ 80505 w 1806"/>
              <a:gd name="T5" fmla="*/ 120883 h 1806"/>
              <a:gd name="T6" fmla="*/ 81287 w 1806"/>
              <a:gd name="T7" fmla="*/ 113630 h 1806"/>
              <a:gd name="T8" fmla="*/ 81287 w 1806"/>
              <a:gd name="T9" fmla="*/ 109600 h 1806"/>
              <a:gd name="T10" fmla="*/ 78160 w 1806"/>
              <a:gd name="T11" fmla="*/ 105571 h 1806"/>
              <a:gd name="T12" fmla="*/ 75034 w 1806"/>
              <a:gd name="T13" fmla="*/ 102347 h 1806"/>
              <a:gd name="T14" fmla="*/ 71126 w 1806"/>
              <a:gd name="T15" fmla="*/ 97512 h 1806"/>
              <a:gd name="T16" fmla="*/ 67999 w 1806"/>
              <a:gd name="T17" fmla="*/ 96706 h 1806"/>
              <a:gd name="T18" fmla="*/ 63310 w 1806"/>
              <a:gd name="T19" fmla="*/ 94288 h 1806"/>
              <a:gd name="T20" fmla="*/ 50804 w 1806"/>
              <a:gd name="T21" fmla="*/ 91065 h 1806"/>
              <a:gd name="T22" fmla="*/ 53931 w 1806"/>
              <a:gd name="T23" fmla="*/ 84618 h 1806"/>
              <a:gd name="T24" fmla="*/ 51586 w 1806"/>
              <a:gd name="T25" fmla="*/ 71724 h 1806"/>
              <a:gd name="T26" fmla="*/ 49241 w 1806"/>
              <a:gd name="T27" fmla="*/ 67694 h 1806"/>
              <a:gd name="T28" fmla="*/ 48459 w 1806"/>
              <a:gd name="T29" fmla="*/ 59635 h 1806"/>
              <a:gd name="T30" fmla="*/ 45333 w 1806"/>
              <a:gd name="T31" fmla="*/ 41906 h 1806"/>
              <a:gd name="T32" fmla="*/ 41425 w 1806"/>
              <a:gd name="T33" fmla="*/ 39488 h 1806"/>
              <a:gd name="T34" fmla="*/ 39862 w 1806"/>
              <a:gd name="T35" fmla="*/ 29012 h 1806"/>
              <a:gd name="T36" fmla="*/ 33609 w 1806"/>
              <a:gd name="T37" fmla="*/ 25788 h 1806"/>
              <a:gd name="T38" fmla="*/ 25793 w 1806"/>
              <a:gd name="T39" fmla="*/ 24177 h 1806"/>
              <a:gd name="T40" fmla="*/ 23448 w 1806"/>
              <a:gd name="T41" fmla="*/ 16924 h 1806"/>
              <a:gd name="T42" fmla="*/ 13287 w 1806"/>
              <a:gd name="T43" fmla="*/ 20147 h 1806"/>
              <a:gd name="T44" fmla="*/ 3126 w 1806"/>
              <a:gd name="T45" fmla="*/ 26594 h 1806"/>
              <a:gd name="T46" fmla="*/ 5471 w 1806"/>
              <a:gd name="T47" fmla="*/ 20953 h 1806"/>
              <a:gd name="T48" fmla="*/ 8598 w 1806"/>
              <a:gd name="T49" fmla="*/ 16118 h 1806"/>
              <a:gd name="T50" fmla="*/ 14069 w 1806"/>
              <a:gd name="T51" fmla="*/ 9671 h 1806"/>
              <a:gd name="T52" fmla="*/ 20322 w 1806"/>
              <a:gd name="T53" fmla="*/ 6447 h 1806"/>
              <a:gd name="T54" fmla="*/ 27356 w 1806"/>
              <a:gd name="T55" fmla="*/ 4835 h 1806"/>
              <a:gd name="T56" fmla="*/ 34390 w 1806"/>
              <a:gd name="T57" fmla="*/ 4029 h 1806"/>
              <a:gd name="T58" fmla="*/ 42207 w 1806"/>
              <a:gd name="T59" fmla="*/ 1612 h 1806"/>
              <a:gd name="T60" fmla="*/ 50804 w 1806"/>
              <a:gd name="T61" fmla="*/ 0 h 1806"/>
              <a:gd name="T62" fmla="*/ 59402 w 1806"/>
              <a:gd name="T63" fmla="*/ 0 h 1806"/>
              <a:gd name="T64" fmla="*/ 66436 w 1806"/>
              <a:gd name="T65" fmla="*/ 0 h 1806"/>
              <a:gd name="T66" fmla="*/ 75815 w 1806"/>
              <a:gd name="T67" fmla="*/ 0 h 1806"/>
              <a:gd name="T68" fmla="*/ 84413 w 1806"/>
              <a:gd name="T69" fmla="*/ 2418 h 1806"/>
              <a:gd name="T70" fmla="*/ 89884 w 1806"/>
              <a:gd name="T71" fmla="*/ 4029 h 1806"/>
              <a:gd name="T72" fmla="*/ 96137 w 1806"/>
              <a:gd name="T73" fmla="*/ 5641 h 1806"/>
              <a:gd name="T74" fmla="*/ 103953 w 1806"/>
              <a:gd name="T75" fmla="*/ 11282 h 1806"/>
              <a:gd name="T76" fmla="*/ 107861 w 1806"/>
              <a:gd name="T77" fmla="*/ 12894 h 1806"/>
              <a:gd name="T78" fmla="*/ 109424 w 1806"/>
              <a:gd name="T79" fmla="*/ 11282 h 1806"/>
              <a:gd name="T80" fmla="*/ 113332 w 1806"/>
              <a:gd name="T81" fmla="*/ 12894 h 1806"/>
              <a:gd name="T82" fmla="*/ 114895 w 1806"/>
              <a:gd name="T83" fmla="*/ 12894 h 1806"/>
              <a:gd name="T84" fmla="*/ 117240 w 1806"/>
              <a:gd name="T85" fmla="*/ 13700 h 1806"/>
              <a:gd name="T86" fmla="*/ 118804 w 1806"/>
              <a:gd name="T87" fmla="*/ 14506 h 1806"/>
              <a:gd name="T88" fmla="*/ 121148 w 1806"/>
              <a:gd name="T89" fmla="*/ 29818 h 1806"/>
              <a:gd name="T90" fmla="*/ 114114 w 1806"/>
              <a:gd name="T91" fmla="*/ 53188 h 1806"/>
              <a:gd name="T92" fmla="*/ 111769 w 1806"/>
              <a:gd name="T93" fmla="*/ 70918 h 1806"/>
              <a:gd name="T94" fmla="*/ 112551 w 1806"/>
              <a:gd name="T95" fmla="*/ 78977 h 1806"/>
              <a:gd name="T96" fmla="*/ 107079 w 1806"/>
              <a:gd name="T97" fmla="*/ 95094 h 1806"/>
              <a:gd name="T98" fmla="*/ 103171 w 1806"/>
              <a:gd name="T99" fmla="*/ 103959 h 1806"/>
              <a:gd name="T100" fmla="*/ 96919 w 1806"/>
              <a:gd name="T101" fmla="*/ 108794 h 1806"/>
              <a:gd name="T102" fmla="*/ 93011 w 1806"/>
              <a:gd name="T103" fmla="*/ 109600 h 1806"/>
              <a:gd name="T104" fmla="*/ 90666 w 1806"/>
              <a:gd name="T105" fmla="*/ 110406 h 1806"/>
              <a:gd name="T106" fmla="*/ 87539 w 1806"/>
              <a:gd name="T107" fmla="*/ 112018 h 1806"/>
              <a:gd name="T108" fmla="*/ 87539 w 1806"/>
              <a:gd name="T109" fmla="*/ 113630 h 1806"/>
              <a:gd name="T110" fmla="*/ 90666 w 1806"/>
              <a:gd name="T111" fmla="*/ 117659 h 1806"/>
              <a:gd name="T112" fmla="*/ 90666 w 1806"/>
              <a:gd name="T113" fmla="*/ 121689 h 1806"/>
              <a:gd name="T114" fmla="*/ 88321 w 1806"/>
              <a:gd name="T115" fmla="*/ 123300 h 18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06"/>
              <a:gd name="T175" fmla="*/ 0 h 1806"/>
              <a:gd name="T176" fmla="*/ 1806 w 1806"/>
              <a:gd name="T177" fmla="*/ 1806 h 18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06" h="1806">
                <a:moveTo>
                  <a:pt x="1260" y="1776"/>
                </a:moveTo>
                <a:lnTo>
                  <a:pt x="1254" y="1776"/>
                </a:lnTo>
                <a:lnTo>
                  <a:pt x="1248" y="1776"/>
                </a:lnTo>
                <a:lnTo>
                  <a:pt x="1242" y="1782"/>
                </a:lnTo>
                <a:lnTo>
                  <a:pt x="1236" y="1782"/>
                </a:lnTo>
                <a:lnTo>
                  <a:pt x="1230" y="1788"/>
                </a:lnTo>
                <a:lnTo>
                  <a:pt x="1224" y="1782"/>
                </a:lnTo>
                <a:lnTo>
                  <a:pt x="1218" y="1782"/>
                </a:lnTo>
                <a:lnTo>
                  <a:pt x="1218" y="1788"/>
                </a:lnTo>
                <a:lnTo>
                  <a:pt x="1212" y="1788"/>
                </a:lnTo>
                <a:lnTo>
                  <a:pt x="1206" y="1788"/>
                </a:lnTo>
                <a:lnTo>
                  <a:pt x="1206" y="1794"/>
                </a:lnTo>
                <a:lnTo>
                  <a:pt x="1200" y="1806"/>
                </a:lnTo>
                <a:lnTo>
                  <a:pt x="1194" y="1800"/>
                </a:lnTo>
                <a:lnTo>
                  <a:pt x="1194" y="1794"/>
                </a:lnTo>
                <a:lnTo>
                  <a:pt x="1194" y="1788"/>
                </a:lnTo>
                <a:lnTo>
                  <a:pt x="1188" y="1788"/>
                </a:lnTo>
                <a:lnTo>
                  <a:pt x="1188" y="1782"/>
                </a:lnTo>
                <a:lnTo>
                  <a:pt x="1188" y="1776"/>
                </a:lnTo>
                <a:lnTo>
                  <a:pt x="1194" y="1770"/>
                </a:lnTo>
                <a:lnTo>
                  <a:pt x="1194" y="1764"/>
                </a:lnTo>
                <a:lnTo>
                  <a:pt x="1194" y="1758"/>
                </a:lnTo>
                <a:lnTo>
                  <a:pt x="1194" y="1752"/>
                </a:lnTo>
                <a:lnTo>
                  <a:pt x="1200" y="1746"/>
                </a:lnTo>
                <a:lnTo>
                  <a:pt x="1200" y="1740"/>
                </a:lnTo>
                <a:lnTo>
                  <a:pt x="1200" y="1734"/>
                </a:lnTo>
                <a:lnTo>
                  <a:pt x="1188" y="1722"/>
                </a:lnTo>
                <a:lnTo>
                  <a:pt x="1188" y="1716"/>
                </a:lnTo>
                <a:lnTo>
                  <a:pt x="1194" y="1704"/>
                </a:lnTo>
                <a:lnTo>
                  <a:pt x="1194" y="1692"/>
                </a:lnTo>
                <a:lnTo>
                  <a:pt x="1200" y="1680"/>
                </a:lnTo>
                <a:lnTo>
                  <a:pt x="1200" y="1662"/>
                </a:lnTo>
                <a:lnTo>
                  <a:pt x="1200" y="1650"/>
                </a:lnTo>
                <a:lnTo>
                  <a:pt x="1206" y="1644"/>
                </a:lnTo>
                <a:lnTo>
                  <a:pt x="1206" y="1638"/>
                </a:lnTo>
                <a:lnTo>
                  <a:pt x="1206" y="1626"/>
                </a:lnTo>
                <a:lnTo>
                  <a:pt x="1206" y="1620"/>
                </a:lnTo>
                <a:lnTo>
                  <a:pt x="1206" y="1614"/>
                </a:lnTo>
                <a:lnTo>
                  <a:pt x="1200" y="1608"/>
                </a:lnTo>
                <a:lnTo>
                  <a:pt x="1200" y="1602"/>
                </a:lnTo>
                <a:lnTo>
                  <a:pt x="1200" y="1596"/>
                </a:lnTo>
                <a:lnTo>
                  <a:pt x="1200" y="1590"/>
                </a:lnTo>
                <a:lnTo>
                  <a:pt x="1200" y="1572"/>
                </a:lnTo>
                <a:lnTo>
                  <a:pt x="1200" y="1566"/>
                </a:lnTo>
                <a:lnTo>
                  <a:pt x="1200" y="1560"/>
                </a:lnTo>
                <a:lnTo>
                  <a:pt x="1194" y="1554"/>
                </a:lnTo>
                <a:lnTo>
                  <a:pt x="1188" y="1548"/>
                </a:lnTo>
                <a:lnTo>
                  <a:pt x="1188" y="1542"/>
                </a:lnTo>
                <a:lnTo>
                  <a:pt x="1176" y="1536"/>
                </a:lnTo>
                <a:lnTo>
                  <a:pt x="1176" y="1530"/>
                </a:lnTo>
                <a:lnTo>
                  <a:pt x="1170" y="1524"/>
                </a:lnTo>
                <a:lnTo>
                  <a:pt x="1170" y="1518"/>
                </a:lnTo>
                <a:lnTo>
                  <a:pt x="1164" y="1512"/>
                </a:lnTo>
                <a:lnTo>
                  <a:pt x="1158" y="1506"/>
                </a:lnTo>
                <a:lnTo>
                  <a:pt x="1152" y="1500"/>
                </a:lnTo>
                <a:lnTo>
                  <a:pt x="1146" y="1494"/>
                </a:lnTo>
                <a:lnTo>
                  <a:pt x="1140" y="1488"/>
                </a:lnTo>
                <a:lnTo>
                  <a:pt x="1134" y="1482"/>
                </a:lnTo>
                <a:lnTo>
                  <a:pt x="1128" y="1476"/>
                </a:lnTo>
                <a:lnTo>
                  <a:pt x="1122" y="1470"/>
                </a:lnTo>
                <a:lnTo>
                  <a:pt x="1116" y="1464"/>
                </a:lnTo>
                <a:lnTo>
                  <a:pt x="1110" y="1464"/>
                </a:lnTo>
                <a:lnTo>
                  <a:pt x="1104" y="1458"/>
                </a:lnTo>
                <a:lnTo>
                  <a:pt x="1098" y="1464"/>
                </a:lnTo>
                <a:lnTo>
                  <a:pt x="1092" y="1464"/>
                </a:lnTo>
                <a:lnTo>
                  <a:pt x="1086" y="1446"/>
                </a:lnTo>
                <a:lnTo>
                  <a:pt x="1086" y="1440"/>
                </a:lnTo>
                <a:lnTo>
                  <a:pt x="1080" y="1416"/>
                </a:lnTo>
                <a:lnTo>
                  <a:pt x="1068" y="1404"/>
                </a:lnTo>
                <a:lnTo>
                  <a:pt x="1062" y="1398"/>
                </a:lnTo>
                <a:lnTo>
                  <a:pt x="1056" y="1398"/>
                </a:lnTo>
                <a:lnTo>
                  <a:pt x="1050" y="1398"/>
                </a:lnTo>
                <a:lnTo>
                  <a:pt x="1044" y="1398"/>
                </a:lnTo>
                <a:lnTo>
                  <a:pt x="1044" y="1392"/>
                </a:lnTo>
                <a:lnTo>
                  <a:pt x="1038" y="1392"/>
                </a:lnTo>
                <a:lnTo>
                  <a:pt x="1032" y="1392"/>
                </a:lnTo>
                <a:lnTo>
                  <a:pt x="1020" y="1386"/>
                </a:lnTo>
                <a:lnTo>
                  <a:pt x="1014" y="1386"/>
                </a:lnTo>
                <a:lnTo>
                  <a:pt x="1014" y="1380"/>
                </a:lnTo>
                <a:lnTo>
                  <a:pt x="1008" y="1380"/>
                </a:lnTo>
                <a:lnTo>
                  <a:pt x="1002" y="1374"/>
                </a:lnTo>
                <a:lnTo>
                  <a:pt x="996" y="1368"/>
                </a:lnTo>
                <a:lnTo>
                  <a:pt x="990" y="1362"/>
                </a:lnTo>
                <a:lnTo>
                  <a:pt x="984" y="1356"/>
                </a:lnTo>
                <a:lnTo>
                  <a:pt x="978" y="1356"/>
                </a:lnTo>
                <a:lnTo>
                  <a:pt x="972" y="1356"/>
                </a:lnTo>
                <a:lnTo>
                  <a:pt x="966" y="1356"/>
                </a:lnTo>
                <a:lnTo>
                  <a:pt x="966" y="1350"/>
                </a:lnTo>
                <a:lnTo>
                  <a:pt x="948" y="1350"/>
                </a:lnTo>
                <a:lnTo>
                  <a:pt x="936" y="1344"/>
                </a:lnTo>
                <a:lnTo>
                  <a:pt x="930" y="1338"/>
                </a:lnTo>
                <a:lnTo>
                  <a:pt x="918" y="1332"/>
                </a:lnTo>
                <a:lnTo>
                  <a:pt x="900" y="1326"/>
                </a:lnTo>
                <a:lnTo>
                  <a:pt x="864" y="1332"/>
                </a:lnTo>
                <a:lnTo>
                  <a:pt x="828" y="1332"/>
                </a:lnTo>
                <a:lnTo>
                  <a:pt x="792" y="1314"/>
                </a:lnTo>
                <a:lnTo>
                  <a:pt x="780" y="1314"/>
                </a:lnTo>
                <a:lnTo>
                  <a:pt x="780" y="1308"/>
                </a:lnTo>
                <a:lnTo>
                  <a:pt x="756" y="1296"/>
                </a:lnTo>
                <a:lnTo>
                  <a:pt x="756" y="1278"/>
                </a:lnTo>
                <a:lnTo>
                  <a:pt x="768" y="1278"/>
                </a:lnTo>
                <a:lnTo>
                  <a:pt x="774" y="1272"/>
                </a:lnTo>
                <a:lnTo>
                  <a:pt x="780" y="1266"/>
                </a:lnTo>
                <a:lnTo>
                  <a:pt x="786" y="1260"/>
                </a:lnTo>
                <a:lnTo>
                  <a:pt x="792" y="1254"/>
                </a:lnTo>
                <a:lnTo>
                  <a:pt x="798" y="1242"/>
                </a:lnTo>
                <a:lnTo>
                  <a:pt x="804" y="1242"/>
                </a:lnTo>
                <a:lnTo>
                  <a:pt x="804" y="1206"/>
                </a:lnTo>
                <a:lnTo>
                  <a:pt x="804" y="1182"/>
                </a:lnTo>
                <a:lnTo>
                  <a:pt x="804" y="1158"/>
                </a:lnTo>
                <a:lnTo>
                  <a:pt x="804" y="1134"/>
                </a:lnTo>
                <a:lnTo>
                  <a:pt x="798" y="1116"/>
                </a:lnTo>
                <a:lnTo>
                  <a:pt x="792" y="1092"/>
                </a:lnTo>
                <a:lnTo>
                  <a:pt x="786" y="1062"/>
                </a:lnTo>
                <a:lnTo>
                  <a:pt x="768" y="1032"/>
                </a:lnTo>
                <a:lnTo>
                  <a:pt x="762" y="1032"/>
                </a:lnTo>
                <a:lnTo>
                  <a:pt x="762" y="1020"/>
                </a:lnTo>
                <a:lnTo>
                  <a:pt x="762" y="1014"/>
                </a:lnTo>
                <a:lnTo>
                  <a:pt x="756" y="1008"/>
                </a:lnTo>
                <a:lnTo>
                  <a:pt x="750" y="1002"/>
                </a:lnTo>
                <a:lnTo>
                  <a:pt x="738" y="1002"/>
                </a:lnTo>
                <a:lnTo>
                  <a:pt x="738" y="990"/>
                </a:lnTo>
                <a:lnTo>
                  <a:pt x="726" y="990"/>
                </a:lnTo>
                <a:lnTo>
                  <a:pt x="726" y="978"/>
                </a:lnTo>
                <a:lnTo>
                  <a:pt x="732" y="972"/>
                </a:lnTo>
                <a:lnTo>
                  <a:pt x="732" y="966"/>
                </a:lnTo>
                <a:lnTo>
                  <a:pt x="726" y="966"/>
                </a:lnTo>
                <a:lnTo>
                  <a:pt x="732" y="948"/>
                </a:lnTo>
                <a:lnTo>
                  <a:pt x="726" y="942"/>
                </a:lnTo>
                <a:lnTo>
                  <a:pt x="726" y="930"/>
                </a:lnTo>
                <a:lnTo>
                  <a:pt x="720" y="924"/>
                </a:lnTo>
                <a:lnTo>
                  <a:pt x="714" y="912"/>
                </a:lnTo>
                <a:lnTo>
                  <a:pt x="714" y="882"/>
                </a:lnTo>
                <a:lnTo>
                  <a:pt x="714" y="870"/>
                </a:lnTo>
                <a:lnTo>
                  <a:pt x="714" y="858"/>
                </a:lnTo>
                <a:lnTo>
                  <a:pt x="714" y="846"/>
                </a:lnTo>
                <a:lnTo>
                  <a:pt x="708" y="822"/>
                </a:lnTo>
                <a:lnTo>
                  <a:pt x="702" y="798"/>
                </a:lnTo>
                <a:lnTo>
                  <a:pt x="696" y="792"/>
                </a:lnTo>
                <a:lnTo>
                  <a:pt x="684" y="726"/>
                </a:lnTo>
                <a:lnTo>
                  <a:pt x="678" y="666"/>
                </a:lnTo>
                <a:lnTo>
                  <a:pt x="678" y="606"/>
                </a:lnTo>
                <a:lnTo>
                  <a:pt x="666" y="606"/>
                </a:lnTo>
                <a:lnTo>
                  <a:pt x="666" y="600"/>
                </a:lnTo>
                <a:lnTo>
                  <a:pt x="660" y="594"/>
                </a:lnTo>
                <a:lnTo>
                  <a:pt x="654" y="594"/>
                </a:lnTo>
                <a:lnTo>
                  <a:pt x="636" y="582"/>
                </a:lnTo>
                <a:lnTo>
                  <a:pt x="630" y="576"/>
                </a:lnTo>
                <a:lnTo>
                  <a:pt x="624" y="576"/>
                </a:lnTo>
                <a:lnTo>
                  <a:pt x="618" y="570"/>
                </a:lnTo>
                <a:lnTo>
                  <a:pt x="612" y="564"/>
                </a:lnTo>
                <a:lnTo>
                  <a:pt x="606" y="558"/>
                </a:lnTo>
                <a:lnTo>
                  <a:pt x="606" y="564"/>
                </a:lnTo>
                <a:lnTo>
                  <a:pt x="600" y="564"/>
                </a:lnTo>
                <a:lnTo>
                  <a:pt x="594" y="558"/>
                </a:lnTo>
                <a:lnTo>
                  <a:pt x="594" y="540"/>
                </a:lnTo>
                <a:lnTo>
                  <a:pt x="594" y="528"/>
                </a:lnTo>
                <a:lnTo>
                  <a:pt x="594" y="516"/>
                </a:lnTo>
                <a:lnTo>
                  <a:pt x="594" y="510"/>
                </a:lnTo>
                <a:lnTo>
                  <a:pt x="594" y="492"/>
                </a:lnTo>
                <a:lnTo>
                  <a:pt x="594" y="456"/>
                </a:lnTo>
                <a:lnTo>
                  <a:pt x="588" y="414"/>
                </a:lnTo>
                <a:lnTo>
                  <a:pt x="588" y="408"/>
                </a:lnTo>
                <a:lnTo>
                  <a:pt x="582" y="396"/>
                </a:lnTo>
                <a:lnTo>
                  <a:pt x="582" y="384"/>
                </a:lnTo>
                <a:lnTo>
                  <a:pt x="582" y="372"/>
                </a:lnTo>
                <a:lnTo>
                  <a:pt x="564" y="372"/>
                </a:lnTo>
                <a:lnTo>
                  <a:pt x="552" y="366"/>
                </a:lnTo>
                <a:lnTo>
                  <a:pt x="552" y="372"/>
                </a:lnTo>
                <a:lnTo>
                  <a:pt x="498" y="372"/>
                </a:lnTo>
                <a:lnTo>
                  <a:pt x="498" y="366"/>
                </a:lnTo>
                <a:lnTo>
                  <a:pt x="474" y="360"/>
                </a:lnTo>
                <a:lnTo>
                  <a:pt x="456" y="354"/>
                </a:lnTo>
                <a:lnTo>
                  <a:pt x="438" y="348"/>
                </a:lnTo>
                <a:lnTo>
                  <a:pt x="426" y="354"/>
                </a:lnTo>
                <a:lnTo>
                  <a:pt x="408" y="360"/>
                </a:lnTo>
                <a:lnTo>
                  <a:pt x="378" y="360"/>
                </a:lnTo>
                <a:lnTo>
                  <a:pt x="378" y="354"/>
                </a:lnTo>
                <a:lnTo>
                  <a:pt x="378" y="348"/>
                </a:lnTo>
                <a:lnTo>
                  <a:pt x="378" y="342"/>
                </a:lnTo>
                <a:lnTo>
                  <a:pt x="390" y="330"/>
                </a:lnTo>
                <a:lnTo>
                  <a:pt x="396" y="312"/>
                </a:lnTo>
                <a:lnTo>
                  <a:pt x="396" y="282"/>
                </a:lnTo>
                <a:lnTo>
                  <a:pt x="390" y="276"/>
                </a:lnTo>
                <a:lnTo>
                  <a:pt x="384" y="264"/>
                </a:lnTo>
                <a:lnTo>
                  <a:pt x="378" y="258"/>
                </a:lnTo>
                <a:lnTo>
                  <a:pt x="372" y="234"/>
                </a:lnTo>
                <a:lnTo>
                  <a:pt x="354" y="234"/>
                </a:lnTo>
                <a:lnTo>
                  <a:pt x="342" y="246"/>
                </a:lnTo>
                <a:lnTo>
                  <a:pt x="330" y="252"/>
                </a:lnTo>
                <a:lnTo>
                  <a:pt x="318" y="252"/>
                </a:lnTo>
                <a:lnTo>
                  <a:pt x="276" y="258"/>
                </a:lnTo>
                <a:lnTo>
                  <a:pt x="276" y="264"/>
                </a:lnTo>
                <a:lnTo>
                  <a:pt x="252" y="270"/>
                </a:lnTo>
                <a:lnTo>
                  <a:pt x="240" y="270"/>
                </a:lnTo>
                <a:lnTo>
                  <a:pt x="228" y="276"/>
                </a:lnTo>
                <a:lnTo>
                  <a:pt x="210" y="282"/>
                </a:lnTo>
                <a:lnTo>
                  <a:pt x="198" y="288"/>
                </a:lnTo>
                <a:lnTo>
                  <a:pt x="186" y="294"/>
                </a:lnTo>
                <a:lnTo>
                  <a:pt x="174" y="330"/>
                </a:lnTo>
                <a:lnTo>
                  <a:pt x="162" y="342"/>
                </a:lnTo>
                <a:lnTo>
                  <a:pt x="156" y="354"/>
                </a:lnTo>
                <a:lnTo>
                  <a:pt x="150" y="360"/>
                </a:lnTo>
                <a:lnTo>
                  <a:pt x="150" y="366"/>
                </a:lnTo>
                <a:lnTo>
                  <a:pt x="108" y="372"/>
                </a:lnTo>
                <a:lnTo>
                  <a:pt x="60" y="378"/>
                </a:lnTo>
                <a:lnTo>
                  <a:pt x="42" y="378"/>
                </a:lnTo>
                <a:lnTo>
                  <a:pt x="12" y="378"/>
                </a:lnTo>
                <a:lnTo>
                  <a:pt x="6" y="378"/>
                </a:lnTo>
                <a:lnTo>
                  <a:pt x="0" y="366"/>
                </a:lnTo>
                <a:lnTo>
                  <a:pt x="12" y="360"/>
                </a:lnTo>
                <a:lnTo>
                  <a:pt x="24" y="348"/>
                </a:lnTo>
                <a:lnTo>
                  <a:pt x="30" y="342"/>
                </a:lnTo>
                <a:lnTo>
                  <a:pt x="36" y="330"/>
                </a:lnTo>
                <a:lnTo>
                  <a:pt x="72" y="300"/>
                </a:lnTo>
                <a:lnTo>
                  <a:pt x="78" y="294"/>
                </a:lnTo>
                <a:lnTo>
                  <a:pt x="78" y="288"/>
                </a:lnTo>
                <a:lnTo>
                  <a:pt x="90" y="282"/>
                </a:lnTo>
                <a:lnTo>
                  <a:pt x="90" y="276"/>
                </a:lnTo>
                <a:lnTo>
                  <a:pt x="96" y="270"/>
                </a:lnTo>
                <a:lnTo>
                  <a:pt x="102" y="264"/>
                </a:lnTo>
                <a:lnTo>
                  <a:pt x="108" y="258"/>
                </a:lnTo>
                <a:lnTo>
                  <a:pt x="114" y="246"/>
                </a:lnTo>
                <a:lnTo>
                  <a:pt x="120" y="240"/>
                </a:lnTo>
                <a:lnTo>
                  <a:pt x="126" y="234"/>
                </a:lnTo>
                <a:lnTo>
                  <a:pt x="138" y="216"/>
                </a:lnTo>
                <a:lnTo>
                  <a:pt x="144" y="216"/>
                </a:lnTo>
                <a:lnTo>
                  <a:pt x="150" y="210"/>
                </a:lnTo>
                <a:lnTo>
                  <a:pt x="162" y="204"/>
                </a:lnTo>
                <a:lnTo>
                  <a:pt x="162" y="198"/>
                </a:lnTo>
                <a:lnTo>
                  <a:pt x="168" y="198"/>
                </a:lnTo>
                <a:lnTo>
                  <a:pt x="186" y="174"/>
                </a:lnTo>
                <a:lnTo>
                  <a:pt x="210" y="150"/>
                </a:lnTo>
                <a:lnTo>
                  <a:pt x="210" y="144"/>
                </a:lnTo>
                <a:lnTo>
                  <a:pt x="216" y="144"/>
                </a:lnTo>
                <a:lnTo>
                  <a:pt x="222" y="138"/>
                </a:lnTo>
                <a:lnTo>
                  <a:pt x="234" y="132"/>
                </a:lnTo>
                <a:lnTo>
                  <a:pt x="246" y="126"/>
                </a:lnTo>
                <a:lnTo>
                  <a:pt x="246" y="120"/>
                </a:lnTo>
                <a:lnTo>
                  <a:pt x="258" y="114"/>
                </a:lnTo>
                <a:lnTo>
                  <a:pt x="264" y="114"/>
                </a:lnTo>
                <a:lnTo>
                  <a:pt x="288" y="102"/>
                </a:lnTo>
                <a:lnTo>
                  <a:pt x="300" y="96"/>
                </a:lnTo>
                <a:lnTo>
                  <a:pt x="306" y="90"/>
                </a:lnTo>
                <a:lnTo>
                  <a:pt x="318" y="90"/>
                </a:lnTo>
                <a:lnTo>
                  <a:pt x="324" y="84"/>
                </a:lnTo>
                <a:lnTo>
                  <a:pt x="348" y="72"/>
                </a:lnTo>
                <a:lnTo>
                  <a:pt x="354" y="72"/>
                </a:lnTo>
                <a:lnTo>
                  <a:pt x="384" y="66"/>
                </a:lnTo>
                <a:lnTo>
                  <a:pt x="390" y="66"/>
                </a:lnTo>
                <a:lnTo>
                  <a:pt x="396" y="66"/>
                </a:lnTo>
                <a:lnTo>
                  <a:pt x="408" y="66"/>
                </a:lnTo>
                <a:lnTo>
                  <a:pt x="414" y="66"/>
                </a:lnTo>
                <a:lnTo>
                  <a:pt x="432" y="66"/>
                </a:lnTo>
                <a:lnTo>
                  <a:pt x="438" y="66"/>
                </a:lnTo>
                <a:lnTo>
                  <a:pt x="468" y="66"/>
                </a:lnTo>
                <a:lnTo>
                  <a:pt x="480" y="66"/>
                </a:lnTo>
                <a:lnTo>
                  <a:pt x="486" y="66"/>
                </a:lnTo>
                <a:lnTo>
                  <a:pt x="498" y="60"/>
                </a:lnTo>
                <a:lnTo>
                  <a:pt x="504" y="60"/>
                </a:lnTo>
                <a:lnTo>
                  <a:pt x="510" y="60"/>
                </a:lnTo>
                <a:lnTo>
                  <a:pt x="522" y="60"/>
                </a:lnTo>
                <a:lnTo>
                  <a:pt x="534" y="54"/>
                </a:lnTo>
                <a:lnTo>
                  <a:pt x="564" y="42"/>
                </a:lnTo>
                <a:lnTo>
                  <a:pt x="570" y="42"/>
                </a:lnTo>
                <a:lnTo>
                  <a:pt x="582" y="36"/>
                </a:lnTo>
                <a:lnTo>
                  <a:pt x="588" y="36"/>
                </a:lnTo>
                <a:lnTo>
                  <a:pt x="600" y="30"/>
                </a:lnTo>
                <a:lnTo>
                  <a:pt x="606" y="30"/>
                </a:lnTo>
                <a:lnTo>
                  <a:pt x="618" y="24"/>
                </a:lnTo>
                <a:lnTo>
                  <a:pt x="642" y="18"/>
                </a:lnTo>
                <a:lnTo>
                  <a:pt x="648" y="12"/>
                </a:lnTo>
                <a:lnTo>
                  <a:pt x="654" y="12"/>
                </a:lnTo>
                <a:lnTo>
                  <a:pt x="660" y="12"/>
                </a:lnTo>
                <a:lnTo>
                  <a:pt x="672" y="12"/>
                </a:lnTo>
                <a:lnTo>
                  <a:pt x="696" y="12"/>
                </a:lnTo>
                <a:lnTo>
                  <a:pt x="708" y="12"/>
                </a:lnTo>
                <a:lnTo>
                  <a:pt x="732" y="12"/>
                </a:lnTo>
                <a:lnTo>
                  <a:pt x="750" y="6"/>
                </a:lnTo>
                <a:lnTo>
                  <a:pt x="768" y="6"/>
                </a:lnTo>
                <a:lnTo>
                  <a:pt x="774" y="6"/>
                </a:lnTo>
                <a:lnTo>
                  <a:pt x="786" y="6"/>
                </a:lnTo>
                <a:lnTo>
                  <a:pt x="798" y="6"/>
                </a:lnTo>
                <a:lnTo>
                  <a:pt x="804" y="6"/>
                </a:lnTo>
                <a:lnTo>
                  <a:pt x="816" y="6"/>
                </a:lnTo>
                <a:lnTo>
                  <a:pt x="846" y="6"/>
                </a:lnTo>
                <a:lnTo>
                  <a:pt x="852" y="0"/>
                </a:lnTo>
                <a:lnTo>
                  <a:pt x="876" y="0"/>
                </a:lnTo>
                <a:lnTo>
                  <a:pt x="876" y="6"/>
                </a:lnTo>
                <a:lnTo>
                  <a:pt x="888" y="0"/>
                </a:lnTo>
                <a:lnTo>
                  <a:pt x="900" y="0"/>
                </a:lnTo>
                <a:lnTo>
                  <a:pt x="906" y="0"/>
                </a:lnTo>
                <a:lnTo>
                  <a:pt x="912" y="0"/>
                </a:lnTo>
                <a:lnTo>
                  <a:pt x="948" y="0"/>
                </a:lnTo>
                <a:lnTo>
                  <a:pt x="954" y="0"/>
                </a:lnTo>
                <a:lnTo>
                  <a:pt x="972" y="0"/>
                </a:lnTo>
                <a:lnTo>
                  <a:pt x="978" y="0"/>
                </a:lnTo>
                <a:lnTo>
                  <a:pt x="996" y="0"/>
                </a:lnTo>
                <a:lnTo>
                  <a:pt x="1032" y="0"/>
                </a:lnTo>
                <a:lnTo>
                  <a:pt x="1044" y="0"/>
                </a:lnTo>
                <a:lnTo>
                  <a:pt x="1050" y="0"/>
                </a:lnTo>
                <a:lnTo>
                  <a:pt x="1056" y="6"/>
                </a:lnTo>
                <a:lnTo>
                  <a:pt x="1056" y="0"/>
                </a:lnTo>
                <a:lnTo>
                  <a:pt x="1074" y="0"/>
                </a:lnTo>
                <a:lnTo>
                  <a:pt x="1098" y="6"/>
                </a:lnTo>
                <a:lnTo>
                  <a:pt x="1116" y="6"/>
                </a:lnTo>
                <a:lnTo>
                  <a:pt x="1140" y="12"/>
                </a:lnTo>
                <a:lnTo>
                  <a:pt x="1152" y="12"/>
                </a:lnTo>
                <a:lnTo>
                  <a:pt x="1158" y="12"/>
                </a:lnTo>
                <a:lnTo>
                  <a:pt x="1164" y="12"/>
                </a:lnTo>
                <a:lnTo>
                  <a:pt x="1170" y="12"/>
                </a:lnTo>
                <a:lnTo>
                  <a:pt x="1176" y="12"/>
                </a:lnTo>
                <a:lnTo>
                  <a:pt x="1194" y="18"/>
                </a:lnTo>
                <a:lnTo>
                  <a:pt x="1206" y="18"/>
                </a:lnTo>
                <a:lnTo>
                  <a:pt x="1242" y="36"/>
                </a:lnTo>
                <a:lnTo>
                  <a:pt x="1248" y="36"/>
                </a:lnTo>
                <a:lnTo>
                  <a:pt x="1254" y="36"/>
                </a:lnTo>
                <a:lnTo>
                  <a:pt x="1260" y="42"/>
                </a:lnTo>
                <a:lnTo>
                  <a:pt x="1272" y="48"/>
                </a:lnTo>
                <a:lnTo>
                  <a:pt x="1278" y="48"/>
                </a:lnTo>
                <a:lnTo>
                  <a:pt x="1284" y="48"/>
                </a:lnTo>
                <a:lnTo>
                  <a:pt x="1290" y="54"/>
                </a:lnTo>
                <a:lnTo>
                  <a:pt x="1308" y="60"/>
                </a:lnTo>
                <a:lnTo>
                  <a:pt x="1326" y="60"/>
                </a:lnTo>
                <a:lnTo>
                  <a:pt x="1338" y="66"/>
                </a:lnTo>
                <a:lnTo>
                  <a:pt x="1344" y="66"/>
                </a:lnTo>
                <a:lnTo>
                  <a:pt x="1350" y="66"/>
                </a:lnTo>
                <a:lnTo>
                  <a:pt x="1356" y="66"/>
                </a:lnTo>
                <a:lnTo>
                  <a:pt x="1362" y="72"/>
                </a:lnTo>
                <a:lnTo>
                  <a:pt x="1368" y="72"/>
                </a:lnTo>
                <a:lnTo>
                  <a:pt x="1380" y="72"/>
                </a:lnTo>
                <a:lnTo>
                  <a:pt x="1386" y="72"/>
                </a:lnTo>
                <a:lnTo>
                  <a:pt x="1422" y="84"/>
                </a:lnTo>
                <a:lnTo>
                  <a:pt x="1428" y="84"/>
                </a:lnTo>
                <a:lnTo>
                  <a:pt x="1446" y="90"/>
                </a:lnTo>
                <a:lnTo>
                  <a:pt x="1458" y="102"/>
                </a:lnTo>
                <a:lnTo>
                  <a:pt x="1494" y="126"/>
                </a:lnTo>
                <a:lnTo>
                  <a:pt x="1500" y="132"/>
                </a:lnTo>
                <a:lnTo>
                  <a:pt x="1512" y="138"/>
                </a:lnTo>
                <a:lnTo>
                  <a:pt x="1512" y="144"/>
                </a:lnTo>
                <a:lnTo>
                  <a:pt x="1518" y="150"/>
                </a:lnTo>
                <a:lnTo>
                  <a:pt x="1530" y="156"/>
                </a:lnTo>
                <a:lnTo>
                  <a:pt x="1530" y="162"/>
                </a:lnTo>
                <a:lnTo>
                  <a:pt x="1548" y="168"/>
                </a:lnTo>
                <a:lnTo>
                  <a:pt x="1566" y="180"/>
                </a:lnTo>
                <a:lnTo>
                  <a:pt x="1578" y="186"/>
                </a:lnTo>
                <a:lnTo>
                  <a:pt x="1578" y="180"/>
                </a:lnTo>
                <a:lnTo>
                  <a:pt x="1584" y="186"/>
                </a:lnTo>
                <a:lnTo>
                  <a:pt x="1584" y="174"/>
                </a:lnTo>
                <a:lnTo>
                  <a:pt x="1590" y="174"/>
                </a:lnTo>
                <a:lnTo>
                  <a:pt x="1590" y="180"/>
                </a:lnTo>
                <a:lnTo>
                  <a:pt x="1596" y="180"/>
                </a:lnTo>
                <a:lnTo>
                  <a:pt x="1596" y="174"/>
                </a:lnTo>
                <a:lnTo>
                  <a:pt x="1602" y="174"/>
                </a:lnTo>
                <a:lnTo>
                  <a:pt x="1608" y="174"/>
                </a:lnTo>
                <a:lnTo>
                  <a:pt x="1614" y="180"/>
                </a:lnTo>
                <a:lnTo>
                  <a:pt x="1620" y="174"/>
                </a:lnTo>
                <a:lnTo>
                  <a:pt x="1614" y="168"/>
                </a:lnTo>
                <a:lnTo>
                  <a:pt x="1614" y="162"/>
                </a:lnTo>
                <a:lnTo>
                  <a:pt x="1620" y="162"/>
                </a:lnTo>
                <a:lnTo>
                  <a:pt x="1626" y="162"/>
                </a:lnTo>
                <a:lnTo>
                  <a:pt x="1632" y="162"/>
                </a:lnTo>
                <a:lnTo>
                  <a:pt x="1638" y="168"/>
                </a:lnTo>
                <a:lnTo>
                  <a:pt x="1644" y="168"/>
                </a:lnTo>
                <a:lnTo>
                  <a:pt x="1650" y="174"/>
                </a:lnTo>
                <a:lnTo>
                  <a:pt x="1656" y="168"/>
                </a:lnTo>
                <a:lnTo>
                  <a:pt x="1668" y="168"/>
                </a:lnTo>
                <a:lnTo>
                  <a:pt x="1674" y="174"/>
                </a:lnTo>
                <a:lnTo>
                  <a:pt x="1674" y="180"/>
                </a:lnTo>
                <a:lnTo>
                  <a:pt x="1674" y="186"/>
                </a:lnTo>
                <a:lnTo>
                  <a:pt x="1680" y="186"/>
                </a:lnTo>
                <a:lnTo>
                  <a:pt x="1680" y="192"/>
                </a:lnTo>
                <a:lnTo>
                  <a:pt x="1686" y="192"/>
                </a:lnTo>
                <a:lnTo>
                  <a:pt x="1686" y="186"/>
                </a:lnTo>
                <a:lnTo>
                  <a:pt x="1680" y="186"/>
                </a:lnTo>
                <a:lnTo>
                  <a:pt x="1686" y="180"/>
                </a:lnTo>
                <a:lnTo>
                  <a:pt x="1692" y="180"/>
                </a:lnTo>
                <a:lnTo>
                  <a:pt x="1698" y="180"/>
                </a:lnTo>
                <a:lnTo>
                  <a:pt x="1704" y="180"/>
                </a:lnTo>
                <a:lnTo>
                  <a:pt x="1704" y="186"/>
                </a:lnTo>
                <a:lnTo>
                  <a:pt x="1710" y="186"/>
                </a:lnTo>
                <a:lnTo>
                  <a:pt x="1716" y="186"/>
                </a:lnTo>
                <a:lnTo>
                  <a:pt x="1716" y="192"/>
                </a:lnTo>
                <a:lnTo>
                  <a:pt x="1716" y="198"/>
                </a:lnTo>
                <a:lnTo>
                  <a:pt x="1722" y="192"/>
                </a:lnTo>
                <a:lnTo>
                  <a:pt x="1722" y="186"/>
                </a:lnTo>
                <a:lnTo>
                  <a:pt x="1728" y="192"/>
                </a:lnTo>
                <a:lnTo>
                  <a:pt x="1734" y="192"/>
                </a:lnTo>
                <a:lnTo>
                  <a:pt x="1734" y="186"/>
                </a:lnTo>
                <a:lnTo>
                  <a:pt x="1740" y="186"/>
                </a:lnTo>
                <a:lnTo>
                  <a:pt x="1740" y="192"/>
                </a:lnTo>
                <a:lnTo>
                  <a:pt x="1746" y="192"/>
                </a:lnTo>
                <a:lnTo>
                  <a:pt x="1758" y="192"/>
                </a:lnTo>
                <a:lnTo>
                  <a:pt x="1764" y="192"/>
                </a:lnTo>
                <a:lnTo>
                  <a:pt x="1764" y="198"/>
                </a:lnTo>
                <a:lnTo>
                  <a:pt x="1758" y="204"/>
                </a:lnTo>
                <a:lnTo>
                  <a:pt x="1752" y="210"/>
                </a:lnTo>
                <a:lnTo>
                  <a:pt x="1746" y="216"/>
                </a:lnTo>
                <a:lnTo>
                  <a:pt x="1746" y="222"/>
                </a:lnTo>
                <a:lnTo>
                  <a:pt x="1734" y="228"/>
                </a:lnTo>
                <a:lnTo>
                  <a:pt x="1734" y="234"/>
                </a:lnTo>
                <a:lnTo>
                  <a:pt x="1734" y="258"/>
                </a:lnTo>
                <a:lnTo>
                  <a:pt x="1740" y="330"/>
                </a:lnTo>
                <a:lnTo>
                  <a:pt x="1746" y="372"/>
                </a:lnTo>
                <a:lnTo>
                  <a:pt x="1788" y="426"/>
                </a:lnTo>
                <a:lnTo>
                  <a:pt x="1806" y="438"/>
                </a:lnTo>
                <a:lnTo>
                  <a:pt x="1794" y="480"/>
                </a:lnTo>
                <a:lnTo>
                  <a:pt x="1770" y="516"/>
                </a:lnTo>
                <a:lnTo>
                  <a:pt x="1746" y="546"/>
                </a:lnTo>
                <a:lnTo>
                  <a:pt x="1716" y="570"/>
                </a:lnTo>
                <a:lnTo>
                  <a:pt x="1680" y="594"/>
                </a:lnTo>
                <a:lnTo>
                  <a:pt x="1668" y="630"/>
                </a:lnTo>
                <a:lnTo>
                  <a:pt x="1680" y="684"/>
                </a:lnTo>
                <a:lnTo>
                  <a:pt x="1686" y="756"/>
                </a:lnTo>
                <a:lnTo>
                  <a:pt x="1662" y="870"/>
                </a:lnTo>
                <a:lnTo>
                  <a:pt x="1656" y="888"/>
                </a:lnTo>
                <a:lnTo>
                  <a:pt x="1650" y="972"/>
                </a:lnTo>
                <a:lnTo>
                  <a:pt x="1656" y="978"/>
                </a:lnTo>
                <a:lnTo>
                  <a:pt x="1650" y="984"/>
                </a:lnTo>
                <a:lnTo>
                  <a:pt x="1650" y="990"/>
                </a:lnTo>
                <a:lnTo>
                  <a:pt x="1650" y="1002"/>
                </a:lnTo>
                <a:lnTo>
                  <a:pt x="1656" y="1008"/>
                </a:lnTo>
                <a:lnTo>
                  <a:pt x="1656" y="1014"/>
                </a:lnTo>
                <a:lnTo>
                  <a:pt x="1662" y="1026"/>
                </a:lnTo>
                <a:lnTo>
                  <a:pt x="1650" y="1032"/>
                </a:lnTo>
                <a:lnTo>
                  <a:pt x="1638" y="1044"/>
                </a:lnTo>
                <a:lnTo>
                  <a:pt x="1626" y="1080"/>
                </a:lnTo>
                <a:lnTo>
                  <a:pt x="1614" y="1116"/>
                </a:lnTo>
                <a:lnTo>
                  <a:pt x="1614" y="1128"/>
                </a:lnTo>
                <a:lnTo>
                  <a:pt x="1626" y="1134"/>
                </a:lnTo>
                <a:lnTo>
                  <a:pt x="1644" y="1134"/>
                </a:lnTo>
                <a:lnTo>
                  <a:pt x="1662" y="1134"/>
                </a:lnTo>
                <a:lnTo>
                  <a:pt x="1680" y="1140"/>
                </a:lnTo>
                <a:lnTo>
                  <a:pt x="1698" y="1170"/>
                </a:lnTo>
                <a:lnTo>
                  <a:pt x="1704" y="1194"/>
                </a:lnTo>
                <a:lnTo>
                  <a:pt x="1692" y="1206"/>
                </a:lnTo>
                <a:lnTo>
                  <a:pt x="1662" y="1242"/>
                </a:lnTo>
                <a:lnTo>
                  <a:pt x="1632" y="1266"/>
                </a:lnTo>
                <a:lnTo>
                  <a:pt x="1620" y="1314"/>
                </a:lnTo>
                <a:lnTo>
                  <a:pt x="1584" y="1356"/>
                </a:lnTo>
                <a:lnTo>
                  <a:pt x="1578" y="1356"/>
                </a:lnTo>
                <a:lnTo>
                  <a:pt x="1578" y="1362"/>
                </a:lnTo>
                <a:lnTo>
                  <a:pt x="1572" y="1410"/>
                </a:lnTo>
                <a:lnTo>
                  <a:pt x="1584" y="1452"/>
                </a:lnTo>
                <a:lnTo>
                  <a:pt x="1608" y="1476"/>
                </a:lnTo>
                <a:lnTo>
                  <a:pt x="1596" y="1476"/>
                </a:lnTo>
                <a:lnTo>
                  <a:pt x="1584" y="1482"/>
                </a:lnTo>
                <a:lnTo>
                  <a:pt x="1560" y="1482"/>
                </a:lnTo>
                <a:lnTo>
                  <a:pt x="1536" y="1482"/>
                </a:lnTo>
                <a:lnTo>
                  <a:pt x="1524" y="1482"/>
                </a:lnTo>
                <a:lnTo>
                  <a:pt x="1506" y="1500"/>
                </a:lnTo>
                <a:lnTo>
                  <a:pt x="1482" y="1530"/>
                </a:lnTo>
                <a:lnTo>
                  <a:pt x="1452" y="1542"/>
                </a:lnTo>
                <a:lnTo>
                  <a:pt x="1446" y="1542"/>
                </a:lnTo>
                <a:lnTo>
                  <a:pt x="1440" y="1542"/>
                </a:lnTo>
                <a:lnTo>
                  <a:pt x="1440" y="1548"/>
                </a:lnTo>
                <a:lnTo>
                  <a:pt x="1434" y="1548"/>
                </a:lnTo>
                <a:lnTo>
                  <a:pt x="1428" y="1548"/>
                </a:lnTo>
                <a:lnTo>
                  <a:pt x="1428" y="1554"/>
                </a:lnTo>
                <a:lnTo>
                  <a:pt x="1422" y="1560"/>
                </a:lnTo>
                <a:lnTo>
                  <a:pt x="1416" y="1560"/>
                </a:lnTo>
                <a:lnTo>
                  <a:pt x="1410" y="1566"/>
                </a:lnTo>
                <a:lnTo>
                  <a:pt x="1410" y="1560"/>
                </a:lnTo>
                <a:lnTo>
                  <a:pt x="1404" y="1560"/>
                </a:lnTo>
                <a:lnTo>
                  <a:pt x="1392" y="1560"/>
                </a:lnTo>
                <a:lnTo>
                  <a:pt x="1386" y="1560"/>
                </a:lnTo>
                <a:lnTo>
                  <a:pt x="1380" y="1566"/>
                </a:lnTo>
                <a:lnTo>
                  <a:pt x="1374" y="1560"/>
                </a:lnTo>
                <a:lnTo>
                  <a:pt x="1368" y="1566"/>
                </a:lnTo>
                <a:lnTo>
                  <a:pt x="1362" y="1566"/>
                </a:lnTo>
                <a:lnTo>
                  <a:pt x="1362" y="1572"/>
                </a:lnTo>
                <a:lnTo>
                  <a:pt x="1356" y="1572"/>
                </a:lnTo>
                <a:lnTo>
                  <a:pt x="1356" y="1578"/>
                </a:lnTo>
                <a:lnTo>
                  <a:pt x="1350" y="1578"/>
                </a:lnTo>
                <a:lnTo>
                  <a:pt x="1350" y="1572"/>
                </a:lnTo>
                <a:lnTo>
                  <a:pt x="1344" y="1578"/>
                </a:lnTo>
                <a:lnTo>
                  <a:pt x="1338" y="1578"/>
                </a:lnTo>
                <a:lnTo>
                  <a:pt x="1344" y="1578"/>
                </a:lnTo>
                <a:lnTo>
                  <a:pt x="1338" y="1578"/>
                </a:lnTo>
                <a:lnTo>
                  <a:pt x="1332" y="1584"/>
                </a:lnTo>
                <a:lnTo>
                  <a:pt x="1326" y="1590"/>
                </a:lnTo>
                <a:lnTo>
                  <a:pt x="1320" y="1584"/>
                </a:lnTo>
                <a:lnTo>
                  <a:pt x="1314" y="1590"/>
                </a:lnTo>
                <a:lnTo>
                  <a:pt x="1308" y="1596"/>
                </a:lnTo>
                <a:lnTo>
                  <a:pt x="1302" y="1596"/>
                </a:lnTo>
                <a:lnTo>
                  <a:pt x="1296" y="1596"/>
                </a:lnTo>
                <a:lnTo>
                  <a:pt x="1290" y="1596"/>
                </a:lnTo>
                <a:lnTo>
                  <a:pt x="1284" y="1596"/>
                </a:lnTo>
                <a:lnTo>
                  <a:pt x="1278" y="1602"/>
                </a:lnTo>
                <a:lnTo>
                  <a:pt x="1266" y="1602"/>
                </a:lnTo>
                <a:lnTo>
                  <a:pt x="1272" y="1608"/>
                </a:lnTo>
                <a:lnTo>
                  <a:pt x="1278" y="1608"/>
                </a:lnTo>
                <a:lnTo>
                  <a:pt x="1284" y="1608"/>
                </a:lnTo>
                <a:lnTo>
                  <a:pt x="1290" y="1614"/>
                </a:lnTo>
                <a:lnTo>
                  <a:pt x="1296" y="1620"/>
                </a:lnTo>
                <a:lnTo>
                  <a:pt x="1302" y="1626"/>
                </a:lnTo>
                <a:lnTo>
                  <a:pt x="1308" y="1632"/>
                </a:lnTo>
                <a:lnTo>
                  <a:pt x="1314" y="1638"/>
                </a:lnTo>
                <a:lnTo>
                  <a:pt x="1314" y="1644"/>
                </a:lnTo>
                <a:lnTo>
                  <a:pt x="1320" y="1644"/>
                </a:lnTo>
                <a:lnTo>
                  <a:pt x="1320" y="1650"/>
                </a:lnTo>
                <a:lnTo>
                  <a:pt x="1326" y="1656"/>
                </a:lnTo>
                <a:lnTo>
                  <a:pt x="1332" y="1668"/>
                </a:lnTo>
                <a:lnTo>
                  <a:pt x="1338" y="1680"/>
                </a:lnTo>
                <a:lnTo>
                  <a:pt x="1338" y="1698"/>
                </a:lnTo>
                <a:lnTo>
                  <a:pt x="1350" y="1710"/>
                </a:lnTo>
                <a:lnTo>
                  <a:pt x="1350" y="1716"/>
                </a:lnTo>
                <a:lnTo>
                  <a:pt x="1350" y="1722"/>
                </a:lnTo>
                <a:lnTo>
                  <a:pt x="1350" y="1728"/>
                </a:lnTo>
                <a:lnTo>
                  <a:pt x="1356" y="1728"/>
                </a:lnTo>
                <a:lnTo>
                  <a:pt x="1356" y="1734"/>
                </a:lnTo>
                <a:lnTo>
                  <a:pt x="1350" y="1734"/>
                </a:lnTo>
                <a:lnTo>
                  <a:pt x="1344" y="1740"/>
                </a:lnTo>
                <a:lnTo>
                  <a:pt x="1338" y="1740"/>
                </a:lnTo>
                <a:lnTo>
                  <a:pt x="1332" y="1746"/>
                </a:lnTo>
                <a:lnTo>
                  <a:pt x="1326" y="1746"/>
                </a:lnTo>
                <a:lnTo>
                  <a:pt x="1326" y="1752"/>
                </a:lnTo>
                <a:lnTo>
                  <a:pt x="1320" y="1752"/>
                </a:lnTo>
                <a:lnTo>
                  <a:pt x="1320" y="1758"/>
                </a:lnTo>
                <a:lnTo>
                  <a:pt x="1314" y="1758"/>
                </a:lnTo>
                <a:lnTo>
                  <a:pt x="1308" y="1758"/>
                </a:lnTo>
                <a:lnTo>
                  <a:pt x="1302" y="1758"/>
                </a:lnTo>
                <a:lnTo>
                  <a:pt x="1296" y="1758"/>
                </a:lnTo>
                <a:lnTo>
                  <a:pt x="1290" y="1764"/>
                </a:lnTo>
                <a:lnTo>
                  <a:pt x="1284" y="1770"/>
                </a:lnTo>
                <a:lnTo>
                  <a:pt x="1278" y="1770"/>
                </a:lnTo>
                <a:lnTo>
                  <a:pt x="1272" y="1770"/>
                </a:lnTo>
                <a:lnTo>
                  <a:pt x="1266" y="1770"/>
                </a:lnTo>
                <a:lnTo>
                  <a:pt x="1266" y="1776"/>
                </a:lnTo>
                <a:lnTo>
                  <a:pt x="1260" y="1776"/>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20523" name="Freeform 40"/>
          <p:cNvSpPr>
            <a:spLocks/>
          </p:cNvSpPr>
          <p:nvPr/>
        </p:nvSpPr>
        <p:spPr bwMode="gray">
          <a:xfrm>
            <a:off x="4167188" y="1957388"/>
            <a:ext cx="1212850" cy="1062037"/>
          </a:xfrm>
          <a:custGeom>
            <a:avLst/>
            <a:gdLst>
              <a:gd name="T0" fmla="*/ 46861 w 1554"/>
              <a:gd name="T1" fmla="*/ 69221 h 1320"/>
              <a:gd name="T2" fmla="*/ 51547 w 1554"/>
              <a:gd name="T3" fmla="*/ 64392 h 1320"/>
              <a:gd name="T4" fmla="*/ 47642 w 1554"/>
              <a:gd name="T5" fmla="*/ 58757 h 1320"/>
              <a:gd name="T6" fmla="*/ 44518 w 1554"/>
              <a:gd name="T7" fmla="*/ 53928 h 1320"/>
              <a:gd name="T8" fmla="*/ 46861 w 1554"/>
              <a:gd name="T9" fmla="*/ 47489 h 1320"/>
              <a:gd name="T10" fmla="*/ 43737 w 1554"/>
              <a:gd name="T11" fmla="*/ 44269 h 1320"/>
              <a:gd name="T12" fmla="*/ 35146 w 1554"/>
              <a:gd name="T13" fmla="*/ 42659 h 1320"/>
              <a:gd name="T14" fmla="*/ 32803 w 1554"/>
              <a:gd name="T15" fmla="*/ 33001 h 1320"/>
              <a:gd name="T16" fmla="*/ 28898 w 1554"/>
              <a:gd name="T17" fmla="*/ 31391 h 1320"/>
              <a:gd name="T18" fmla="*/ 24212 w 1554"/>
              <a:gd name="T19" fmla="*/ 35415 h 1320"/>
              <a:gd name="T20" fmla="*/ 28898 w 1554"/>
              <a:gd name="T21" fmla="*/ 28171 h 1320"/>
              <a:gd name="T22" fmla="*/ 23431 w 1554"/>
              <a:gd name="T23" fmla="*/ 18513 h 1320"/>
              <a:gd name="T24" fmla="*/ 16401 w 1554"/>
              <a:gd name="T25" fmla="*/ 18513 h 1320"/>
              <a:gd name="T26" fmla="*/ 11715 w 1554"/>
              <a:gd name="T27" fmla="*/ 21732 h 1320"/>
              <a:gd name="T28" fmla="*/ 8591 w 1554"/>
              <a:gd name="T29" fmla="*/ 25757 h 1320"/>
              <a:gd name="T30" fmla="*/ 4686 w 1554"/>
              <a:gd name="T31" fmla="*/ 17708 h 1320"/>
              <a:gd name="T32" fmla="*/ 2343 w 1554"/>
              <a:gd name="T33" fmla="*/ 8854 h 1320"/>
              <a:gd name="T34" fmla="*/ 18744 w 1554"/>
              <a:gd name="T35" fmla="*/ 9659 h 1320"/>
              <a:gd name="T36" fmla="*/ 25774 w 1554"/>
              <a:gd name="T37" fmla="*/ 15293 h 1320"/>
              <a:gd name="T38" fmla="*/ 38270 w 1554"/>
              <a:gd name="T39" fmla="*/ 9659 h 1320"/>
              <a:gd name="T40" fmla="*/ 45299 w 1554"/>
              <a:gd name="T41" fmla="*/ 8049 h 1320"/>
              <a:gd name="T42" fmla="*/ 53109 w 1554"/>
              <a:gd name="T43" fmla="*/ 8854 h 1320"/>
              <a:gd name="T44" fmla="*/ 61701 w 1554"/>
              <a:gd name="T45" fmla="*/ 9659 h 1320"/>
              <a:gd name="T46" fmla="*/ 74978 w 1554"/>
              <a:gd name="T47" fmla="*/ 8854 h 1320"/>
              <a:gd name="T48" fmla="*/ 83569 w 1554"/>
              <a:gd name="T49" fmla="*/ 1610 h 1320"/>
              <a:gd name="T50" fmla="*/ 91379 w 1554"/>
              <a:gd name="T51" fmla="*/ 6439 h 1320"/>
              <a:gd name="T52" fmla="*/ 98409 w 1554"/>
              <a:gd name="T53" fmla="*/ 9659 h 1320"/>
              <a:gd name="T54" fmla="*/ 104657 w 1554"/>
              <a:gd name="T55" fmla="*/ 19317 h 1320"/>
              <a:gd name="T56" fmla="*/ 103876 w 1554"/>
              <a:gd name="T57" fmla="*/ 23342 h 1320"/>
              <a:gd name="T58" fmla="*/ 100752 w 1554"/>
              <a:gd name="T59" fmla="*/ 24952 h 1320"/>
              <a:gd name="T60" fmla="*/ 97627 w 1554"/>
              <a:gd name="T61" fmla="*/ 25757 h 1320"/>
              <a:gd name="T62" fmla="*/ 89817 w 1554"/>
              <a:gd name="T63" fmla="*/ 27366 h 1320"/>
              <a:gd name="T64" fmla="*/ 88255 w 1554"/>
              <a:gd name="T65" fmla="*/ 35415 h 1320"/>
              <a:gd name="T66" fmla="*/ 86693 w 1554"/>
              <a:gd name="T67" fmla="*/ 43464 h 1320"/>
              <a:gd name="T68" fmla="*/ 83569 w 1554"/>
              <a:gd name="T69" fmla="*/ 45074 h 1320"/>
              <a:gd name="T70" fmla="*/ 79664 w 1554"/>
              <a:gd name="T71" fmla="*/ 46684 h 1320"/>
              <a:gd name="T72" fmla="*/ 77321 w 1554"/>
              <a:gd name="T73" fmla="*/ 48294 h 1320"/>
              <a:gd name="T74" fmla="*/ 72635 w 1554"/>
              <a:gd name="T75" fmla="*/ 49903 h 1320"/>
              <a:gd name="T76" fmla="*/ 67949 w 1554"/>
              <a:gd name="T77" fmla="*/ 51513 h 1320"/>
              <a:gd name="T78" fmla="*/ 65606 w 1554"/>
              <a:gd name="T79" fmla="*/ 52318 h 1320"/>
              <a:gd name="T80" fmla="*/ 63263 w 1554"/>
              <a:gd name="T81" fmla="*/ 55538 h 1320"/>
              <a:gd name="T82" fmla="*/ 64825 w 1554"/>
              <a:gd name="T83" fmla="*/ 57952 h 1320"/>
              <a:gd name="T84" fmla="*/ 71854 w 1554"/>
              <a:gd name="T85" fmla="*/ 58757 h 1320"/>
              <a:gd name="T86" fmla="*/ 72635 w 1554"/>
              <a:gd name="T87" fmla="*/ 70026 h 1320"/>
              <a:gd name="T88" fmla="*/ 81226 w 1554"/>
              <a:gd name="T89" fmla="*/ 78880 h 1320"/>
              <a:gd name="T90" fmla="*/ 84350 w 1554"/>
              <a:gd name="T91" fmla="*/ 78880 h 1320"/>
              <a:gd name="T92" fmla="*/ 87474 w 1554"/>
              <a:gd name="T93" fmla="*/ 80489 h 1320"/>
              <a:gd name="T94" fmla="*/ 92160 w 1554"/>
              <a:gd name="T95" fmla="*/ 80489 h 1320"/>
              <a:gd name="T96" fmla="*/ 95284 w 1554"/>
              <a:gd name="T97" fmla="*/ 82099 h 1320"/>
              <a:gd name="T98" fmla="*/ 92160 w 1554"/>
              <a:gd name="T99" fmla="*/ 84514 h 1320"/>
              <a:gd name="T100" fmla="*/ 89036 w 1554"/>
              <a:gd name="T101" fmla="*/ 86124 h 1320"/>
              <a:gd name="T102" fmla="*/ 88255 w 1554"/>
              <a:gd name="T103" fmla="*/ 90953 h 1320"/>
              <a:gd name="T104" fmla="*/ 81226 w 1554"/>
              <a:gd name="T105" fmla="*/ 90953 h 1320"/>
              <a:gd name="T106" fmla="*/ 72635 w 1554"/>
              <a:gd name="T107" fmla="*/ 87734 h 1320"/>
              <a:gd name="T108" fmla="*/ 74978 w 1554"/>
              <a:gd name="T109" fmla="*/ 82904 h 1320"/>
              <a:gd name="T110" fmla="*/ 74197 w 1554"/>
              <a:gd name="T111" fmla="*/ 78075 h 1320"/>
              <a:gd name="T112" fmla="*/ 67949 w 1554"/>
              <a:gd name="T113" fmla="*/ 78880 h 1320"/>
              <a:gd name="T114" fmla="*/ 63263 w 1554"/>
              <a:gd name="T115" fmla="*/ 78880 h 1320"/>
              <a:gd name="T116" fmla="*/ 60920 w 1554"/>
              <a:gd name="T117" fmla="*/ 74855 h 1320"/>
              <a:gd name="T118" fmla="*/ 50766 w 1554"/>
              <a:gd name="T119" fmla="*/ 74050 h 1320"/>
              <a:gd name="T120" fmla="*/ 46080 w 1554"/>
              <a:gd name="T121" fmla="*/ 74050 h 13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54"/>
              <a:gd name="T184" fmla="*/ 0 h 1320"/>
              <a:gd name="T185" fmla="*/ 1554 w 1554"/>
              <a:gd name="T186" fmla="*/ 1320 h 13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54" h="1320">
                <a:moveTo>
                  <a:pt x="684" y="1068"/>
                </a:moveTo>
                <a:lnTo>
                  <a:pt x="684" y="1062"/>
                </a:lnTo>
                <a:lnTo>
                  <a:pt x="690" y="1056"/>
                </a:lnTo>
                <a:lnTo>
                  <a:pt x="690" y="1050"/>
                </a:lnTo>
                <a:lnTo>
                  <a:pt x="690" y="1044"/>
                </a:lnTo>
                <a:lnTo>
                  <a:pt x="690" y="1038"/>
                </a:lnTo>
                <a:lnTo>
                  <a:pt x="690" y="1032"/>
                </a:lnTo>
                <a:lnTo>
                  <a:pt x="690" y="1026"/>
                </a:lnTo>
                <a:lnTo>
                  <a:pt x="696" y="1014"/>
                </a:lnTo>
                <a:lnTo>
                  <a:pt x="690" y="1008"/>
                </a:lnTo>
                <a:lnTo>
                  <a:pt x="696" y="996"/>
                </a:lnTo>
                <a:lnTo>
                  <a:pt x="714" y="996"/>
                </a:lnTo>
                <a:lnTo>
                  <a:pt x="714" y="990"/>
                </a:lnTo>
                <a:lnTo>
                  <a:pt x="732" y="984"/>
                </a:lnTo>
                <a:lnTo>
                  <a:pt x="744" y="978"/>
                </a:lnTo>
                <a:lnTo>
                  <a:pt x="762" y="966"/>
                </a:lnTo>
                <a:lnTo>
                  <a:pt x="762" y="960"/>
                </a:lnTo>
                <a:lnTo>
                  <a:pt x="768" y="954"/>
                </a:lnTo>
                <a:lnTo>
                  <a:pt x="774" y="948"/>
                </a:lnTo>
                <a:lnTo>
                  <a:pt x="774" y="942"/>
                </a:lnTo>
                <a:lnTo>
                  <a:pt x="774" y="924"/>
                </a:lnTo>
                <a:lnTo>
                  <a:pt x="768" y="918"/>
                </a:lnTo>
                <a:lnTo>
                  <a:pt x="756" y="918"/>
                </a:lnTo>
                <a:lnTo>
                  <a:pt x="744" y="918"/>
                </a:lnTo>
                <a:lnTo>
                  <a:pt x="732" y="924"/>
                </a:lnTo>
                <a:lnTo>
                  <a:pt x="726" y="912"/>
                </a:lnTo>
                <a:lnTo>
                  <a:pt x="720" y="912"/>
                </a:lnTo>
                <a:lnTo>
                  <a:pt x="720" y="900"/>
                </a:lnTo>
                <a:lnTo>
                  <a:pt x="720" y="870"/>
                </a:lnTo>
                <a:lnTo>
                  <a:pt x="696" y="876"/>
                </a:lnTo>
                <a:lnTo>
                  <a:pt x="690" y="852"/>
                </a:lnTo>
                <a:lnTo>
                  <a:pt x="702" y="852"/>
                </a:lnTo>
                <a:lnTo>
                  <a:pt x="702" y="840"/>
                </a:lnTo>
                <a:lnTo>
                  <a:pt x="708" y="834"/>
                </a:lnTo>
                <a:lnTo>
                  <a:pt x="702" y="822"/>
                </a:lnTo>
                <a:lnTo>
                  <a:pt x="660" y="822"/>
                </a:lnTo>
                <a:lnTo>
                  <a:pt x="654" y="822"/>
                </a:lnTo>
                <a:lnTo>
                  <a:pt x="642" y="822"/>
                </a:lnTo>
                <a:lnTo>
                  <a:pt x="642" y="810"/>
                </a:lnTo>
                <a:lnTo>
                  <a:pt x="642" y="798"/>
                </a:lnTo>
                <a:lnTo>
                  <a:pt x="642" y="792"/>
                </a:lnTo>
                <a:lnTo>
                  <a:pt x="648" y="780"/>
                </a:lnTo>
                <a:lnTo>
                  <a:pt x="654" y="774"/>
                </a:lnTo>
                <a:lnTo>
                  <a:pt x="660" y="774"/>
                </a:lnTo>
                <a:lnTo>
                  <a:pt x="672" y="762"/>
                </a:lnTo>
                <a:lnTo>
                  <a:pt x="672" y="756"/>
                </a:lnTo>
                <a:lnTo>
                  <a:pt x="678" y="750"/>
                </a:lnTo>
                <a:lnTo>
                  <a:pt x="684" y="750"/>
                </a:lnTo>
                <a:lnTo>
                  <a:pt x="690" y="744"/>
                </a:lnTo>
                <a:lnTo>
                  <a:pt x="696" y="732"/>
                </a:lnTo>
                <a:lnTo>
                  <a:pt x="696" y="726"/>
                </a:lnTo>
                <a:lnTo>
                  <a:pt x="702" y="714"/>
                </a:lnTo>
                <a:lnTo>
                  <a:pt x="696" y="708"/>
                </a:lnTo>
                <a:lnTo>
                  <a:pt x="690" y="690"/>
                </a:lnTo>
                <a:lnTo>
                  <a:pt x="696" y="678"/>
                </a:lnTo>
                <a:lnTo>
                  <a:pt x="708" y="672"/>
                </a:lnTo>
                <a:lnTo>
                  <a:pt x="708" y="660"/>
                </a:lnTo>
                <a:lnTo>
                  <a:pt x="702" y="660"/>
                </a:lnTo>
                <a:lnTo>
                  <a:pt x="696" y="660"/>
                </a:lnTo>
                <a:lnTo>
                  <a:pt x="690" y="654"/>
                </a:lnTo>
                <a:lnTo>
                  <a:pt x="684" y="654"/>
                </a:lnTo>
                <a:lnTo>
                  <a:pt x="690" y="606"/>
                </a:lnTo>
                <a:lnTo>
                  <a:pt x="660" y="606"/>
                </a:lnTo>
                <a:lnTo>
                  <a:pt x="660" y="612"/>
                </a:lnTo>
                <a:lnTo>
                  <a:pt x="648" y="612"/>
                </a:lnTo>
                <a:lnTo>
                  <a:pt x="642" y="636"/>
                </a:lnTo>
                <a:lnTo>
                  <a:pt x="636" y="636"/>
                </a:lnTo>
                <a:lnTo>
                  <a:pt x="630" y="648"/>
                </a:lnTo>
                <a:lnTo>
                  <a:pt x="612" y="648"/>
                </a:lnTo>
                <a:lnTo>
                  <a:pt x="606" y="636"/>
                </a:lnTo>
                <a:lnTo>
                  <a:pt x="600" y="630"/>
                </a:lnTo>
                <a:lnTo>
                  <a:pt x="588" y="606"/>
                </a:lnTo>
                <a:lnTo>
                  <a:pt x="552" y="606"/>
                </a:lnTo>
                <a:lnTo>
                  <a:pt x="552" y="612"/>
                </a:lnTo>
                <a:lnTo>
                  <a:pt x="540" y="612"/>
                </a:lnTo>
                <a:lnTo>
                  <a:pt x="540" y="606"/>
                </a:lnTo>
                <a:lnTo>
                  <a:pt x="522" y="606"/>
                </a:lnTo>
                <a:lnTo>
                  <a:pt x="522" y="612"/>
                </a:lnTo>
                <a:lnTo>
                  <a:pt x="516" y="612"/>
                </a:lnTo>
                <a:lnTo>
                  <a:pt x="516" y="582"/>
                </a:lnTo>
                <a:lnTo>
                  <a:pt x="522" y="576"/>
                </a:lnTo>
                <a:lnTo>
                  <a:pt x="528" y="576"/>
                </a:lnTo>
                <a:lnTo>
                  <a:pt x="528" y="552"/>
                </a:lnTo>
                <a:lnTo>
                  <a:pt x="522" y="540"/>
                </a:lnTo>
                <a:lnTo>
                  <a:pt x="510" y="528"/>
                </a:lnTo>
                <a:lnTo>
                  <a:pt x="486" y="510"/>
                </a:lnTo>
                <a:lnTo>
                  <a:pt x="480" y="498"/>
                </a:lnTo>
                <a:lnTo>
                  <a:pt x="480" y="474"/>
                </a:lnTo>
                <a:lnTo>
                  <a:pt x="492" y="468"/>
                </a:lnTo>
                <a:lnTo>
                  <a:pt x="486" y="450"/>
                </a:lnTo>
                <a:lnTo>
                  <a:pt x="474" y="456"/>
                </a:lnTo>
                <a:lnTo>
                  <a:pt x="468" y="456"/>
                </a:lnTo>
                <a:lnTo>
                  <a:pt x="462" y="456"/>
                </a:lnTo>
                <a:lnTo>
                  <a:pt x="456" y="468"/>
                </a:lnTo>
                <a:lnTo>
                  <a:pt x="456" y="474"/>
                </a:lnTo>
                <a:lnTo>
                  <a:pt x="450" y="480"/>
                </a:lnTo>
                <a:lnTo>
                  <a:pt x="444" y="450"/>
                </a:lnTo>
                <a:lnTo>
                  <a:pt x="438" y="450"/>
                </a:lnTo>
                <a:lnTo>
                  <a:pt x="432" y="450"/>
                </a:lnTo>
                <a:lnTo>
                  <a:pt x="420" y="450"/>
                </a:lnTo>
                <a:lnTo>
                  <a:pt x="420" y="456"/>
                </a:lnTo>
                <a:lnTo>
                  <a:pt x="414" y="456"/>
                </a:lnTo>
                <a:lnTo>
                  <a:pt x="408" y="468"/>
                </a:lnTo>
                <a:lnTo>
                  <a:pt x="402" y="468"/>
                </a:lnTo>
                <a:lnTo>
                  <a:pt x="396" y="474"/>
                </a:lnTo>
                <a:lnTo>
                  <a:pt x="390" y="492"/>
                </a:lnTo>
                <a:lnTo>
                  <a:pt x="384" y="504"/>
                </a:lnTo>
                <a:lnTo>
                  <a:pt x="372" y="498"/>
                </a:lnTo>
                <a:lnTo>
                  <a:pt x="366" y="510"/>
                </a:lnTo>
                <a:lnTo>
                  <a:pt x="354" y="510"/>
                </a:lnTo>
                <a:lnTo>
                  <a:pt x="360" y="480"/>
                </a:lnTo>
                <a:lnTo>
                  <a:pt x="360" y="474"/>
                </a:lnTo>
                <a:lnTo>
                  <a:pt x="378" y="456"/>
                </a:lnTo>
                <a:lnTo>
                  <a:pt x="384" y="450"/>
                </a:lnTo>
                <a:lnTo>
                  <a:pt x="396" y="444"/>
                </a:lnTo>
                <a:lnTo>
                  <a:pt x="402" y="438"/>
                </a:lnTo>
                <a:lnTo>
                  <a:pt x="408" y="438"/>
                </a:lnTo>
                <a:lnTo>
                  <a:pt x="408" y="426"/>
                </a:lnTo>
                <a:lnTo>
                  <a:pt x="414" y="420"/>
                </a:lnTo>
                <a:lnTo>
                  <a:pt x="426" y="420"/>
                </a:lnTo>
                <a:lnTo>
                  <a:pt x="426" y="408"/>
                </a:lnTo>
                <a:lnTo>
                  <a:pt x="420" y="390"/>
                </a:lnTo>
                <a:lnTo>
                  <a:pt x="408" y="384"/>
                </a:lnTo>
                <a:lnTo>
                  <a:pt x="378" y="378"/>
                </a:lnTo>
                <a:lnTo>
                  <a:pt x="354" y="366"/>
                </a:lnTo>
                <a:lnTo>
                  <a:pt x="342" y="360"/>
                </a:lnTo>
                <a:lnTo>
                  <a:pt x="342" y="348"/>
                </a:lnTo>
                <a:lnTo>
                  <a:pt x="336" y="330"/>
                </a:lnTo>
                <a:lnTo>
                  <a:pt x="348" y="306"/>
                </a:lnTo>
                <a:lnTo>
                  <a:pt x="360" y="294"/>
                </a:lnTo>
                <a:lnTo>
                  <a:pt x="360" y="282"/>
                </a:lnTo>
                <a:lnTo>
                  <a:pt x="342" y="270"/>
                </a:lnTo>
                <a:lnTo>
                  <a:pt x="342" y="264"/>
                </a:lnTo>
                <a:lnTo>
                  <a:pt x="330" y="264"/>
                </a:lnTo>
                <a:lnTo>
                  <a:pt x="312" y="270"/>
                </a:lnTo>
                <a:lnTo>
                  <a:pt x="306" y="270"/>
                </a:lnTo>
                <a:lnTo>
                  <a:pt x="300" y="270"/>
                </a:lnTo>
                <a:lnTo>
                  <a:pt x="288" y="270"/>
                </a:lnTo>
                <a:lnTo>
                  <a:pt x="282" y="270"/>
                </a:lnTo>
                <a:lnTo>
                  <a:pt x="276" y="264"/>
                </a:lnTo>
                <a:lnTo>
                  <a:pt x="270" y="264"/>
                </a:lnTo>
                <a:lnTo>
                  <a:pt x="252" y="270"/>
                </a:lnTo>
                <a:lnTo>
                  <a:pt x="246" y="270"/>
                </a:lnTo>
                <a:lnTo>
                  <a:pt x="240" y="270"/>
                </a:lnTo>
                <a:lnTo>
                  <a:pt x="228" y="270"/>
                </a:lnTo>
                <a:lnTo>
                  <a:pt x="216" y="276"/>
                </a:lnTo>
                <a:lnTo>
                  <a:pt x="210" y="270"/>
                </a:lnTo>
                <a:lnTo>
                  <a:pt x="204" y="270"/>
                </a:lnTo>
                <a:lnTo>
                  <a:pt x="198" y="276"/>
                </a:lnTo>
                <a:lnTo>
                  <a:pt x="192" y="276"/>
                </a:lnTo>
                <a:lnTo>
                  <a:pt x="186" y="282"/>
                </a:lnTo>
                <a:lnTo>
                  <a:pt x="180" y="288"/>
                </a:lnTo>
                <a:lnTo>
                  <a:pt x="174" y="300"/>
                </a:lnTo>
                <a:lnTo>
                  <a:pt x="168" y="306"/>
                </a:lnTo>
                <a:lnTo>
                  <a:pt x="168" y="318"/>
                </a:lnTo>
                <a:lnTo>
                  <a:pt x="168" y="324"/>
                </a:lnTo>
                <a:lnTo>
                  <a:pt x="168" y="330"/>
                </a:lnTo>
                <a:lnTo>
                  <a:pt x="162" y="336"/>
                </a:lnTo>
                <a:lnTo>
                  <a:pt x="156" y="342"/>
                </a:lnTo>
                <a:lnTo>
                  <a:pt x="156" y="348"/>
                </a:lnTo>
                <a:lnTo>
                  <a:pt x="156" y="354"/>
                </a:lnTo>
                <a:lnTo>
                  <a:pt x="150" y="366"/>
                </a:lnTo>
                <a:lnTo>
                  <a:pt x="150" y="372"/>
                </a:lnTo>
                <a:lnTo>
                  <a:pt x="144" y="366"/>
                </a:lnTo>
                <a:lnTo>
                  <a:pt x="132" y="366"/>
                </a:lnTo>
                <a:lnTo>
                  <a:pt x="138" y="360"/>
                </a:lnTo>
                <a:lnTo>
                  <a:pt x="132" y="354"/>
                </a:lnTo>
                <a:lnTo>
                  <a:pt x="120" y="348"/>
                </a:lnTo>
                <a:lnTo>
                  <a:pt x="102" y="330"/>
                </a:lnTo>
                <a:lnTo>
                  <a:pt x="96" y="318"/>
                </a:lnTo>
                <a:lnTo>
                  <a:pt x="96" y="282"/>
                </a:lnTo>
                <a:lnTo>
                  <a:pt x="96" y="270"/>
                </a:lnTo>
                <a:lnTo>
                  <a:pt x="90" y="264"/>
                </a:lnTo>
                <a:lnTo>
                  <a:pt x="90" y="258"/>
                </a:lnTo>
                <a:lnTo>
                  <a:pt x="84" y="252"/>
                </a:lnTo>
                <a:lnTo>
                  <a:pt x="66" y="258"/>
                </a:lnTo>
                <a:lnTo>
                  <a:pt x="60" y="246"/>
                </a:lnTo>
                <a:lnTo>
                  <a:pt x="30" y="252"/>
                </a:lnTo>
                <a:lnTo>
                  <a:pt x="18" y="246"/>
                </a:lnTo>
                <a:lnTo>
                  <a:pt x="0" y="240"/>
                </a:lnTo>
                <a:lnTo>
                  <a:pt x="0" y="234"/>
                </a:lnTo>
                <a:lnTo>
                  <a:pt x="0" y="210"/>
                </a:lnTo>
                <a:lnTo>
                  <a:pt x="6" y="204"/>
                </a:lnTo>
                <a:lnTo>
                  <a:pt x="18" y="192"/>
                </a:lnTo>
                <a:lnTo>
                  <a:pt x="18" y="144"/>
                </a:lnTo>
                <a:lnTo>
                  <a:pt x="24" y="126"/>
                </a:lnTo>
                <a:lnTo>
                  <a:pt x="36" y="126"/>
                </a:lnTo>
                <a:lnTo>
                  <a:pt x="54" y="120"/>
                </a:lnTo>
                <a:lnTo>
                  <a:pt x="54" y="126"/>
                </a:lnTo>
                <a:lnTo>
                  <a:pt x="132" y="114"/>
                </a:lnTo>
                <a:lnTo>
                  <a:pt x="144" y="120"/>
                </a:lnTo>
                <a:lnTo>
                  <a:pt x="150" y="132"/>
                </a:lnTo>
                <a:lnTo>
                  <a:pt x="180" y="126"/>
                </a:lnTo>
                <a:lnTo>
                  <a:pt x="210" y="120"/>
                </a:lnTo>
                <a:lnTo>
                  <a:pt x="240" y="120"/>
                </a:lnTo>
                <a:lnTo>
                  <a:pt x="258" y="120"/>
                </a:lnTo>
                <a:lnTo>
                  <a:pt x="270" y="126"/>
                </a:lnTo>
                <a:lnTo>
                  <a:pt x="276" y="132"/>
                </a:lnTo>
                <a:lnTo>
                  <a:pt x="282" y="138"/>
                </a:lnTo>
                <a:lnTo>
                  <a:pt x="282" y="156"/>
                </a:lnTo>
                <a:lnTo>
                  <a:pt x="288" y="186"/>
                </a:lnTo>
                <a:lnTo>
                  <a:pt x="312" y="192"/>
                </a:lnTo>
                <a:lnTo>
                  <a:pt x="318" y="198"/>
                </a:lnTo>
                <a:lnTo>
                  <a:pt x="324" y="204"/>
                </a:lnTo>
                <a:lnTo>
                  <a:pt x="330" y="210"/>
                </a:lnTo>
                <a:lnTo>
                  <a:pt x="348" y="210"/>
                </a:lnTo>
                <a:lnTo>
                  <a:pt x="348" y="204"/>
                </a:lnTo>
                <a:lnTo>
                  <a:pt x="366" y="216"/>
                </a:lnTo>
                <a:lnTo>
                  <a:pt x="378" y="216"/>
                </a:lnTo>
                <a:lnTo>
                  <a:pt x="378" y="222"/>
                </a:lnTo>
                <a:lnTo>
                  <a:pt x="396" y="222"/>
                </a:lnTo>
                <a:lnTo>
                  <a:pt x="414" y="222"/>
                </a:lnTo>
                <a:lnTo>
                  <a:pt x="420" y="216"/>
                </a:lnTo>
                <a:lnTo>
                  <a:pt x="486" y="210"/>
                </a:lnTo>
                <a:lnTo>
                  <a:pt x="498" y="198"/>
                </a:lnTo>
                <a:lnTo>
                  <a:pt x="504" y="174"/>
                </a:lnTo>
                <a:lnTo>
                  <a:pt x="516" y="162"/>
                </a:lnTo>
                <a:lnTo>
                  <a:pt x="516" y="138"/>
                </a:lnTo>
                <a:lnTo>
                  <a:pt x="522" y="132"/>
                </a:lnTo>
                <a:lnTo>
                  <a:pt x="564" y="132"/>
                </a:lnTo>
                <a:lnTo>
                  <a:pt x="564" y="114"/>
                </a:lnTo>
                <a:lnTo>
                  <a:pt x="582" y="114"/>
                </a:lnTo>
                <a:lnTo>
                  <a:pt x="594" y="114"/>
                </a:lnTo>
                <a:lnTo>
                  <a:pt x="606" y="114"/>
                </a:lnTo>
                <a:lnTo>
                  <a:pt x="612" y="114"/>
                </a:lnTo>
                <a:lnTo>
                  <a:pt x="630" y="114"/>
                </a:lnTo>
                <a:lnTo>
                  <a:pt x="636" y="114"/>
                </a:lnTo>
                <a:lnTo>
                  <a:pt x="648" y="114"/>
                </a:lnTo>
                <a:lnTo>
                  <a:pt x="654" y="114"/>
                </a:lnTo>
                <a:lnTo>
                  <a:pt x="660" y="120"/>
                </a:lnTo>
                <a:lnTo>
                  <a:pt x="672" y="120"/>
                </a:lnTo>
                <a:lnTo>
                  <a:pt x="684" y="120"/>
                </a:lnTo>
                <a:lnTo>
                  <a:pt x="690" y="120"/>
                </a:lnTo>
                <a:lnTo>
                  <a:pt x="702" y="120"/>
                </a:lnTo>
                <a:lnTo>
                  <a:pt x="708" y="120"/>
                </a:lnTo>
                <a:lnTo>
                  <a:pt x="726" y="126"/>
                </a:lnTo>
                <a:lnTo>
                  <a:pt x="732" y="126"/>
                </a:lnTo>
                <a:lnTo>
                  <a:pt x="738" y="126"/>
                </a:lnTo>
                <a:lnTo>
                  <a:pt x="750" y="126"/>
                </a:lnTo>
                <a:lnTo>
                  <a:pt x="756" y="126"/>
                </a:lnTo>
                <a:lnTo>
                  <a:pt x="768" y="126"/>
                </a:lnTo>
                <a:lnTo>
                  <a:pt x="780" y="126"/>
                </a:lnTo>
                <a:lnTo>
                  <a:pt x="786" y="120"/>
                </a:lnTo>
                <a:lnTo>
                  <a:pt x="792" y="120"/>
                </a:lnTo>
                <a:lnTo>
                  <a:pt x="810" y="120"/>
                </a:lnTo>
                <a:lnTo>
                  <a:pt x="822" y="120"/>
                </a:lnTo>
                <a:lnTo>
                  <a:pt x="846" y="126"/>
                </a:lnTo>
                <a:lnTo>
                  <a:pt x="858" y="126"/>
                </a:lnTo>
                <a:lnTo>
                  <a:pt x="870" y="132"/>
                </a:lnTo>
                <a:lnTo>
                  <a:pt x="882" y="132"/>
                </a:lnTo>
                <a:lnTo>
                  <a:pt x="894" y="132"/>
                </a:lnTo>
                <a:lnTo>
                  <a:pt x="900" y="132"/>
                </a:lnTo>
                <a:lnTo>
                  <a:pt x="912" y="132"/>
                </a:lnTo>
                <a:lnTo>
                  <a:pt x="918" y="132"/>
                </a:lnTo>
                <a:lnTo>
                  <a:pt x="924" y="132"/>
                </a:lnTo>
                <a:lnTo>
                  <a:pt x="936" y="132"/>
                </a:lnTo>
                <a:lnTo>
                  <a:pt x="960" y="132"/>
                </a:lnTo>
                <a:lnTo>
                  <a:pt x="966" y="144"/>
                </a:lnTo>
                <a:lnTo>
                  <a:pt x="972" y="144"/>
                </a:lnTo>
                <a:lnTo>
                  <a:pt x="1002" y="144"/>
                </a:lnTo>
                <a:lnTo>
                  <a:pt x="1020" y="144"/>
                </a:lnTo>
                <a:lnTo>
                  <a:pt x="1068" y="138"/>
                </a:lnTo>
                <a:lnTo>
                  <a:pt x="1110" y="132"/>
                </a:lnTo>
                <a:lnTo>
                  <a:pt x="1110" y="126"/>
                </a:lnTo>
                <a:lnTo>
                  <a:pt x="1116" y="120"/>
                </a:lnTo>
                <a:lnTo>
                  <a:pt x="1122" y="108"/>
                </a:lnTo>
                <a:lnTo>
                  <a:pt x="1134" y="96"/>
                </a:lnTo>
                <a:lnTo>
                  <a:pt x="1146" y="60"/>
                </a:lnTo>
                <a:lnTo>
                  <a:pt x="1158" y="54"/>
                </a:lnTo>
                <a:lnTo>
                  <a:pt x="1170" y="48"/>
                </a:lnTo>
                <a:lnTo>
                  <a:pt x="1188" y="42"/>
                </a:lnTo>
                <a:lnTo>
                  <a:pt x="1200" y="36"/>
                </a:lnTo>
                <a:lnTo>
                  <a:pt x="1212" y="36"/>
                </a:lnTo>
                <a:lnTo>
                  <a:pt x="1236" y="30"/>
                </a:lnTo>
                <a:lnTo>
                  <a:pt x="1236" y="24"/>
                </a:lnTo>
                <a:lnTo>
                  <a:pt x="1278" y="18"/>
                </a:lnTo>
                <a:lnTo>
                  <a:pt x="1290" y="18"/>
                </a:lnTo>
                <a:lnTo>
                  <a:pt x="1302" y="12"/>
                </a:lnTo>
                <a:lnTo>
                  <a:pt x="1314" y="0"/>
                </a:lnTo>
                <a:lnTo>
                  <a:pt x="1332" y="0"/>
                </a:lnTo>
                <a:lnTo>
                  <a:pt x="1338" y="24"/>
                </a:lnTo>
                <a:lnTo>
                  <a:pt x="1344" y="30"/>
                </a:lnTo>
                <a:lnTo>
                  <a:pt x="1350" y="42"/>
                </a:lnTo>
                <a:lnTo>
                  <a:pt x="1356" y="48"/>
                </a:lnTo>
                <a:lnTo>
                  <a:pt x="1356" y="78"/>
                </a:lnTo>
                <a:lnTo>
                  <a:pt x="1350" y="96"/>
                </a:lnTo>
                <a:lnTo>
                  <a:pt x="1338" y="108"/>
                </a:lnTo>
                <a:lnTo>
                  <a:pt x="1338" y="114"/>
                </a:lnTo>
                <a:lnTo>
                  <a:pt x="1338" y="120"/>
                </a:lnTo>
                <a:lnTo>
                  <a:pt x="1338" y="126"/>
                </a:lnTo>
                <a:lnTo>
                  <a:pt x="1368" y="126"/>
                </a:lnTo>
                <a:lnTo>
                  <a:pt x="1386" y="120"/>
                </a:lnTo>
                <a:lnTo>
                  <a:pt x="1398" y="114"/>
                </a:lnTo>
                <a:lnTo>
                  <a:pt x="1416" y="120"/>
                </a:lnTo>
                <a:lnTo>
                  <a:pt x="1434" y="126"/>
                </a:lnTo>
                <a:lnTo>
                  <a:pt x="1458" y="132"/>
                </a:lnTo>
                <a:lnTo>
                  <a:pt x="1458" y="138"/>
                </a:lnTo>
                <a:lnTo>
                  <a:pt x="1512" y="138"/>
                </a:lnTo>
                <a:lnTo>
                  <a:pt x="1512" y="132"/>
                </a:lnTo>
                <a:lnTo>
                  <a:pt x="1524" y="138"/>
                </a:lnTo>
                <a:lnTo>
                  <a:pt x="1542" y="138"/>
                </a:lnTo>
                <a:lnTo>
                  <a:pt x="1542" y="150"/>
                </a:lnTo>
                <a:lnTo>
                  <a:pt x="1542" y="162"/>
                </a:lnTo>
                <a:lnTo>
                  <a:pt x="1548" y="174"/>
                </a:lnTo>
                <a:lnTo>
                  <a:pt x="1548" y="180"/>
                </a:lnTo>
                <a:lnTo>
                  <a:pt x="1554" y="222"/>
                </a:lnTo>
                <a:lnTo>
                  <a:pt x="1554" y="258"/>
                </a:lnTo>
                <a:lnTo>
                  <a:pt x="1554" y="276"/>
                </a:lnTo>
                <a:lnTo>
                  <a:pt x="1554" y="282"/>
                </a:lnTo>
                <a:lnTo>
                  <a:pt x="1554" y="294"/>
                </a:lnTo>
                <a:lnTo>
                  <a:pt x="1554" y="306"/>
                </a:lnTo>
                <a:lnTo>
                  <a:pt x="1554" y="324"/>
                </a:lnTo>
                <a:lnTo>
                  <a:pt x="1554" y="330"/>
                </a:lnTo>
                <a:lnTo>
                  <a:pt x="1548" y="330"/>
                </a:lnTo>
                <a:lnTo>
                  <a:pt x="1548" y="336"/>
                </a:lnTo>
                <a:lnTo>
                  <a:pt x="1548" y="342"/>
                </a:lnTo>
                <a:lnTo>
                  <a:pt x="1542" y="336"/>
                </a:lnTo>
                <a:lnTo>
                  <a:pt x="1542" y="330"/>
                </a:lnTo>
                <a:lnTo>
                  <a:pt x="1536" y="330"/>
                </a:lnTo>
                <a:lnTo>
                  <a:pt x="1530" y="330"/>
                </a:lnTo>
                <a:lnTo>
                  <a:pt x="1530" y="336"/>
                </a:lnTo>
                <a:lnTo>
                  <a:pt x="1536" y="342"/>
                </a:lnTo>
                <a:lnTo>
                  <a:pt x="1530" y="342"/>
                </a:lnTo>
                <a:lnTo>
                  <a:pt x="1518" y="348"/>
                </a:lnTo>
                <a:lnTo>
                  <a:pt x="1512" y="354"/>
                </a:lnTo>
                <a:lnTo>
                  <a:pt x="1506" y="354"/>
                </a:lnTo>
                <a:lnTo>
                  <a:pt x="1500" y="354"/>
                </a:lnTo>
                <a:lnTo>
                  <a:pt x="1494" y="354"/>
                </a:lnTo>
                <a:lnTo>
                  <a:pt x="1494" y="360"/>
                </a:lnTo>
                <a:lnTo>
                  <a:pt x="1488" y="360"/>
                </a:lnTo>
                <a:lnTo>
                  <a:pt x="1488" y="366"/>
                </a:lnTo>
                <a:lnTo>
                  <a:pt x="1488" y="372"/>
                </a:lnTo>
                <a:lnTo>
                  <a:pt x="1482" y="372"/>
                </a:lnTo>
                <a:lnTo>
                  <a:pt x="1476" y="372"/>
                </a:lnTo>
                <a:lnTo>
                  <a:pt x="1470" y="372"/>
                </a:lnTo>
                <a:lnTo>
                  <a:pt x="1470" y="378"/>
                </a:lnTo>
                <a:lnTo>
                  <a:pt x="1470" y="384"/>
                </a:lnTo>
                <a:lnTo>
                  <a:pt x="1470" y="390"/>
                </a:lnTo>
                <a:lnTo>
                  <a:pt x="1464" y="402"/>
                </a:lnTo>
                <a:lnTo>
                  <a:pt x="1446" y="402"/>
                </a:lnTo>
                <a:lnTo>
                  <a:pt x="1440" y="372"/>
                </a:lnTo>
                <a:lnTo>
                  <a:pt x="1410" y="372"/>
                </a:lnTo>
                <a:lnTo>
                  <a:pt x="1380" y="372"/>
                </a:lnTo>
                <a:lnTo>
                  <a:pt x="1374" y="372"/>
                </a:lnTo>
                <a:lnTo>
                  <a:pt x="1368" y="378"/>
                </a:lnTo>
                <a:lnTo>
                  <a:pt x="1362" y="378"/>
                </a:lnTo>
                <a:lnTo>
                  <a:pt x="1356" y="378"/>
                </a:lnTo>
                <a:lnTo>
                  <a:pt x="1350" y="384"/>
                </a:lnTo>
                <a:lnTo>
                  <a:pt x="1350" y="390"/>
                </a:lnTo>
                <a:lnTo>
                  <a:pt x="1344" y="390"/>
                </a:lnTo>
                <a:lnTo>
                  <a:pt x="1338" y="390"/>
                </a:lnTo>
                <a:lnTo>
                  <a:pt x="1332" y="390"/>
                </a:lnTo>
                <a:lnTo>
                  <a:pt x="1332" y="396"/>
                </a:lnTo>
                <a:lnTo>
                  <a:pt x="1332" y="390"/>
                </a:lnTo>
                <a:lnTo>
                  <a:pt x="1326" y="402"/>
                </a:lnTo>
                <a:lnTo>
                  <a:pt x="1320" y="402"/>
                </a:lnTo>
                <a:lnTo>
                  <a:pt x="1302" y="474"/>
                </a:lnTo>
                <a:lnTo>
                  <a:pt x="1308" y="480"/>
                </a:lnTo>
                <a:lnTo>
                  <a:pt x="1314" y="480"/>
                </a:lnTo>
                <a:lnTo>
                  <a:pt x="1308" y="498"/>
                </a:lnTo>
                <a:lnTo>
                  <a:pt x="1308" y="504"/>
                </a:lnTo>
                <a:lnTo>
                  <a:pt x="1314" y="510"/>
                </a:lnTo>
                <a:lnTo>
                  <a:pt x="1308" y="510"/>
                </a:lnTo>
                <a:lnTo>
                  <a:pt x="1308" y="516"/>
                </a:lnTo>
                <a:lnTo>
                  <a:pt x="1302" y="516"/>
                </a:lnTo>
                <a:lnTo>
                  <a:pt x="1296" y="510"/>
                </a:lnTo>
                <a:lnTo>
                  <a:pt x="1296" y="516"/>
                </a:lnTo>
                <a:lnTo>
                  <a:pt x="1290" y="540"/>
                </a:lnTo>
                <a:lnTo>
                  <a:pt x="1290" y="552"/>
                </a:lnTo>
                <a:lnTo>
                  <a:pt x="1284" y="558"/>
                </a:lnTo>
                <a:lnTo>
                  <a:pt x="1290" y="576"/>
                </a:lnTo>
                <a:lnTo>
                  <a:pt x="1290" y="600"/>
                </a:lnTo>
                <a:lnTo>
                  <a:pt x="1284" y="618"/>
                </a:lnTo>
                <a:lnTo>
                  <a:pt x="1290" y="624"/>
                </a:lnTo>
                <a:lnTo>
                  <a:pt x="1284" y="630"/>
                </a:lnTo>
                <a:lnTo>
                  <a:pt x="1278" y="630"/>
                </a:lnTo>
                <a:lnTo>
                  <a:pt x="1272" y="630"/>
                </a:lnTo>
                <a:lnTo>
                  <a:pt x="1266" y="636"/>
                </a:lnTo>
                <a:lnTo>
                  <a:pt x="1260" y="642"/>
                </a:lnTo>
                <a:lnTo>
                  <a:pt x="1260" y="636"/>
                </a:lnTo>
                <a:lnTo>
                  <a:pt x="1254" y="636"/>
                </a:lnTo>
                <a:lnTo>
                  <a:pt x="1248" y="636"/>
                </a:lnTo>
                <a:lnTo>
                  <a:pt x="1248" y="642"/>
                </a:lnTo>
                <a:lnTo>
                  <a:pt x="1242" y="642"/>
                </a:lnTo>
                <a:lnTo>
                  <a:pt x="1242" y="648"/>
                </a:lnTo>
                <a:lnTo>
                  <a:pt x="1236" y="654"/>
                </a:lnTo>
                <a:lnTo>
                  <a:pt x="1230" y="654"/>
                </a:lnTo>
                <a:lnTo>
                  <a:pt x="1224" y="654"/>
                </a:lnTo>
                <a:lnTo>
                  <a:pt x="1218" y="660"/>
                </a:lnTo>
                <a:lnTo>
                  <a:pt x="1212" y="660"/>
                </a:lnTo>
                <a:lnTo>
                  <a:pt x="1206" y="660"/>
                </a:lnTo>
                <a:lnTo>
                  <a:pt x="1200" y="660"/>
                </a:lnTo>
                <a:lnTo>
                  <a:pt x="1200" y="666"/>
                </a:lnTo>
                <a:lnTo>
                  <a:pt x="1194" y="666"/>
                </a:lnTo>
                <a:lnTo>
                  <a:pt x="1188" y="666"/>
                </a:lnTo>
                <a:lnTo>
                  <a:pt x="1182" y="672"/>
                </a:lnTo>
                <a:lnTo>
                  <a:pt x="1176" y="672"/>
                </a:lnTo>
                <a:lnTo>
                  <a:pt x="1170" y="672"/>
                </a:lnTo>
                <a:lnTo>
                  <a:pt x="1164" y="678"/>
                </a:lnTo>
                <a:lnTo>
                  <a:pt x="1170" y="678"/>
                </a:lnTo>
                <a:lnTo>
                  <a:pt x="1164" y="684"/>
                </a:lnTo>
                <a:lnTo>
                  <a:pt x="1164" y="690"/>
                </a:lnTo>
                <a:lnTo>
                  <a:pt x="1158" y="690"/>
                </a:lnTo>
                <a:lnTo>
                  <a:pt x="1152" y="684"/>
                </a:lnTo>
                <a:lnTo>
                  <a:pt x="1152" y="690"/>
                </a:lnTo>
                <a:lnTo>
                  <a:pt x="1146" y="690"/>
                </a:lnTo>
                <a:lnTo>
                  <a:pt x="1140" y="690"/>
                </a:lnTo>
                <a:lnTo>
                  <a:pt x="1134" y="696"/>
                </a:lnTo>
                <a:lnTo>
                  <a:pt x="1128" y="696"/>
                </a:lnTo>
                <a:lnTo>
                  <a:pt x="1122" y="702"/>
                </a:lnTo>
                <a:lnTo>
                  <a:pt x="1116" y="702"/>
                </a:lnTo>
                <a:lnTo>
                  <a:pt x="1110" y="708"/>
                </a:lnTo>
                <a:lnTo>
                  <a:pt x="1104" y="708"/>
                </a:lnTo>
                <a:lnTo>
                  <a:pt x="1098" y="708"/>
                </a:lnTo>
                <a:lnTo>
                  <a:pt x="1092" y="708"/>
                </a:lnTo>
                <a:lnTo>
                  <a:pt x="1092" y="714"/>
                </a:lnTo>
                <a:lnTo>
                  <a:pt x="1086" y="720"/>
                </a:lnTo>
                <a:lnTo>
                  <a:pt x="1080" y="720"/>
                </a:lnTo>
                <a:lnTo>
                  <a:pt x="1074" y="720"/>
                </a:lnTo>
                <a:lnTo>
                  <a:pt x="1068" y="720"/>
                </a:lnTo>
                <a:lnTo>
                  <a:pt x="1062" y="720"/>
                </a:lnTo>
                <a:lnTo>
                  <a:pt x="1050" y="726"/>
                </a:lnTo>
                <a:lnTo>
                  <a:pt x="1044" y="726"/>
                </a:lnTo>
                <a:lnTo>
                  <a:pt x="1038" y="732"/>
                </a:lnTo>
                <a:lnTo>
                  <a:pt x="1026" y="732"/>
                </a:lnTo>
                <a:lnTo>
                  <a:pt x="1020" y="732"/>
                </a:lnTo>
                <a:lnTo>
                  <a:pt x="1014" y="738"/>
                </a:lnTo>
                <a:lnTo>
                  <a:pt x="1008" y="738"/>
                </a:lnTo>
                <a:lnTo>
                  <a:pt x="1002" y="738"/>
                </a:lnTo>
                <a:lnTo>
                  <a:pt x="996" y="738"/>
                </a:lnTo>
                <a:lnTo>
                  <a:pt x="990" y="738"/>
                </a:lnTo>
                <a:lnTo>
                  <a:pt x="990" y="732"/>
                </a:lnTo>
                <a:lnTo>
                  <a:pt x="984" y="732"/>
                </a:lnTo>
                <a:lnTo>
                  <a:pt x="978" y="738"/>
                </a:lnTo>
                <a:lnTo>
                  <a:pt x="978" y="744"/>
                </a:lnTo>
                <a:lnTo>
                  <a:pt x="984" y="744"/>
                </a:lnTo>
                <a:lnTo>
                  <a:pt x="978" y="744"/>
                </a:lnTo>
                <a:lnTo>
                  <a:pt x="978" y="750"/>
                </a:lnTo>
                <a:lnTo>
                  <a:pt x="978" y="756"/>
                </a:lnTo>
                <a:lnTo>
                  <a:pt x="972" y="756"/>
                </a:lnTo>
                <a:lnTo>
                  <a:pt x="972" y="762"/>
                </a:lnTo>
                <a:lnTo>
                  <a:pt x="966" y="768"/>
                </a:lnTo>
                <a:lnTo>
                  <a:pt x="966" y="762"/>
                </a:lnTo>
                <a:lnTo>
                  <a:pt x="960" y="762"/>
                </a:lnTo>
                <a:lnTo>
                  <a:pt x="954" y="768"/>
                </a:lnTo>
                <a:lnTo>
                  <a:pt x="954" y="774"/>
                </a:lnTo>
                <a:lnTo>
                  <a:pt x="948" y="774"/>
                </a:lnTo>
                <a:lnTo>
                  <a:pt x="948" y="780"/>
                </a:lnTo>
                <a:lnTo>
                  <a:pt x="948" y="786"/>
                </a:lnTo>
                <a:lnTo>
                  <a:pt x="942" y="786"/>
                </a:lnTo>
                <a:lnTo>
                  <a:pt x="942" y="792"/>
                </a:lnTo>
                <a:lnTo>
                  <a:pt x="936" y="792"/>
                </a:lnTo>
                <a:lnTo>
                  <a:pt x="942" y="798"/>
                </a:lnTo>
                <a:lnTo>
                  <a:pt x="942" y="804"/>
                </a:lnTo>
                <a:lnTo>
                  <a:pt x="942" y="810"/>
                </a:lnTo>
                <a:lnTo>
                  <a:pt x="948" y="810"/>
                </a:lnTo>
                <a:lnTo>
                  <a:pt x="942" y="816"/>
                </a:lnTo>
                <a:lnTo>
                  <a:pt x="948" y="816"/>
                </a:lnTo>
                <a:lnTo>
                  <a:pt x="948" y="822"/>
                </a:lnTo>
                <a:lnTo>
                  <a:pt x="954" y="822"/>
                </a:lnTo>
                <a:lnTo>
                  <a:pt x="960" y="828"/>
                </a:lnTo>
                <a:lnTo>
                  <a:pt x="960" y="834"/>
                </a:lnTo>
                <a:lnTo>
                  <a:pt x="966" y="834"/>
                </a:lnTo>
                <a:lnTo>
                  <a:pt x="960" y="840"/>
                </a:lnTo>
                <a:lnTo>
                  <a:pt x="966" y="846"/>
                </a:lnTo>
                <a:lnTo>
                  <a:pt x="966" y="840"/>
                </a:lnTo>
                <a:lnTo>
                  <a:pt x="972" y="840"/>
                </a:lnTo>
                <a:lnTo>
                  <a:pt x="990" y="840"/>
                </a:lnTo>
                <a:lnTo>
                  <a:pt x="1002" y="834"/>
                </a:lnTo>
                <a:lnTo>
                  <a:pt x="1020" y="828"/>
                </a:lnTo>
                <a:lnTo>
                  <a:pt x="1032" y="828"/>
                </a:lnTo>
                <a:lnTo>
                  <a:pt x="1050" y="828"/>
                </a:lnTo>
                <a:lnTo>
                  <a:pt x="1062" y="846"/>
                </a:lnTo>
                <a:lnTo>
                  <a:pt x="1074" y="876"/>
                </a:lnTo>
                <a:lnTo>
                  <a:pt x="1068" y="900"/>
                </a:lnTo>
                <a:lnTo>
                  <a:pt x="1074" y="912"/>
                </a:lnTo>
                <a:lnTo>
                  <a:pt x="1074" y="936"/>
                </a:lnTo>
                <a:lnTo>
                  <a:pt x="1068" y="942"/>
                </a:lnTo>
                <a:lnTo>
                  <a:pt x="1062" y="954"/>
                </a:lnTo>
                <a:lnTo>
                  <a:pt x="1056" y="978"/>
                </a:lnTo>
                <a:lnTo>
                  <a:pt x="1056" y="996"/>
                </a:lnTo>
                <a:lnTo>
                  <a:pt x="1068" y="990"/>
                </a:lnTo>
                <a:lnTo>
                  <a:pt x="1074" y="990"/>
                </a:lnTo>
                <a:lnTo>
                  <a:pt x="1074" y="1008"/>
                </a:lnTo>
                <a:lnTo>
                  <a:pt x="1080" y="1008"/>
                </a:lnTo>
                <a:lnTo>
                  <a:pt x="1092" y="1014"/>
                </a:lnTo>
                <a:lnTo>
                  <a:pt x="1110" y="1044"/>
                </a:lnTo>
                <a:lnTo>
                  <a:pt x="1110" y="1062"/>
                </a:lnTo>
                <a:lnTo>
                  <a:pt x="1128" y="1068"/>
                </a:lnTo>
                <a:lnTo>
                  <a:pt x="1128" y="1092"/>
                </a:lnTo>
                <a:lnTo>
                  <a:pt x="1134" y="1098"/>
                </a:lnTo>
                <a:lnTo>
                  <a:pt x="1158" y="1122"/>
                </a:lnTo>
                <a:lnTo>
                  <a:pt x="1188" y="1122"/>
                </a:lnTo>
                <a:lnTo>
                  <a:pt x="1188" y="1128"/>
                </a:lnTo>
                <a:lnTo>
                  <a:pt x="1200" y="1134"/>
                </a:lnTo>
                <a:lnTo>
                  <a:pt x="1206" y="1134"/>
                </a:lnTo>
                <a:lnTo>
                  <a:pt x="1206" y="1128"/>
                </a:lnTo>
                <a:lnTo>
                  <a:pt x="1212" y="1128"/>
                </a:lnTo>
                <a:lnTo>
                  <a:pt x="1218" y="1128"/>
                </a:lnTo>
                <a:lnTo>
                  <a:pt x="1224" y="1122"/>
                </a:lnTo>
                <a:lnTo>
                  <a:pt x="1224" y="1128"/>
                </a:lnTo>
                <a:lnTo>
                  <a:pt x="1230" y="1128"/>
                </a:lnTo>
                <a:lnTo>
                  <a:pt x="1236" y="1128"/>
                </a:lnTo>
                <a:lnTo>
                  <a:pt x="1236" y="1122"/>
                </a:lnTo>
                <a:lnTo>
                  <a:pt x="1242" y="1122"/>
                </a:lnTo>
                <a:lnTo>
                  <a:pt x="1248" y="1128"/>
                </a:lnTo>
                <a:lnTo>
                  <a:pt x="1254" y="1128"/>
                </a:lnTo>
                <a:lnTo>
                  <a:pt x="1260" y="1134"/>
                </a:lnTo>
                <a:lnTo>
                  <a:pt x="1260" y="1140"/>
                </a:lnTo>
                <a:lnTo>
                  <a:pt x="1266" y="1140"/>
                </a:lnTo>
                <a:lnTo>
                  <a:pt x="1272" y="1140"/>
                </a:lnTo>
                <a:lnTo>
                  <a:pt x="1278" y="1140"/>
                </a:lnTo>
                <a:lnTo>
                  <a:pt x="1284" y="1140"/>
                </a:lnTo>
                <a:lnTo>
                  <a:pt x="1290" y="1146"/>
                </a:lnTo>
                <a:lnTo>
                  <a:pt x="1290" y="1152"/>
                </a:lnTo>
                <a:lnTo>
                  <a:pt x="1296" y="1146"/>
                </a:lnTo>
                <a:lnTo>
                  <a:pt x="1296" y="1152"/>
                </a:lnTo>
                <a:lnTo>
                  <a:pt x="1308" y="1152"/>
                </a:lnTo>
                <a:lnTo>
                  <a:pt x="1314" y="1152"/>
                </a:lnTo>
                <a:lnTo>
                  <a:pt x="1320" y="1152"/>
                </a:lnTo>
                <a:lnTo>
                  <a:pt x="1332" y="1152"/>
                </a:lnTo>
                <a:lnTo>
                  <a:pt x="1338" y="1152"/>
                </a:lnTo>
                <a:lnTo>
                  <a:pt x="1344" y="1152"/>
                </a:lnTo>
                <a:lnTo>
                  <a:pt x="1344" y="1158"/>
                </a:lnTo>
                <a:lnTo>
                  <a:pt x="1350" y="1158"/>
                </a:lnTo>
                <a:lnTo>
                  <a:pt x="1356" y="1158"/>
                </a:lnTo>
                <a:lnTo>
                  <a:pt x="1362" y="1158"/>
                </a:lnTo>
                <a:lnTo>
                  <a:pt x="1368" y="1158"/>
                </a:lnTo>
                <a:lnTo>
                  <a:pt x="1374" y="1164"/>
                </a:lnTo>
                <a:lnTo>
                  <a:pt x="1380" y="1164"/>
                </a:lnTo>
                <a:lnTo>
                  <a:pt x="1386" y="1170"/>
                </a:lnTo>
                <a:lnTo>
                  <a:pt x="1392" y="1170"/>
                </a:lnTo>
                <a:lnTo>
                  <a:pt x="1398" y="1164"/>
                </a:lnTo>
                <a:lnTo>
                  <a:pt x="1404" y="1164"/>
                </a:lnTo>
                <a:lnTo>
                  <a:pt x="1410" y="1164"/>
                </a:lnTo>
                <a:lnTo>
                  <a:pt x="1416" y="1164"/>
                </a:lnTo>
                <a:lnTo>
                  <a:pt x="1416" y="1170"/>
                </a:lnTo>
                <a:lnTo>
                  <a:pt x="1422" y="1176"/>
                </a:lnTo>
                <a:lnTo>
                  <a:pt x="1416" y="1176"/>
                </a:lnTo>
                <a:lnTo>
                  <a:pt x="1416" y="1182"/>
                </a:lnTo>
                <a:lnTo>
                  <a:pt x="1410" y="1188"/>
                </a:lnTo>
                <a:lnTo>
                  <a:pt x="1404" y="1194"/>
                </a:lnTo>
                <a:lnTo>
                  <a:pt x="1404" y="1200"/>
                </a:lnTo>
                <a:lnTo>
                  <a:pt x="1404" y="1206"/>
                </a:lnTo>
                <a:lnTo>
                  <a:pt x="1398" y="1212"/>
                </a:lnTo>
                <a:lnTo>
                  <a:pt x="1398" y="1206"/>
                </a:lnTo>
                <a:lnTo>
                  <a:pt x="1392" y="1206"/>
                </a:lnTo>
                <a:lnTo>
                  <a:pt x="1386" y="1206"/>
                </a:lnTo>
                <a:lnTo>
                  <a:pt x="1380" y="1212"/>
                </a:lnTo>
                <a:lnTo>
                  <a:pt x="1374" y="1212"/>
                </a:lnTo>
                <a:lnTo>
                  <a:pt x="1368" y="1218"/>
                </a:lnTo>
                <a:lnTo>
                  <a:pt x="1362" y="1218"/>
                </a:lnTo>
                <a:lnTo>
                  <a:pt x="1362" y="1224"/>
                </a:lnTo>
                <a:lnTo>
                  <a:pt x="1356" y="1230"/>
                </a:lnTo>
                <a:lnTo>
                  <a:pt x="1350" y="1230"/>
                </a:lnTo>
                <a:lnTo>
                  <a:pt x="1344" y="1236"/>
                </a:lnTo>
                <a:lnTo>
                  <a:pt x="1338" y="1230"/>
                </a:lnTo>
                <a:lnTo>
                  <a:pt x="1332" y="1230"/>
                </a:lnTo>
                <a:lnTo>
                  <a:pt x="1326" y="1230"/>
                </a:lnTo>
                <a:lnTo>
                  <a:pt x="1320" y="1230"/>
                </a:lnTo>
                <a:lnTo>
                  <a:pt x="1314" y="1230"/>
                </a:lnTo>
                <a:lnTo>
                  <a:pt x="1296" y="1242"/>
                </a:lnTo>
                <a:lnTo>
                  <a:pt x="1296" y="1248"/>
                </a:lnTo>
                <a:lnTo>
                  <a:pt x="1290" y="1248"/>
                </a:lnTo>
                <a:lnTo>
                  <a:pt x="1290" y="1260"/>
                </a:lnTo>
                <a:lnTo>
                  <a:pt x="1278" y="1272"/>
                </a:lnTo>
                <a:lnTo>
                  <a:pt x="1278" y="1278"/>
                </a:lnTo>
                <a:lnTo>
                  <a:pt x="1278" y="1284"/>
                </a:lnTo>
                <a:lnTo>
                  <a:pt x="1278" y="1290"/>
                </a:lnTo>
                <a:lnTo>
                  <a:pt x="1284" y="1296"/>
                </a:lnTo>
                <a:lnTo>
                  <a:pt x="1302" y="1302"/>
                </a:lnTo>
                <a:lnTo>
                  <a:pt x="1308" y="1308"/>
                </a:lnTo>
                <a:lnTo>
                  <a:pt x="1308" y="1314"/>
                </a:lnTo>
                <a:lnTo>
                  <a:pt x="1302" y="1320"/>
                </a:lnTo>
                <a:lnTo>
                  <a:pt x="1278" y="1314"/>
                </a:lnTo>
                <a:lnTo>
                  <a:pt x="1266" y="1308"/>
                </a:lnTo>
                <a:lnTo>
                  <a:pt x="1260" y="1296"/>
                </a:lnTo>
                <a:lnTo>
                  <a:pt x="1236" y="1296"/>
                </a:lnTo>
                <a:lnTo>
                  <a:pt x="1224" y="1308"/>
                </a:lnTo>
                <a:lnTo>
                  <a:pt x="1218" y="1308"/>
                </a:lnTo>
                <a:lnTo>
                  <a:pt x="1218" y="1302"/>
                </a:lnTo>
                <a:lnTo>
                  <a:pt x="1212" y="1302"/>
                </a:lnTo>
                <a:lnTo>
                  <a:pt x="1206" y="1302"/>
                </a:lnTo>
                <a:lnTo>
                  <a:pt x="1170" y="1314"/>
                </a:lnTo>
                <a:lnTo>
                  <a:pt x="1134" y="1296"/>
                </a:lnTo>
                <a:lnTo>
                  <a:pt x="1122" y="1290"/>
                </a:lnTo>
                <a:lnTo>
                  <a:pt x="1104" y="1290"/>
                </a:lnTo>
                <a:lnTo>
                  <a:pt x="1098" y="1278"/>
                </a:lnTo>
                <a:lnTo>
                  <a:pt x="1092" y="1242"/>
                </a:lnTo>
                <a:lnTo>
                  <a:pt x="1086" y="1242"/>
                </a:lnTo>
                <a:lnTo>
                  <a:pt x="1086" y="1248"/>
                </a:lnTo>
                <a:lnTo>
                  <a:pt x="1086" y="1254"/>
                </a:lnTo>
                <a:lnTo>
                  <a:pt x="1080" y="1254"/>
                </a:lnTo>
                <a:lnTo>
                  <a:pt x="1080" y="1260"/>
                </a:lnTo>
                <a:lnTo>
                  <a:pt x="1074" y="1260"/>
                </a:lnTo>
                <a:lnTo>
                  <a:pt x="1068" y="1236"/>
                </a:lnTo>
                <a:lnTo>
                  <a:pt x="1068" y="1206"/>
                </a:lnTo>
                <a:lnTo>
                  <a:pt x="1080" y="1194"/>
                </a:lnTo>
                <a:lnTo>
                  <a:pt x="1086" y="1194"/>
                </a:lnTo>
                <a:lnTo>
                  <a:pt x="1092" y="1200"/>
                </a:lnTo>
                <a:lnTo>
                  <a:pt x="1098" y="1206"/>
                </a:lnTo>
                <a:lnTo>
                  <a:pt x="1104" y="1200"/>
                </a:lnTo>
                <a:lnTo>
                  <a:pt x="1104" y="1194"/>
                </a:lnTo>
                <a:lnTo>
                  <a:pt x="1110" y="1194"/>
                </a:lnTo>
                <a:lnTo>
                  <a:pt x="1110" y="1188"/>
                </a:lnTo>
                <a:lnTo>
                  <a:pt x="1116" y="1182"/>
                </a:lnTo>
                <a:lnTo>
                  <a:pt x="1110" y="1182"/>
                </a:lnTo>
                <a:lnTo>
                  <a:pt x="1110" y="1170"/>
                </a:lnTo>
                <a:lnTo>
                  <a:pt x="1110" y="1158"/>
                </a:lnTo>
                <a:lnTo>
                  <a:pt x="1110" y="1152"/>
                </a:lnTo>
                <a:lnTo>
                  <a:pt x="1104" y="1146"/>
                </a:lnTo>
                <a:lnTo>
                  <a:pt x="1098" y="1140"/>
                </a:lnTo>
                <a:lnTo>
                  <a:pt x="1098" y="1134"/>
                </a:lnTo>
                <a:lnTo>
                  <a:pt x="1098" y="1128"/>
                </a:lnTo>
                <a:lnTo>
                  <a:pt x="1092" y="1128"/>
                </a:lnTo>
                <a:lnTo>
                  <a:pt x="1092" y="1122"/>
                </a:lnTo>
                <a:lnTo>
                  <a:pt x="1092" y="1116"/>
                </a:lnTo>
                <a:lnTo>
                  <a:pt x="1092" y="1110"/>
                </a:lnTo>
                <a:lnTo>
                  <a:pt x="1056" y="1122"/>
                </a:lnTo>
                <a:lnTo>
                  <a:pt x="1038" y="1128"/>
                </a:lnTo>
                <a:lnTo>
                  <a:pt x="1032" y="1128"/>
                </a:lnTo>
                <a:lnTo>
                  <a:pt x="1026" y="1128"/>
                </a:lnTo>
                <a:lnTo>
                  <a:pt x="1020" y="1128"/>
                </a:lnTo>
                <a:lnTo>
                  <a:pt x="1014" y="1128"/>
                </a:lnTo>
                <a:lnTo>
                  <a:pt x="1014" y="1122"/>
                </a:lnTo>
                <a:lnTo>
                  <a:pt x="1008" y="1122"/>
                </a:lnTo>
                <a:lnTo>
                  <a:pt x="1002" y="1128"/>
                </a:lnTo>
                <a:lnTo>
                  <a:pt x="1002" y="1134"/>
                </a:lnTo>
                <a:lnTo>
                  <a:pt x="990" y="1134"/>
                </a:lnTo>
                <a:lnTo>
                  <a:pt x="990" y="1140"/>
                </a:lnTo>
                <a:lnTo>
                  <a:pt x="984" y="1140"/>
                </a:lnTo>
                <a:lnTo>
                  <a:pt x="978" y="1146"/>
                </a:lnTo>
                <a:lnTo>
                  <a:pt x="972" y="1140"/>
                </a:lnTo>
                <a:lnTo>
                  <a:pt x="966" y="1140"/>
                </a:lnTo>
                <a:lnTo>
                  <a:pt x="954" y="1140"/>
                </a:lnTo>
                <a:lnTo>
                  <a:pt x="954" y="1134"/>
                </a:lnTo>
                <a:lnTo>
                  <a:pt x="948" y="1134"/>
                </a:lnTo>
                <a:lnTo>
                  <a:pt x="942" y="1134"/>
                </a:lnTo>
                <a:lnTo>
                  <a:pt x="936" y="1134"/>
                </a:lnTo>
                <a:lnTo>
                  <a:pt x="930" y="1134"/>
                </a:lnTo>
                <a:lnTo>
                  <a:pt x="924" y="1134"/>
                </a:lnTo>
                <a:lnTo>
                  <a:pt x="918" y="1134"/>
                </a:lnTo>
                <a:lnTo>
                  <a:pt x="918" y="1128"/>
                </a:lnTo>
                <a:lnTo>
                  <a:pt x="918" y="1104"/>
                </a:lnTo>
                <a:lnTo>
                  <a:pt x="906" y="1104"/>
                </a:lnTo>
                <a:lnTo>
                  <a:pt x="900" y="1098"/>
                </a:lnTo>
                <a:lnTo>
                  <a:pt x="900" y="1092"/>
                </a:lnTo>
                <a:lnTo>
                  <a:pt x="900" y="1086"/>
                </a:lnTo>
                <a:lnTo>
                  <a:pt x="900" y="1080"/>
                </a:lnTo>
                <a:lnTo>
                  <a:pt x="894" y="1080"/>
                </a:lnTo>
                <a:lnTo>
                  <a:pt x="858" y="1074"/>
                </a:lnTo>
                <a:lnTo>
                  <a:pt x="852" y="1080"/>
                </a:lnTo>
                <a:lnTo>
                  <a:pt x="846" y="1086"/>
                </a:lnTo>
                <a:lnTo>
                  <a:pt x="840" y="1086"/>
                </a:lnTo>
                <a:lnTo>
                  <a:pt x="840" y="1092"/>
                </a:lnTo>
                <a:lnTo>
                  <a:pt x="834" y="1092"/>
                </a:lnTo>
                <a:lnTo>
                  <a:pt x="828" y="1098"/>
                </a:lnTo>
                <a:lnTo>
                  <a:pt x="822" y="1098"/>
                </a:lnTo>
                <a:lnTo>
                  <a:pt x="762" y="1074"/>
                </a:lnTo>
                <a:lnTo>
                  <a:pt x="756" y="1068"/>
                </a:lnTo>
                <a:lnTo>
                  <a:pt x="750" y="1068"/>
                </a:lnTo>
                <a:lnTo>
                  <a:pt x="744" y="1062"/>
                </a:lnTo>
                <a:lnTo>
                  <a:pt x="744" y="1068"/>
                </a:lnTo>
                <a:lnTo>
                  <a:pt x="744" y="1074"/>
                </a:lnTo>
                <a:lnTo>
                  <a:pt x="738" y="1074"/>
                </a:lnTo>
                <a:lnTo>
                  <a:pt x="738" y="1068"/>
                </a:lnTo>
                <a:lnTo>
                  <a:pt x="732" y="1068"/>
                </a:lnTo>
                <a:lnTo>
                  <a:pt x="726" y="1068"/>
                </a:lnTo>
                <a:lnTo>
                  <a:pt x="726" y="1074"/>
                </a:lnTo>
                <a:lnTo>
                  <a:pt x="720" y="1074"/>
                </a:lnTo>
                <a:lnTo>
                  <a:pt x="684" y="1068"/>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20524" name="Freeform 41"/>
          <p:cNvSpPr>
            <a:spLocks/>
          </p:cNvSpPr>
          <p:nvPr/>
        </p:nvSpPr>
        <p:spPr bwMode="gray">
          <a:xfrm>
            <a:off x="5875338" y="1592263"/>
            <a:ext cx="1558925" cy="1901825"/>
          </a:xfrm>
          <a:custGeom>
            <a:avLst/>
            <a:gdLst>
              <a:gd name="T0" fmla="*/ 76659 w 1992"/>
              <a:gd name="T1" fmla="*/ 130613 h 2358"/>
              <a:gd name="T2" fmla="*/ 72748 w 1992"/>
              <a:gd name="T3" fmla="*/ 138676 h 2358"/>
              <a:gd name="T4" fmla="*/ 64143 w 1992"/>
              <a:gd name="T5" fmla="*/ 144320 h 2358"/>
              <a:gd name="T6" fmla="*/ 54756 w 1992"/>
              <a:gd name="T7" fmla="*/ 140289 h 2358"/>
              <a:gd name="T8" fmla="*/ 48498 w 1992"/>
              <a:gd name="T9" fmla="*/ 146739 h 2358"/>
              <a:gd name="T10" fmla="*/ 35200 w 1992"/>
              <a:gd name="T11" fmla="*/ 152382 h 2358"/>
              <a:gd name="T12" fmla="*/ 18774 w 1992"/>
              <a:gd name="T13" fmla="*/ 165282 h 2358"/>
              <a:gd name="T14" fmla="*/ 13298 w 1992"/>
              <a:gd name="T15" fmla="*/ 164476 h 2358"/>
              <a:gd name="T16" fmla="*/ 5476 w 1992"/>
              <a:gd name="T17" fmla="*/ 158832 h 2358"/>
              <a:gd name="T18" fmla="*/ 782 w 1992"/>
              <a:gd name="T19" fmla="*/ 153995 h 2358"/>
              <a:gd name="T20" fmla="*/ 3129 w 1992"/>
              <a:gd name="T21" fmla="*/ 141095 h 2358"/>
              <a:gd name="T22" fmla="*/ 5476 w 1992"/>
              <a:gd name="T23" fmla="*/ 138676 h 2358"/>
              <a:gd name="T24" fmla="*/ 8605 w 1992"/>
              <a:gd name="T25" fmla="*/ 135451 h 2358"/>
              <a:gd name="T26" fmla="*/ 3911 w 1992"/>
              <a:gd name="T27" fmla="*/ 128195 h 2358"/>
              <a:gd name="T28" fmla="*/ 7822 w 1992"/>
              <a:gd name="T29" fmla="*/ 125776 h 2358"/>
              <a:gd name="T30" fmla="*/ 11733 w 1992"/>
              <a:gd name="T31" fmla="*/ 124970 h 2358"/>
              <a:gd name="T32" fmla="*/ 18774 w 1992"/>
              <a:gd name="T33" fmla="*/ 120132 h 2358"/>
              <a:gd name="T34" fmla="*/ 29725 w 1992"/>
              <a:gd name="T35" fmla="*/ 102395 h 2358"/>
              <a:gd name="T36" fmla="*/ 29725 w 1992"/>
              <a:gd name="T37" fmla="*/ 86269 h 2358"/>
              <a:gd name="T38" fmla="*/ 35200 w 1992"/>
              <a:gd name="T39" fmla="*/ 53213 h 2358"/>
              <a:gd name="T40" fmla="*/ 36765 w 1992"/>
              <a:gd name="T41" fmla="*/ 29025 h 2358"/>
              <a:gd name="T42" fmla="*/ 39894 w 1992"/>
              <a:gd name="T43" fmla="*/ 28219 h 2358"/>
              <a:gd name="T44" fmla="*/ 43023 w 1992"/>
              <a:gd name="T45" fmla="*/ 24188 h 2358"/>
              <a:gd name="T46" fmla="*/ 43805 w 1992"/>
              <a:gd name="T47" fmla="*/ 21769 h 2358"/>
              <a:gd name="T48" fmla="*/ 46934 w 1992"/>
              <a:gd name="T49" fmla="*/ 18544 h 2358"/>
              <a:gd name="T50" fmla="*/ 49281 w 1992"/>
              <a:gd name="T51" fmla="*/ 18544 h 2358"/>
              <a:gd name="T52" fmla="*/ 54756 w 1992"/>
              <a:gd name="T53" fmla="*/ 14513 h 2358"/>
              <a:gd name="T54" fmla="*/ 55539 w 1992"/>
              <a:gd name="T55" fmla="*/ 12094 h 2358"/>
              <a:gd name="T56" fmla="*/ 56321 w 1992"/>
              <a:gd name="T57" fmla="*/ 10481 h 2358"/>
              <a:gd name="T58" fmla="*/ 60232 w 1992"/>
              <a:gd name="T59" fmla="*/ 9675 h 2358"/>
              <a:gd name="T60" fmla="*/ 64925 w 1992"/>
              <a:gd name="T61" fmla="*/ 8063 h 2358"/>
              <a:gd name="T62" fmla="*/ 68054 w 1992"/>
              <a:gd name="T63" fmla="*/ 8063 h 2358"/>
              <a:gd name="T64" fmla="*/ 69619 w 1992"/>
              <a:gd name="T65" fmla="*/ 8063 h 2358"/>
              <a:gd name="T66" fmla="*/ 72748 w 1992"/>
              <a:gd name="T67" fmla="*/ 6450 h 2358"/>
              <a:gd name="T68" fmla="*/ 74312 w 1992"/>
              <a:gd name="T69" fmla="*/ 3225 h 2358"/>
              <a:gd name="T70" fmla="*/ 77441 w 1992"/>
              <a:gd name="T71" fmla="*/ 0 h 2358"/>
              <a:gd name="T72" fmla="*/ 86828 w 1992"/>
              <a:gd name="T73" fmla="*/ 0 h 2358"/>
              <a:gd name="T74" fmla="*/ 94650 w 1992"/>
              <a:gd name="T75" fmla="*/ 7256 h 2358"/>
              <a:gd name="T76" fmla="*/ 100126 w 1992"/>
              <a:gd name="T77" fmla="*/ 15319 h 2358"/>
              <a:gd name="T78" fmla="*/ 107948 w 1992"/>
              <a:gd name="T79" fmla="*/ 26606 h 2358"/>
              <a:gd name="T80" fmla="*/ 111077 w 1992"/>
              <a:gd name="T81" fmla="*/ 37894 h 2358"/>
              <a:gd name="T82" fmla="*/ 113424 w 1992"/>
              <a:gd name="T83" fmla="*/ 49988 h 2358"/>
              <a:gd name="T84" fmla="*/ 113424 w 1992"/>
              <a:gd name="T85" fmla="*/ 56438 h 2358"/>
              <a:gd name="T86" fmla="*/ 114988 w 1992"/>
              <a:gd name="T87" fmla="*/ 60469 h 2358"/>
              <a:gd name="T88" fmla="*/ 119682 w 1992"/>
              <a:gd name="T89" fmla="*/ 60469 h 2358"/>
              <a:gd name="T90" fmla="*/ 125157 w 1992"/>
              <a:gd name="T91" fmla="*/ 61275 h 2358"/>
              <a:gd name="T92" fmla="*/ 128286 w 1992"/>
              <a:gd name="T93" fmla="*/ 63694 h 2358"/>
              <a:gd name="T94" fmla="*/ 131415 w 1992"/>
              <a:gd name="T95" fmla="*/ 66919 h 2358"/>
              <a:gd name="T96" fmla="*/ 134544 w 1992"/>
              <a:gd name="T97" fmla="*/ 69338 h 2358"/>
              <a:gd name="T98" fmla="*/ 132980 w 1992"/>
              <a:gd name="T99" fmla="*/ 74982 h 2358"/>
              <a:gd name="T100" fmla="*/ 132980 w 1992"/>
              <a:gd name="T101" fmla="*/ 79819 h 2358"/>
              <a:gd name="T102" fmla="*/ 132197 w 1992"/>
              <a:gd name="T103" fmla="*/ 85463 h 2358"/>
              <a:gd name="T104" fmla="*/ 129851 w 1992"/>
              <a:gd name="T105" fmla="*/ 91107 h 2358"/>
              <a:gd name="T106" fmla="*/ 132980 w 1992"/>
              <a:gd name="T107" fmla="*/ 98363 h 2358"/>
              <a:gd name="T108" fmla="*/ 124375 w 1992"/>
              <a:gd name="T109" fmla="*/ 103201 h 2358"/>
              <a:gd name="T110" fmla="*/ 115770 w 1992"/>
              <a:gd name="T111" fmla="*/ 108038 h 2358"/>
              <a:gd name="T112" fmla="*/ 108730 w 1992"/>
              <a:gd name="T113" fmla="*/ 109651 h 2358"/>
              <a:gd name="T114" fmla="*/ 103255 w 1992"/>
              <a:gd name="T115" fmla="*/ 111263 h 2358"/>
              <a:gd name="T116" fmla="*/ 100126 w 1992"/>
              <a:gd name="T117" fmla="*/ 116907 h 2358"/>
              <a:gd name="T118" fmla="*/ 96997 w 1992"/>
              <a:gd name="T119" fmla="*/ 120938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92"/>
              <a:gd name="T181" fmla="*/ 0 h 2358"/>
              <a:gd name="T182" fmla="*/ 1992 w 1992"/>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92" h="2358">
                <a:moveTo>
                  <a:pt x="1356" y="1782"/>
                </a:moveTo>
                <a:lnTo>
                  <a:pt x="1350" y="1788"/>
                </a:lnTo>
                <a:lnTo>
                  <a:pt x="1266" y="1788"/>
                </a:lnTo>
                <a:lnTo>
                  <a:pt x="1260" y="1800"/>
                </a:lnTo>
                <a:lnTo>
                  <a:pt x="1242" y="1806"/>
                </a:lnTo>
                <a:lnTo>
                  <a:pt x="1218" y="1812"/>
                </a:lnTo>
                <a:lnTo>
                  <a:pt x="1182" y="1812"/>
                </a:lnTo>
                <a:lnTo>
                  <a:pt x="1158" y="1806"/>
                </a:lnTo>
                <a:lnTo>
                  <a:pt x="1134" y="1800"/>
                </a:lnTo>
                <a:lnTo>
                  <a:pt x="1134" y="1806"/>
                </a:lnTo>
                <a:lnTo>
                  <a:pt x="1134" y="1830"/>
                </a:lnTo>
                <a:lnTo>
                  <a:pt x="1128" y="1842"/>
                </a:lnTo>
                <a:lnTo>
                  <a:pt x="1128" y="1854"/>
                </a:lnTo>
                <a:lnTo>
                  <a:pt x="1128" y="1860"/>
                </a:lnTo>
                <a:lnTo>
                  <a:pt x="1128" y="1866"/>
                </a:lnTo>
                <a:lnTo>
                  <a:pt x="1128" y="1872"/>
                </a:lnTo>
                <a:lnTo>
                  <a:pt x="1128" y="1884"/>
                </a:lnTo>
                <a:lnTo>
                  <a:pt x="1128" y="1890"/>
                </a:lnTo>
                <a:lnTo>
                  <a:pt x="1128" y="1896"/>
                </a:lnTo>
                <a:lnTo>
                  <a:pt x="1122" y="1902"/>
                </a:lnTo>
                <a:lnTo>
                  <a:pt x="1122" y="1920"/>
                </a:lnTo>
                <a:lnTo>
                  <a:pt x="1116" y="1920"/>
                </a:lnTo>
                <a:lnTo>
                  <a:pt x="1110" y="1926"/>
                </a:lnTo>
                <a:lnTo>
                  <a:pt x="1110" y="1932"/>
                </a:lnTo>
                <a:lnTo>
                  <a:pt x="1104" y="1938"/>
                </a:lnTo>
                <a:lnTo>
                  <a:pt x="1086" y="1962"/>
                </a:lnTo>
                <a:lnTo>
                  <a:pt x="1074" y="1974"/>
                </a:lnTo>
                <a:lnTo>
                  <a:pt x="1074" y="1980"/>
                </a:lnTo>
                <a:lnTo>
                  <a:pt x="1068" y="1986"/>
                </a:lnTo>
                <a:lnTo>
                  <a:pt x="1062" y="1998"/>
                </a:lnTo>
                <a:lnTo>
                  <a:pt x="1062" y="2004"/>
                </a:lnTo>
                <a:lnTo>
                  <a:pt x="1068" y="2004"/>
                </a:lnTo>
                <a:lnTo>
                  <a:pt x="1056" y="2034"/>
                </a:lnTo>
                <a:lnTo>
                  <a:pt x="1050" y="2076"/>
                </a:lnTo>
                <a:lnTo>
                  <a:pt x="1056" y="2100"/>
                </a:lnTo>
                <a:lnTo>
                  <a:pt x="1038" y="2106"/>
                </a:lnTo>
                <a:lnTo>
                  <a:pt x="1002" y="2106"/>
                </a:lnTo>
                <a:lnTo>
                  <a:pt x="978" y="2094"/>
                </a:lnTo>
                <a:lnTo>
                  <a:pt x="972" y="2082"/>
                </a:lnTo>
                <a:lnTo>
                  <a:pt x="966" y="2070"/>
                </a:lnTo>
                <a:lnTo>
                  <a:pt x="954" y="2064"/>
                </a:lnTo>
                <a:lnTo>
                  <a:pt x="942" y="2058"/>
                </a:lnTo>
                <a:lnTo>
                  <a:pt x="936" y="2058"/>
                </a:lnTo>
                <a:lnTo>
                  <a:pt x="918" y="2046"/>
                </a:lnTo>
                <a:lnTo>
                  <a:pt x="906" y="2028"/>
                </a:lnTo>
                <a:lnTo>
                  <a:pt x="900" y="2022"/>
                </a:lnTo>
                <a:lnTo>
                  <a:pt x="894" y="2022"/>
                </a:lnTo>
                <a:lnTo>
                  <a:pt x="882" y="2022"/>
                </a:lnTo>
                <a:lnTo>
                  <a:pt x="870" y="2016"/>
                </a:lnTo>
                <a:lnTo>
                  <a:pt x="864" y="2016"/>
                </a:lnTo>
                <a:lnTo>
                  <a:pt x="852" y="2010"/>
                </a:lnTo>
                <a:lnTo>
                  <a:pt x="846" y="2004"/>
                </a:lnTo>
                <a:lnTo>
                  <a:pt x="840" y="2004"/>
                </a:lnTo>
                <a:lnTo>
                  <a:pt x="828" y="1998"/>
                </a:lnTo>
                <a:lnTo>
                  <a:pt x="816" y="1998"/>
                </a:lnTo>
                <a:lnTo>
                  <a:pt x="810" y="1998"/>
                </a:lnTo>
                <a:lnTo>
                  <a:pt x="804" y="1998"/>
                </a:lnTo>
                <a:lnTo>
                  <a:pt x="798" y="1998"/>
                </a:lnTo>
                <a:lnTo>
                  <a:pt x="792" y="2004"/>
                </a:lnTo>
                <a:lnTo>
                  <a:pt x="786" y="2010"/>
                </a:lnTo>
                <a:lnTo>
                  <a:pt x="762" y="2010"/>
                </a:lnTo>
                <a:lnTo>
                  <a:pt x="756" y="2010"/>
                </a:lnTo>
                <a:lnTo>
                  <a:pt x="744" y="2022"/>
                </a:lnTo>
                <a:lnTo>
                  <a:pt x="738" y="2034"/>
                </a:lnTo>
                <a:lnTo>
                  <a:pt x="732" y="2040"/>
                </a:lnTo>
                <a:lnTo>
                  <a:pt x="732" y="2046"/>
                </a:lnTo>
                <a:lnTo>
                  <a:pt x="726" y="2058"/>
                </a:lnTo>
                <a:lnTo>
                  <a:pt x="720" y="2064"/>
                </a:lnTo>
                <a:lnTo>
                  <a:pt x="714" y="2070"/>
                </a:lnTo>
                <a:lnTo>
                  <a:pt x="708" y="2088"/>
                </a:lnTo>
                <a:lnTo>
                  <a:pt x="702" y="2100"/>
                </a:lnTo>
                <a:lnTo>
                  <a:pt x="690" y="2100"/>
                </a:lnTo>
                <a:lnTo>
                  <a:pt x="684" y="2094"/>
                </a:lnTo>
                <a:lnTo>
                  <a:pt x="666" y="2100"/>
                </a:lnTo>
                <a:lnTo>
                  <a:pt x="636" y="2106"/>
                </a:lnTo>
                <a:lnTo>
                  <a:pt x="636" y="2112"/>
                </a:lnTo>
                <a:lnTo>
                  <a:pt x="636" y="2118"/>
                </a:lnTo>
                <a:lnTo>
                  <a:pt x="636" y="2124"/>
                </a:lnTo>
                <a:lnTo>
                  <a:pt x="630" y="2124"/>
                </a:lnTo>
                <a:lnTo>
                  <a:pt x="630" y="2148"/>
                </a:lnTo>
                <a:lnTo>
                  <a:pt x="612" y="2160"/>
                </a:lnTo>
                <a:lnTo>
                  <a:pt x="576" y="2172"/>
                </a:lnTo>
                <a:lnTo>
                  <a:pt x="546" y="2172"/>
                </a:lnTo>
                <a:lnTo>
                  <a:pt x="516" y="2172"/>
                </a:lnTo>
                <a:lnTo>
                  <a:pt x="486" y="2172"/>
                </a:lnTo>
                <a:lnTo>
                  <a:pt x="462" y="2172"/>
                </a:lnTo>
                <a:lnTo>
                  <a:pt x="444" y="2196"/>
                </a:lnTo>
                <a:lnTo>
                  <a:pt x="432" y="2232"/>
                </a:lnTo>
                <a:lnTo>
                  <a:pt x="408" y="2238"/>
                </a:lnTo>
                <a:lnTo>
                  <a:pt x="390" y="2256"/>
                </a:lnTo>
                <a:lnTo>
                  <a:pt x="372" y="2274"/>
                </a:lnTo>
                <a:lnTo>
                  <a:pt x="360" y="2274"/>
                </a:lnTo>
                <a:lnTo>
                  <a:pt x="336" y="2328"/>
                </a:lnTo>
                <a:lnTo>
                  <a:pt x="324" y="2340"/>
                </a:lnTo>
                <a:lnTo>
                  <a:pt x="300" y="2346"/>
                </a:lnTo>
                <a:lnTo>
                  <a:pt x="294" y="2352"/>
                </a:lnTo>
                <a:lnTo>
                  <a:pt x="288" y="2352"/>
                </a:lnTo>
                <a:lnTo>
                  <a:pt x="282" y="2352"/>
                </a:lnTo>
                <a:lnTo>
                  <a:pt x="276" y="2352"/>
                </a:lnTo>
                <a:lnTo>
                  <a:pt x="270" y="2352"/>
                </a:lnTo>
                <a:lnTo>
                  <a:pt x="270" y="2346"/>
                </a:lnTo>
                <a:lnTo>
                  <a:pt x="264" y="2346"/>
                </a:lnTo>
                <a:lnTo>
                  <a:pt x="258" y="2352"/>
                </a:lnTo>
                <a:lnTo>
                  <a:pt x="252" y="2352"/>
                </a:lnTo>
                <a:lnTo>
                  <a:pt x="240" y="2352"/>
                </a:lnTo>
                <a:lnTo>
                  <a:pt x="228" y="2352"/>
                </a:lnTo>
                <a:lnTo>
                  <a:pt x="222" y="2352"/>
                </a:lnTo>
                <a:lnTo>
                  <a:pt x="216" y="2358"/>
                </a:lnTo>
                <a:lnTo>
                  <a:pt x="216" y="2352"/>
                </a:lnTo>
                <a:lnTo>
                  <a:pt x="210" y="2346"/>
                </a:lnTo>
                <a:lnTo>
                  <a:pt x="204" y="2346"/>
                </a:lnTo>
                <a:lnTo>
                  <a:pt x="198" y="2340"/>
                </a:lnTo>
                <a:lnTo>
                  <a:pt x="192" y="2340"/>
                </a:lnTo>
                <a:lnTo>
                  <a:pt x="186" y="2340"/>
                </a:lnTo>
                <a:lnTo>
                  <a:pt x="180" y="2340"/>
                </a:lnTo>
                <a:lnTo>
                  <a:pt x="174" y="2340"/>
                </a:lnTo>
                <a:lnTo>
                  <a:pt x="162" y="2328"/>
                </a:lnTo>
                <a:lnTo>
                  <a:pt x="156" y="2322"/>
                </a:lnTo>
                <a:lnTo>
                  <a:pt x="156" y="2316"/>
                </a:lnTo>
                <a:lnTo>
                  <a:pt x="156" y="2310"/>
                </a:lnTo>
                <a:lnTo>
                  <a:pt x="132" y="2286"/>
                </a:lnTo>
                <a:lnTo>
                  <a:pt x="120" y="2280"/>
                </a:lnTo>
                <a:lnTo>
                  <a:pt x="96" y="2274"/>
                </a:lnTo>
                <a:lnTo>
                  <a:pt x="84" y="2268"/>
                </a:lnTo>
                <a:lnTo>
                  <a:pt x="78" y="2268"/>
                </a:lnTo>
                <a:lnTo>
                  <a:pt x="78" y="2262"/>
                </a:lnTo>
                <a:lnTo>
                  <a:pt x="78" y="2256"/>
                </a:lnTo>
                <a:lnTo>
                  <a:pt x="78" y="2250"/>
                </a:lnTo>
                <a:lnTo>
                  <a:pt x="72" y="2250"/>
                </a:lnTo>
                <a:lnTo>
                  <a:pt x="66" y="2250"/>
                </a:lnTo>
                <a:lnTo>
                  <a:pt x="60" y="2250"/>
                </a:lnTo>
                <a:lnTo>
                  <a:pt x="48" y="2244"/>
                </a:lnTo>
                <a:lnTo>
                  <a:pt x="36" y="2238"/>
                </a:lnTo>
                <a:lnTo>
                  <a:pt x="36" y="2226"/>
                </a:lnTo>
                <a:lnTo>
                  <a:pt x="30" y="2226"/>
                </a:lnTo>
                <a:lnTo>
                  <a:pt x="30" y="2220"/>
                </a:lnTo>
                <a:lnTo>
                  <a:pt x="24" y="2208"/>
                </a:lnTo>
                <a:lnTo>
                  <a:pt x="18" y="2202"/>
                </a:lnTo>
                <a:lnTo>
                  <a:pt x="18" y="2196"/>
                </a:lnTo>
                <a:lnTo>
                  <a:pt x="12" y="2190"/>
                </a:lnTo>
                <a:lnTo>
                  <a:pt x="0" y="2190"/>
                </a:lnTo>
                <a:lnTo>
                  <a:pt x="6" y="2184"/>
                </a:lnTo>
                <a:lnTo>
                  <a:pt x="12" y="2178"/>
                </a:lnTo>
                <a:lnTo>
                  <a:pt x="18" y="2172"/>
                </a:lnTo>
                <a:lnTo>
                  <a:pt x="24" y="2166"/>
                </a:lnTo>
                <a:lnTo>
                  <a:pt x="30" y="2166"/>
                </a:lnTo>
                <a:lnTo>
                  <a:pt x="24" y="2160"/>
                </a:lnTo>
                <a:lnTo>
                  <a:pt x="30" y="2160"/>
                </a:lnTo>
                <a:lnTo>
                  <a:pt x="36" y="2154"/>
                </a:lnTo>
                <a:lnTo>
                  <a:pt x="36" y="2136"/>
                </a:lnTo>
                <a:lnTo>
                  <a:pt x="36" y="2118"/>
                </a:lnTo>
                <a:lnTo>
                  <a:pt x="48" y="2058"/>
                </a:lnTo>
                <a:lnTo>
                  <a:pt x="48" y="2022"/>
                </a:lnTo>
                <a:lnTo>
                  <a:pt x="48" y="2016"/>
                </a:lnTo>
                <a:lnTo>
                  <a:pt x="48" y="2010"/>
                </a:lnTo>
                <a:lnTo>
                  <a:pt x="48" y="2004"/>
                </a:lnTo>
                <a:lnTo>
                  <a:pt x="42" y="2004"/>
                </a:lnTo>
                <a:lnTo>
                  <a:pt x="42" y="1998"/>
                </a:lnTo>
                <a:lnTo>
                  <a:pt x="36" y="1992"/>
                </a:lnTo>
                <a:lnTo>
                  <a:pt x="42" y="1992"/>
                </a:lnTo>
                <a:lnTo>
                  <a:pt x="42" y="1986"/>
                </a:lnTo>
                <a:lnTo>
                  <a:pt x="48" y="1986"/>
                </a:lnTo>
                <a:lnTo>
                  <a:pt x="54" y="1986"/>
                </a:lnTo>
                <a:lnTo>
                  <a:pt x="60" y="1986"/>
                </a:lnTo>
                <a:lnTo>
                  <a:pt x="66" y="1980"/>
                </a:lnTo>
                <a:lnTo>
                  <a:pt x="72" y="1974"/>
                </a:lnTo>
                <a:lnTo>
                  <a:pt x="78" y="1974"/>
                </a:lnTo>
                <a:lnTo>
                  <a:pt x="84" y="1974"/>
                </a:lnTo>
                <a:lnTo>
                  <a:pt x="90" y="1974"/>
                </a:lnTo>
                <a:lnTo>
                  <a:pt x="96" y="1974"/>
                </a:lnTo>
                <a:lnTo>
                  <a:pt x="96" y="1968"/>
                </a:lnTo>
                <a:lnTo>
                  <a:pt x="102" y="1968"/>
                </a:lnTo>
                <a:lnTo>
                  <a:pt x="102" y="1962"/>
                </a:lnTo>
                <a:lnTo>
                  <a:pt x="108" y="1962"/>
                </a:lnTo>
                <a:lnTo>
                  <a:pt x="114" y="1956"/>
                </a:lnTo>
                <a:lnTo>
                  <a:pt x="120" y="1956"/>
                </a:lnTo>
                <a:lnTo>
                  <a:pt x="126" y="1950"/>
                </a:lnTo>
                <a:lnTo>
                  <a:pt x="132" y="1950"/>
                </a:lnTo>
                <a:lnTo>
                  <a:pt x="132" y="1944"/>
                </a:lnTo>
                <a:lnTo>
                  <a:pt x="126" y="1944"/>
                </a:lnTo>
                <a:lnTo>
                  <a:pt x="126" y="1938"/>
                </a:lnTo>
                <a:lnTo>
                  <a:pt x="126" y="1932"/>
                </a:lnTo>
                <a:lnTo>
                  <a:pt x="126" y="1926"/>
                </a:lnTo>
                <a:lnTo>
                  <a:pt x="114" y="1914"/>
                </a:lnTo>
                <a:lnTo>
                  <a:pt x="114" y="1896"/>
                </a:lnTo>
                <a:lnTo>
                  <a:pt x="108" y="1884"/>
                </a:lnTo>
                <a:lnTo>
                  <a:pt x="102" y="1872"/>
                </a:lnTo>
                <a:lnTo>
                  <a:pt x="96" y="1866"/>
                </a:lnTo>
                <a:lnTo>
                  <a:pt x="96" y="1860"/>
                </a:lnTo>
                <a:lnTo>
                  <a:pt x="90" y="1860"/>
                </a:lnTo>
                <a:lnTo>
                  <a:pt x="90" y="1854"/>
                </a:lnTo>
                <a:lnTo>
                  <a:pt x="84" y="1848"/>
                </a:lnTo>
                <a:lnTo>
                  <a:pt x="78" y="1842"/>
                </a:lnTo>
                <a:lnTo>
                  <a:pt x="72" y="1836"/>
                </a:lnTo>
                <a:lnTo>
                  <a:pt x="66" y="1830"/>
                </a:lnTo>
                <a:lnTo>
                  <a:pt x="60" y="1824"/>
                </a:lnTo>
                <a:lnTo>
                  <a:pt x="54" y="1824"/>
                </a:lnTo>
                <a:lnTo>
                  <a:pt x="48" y="1824"/>
                </a:lnTo>
                <a:lnTo>
                  <a:pt x="42" y="1818"/>
                </a:lnTo>
                <a:lnTo>
                  <a:pt x="54" y="1818"/>
                </a:lnTo>
                <a:lnTo>
                  <a:pt x="60" y="1812"/>
                </a:lnTo>
                <a:lnTo>
                  <a:pt x="66" y="1812"/>
                </a:lnTo>
                <a:lnTo>
                  <a:pt x="72" y="1812"/>
                </a:lnTo>
                <a:lnTo>
                  <a:pt x="78" y="1812"/>
                </a:lnTo>
                <a:lnTo>
                  <a:pt x="84" y="1812"/>
                </a:lnTo>
                <a:lnTo>
                  <a:pt x="90" y="1806"/>
                </a:lnTo>
                <a:lnTo>
                  <a:pt x="96" y="1800"/>
                </a:lnTo>
                <a:lnTo>
                  <a:pt x="102" y="1806"/>
                </a:lnTo>
                <a:lnTo>
                  <a:pt x="108" y="1800"/>
                </a:lnTo>
                <a:lnTo>
                  <a:pt x="114" y="1794"/>
                </a:lnTo>
                <a:lnTo>
                  <a:pt x="120" y="1794"/>
                </a:lnTo>
                <a:lnTo>
                  <a:pt x="114" y="1794"/>
                </a:lnTo>
                <a:lnTo>
                  <a:pt x="120" y="1794"/>
                </a:lnTo>
                <a:lnTo>
                  <a:pt x="126" y="1788"/>
                </a:lnTo>
                <a:lnTo>
                  <a:pt x="126" y="1794"/>
                </a:lnTo>
                <a:lnTo>
                  <a:pt x="132" y="1794"/>
                </a:lnTo>
                <a:lnTo>
                  <a:pt x="132" y="1788"/>
                </a:lnTo>
                <a:lnTo>
                  <a:pt x="138" y="1788"/>
                </a:lnTo>
                <a:lnTo>
                  <a:pt x="138" y="1782"/>
                </a:lnTo>
                <a:lnTo>
                  <a:pt x="144" y="1782"/>
                </a:lnTo>
                <a:lnTo>
                  <a:pt x="150" y="1776"/>
                </a:lnTo>
                <a:lnTo>
                  <a:pt x="156" y="1782"/>
                </a:lnTo>
                <a:lnTo>
                  <a:pt x="162" y="1776"/>
                </a:lnTo>
                <a:lnTo>
                  <a:pt x="168" y="1776"/>
                </a:lnTo>
                <a:lnTo>
                  <a:pt x="180" y="1776"/>
                </a:lnTo>
                <a:lnTo>
                  <a:pt x="186" y="1776"/>
                </a:lnTo>
                <a:lnTo>
                  <a:pt x="186" y="1782"/>
                </a:lnTo>
                <a:lnTo>
                  <a:pt x="192" y="1776"/>
                </a:lnTo>
                <a:lnTo>
                  <a:pt x="198" y="1776"/>
                </a:lnTo>
                <a:lnTo>
                  <a:pt x="204" y="1770"/>
                </a:lnTo>
                <a:lnTo>
                  <a:pt x="204" y="1764"/>
                </a:lnTo>
                <a:lnTo>
                  <a:pt x="210" y="1764"/>
                </a:lnTo>
                <a:lnTo>
                  <a:pt x="216" y="1764"/>
                </a:lnTo>
                <a:lnTo>
                  <a:pt x="216" y="1758"/>
                </a:lnTo>
                <a:lnTo>
                  <a:pt x="222" y="1758"/>
                </a:lnTo>
                <a:lnTo>
                  <a:pt x="228" y="1758"/>
                </a:lnTo>
                <a:lnTo>
                  <a:pt x="258" y="1746"/>
                </a:lnTo>
                <a:lnTo>
                  <a:pt x="282" y="1716"/>
                </a:lnTo>
                <a:lnTo>
                  <a:pt x="300" y="1698"/>
                </a:lnTo>
                <a:lnTo>
                  <a:pt x="312" y="1698"/>
                </a:lnTo>
                <a:lnTo>
                  <a:pt x="336" y="1698"/>
                </a:lnTo>
                <a:lnTo>
                  <a:pt x="360" y="1698"/>
                </a:lnTo>
                <a:lnTo>
                  <a:pt x="372" y="1692"/>
                </a:lnTo>
                <a:lnTo>
                  <a:pt x="384" y="1692"/>
                </a:lnTo>
                <a:lnTo>
                  <a:pt x="360" y="1668"/>
                </a:lnTo>
                <a:lnTo>
                  <a:pt x="348" y="1626"/>
                </a:lnTo>
                <a:lnTo>
                  <a:pt x="354" y="1578"/>
                </a:lnTo>
                <a:lnTo>
                  <a:pt x="354" y="1572"/>
                </a:lnTo>
                <a:lnTo>
                  <a:pt x="360" y="1572"/>
                </a:lnTo>
                <a:lnTo>
                  <a:pt x="396" y="1530"/>
                </a:lnTo>
                <a:lnTo>
                  <a:pt x="408" y="1482"/>
                </a:lnTo>
                <a:lnTo>
                  <a:pt x="438" y="1458"/>
                </a:lnTo>
                <a:lnTo>
                  <a:pt x="468" y="1422"/>
                </a:lnTo>
                <a:lnTo>
                  <a:pt x="480" y="1410"/>
                </a:lnTo>
                <a:lnTo>
                  <a:pt x="474" y="1386"/>
                </a:lnTo>
                <a:lnTo>
                  <a:pt x="456" y="1356"/>
                </a:lnTo>
                <a:lnTo>
                  <a:pt x="438" y="1350"/>
                </a:lnTo>
                <a:lnTo>
                  <a:pt x="420" y="1350"/>
                </a:lnTo>
                <a:lnTo>
                  <a:pt x="402" y="1350"/>
                </a:lnTo>
                <a:lnTo>
                  <a:pt x="390" y="1344"/>
                </a:lnTo>
                <a:lnTo>
                  <a:pt x="390" y="1332"/>
                </a:lnTo>
                <a:lnTo>
                  <a:pt x="402" y="1296"/>
                </a:lnTo>
                <a:lnTo>
                  <a:pt x="414" y="1260"/>
                </a:lnTo>
                <a:lnTo>
                  <a:pt x="426" y="1248"/>
                </a:lnTo>
                <a:lnTo>
                  <a:pt x="438" y="1242"/>
                </a:lnTo>
                <a:lnTo>
                  <a:pt x="432" y="1230"/>
                </a:lnTo>
                <a:lnTo>
                  <a:pt x="432" y="1224"/>
                </a:lnTo>
                <a:lnTo>
                  <a:pt x="426" y="1218"/>
                </a:lnTo>
                <a:lnTo>
                  <a:pt x="426" y="1206"/>
                </a:lnTo>
                <a:lnTo>
                  <a:pt x="426" y="1200"/>
                </a:lnTo>
                <a:lnTo>
                  <a:pt x="432" y="1194"/>
                </a:lnTo>
                <a:lnTo>
                  <a:pt x="426" y="1188"/>
                </a:lnTo>
                <a:lnTo>
                  <a:pt x="432" y="1104"/>
                </a:lnTo>
                <a:lnTo>
                  <a:pt x="438" y="1086"/>
                </a:lnTo>
                <a:lnTo>
                  <a:pt x="462" y="972"/>
                </a:lnTo>
                <a:lnTo>
                  <a:pt x="456" y="900"/>
                </a:lnTo>
                <a:lnTo>
                  <a:pt x="444" y="846"/>
                </a:lnTo>
                <a:lnTo>
                  <a:pt x="456" y="810"/>
                </a:lnTo>
                <a:lnTo>
                  <a:pt x="492" y="786"/>
                </a:lnTo>
                <a:lnTo>
                  <a:pt x="522" y="762"/>
                </a:lnTo>
                <a:lnTo>
                  <a:pt x="546" y="732"/>
                </a:lnTo>
                <a:lnTo>
                  <a:pt x="570" y="696"/>
                </a:lnTo>
                <a:lnTo>
                  <a:pt x="582" y="654"/>
                </a:lnTo>
                <a:lnTo>
                  <a:pt x="564" y="642"/>
                </a:lnTo>
                <a:lnTo>
                  <a:pt x="522" y="588"/>
                </a:lnTo>
                <a:lnTo>
                  <a:pt x="516" y="546"/>
                </a:lnTo>
                <a:lnTo>
                  <a:pt x="510" y="474"/>
                </a:lnTo>
                <a:lnTo>
                  <a:pt x="510" y="450"/>
                </a:lnTo>
                <a:lnTo>
                  <a:pt x="510" y="444"/>
                </a:lnTo>
                <a:lnTo>
                  <a:pt x="522" y="438"/>
                </a:lnTo>
                <a:lnTo>
                  <a:pt x="522" y="432"/>
                </a:lnTo>
                <a:lnTo>
                  <a:pt x="528" y="426"/>
                </a:lnTo>
                <a:lnTo>
                  <a:pt x="534" y="420"/>
                </a:lnTo>
                <a:lnTo>
                  <a:pt x="540" y="414"/>
                </a:lnTo>
                <a:lnTo>
                  <a:pt x="540" y="408"/>
                </a:lnTo>
                <a:lnTo>
                  <a:pt x="534" y="408"/>
                </a:lnTo>
                <a:lnTo>
                  <a:pt x="540" y="408"/>
                </a:lnTo>
                <a:lnTo>
                  <a:pt x="546" y="408"/>
                </a:lnTo>
                <a:lnTo>
                  <a:pt x="558" y="414"/>
                </a:lnTo>
                <a:lnTo>
                  <a:pt x="564" y="414"/>
                </a:lnTo>
                <a:lnTo>
                  <a:pt x="570" y="414"/>
                </a:lnTo>
                <a:lnTo>
                  <a:pt x="582" y="414"/>
                </a:lnTo>
                <a:lnTo>
                  <a:pt x="582" y="420"/>
                </a:lnTo>
                <a:lnTo>
                  <a:pt x="588" y="414"/>
                </a:lnTo>
                <a:lnTo>
                  <a:pt x="582" y="408"/>
                </a:lnTo>
                <a:lnTo>
                  <a:pt x="588" y="402"/>
                </a:lnTo>
                <a:lnTo>
                  <a:pt x="594" y="402"/>
                </a:lnTo>
                <a:lnTo>
                  <a:pt x="594" y="396"/>
                </a:lnTo>
                <a:lnTo>
                  <a:pt x="594" y="390"/>
                </a:lnTo>
                <a:lnTo>
                  <a:pt x="594" y="384"/>
                </a:lnTo>
                <a:lnTo>
                  <a:pt x="594" y="378"/>
                </a:lnTo>
                <a:lnTo>
                  <a:pt x="600" y="366"/>
                </a:lnTo>
                <a:lnTo>
                  <a:pt x="606" y="366"/>
                </a:lnTo>
                <a:lnTo>
                  <a:pt x="612" y="360"/>
                </a:lnTo>
                <a:lnTo>
                  <a:pt x="612" y="366"/>
                </a:lnTo>
                <a:lnTo>
                  <a:pt x="618" y="366"/>
                </a:lnTo>
                <a:lnTo>
                  <a:pt x="624" y="366"/>
                </a:lnTo>
                <a:lnTo>
                  <a:pt x="630" y="360"/>
                </a:lnTo>
                <a:lnTo>
                  <a:pt x="636" y="354"/>
                </a:lnTo>
                <a:lnTo>
                  <a:pt x="630" y="354"/>
                </a:lnTo>
                <a:lnTo>
                  <a:pt x="630" y="348"/>
                </a:lnTo>
                <a:lnTo>
                  <a:pt x="630" y="342"/>
                </a:lnTo>
                <a:lnTo>
                  <a:pt x="636" y="342"/>
                </a:lnTo>
                <a:lnTo>
                  <a:pt x="642" y="336"/>
                </a:lnTo>
                <a:lnTo>
                  <a:pt x="636" y="330"/>
                </a:lnTo>
                <a:lnTo>
                  <a:pt x="630" y="336"/>
                </a:lnTo>
                <a:lnTo>
                  <a:pt x="624" y="336"/>
                </a:lnTo>
                <a:lnTo>
                  <a:pt x="624" y="330"/>
                </a:lnTo>
                <a:lnTo>
                  <a:pt x="624" y="324"/>
                </a:lnTo>
                <a:lnTo>
                  <a:pt x="618" y="324"/>
                </a:lnTo>
                <a:lnTo>
                  <a:pt x="624" y="324"/>
                </a:lnTo>
                <a:lnTo>
                  <a:pt x="630" y="330"/>
                </a:lnTo>
                <a:lnTo>
                  <a:pt x="630" y="318"/>
                </a:lnTo>
                <a:lnTo>
                  <a:pt x="636" y="318"/>
                </a:lnTo>
                <a:lnTo>
                  <a:pt x="642" y="312"/>
                </a:lnTo>
                <a:lnTo>
                  <a:pt x="642" y="306"/>
                </a:lnTo>
                <a:lnTo>
                  <a:pt x="648" y="300"/>
                </a:lnTo>
                <a:lnTo>
                  <a:pt x="648" y="294"/>
                </a:lnTo>
                <a:lnTo>
                  <a:pt x="648" y="288"/>
                </a:lnTo>
                <a:lnTo>
                  <a:pt x="648" y="282"/>
                </a:lnTo>
                <a:lnTo>
                  <a:pt x="654" y="288"/>
                </a:lnTo>
                <a:lnTo>
                  <a:pt x="654" y="282"/>
                </a:lnTo>
                <a:lnTo>
                  <a:pt x="660" y="282"/>
                </a:lnTo>
                <a:lnTo>
                  <a:pt x="666" y="282"/>
                </a:lnTo>
                <a:lnTo>
                  <a:pt x="672" y="282"/>
                </a:lnTo>
                <a:lnTo>
                  <a:pt x="678" y="282"/>
                </a:lnTo>
                <a:lnTo>
                  <a:pt x="684" y="276"/>
                </a:lnTo>
                <a:lnTo>
                  <a:pt x="690" y="270"/>
                </a:lnTo>
                <a:lnTo>
                  <a:pt x="690" y="264"/>
                </a:lnTo>
                <a:lnTo>
                  <a:pt x="690" y="270"/>
                </a:lnTo>
                <a:lnTo>
                  <a:pt x="690" y="276"/>
                </a:lnTo>
                <a:lnTo>
                  <a:pt x="696" y="276"/>
                </a:lnTo>
                <a:lnTo>
                  <a:pt x="702" y="276"/>
                </a:lnTo>
                <a:lnTo>
                  <a:pt x="702" y="282"/>
                </a:lnTo>
                <a:lnTo>
                  <a:pt x="708" y="282"/>
                </a:lnTo>
                <a:lnTo>
                  <a:pt x="720" y="270"/>
                </a:lnTo>
                <a:lnTo>
                  <a:pt x="720" y="264"/>
                </a:lnTo>
                <a:lnTo>
                  <a:pt x="720" y="258"/>
                </a:lnTo>
                <a:lnTo>
                  <a:pt x="726" y="258"/>
                </a:lnTo>
                <a:lnTo>
                  <a:pt x="732" y="258"/>
                </a:lnTo>
                <a:lnTo>
                  <a:pt x="732" y="264"/>
                </a:lnTo>
                <a:lnTo>
                  <a:pt x="738" y="264"/>
                </a:lnTo>
                <a:lnTo>
                  <a:pt x="738" y="258"/>
                </a:lnTo>
                <a:lnTo>
                  <a:pt x="732" y="258"/>
                </a:lnTo>
                <a:lnTo>
                  <a:pt x="732" y="252"/>
                </a:lnTo>
                <a:lnTo>
                  <a:pt x="744" y="252"/>
                </a:lnTo>
                <a:lnTo>
                  <a:pt x="750" y="252"/>
                </a:lnTo>
                <a:lnTo>
                  <a:pt x="750" y="246"/>
                </a:lnTo>
                <a:lnTo>
                  <a:pt x="750" y="240"/>
                </a:lnTo>
                <a:lnTo>
                  <a:pt x="762" y="234"/>
                </a:lnTo>
                <a:lnTo>
                  <a:pt x="768" y="234"/>
                </a:lnTo>
                <a:lnTo>
                  <a:pt x="774" y="234"/>
                </a:lnTo>
                <a:lnTo>
                  <a:pt x="780" y="228"/>
                </a:lnTo>
                <a:lnTo>
                  <a:pt x="786" y="222"/>
                </a:lnTo>
                <a:lnTo>
                  <a:pt x="786" y="216"/>
                </a:lnTo>
                <a:lnTo>
                  <a:pt x="792" y="216"/>
                </a:lnTo>
                <a:lnTo>
                  <a:pt x="792" y="210"/>
                </a:lnTo>
                <a:lnTo>
                  <a:pt x="804" y="204"/>
                </a:lnTo>
                <a:lnTo>
                  <a:pt x="804" y="198"/>
                </a:lnTo>
                <a:lnTo>
                  <a:pt x="804" y="204"/>
                </a:lnTo>
                <a:lnTo>
                  <a:pt x="810" y="204"/>
                </a:lnTo>
                <a:lnTo>
                  <a:pt x="810" y="198"/>
                </a:lnTo>
                <a:lnTo>
                  <a:pt x="810" y="192"/>
                </a:lnTo>
                <a:lnTo>
                  <a:pt x="798" y="186"/>
                </a:lnTo>
                <a:lnTo>
                  <a:pt x="810" y="186"/>
                </a:lnTo>
                <a:lnTo>
                  <a:pt x="810" y="180"/>
                </a:lnTo>
                <a:lnTo>
                  <a:pt x="810" y="186"/>
                </a:lnTo>
                <a:lnTo>
                  <a:pt x="816" y="186"/>
                </a:lnTo>
                <a:lnTo>
                  <a:pt x="816" y="180"/>
                </a:lnTo>
                <a:lnTo>
                  <a:pt x="810" y="180"/>
                </a:lnTo>
                <a:lnTo>
                  <a:pt x="816" y="174"/>
                </a:lnTo>
                <a:lnTo>
                  <a:pt x="822" y="174"/>
                </a:lnTo>
                <a:lnTo>
                  <a:pt x="822" y="180"/>
                </a:lnTo>
                <a:lnTo>
                  <a:pt x="828" y="180"/>
                </a:lnTo>
                <a:lnTo>
                  <a:pt x="828" y="174"/>
                </a:lnTo>
                <a:lnTo>
                  <a:pt x="822" y="168"/>
                </a:lnTo>
                <a:lnTo>
                  <a:pt x="828" y="168"/>
                </a:lnTo>
                <a:lnTo>
                  <a:pt x="828" y="162"/>
                </a:lnTo>
                <a:lnTo>
                  <a:pt x="828" y="156"/>
                </a:lnTo>
                <a:lnTo>
                  <a:pt x="822" y="156"/>
                </a:lnTo>
                <a:lnTo>
                  <a:pt x="828" y="156"/>
                </a:lnTo>
                <a:lnTo>
                  <a:pt x="828" y="150"/>
                </a:lnTo>
                <a:lnTo>
                  <a:pt x="834" y="150"/>
                </a:lnTo>
                <a:lnTo>
                  <a:pt x="840" y="156"/>
                </a:lnTo>
                <a:lnTo>
                  <a:pt x="840" y="150"/>
                </a:lnTo>
                <a:lnTo>
                  <a:pt x="834" y="150"/>
                </a:lnTo>
                <a:lnTo>
                  <a:pt x="834" y="144"/>
                </a:lnTo>
                <a:lnTo>
                  <a:pt x="840" y="138"/>
                </a:lnTo>
                <a:lnTo>
                  <a:pt x="846" y="144"/>
                </a:lnTo>
                <a:lnTo>
                  <a:pt x="846" y="150"/>
                </a:lnTo>
                <a:lnTo>
                  <a:pt x="852" y="150"/>
                </a:lnTo>
                <a:lnTo>
                  <a:pt x="858" y="150"/>
                </a:lnTo>
                <a:lnTo>
                  <a:pt x="870" y="150"/>
                </a:lnTo>
                <a:lnTo>
                  <a:pt x="870" y="144"/>
                </a:lnTo>
                <a:lnTo>
                  <a:pt x="876" y="138"/>
                </a:lnTo>
                <a:lnTo>
                  <a:pt x="882" y="138"/>
                </a:lnTo>
                <a:lnTo>
                  <a:pt x="888" y="132"/>
                </a:lnTo>
                <a:lnTo>
                  <a:pt x="888" y="138"/>
                </a:lnTo>
                <a:lnTo>
                  <a:pt x="894" y="138"/>
                </a:lnTo>
                <a:lnTo>
                  <a:pt x="894" y="132"/>
                </a:lnTo>
                <a:lnTo>
                  <a:pt x="900" y="126"/>
                </a:lnTo>
                <a:lnTo>
                  <a:pt x="900" y="132"/>
                </a:lnTo>
                <a:lnTo>
                  <a:pt x="906" y="132"/>
                </a:lnTo>
                <a:lnTo>
                  <a:pt x="912" y="132"/>
                </a:lnTo>
                <a:lnTo>
                  <a:pt x="918" y="126"/>
                </a:lnTo>
                <a:lnTo>
                  <a:pt x="918" y="132"/>
                </a:lnTo>
                <a:lnTo>
                  <a:pt x="924" y="132"/>
                </a:lnTo>
                <a:lnTo>
                  <a:pt x="924" y="126"/>
                </a:lnTo>
                <a:lnTo>
                  <a:pt x="936" y="120"/>
                </a:lnTo>
                <a:lnTo>
                  <a:pt x="942" y="120"/>
                </a:lnTo>
                <a:lnTo>
                  <a:pt x="948" y="120"/>
                </a:lnTo>
                <a:lnTo>
                  <a:pt x="948" y="114"/>
                </a:lnTo>
                <a:lnTo>
                  <a:pt x="948" y="108"/>
                </a:lnTo>
                <a:lnTo>
                  <a:pt x="954" y="114"/>
                </a:lnTo>
                <a:lnTo>
                  <a:pt x="960" y="108"/>
                </a:lnTo>
                <a:lnTo>
                  <a:pt x="966" y="108"/>
                </a:lnTo>
                <a:lnTo>
                  <a:pt x="972" y="108"/>
                </a:lnTo>
                <a:lnTo>
                  <a:pt x="966" y="114"/>
                </a:lnTo>
                <a:lnTo>
                  <a:pt x="960" y="114"/>
                </a:lnTo>
                <a:lnTo>
                  <a:pt x="960" y="120"/>
                </a:lnTo>
                <a:lnTo>
                  <a:pt x="966" y="126"/>
                </a:lnTo>
                <a:lnTo>
                  <a:pt x="972" y="126"/>
                </a:lnTo>
                <a:lnTo>
                  <a:pt x="978" y="126"/>
                </a:lnTo>
                <a:lnTo>
                  <a:pt x="984" y="120"/>
                </a:lnTo>
                <a:lnTo>
                  <a:pt x="984" y="114"/>
                </a:lnTo>
                <a:lnTo>
                  <a:pt x="996" y="126"/>
                </a:lnTo>
                <a:lnTo>
                  <a:pt x="996" y="120"/>
                </a:lnTo>
                <a:lnTo>
                  <a:pt x="1002" y="120"/>
                </a:lnTo>
                <a:lnTo>
                  <a:pt x="996" y="114"/>
                </a:lnTo>
                <a:lnTo>
                  <a:pt x="1002" y="114"/>
                </a:lnTo>
                <a:lnTo>
                  <a:pt x="1008" y="114"/>
                </a:lnTo>
                <a:lnTo>
                  <a:pt x="1008" y="108"/>
                </a:lnTo>
                <a:lnTo>
                  <a:pt x="1014" y="108"/>
                </a:lnTo>
                <a:lnTo>
                  <a:pt x="1008" y="114"/>
                </a:lnTo>
                <a:lnTo>
                  <a:pt x="1008" y="120"/>
                </a:lnTo>
                <a:lnTo>
                  <a:pt x="1008" y="126"/>
                </a:lnTo>
                <a:lnTo>
                  <a:pt x="1014" y="126"/>
                </a:lnTo>
                <a:lnTo>
                  <a:pt x="1014" y="132"/>
                </a:lnTo>
                <a:lnTo>
                  <a:pt x="1020" y="132"/>
                </a:lnTo>
                <a:lnTo>
                  <a:pt x="1020" y="126"/>
                </a:lnTo>
                <a:lnTo>
                  <a:pt x="1020" y="120"/>
                </a:lnTo>
                <a:lnTo>
                  <a:pt x="1032" y="120"/>
                </a:lnTo>
                <a:lnTo>
                  <a:pt x="1038" y="120"/>
                </a:lnTo>
                <a:lnTo>
                  <a:pt x="1038" y="126"/>
                </a:lnTo>
                <a:lnTo>
                  <a:pt x="1044" y="132"/>
                </a:lnTo>
                <a:lnTo>
                  <a:pt x="1044" y="126"/>
                </a:lnTo>
                <a:lnTo>
                  <a:pt x="1050" y="120"/>
                </a:lnTo>
                <a:lnTo>
                  <a:pt x="1050" y="114"/>
                </a:lnTo>
                <a:lnTo>
                  <a:pt x="1056" y="108"/>
                </a:lnTo>
                <a:lnTo>
                  <a:pt x="1056" y="102"/>
                </a:lnTo>
                <a:lnTo>
                  <a:pt x="1056" y="108"/>
                </a:lnTo>
                <a:lnTo>
                  <a:pt x="1056" y="102"/>
                </a:lnTo>
                <a:lnTo>
                  <a:pt x="1068" y="102"/>
                </a:lnTo>
                <a:lnTo>
                  <a:pt x="1074" y="96"/>
                </a:lnTo>
                <a:lnTo>
                  <a:pt x="1074" y="90"/>
                </a:lnTo>
                <a:lnTo>
                  <a:pt x="1068" y="90"/>
                </a:lnTo>
                <a:lnTo>
                  <a:pt x="1068" y="84"/>
                </a:lnTo>
                <a:lnTo>
                  <a:pt x="1080" y="84"/>
                </a:lnTo>
                <a:lnTo>
                  <a:pt x="1086" y="78"/>
                </a:lnTo>
                <a:lnTo>
                  <a:pt x="1086" y="72"/>
                </a:lnTo>
                <a:lnTo>
                  <a:pt x="1080" y="78"/>
                </a:lnTo>
                <a:lnTo>
                  <a:pt x="1080" y="72"/>
                </a:lnTo>
                <a:lnTo>
                  <a:pt x="1080" y="66"/>
                </a:lnTo>
                <a:lnTo>
                  <a:pt x="1074" y="66"/>
                </a:lnTo>
                <a:lnTo>
                  <a:pt x="1080" y="66"/>
                </a:lnTo>
                <a:lnTo>
                  <a:pt x="1080" y="60"/>
                </a:lnTo>
                <a:lnTo>
                  <a:pt x="1086" y="60"/>
                </a:lnTo>
                <a:lnTo>
                  <a:pt x="1086" y="54"/>
                </a:lnTo>
                <a:lnTo>
                  <a:pt x="1092" y="54"/>
                </a:lnTo>
                <a:lnTo>
                  <a:pt x="1092" y="48"/>
                </a:lnTo>
                <a:lnTo>
                  <a:pt x="1092" y="42"/>
                </a:lnTo>
                <a:lnTo>
                  <a:pt x="1098" y="42"/>
                </a:lnTo>
                <a:lnTo>
                  <a:pt x="1104" y="36"/>
                </a:lnTo>
                <a:lnTo>
                  <a:pt x="1110" y="36"/>
                </a:lnTo>
                <a:lnTo>
                  <a:pt x="1110" y="30"/>
                </a:lnTo>
                <a:lnTo>
                  <a:pt x="1110" y="24"/>
                </a:lnTo>
                <a:lnTo>
                  <a:pt x="1116" y="24"/>
                </a:lnTo>
                <a:lnTo>
                  <a:pt x="1116" y="18"/>
                </a:lnTo>
                <a:lnTo>
                  <a:pt x="1122" y="18"/>
                </a:lnTo>
                <a:lnTo>
                  <a:pt x="1128" y="18"/>
                </a:lnTo>
                <a:lnTo>
                  <a:pt x="1134" y="12"/>
                </a:lnTo>
                <a:lnTo>
                  <a:pt x="1134" y="6"/>
                </a:lnTo>
                <a:lnTo>
                  <a:pt x="1140" y="6"/>
                </a:lnTo>
                <a:lnTo>
                  <a:pt x="1146" y="0"/>
                </a:lnTo>
                <a:lnTo>
                  <a:pt x="1152" y="0"/>
                </a:lnTo>
                <a:lnTo>
                  <a:pt x="1158" y="0"/>
                </a:lnTo>
                <a:lnTo>
                  <a:pt x="1158" y="6"/>
                </a:lnTo>
                <a:lnTo>
                  <a:pt x="1170" y="0"/>
                </a:lnTo>
                <a:lnTo>
                  <a:pt x="1176" y="6"/>
                </a:lnTo>
                <a:lnTo>
                  <a:pt x="1182" y="6"/>
                </a:lnTo>
                <a:lnTo>
                  <a:pt x="1194" y="6"/>
                </a:lnTo>
                <a:lnTo>
                  <a:pt x="1200" y="6"/>
                </a:lnTo>
                <a:lnTo>
                  <a:pt x="1212" y="0"/>
                </a:lnTo>
                <a:lnTo>
                  <a:pt x="1212" y="6"/>
                </a:lnTo>
                <a:lnTo>
                  <a:pt x="1218" y="6"/>
                </a:lnTo>
                <a:lnTo>
                  <a:pt x="1266" y="6"/>
                </a:lnTo>
                <a:lnTo>
                  <a:pt x="1272" y="0"/>
                </a:lnTo>
                <a:lnTo>
                  <a:pt x="1278" y="6"/>
                </a:lnTo>
                <a:lnTo>
                  <a:pt x="1290" y="6"/>
                </a:lnTo>
                <a:lnTo>
                  <a:pt x="1296" y="6"/>
                </a:lnTo>
                <a:lnTo>
                  <a:pt x="1308" y="6"/>
                </a:lnTo>
                <a:lnTo>
                  <a:pt x="1314" y="6"/>
                </a:lnTo>
                <a:lnTo>
                  <a:pt x="1320" y="6"/>
                </a:lnTo>
                <a:lnTo>
                  <a:pt x="1326" y="12"/>
                </a:lnTo>
                <a:lnTo>
                  <a:pt x="1338" y="30"/>
                </a:lnTo>
                <a:lnTo>
                  <a:pt x="1344" y="36"/>
                </a:lnTo>
                <a:lnTo>
                  <a:pt x="1356" y="48"/>
                </a:lnTo>
                <a:lnTo>
                  <a:pt x="1362" y="60"/>
                </a:lnTo>
                <a:lnTo>
                  <a:pt x="1368" y="66"/>
                </a:lnTo>
                <a:lnTo>
                  <a:pt x="1374" y="72"/>
                </a:lnTo>
                <a:lnTo>
                  <a:pt x="1374" y="78"/>
                </a:lnTo>
                <a:lnTo>
                  <a:pt x="1398" y="108"/>
                </a:lnTo>
                <a:lnTo>
                  <a:pt x="1398" y="114"/>
                </a:lnTo>
                <a:lnTo>
                  <a:pt x="1404" y="114"/>
                </a:lnTo>
                <a:lnTo>
                  <a:pt x="1404" y="120"/>
                </a:lnTo>
                <a:lnTo>
                  <a:pt x="1410" y="132"/>
                </a:lnTo>
                <a:lnTo>
                  <a:pt x="1416" y="132"/>
                </a:lnTo>
                <a:lnTo>
                  <a:pt x="1416" y="138"/>
                </a:lnTo>
                <a:lnTo>
                  <a:pt x="1422" y="144"/>
                </a:lnTo>
                <a:lnTo>
                  <a:pt x="1428" y="150"/>
                </a:lnTo>
                <a:lnTo>
                  <a:pt x="1428" y="156"/>
                </a:lnTo>
                <a:lnTo>
                  <a:pt x="1458" y="192"/>
                </a:lnTo>
                <a:lnTo>
                  <a:pt x="1458" y="198"/>
                </a:lnTo>
                <a:lnTo>
                  <a:pt x="1464" y="204"/>
                </a:lnTo>
                <a:lnTo>
                  <a:pt x="1470" y="210"/>
                </a:lnTo>
                <a:lnTo>
                  <a:pt x="1476" y="216"/>
                </a:lnTo>
                <a:lnTo>
                  <a:pt x="1482" y="228"/>
                </a:lnTo>
                <a:lnTo>
                  <a:pt x="1488" y="234"/>
                </a:lnTo>
                <a:lnTo>
                  <a:pt x="1512" y="270"/>
                </a:lnTo>
                <a:lnTo>
                  <a:pt x="1512" y="276"/>
                </a:lnTo>
                <a:lnTo>
                  <a:pt x="1530" y="300"/>
                </a:lnTo>
                <a:lnTo>
                  <a:pt x="1536" y="306"/>
                </a:lnTo>
                <a:lnTo>
                  <a:pt x="1542" y="312"/>
                </a:lnTo>
                <a:lnTo>
                  <a:pt x="1542" y="318"/>
                </a:lnTo>
                <a:lnTo>
                  <a:pt x="1560" y="336"/>
                </a:lnTo>
                <a:lnTo>
                  <a:pt x="1566" y="348"/>
                </a:lnTo>
                <a:lnTo>
                  <a:pt x="1572" y="354"/>
                </a:lnTo>
                <a:lnTo>
                  <a:pt x="1578" y="360"/>
                </a:lnTo>
                <a:lnTo>
                  <a:pt x="1584" y="378"/>
                </a:lnTo>
                <a:lnTo>
                  <a:pt x="1590" y="378"/>
                </a:lnTo>
                <a:lnTo>
                  <a:pt x="1596" y="390"/>
                </a:lnTo>
                <a:lnTo>
                  <a:pt x="1602" y="396"/>
                </a:lnTo>
                <a:lnTo>
                  <a:pt x="1608" y="408"/>
                </a:lnTo>
                <a:lnTo>
                  <a:pt x="1614" y="408"/>
                </a:lnTo>
                <a:lnTo>
                  <a:pt x="1614" y="432"/>
                </a:lnTo>
                <a:lnTo>
                  <a:pt x="1620" y="438"/>
                </a:lnTo>
                <a:lnTo>
                  <a:pt x="1620" y="450"/>
                </a:lnTo>
                <a:lnTo>
                  <a:pt x="1620" y="462"/>
                </a:lnTo>
                <a:lnTo>
                  <a:pt x="1626" y="474"/>
                </a:lnTo>
                <a:lnTo>
                  <a:pt x="1626" y="480"/>
                </a:lnTo>
                <a:lnTo>
                  <a:pt x="1626" y="486"/>
                </a:lnTo>
                <a:lnTo>
                  <a:pt x="1632" y="522"/>
                </a:lnTo>
                <a:lnTo>
                  <a:pt x="1632" y="528"/>
                </a:lnTo>
                <a:lnTo>
                  <a:pt x="1632" y="534"/>
                </a:lnTo>
                <a:lnTo>
                  <a:pt x="1638" y="540"/>
                </a:lnTo>
                <a:lnTo>
                  <a:pt x="1638" y="558"/>
                </a:lnTo>
                <a:lnTo>
                  <a:pt x="1638" y="570"/>
                </a:lnTo>
                <a:lnTo>
                  <a:pt x="1644" y="582"/>
                </a:lnTo>
                <a:lnTo>
                  <a:pt x="1650" y="618"/>
                </a:lnTo>
                <a:lnTo>
                  <a:pt x="1650" y="624"/>
                </a:lnTo>
                <a:lnTo>
                  <a:pt x="1650" y="636"/>
                </a:lnTo>
                <a:lnTo>
                  <a:pt x="1656" y="642"/>
                </a:lnTo>
                <a:lnTo>
                  <a:pt x="1656" y="648"/>
                </a:lnTo>
                <a:lnTo>
                  <a:pt x="1656" y="654"/>
                </a:lnTo>
                <a:lnTo>
                  <a:pt x="1656" y="660"/>
                </a:lnTo>
                <a:lnTo>
                  <a:pt x="1662" y="696"/>
                </a:lnTo>
                <a:lnTo>
                  <a:pt x="1668" y="708"/>
                </a:lnTo>
                <a:lnTo>
                  <a:pt x="1668" y="714"/>
                </a:lnTo>
                <a:lnTo>
                  <a:pt x="1668" y="732"/>
                </a:lnTo>
                <a:lnTo>
                  <a:pt x="1668" y="744"/>
                </a:lnTo>
                <a:lnTo>
                  <a:pt x="1674" y="756"/>
                </a:lnTo>
                <a:lnTo>
                  <a:pt x="1680" y="762"/>
                </a:lnTo>
                <a:lnTo>
                  <a:pt x="1680" y="768"/>
                </a:lnTo>
                <a:lnTo>
                  <a:pt x="1680" y="774"/>
                </a:lnTo>
                <a:lnTo>
                  <a:pt x="1680" y="780"/>
                </a:lnTo>
                <a:lnTo>
                  <a:pt x="1674" y="786"/>
                </a:lnTo>
                <a:lnTo>
                  <a:pt x="1668" y="792"/>
                </a:lnTo>
                <a:lnTo>
                  <a:pt x="1668" y="798"/>
                </a:lnTo>
                <a:lnTo>
                  <a:pt x="1668" y="804"/>
                </a:lnTo>
                <a:lnTo>
                  <a:pt x="1674" y="804"/>
                </a:lnTo>
                <a:lnTo>
                  <a:pt x="1668" y="810"/>
                </a:lnTo>
                <a:lnTo>
                  <a:pt x="1674" y="810"/>
                </a:lnTo>
                <a:lnTo>
                  <a:pt x="1680" y="810"/>
                </a:lnTo>
                <a:lnTo>
                  <a:pt x="1680" y="816"/>
                </a:lnTo>
                <a:lnTo>
                  <a:pt x="1680" y="822"/>
                </a:lnTo>
                <a:lnTo>
                  <a:pt x="1674" y="822"/>
                </a:lnTo>
                <a:lnTo>
                  <a:pt x="1674" y="828"/>
                </a:lnTo>
                <a:lnTo>
                  <a:pt x="1668" y="828"/>
                </a:lnTo>
                <a:lnTo>
                  <a:pt x="1674" y="834"/>
                </a:lnTo>
                <a:lnTo>
                  <a:pt x="1668" y="834"/>
                </a:lnTo>
                <a:lnTo>
                  <a:pt x="1668" y="840"/>
                </a:lnTo>
                <a:lnTo>
                  <a:pt x="1674" y="840"/>
                </a:lnTo>
                <a:lnTo>
                  <a:pt x="1686" y="852"/>
                </a:lnTo>
                <a:lnTo>
                  <a:pt x="1692" y="858"/>
                </a:lnTo>
                <a:lnTo>
                  <a:pt x="1698" y="858"/>
                </a:lnTo>
                <a:lnTo>
                  <a:pt x="1698" y="864"/>
                </a:lnTo>
                <a:lnTo>
                  <a:pt x="1698" y="870"/>
                </a:lnTo>
                <a:lnTo>
                  <a:pt x="1704" y="864"/>
                </a:lnTo>
                <a:lnTo>
                  <a:pt x="1716" y="864"/>
                </a:lnTo>
                <a:lnTo>
                  <a:pt x="1722" y="864"/>
                </a:lnTo>
                <a:lnTo>
                  <a:pt x="1728" y="864"/>
                </a:lnTo>
                <a:lnTo>
                  <a:pt x="1734" y="864"/>
                </a:lnTo>
                <a:lnTo>
                  <a:pt x="1740" y="864"/>
                </a:lnTo>
                <a:lnTo>
                  <a:pt x="1746" y="876"/>
                </a:lnTo>
                <a:lnTo>
                  <a:pt x="1746" y="870"/>
                </a:lnTo>
                <a:lnTo>
                  <a:pt x="1740" y="864"/>
                </a:lnTo>
                <a:lnTo>
                  <a:pt x="1746" y="864"/>
                </a:lnTo>
                <a:lnTo>
                  <a:pt x="1752" y="870"/>
                </a:lnTo>
                <a:lnTo>
                  <a:pt x="1758" y="864"/>
                </a:lnTo>
                <a:lnTo>
                  <a:pt x="1764" y="864"/>
                </a:lnTo>
                <a:lnTo>
                  <a:pt x="1770" y="858"/>
                </a:lnTo>
                <a:lnTo>
                  <a:pt x="1782" y="864"/>
                </a:lnTo>
                <a:lnTo>
                  <a:pt x="1782" y="870"/>
                </a:lnTo>
                <a:lnTo>
                  <a:pt x="1788" y="864"/>
                </a:lnTo>
                <a:lnTo>
                  <a:pt x="1794" y="864"/>
                </a:lnTo>
                <a:lnTo>
                  <a:pt x="1800" y="870"/>
                </a:lnTo>
                <a:lnTo>
                  <a:pt x="1818" y="864"/>
                </a:lnTo>
                <a:lnTo>
                  <a:pt x="1824" y="870"/>
                </a:lnTo>
                <a:lnTo>
                  <a:pt x="1830" y="864"/>
                </a:lnTo>
                <a:lnTo>
                  <a:pt x="1836" y="864"/>
                </a:lnTo>
                <a:lnTo>
                  <a:pt x="1842" y="870"/>
                </a:lnTo>
                <a:lnTo>
                  <a:pt x="1842" y="876"/>
                </a:lnTo>
                <a:lnTo>
                  <a:pt x="1848" y="876"/>
                </a:lnTo>
                <a:lnTo>
                  <a:pt x="1848" y="870"/>
                </a:lnTo>
                <a:lnTo>
                  <a:pt x="1854" y="870"/>
                </a:lnTo>
                <a:lnTo>
                  <a:pt x="1860" y="870"/>
                </a:lnTo>
                <a:lnTo>
                  <a:pt x="1860" y="876"/>
                </a:lnTo>
                <a:lnTo>
                  <a:pt x="1866" y="876"/>
                </a:lnTo>
                <a:lnTo>
                  <a:pt x="1866" y="882"/>
                </a:lnTo>
                <a:lnTo>
                  <a:pt x="1872" y="882"/>
                </a:lnTo>
                <a:lnTo>
                  <a:pt x="1878" y="888"/>
                </a:lnTo>
                <a:lnTo>
                  <a:pt x="1890" y="888"/>
                </a:lnTo>
                <a:lnTo>
                  <a:pt x="1890" y="894"/>
                </a:lnTo>
                <a:lnTo>
                  <a:pt x="1890" y="900"/>
                </a:lnTo>
                <a:lnTo>
                  <a:pt x="1884" y="900"/>
                </a:lnTo>
                <a:lnTo>
                  <a:pt x="1884" y="906"/>
                </a:lnTo>
                <a:lnTo>
                  <a:pt x="1884" y="912"/>
                </a:lnTo>
                <a:lnTo>
                  <a:pt x="1890" y="912"/>
                </a:lnTo>
                <a:lnTo>
                  <a:pt x="1896" y="912"/>
                </a:lnTo>
                <a:lnTo>
                  <a:pt x="1902" y="912"/>
                </a:lnTo>
                <a:lnTo>
                  <a:pt x="1908" y="918"/>
                </a:lnTo>
                <a:lnTo>
                  <a:pt x="1908" y="924"/>
                </a:lnTo>
                <a:lnTo>
                  <a:pt x="1908" y="930"/>
                </a:lnTo>
                <a:lnTo>
                  <a:pt x="1908" y="936"/>
                </a:lnTo>
                <a:lnTo>
                  <a:pt x="1914" y="936"/>
                </a:lnTo>
                <a:lnTo>
                  <a:pt x="1914" y="942"/>
                </a:lnTo>
                <a:lnTo>
                  <a:pt x="1908" y="948"/>
                </a:lnTo>
                <a:lnTo>
                  <a:pt x="1914" y="948"/>
                </a:lnTo>
                <a:lnTo>
                  <a:pt x="1920" y="954"/>
                </a:lnTo>
                <a:lnTo>
                  <a:pt x="1926" y="954"/>
                </a:lnTo>
                <a:lnTo>
                  <a:pt x="1932" y="954"/>
                </a:lnTo>
                <a:lnTo>
                  <a:pt x="1938" y="954"/>
                </a:lnTo>
                <a:lnTo>
                  <a:pt x="1938" y="960"/>
                </a:lnTo>
                <a:lnTo>
                  <a:pt x="1944" y="966"/>
                </a:lnTo>
                <a:lnTo>
                  <a:pt x="1944" y="972"/>
                </a:lnTo>
                <a:lnTo>
                  <a:pt x="1944" y="978"/>
                </a:lnTo>
                <a:lnTo>
                  <a:pt x="1950" y="978"/>
                </a:lnTo>
                <a:lnTo>
                  <a:pt x="1950" y="984"/>
                </a:lnTo>
                <a:lnTo>
                  <a:pt x="1956" y="984"/>
                </a:lnTo>
                <a:lnTo>
                  <a:pt x="1962" y="984"/>
                </a:lnTo>
                <a:lnTo>
                  <a:pt x="1962" y="978"/>
                </a:lnTo>
                <a:lnTo>
                  <a:pt x="1968" y="978"/>
                </a:lnTo>
                <a:lnTo>
                  <a:pt x="1974" y="978"/>
                </a:lnTo>
                <a:lnTo>
                  <a:pt x="1980" y="972"/>
                </a:lnTo>
                <a:lnTo>
                  <a:pt x="1980" y="978"/>
                </a:lnTo>
                <a:lnTo>
                  <a:pt x="1980" y="984"/>
                </a:lnTo>
                <a:lnTo>
                  <a:pt x="1986" y="984"/>
                </a:lnTo>
                <a:lnTo>
                  <a:pt x="1992" y="990"/>
                </a:lnTo>
                <a:lnTo>
                  <a:pt x="1992" y="996"/>
                </a:lnTo>
                <a:lnTo>
                  <a:pt x="1992" y="1002"/>
                </a:lnTo>
                <a:lnTo>
                  <a:pt x="1974" y="1008"/>
                </a:lnTo>
                <a:lnTo>
                  <a:pt x="1974" y="1014"/>
                </a:lnTo>
                <a:lnTo>
                  <a:pt x="1974" y="1020"/>
                </a:lnTo>
                <a:lnTo>
                  <a:pt x="1974" y="1026"/>
                </a:lnTo>
                <a:lnTo>
                  <a:pt x="1968" y="1038"/>
                </a:lnTo>
                <a:lnTo>
                  <a:pt x="1968" y="1044"/>
                </a:lnTo>
                <a:lnTo>
                  <a:pt x="1974" y="1056"/>
                </a:lnTo>
                <a:lnTo>
                  <a:pt x="1968" y="1062"/>
                </a:lnTo>
                <a:lnTo>
                  <a:pt x="1962" y="1062"/>
                </a:lnTo>
                <a:lnTo>
                  <a:pt x="1956" y="1068"/>
                </a:lnTo>
                <a:lnTo>
                  <a:pt x="1956" y="1074"/>
                </a:lnTo>
                <a:lnTo>
                  <a:pt x="1956" y="1080"/>
                </a:lnTo>
                <a:lnTo>
                  <a:pt x="1956" y="1086"/>
                </a:lnTo>
                <a:lnTo>
                  <a:pt x="1956" y="1092"/>
                </a:lnTo>
                <a:lnTo>
                  <a:pt x="1962" y="1092"/>
                </a:lnTo>
                <a:lnTo>
                  <a:pt x="1962" y="1104"/>
                </a:lnTo>
                <a:lnTo>
                  <a:pt x="1968" y="1110"/>
                </a:lnTo>
                <a:lnTo>
                  <a:pt x="1968" y="1116"/>
                </a:lnTo>
                <a:lnTo>
                  <a:pt x="1974" y="1116"/>
                </a:lnTo>
                <a:lnTo>
                  <a:pt x="1974" y="1122"/>
                </a:lnTo>
                <a:lnTo>
                  <a:pt x="1980" y="1122"/>
                </a:lnTo>
                <a:lnTo>
                  <a:pt x="1974" y="1128"/>
                </a:lnTo>
                <a:lnTo>
                  <a:pt x="1968" y="1134"/>
                </a:lnTo>
                <a:lnTo>
                  <a:pt x="1962" y="1140"/>
                </a:lnTo>
                <a:lnTo>
                  <a:pt x="1962" y="1146"/>
                </a:lnTo>
                <a:lnTo>
                  <a:pt x="1968" y="1152"/>
                </a:lnTo>
                <a:lnTo>
                  <a:pt x="1968" y="1158"/>
                </a:lnTo>
                <a:lnTo>
                  <a:pt x="1962" y="1158"/>
                </a:lnTo>
                <a:lnTo>
                  <a:pt x="1962" y="1164"/>
                </a:lnTo>
                <a:lnTo>
                  <a:pt x="1956" y="1164"/>
                </a:lnTo>
                <a:lnTo>
                  <a:pt x="1956" y="1170"/>
                </a:lnTo>
                <a:lnTo>
                  <a:pt x="1944" y="1182"/>
                </a:lnTo>
                <a:lnTo>
                  <a:pt x="1944" y="1188"/>
                </a:lnTo>
                <a:lnTo>
                  <a:pt x="1950" y="1188"/>
                </a:lnTo>
                <a:lnTo>
                  <a:pt x="1944" y="1200"/>
                </a:lnTo>
                <a:lnTo>
                  <a:pt x="1944" y="1206"/>
                </a:lnTo>
                <a:lnTo>
                  <a:pt x="1944" y="1212"/>
                </a:lnTo>
                <a:lnTo>
                  <a:pt x="1944" y="1218"/>
                </a:lnTo>
                <a:lnTo>
                  <a:pt x="1944" y="1230"/>
                </a:lnTo>
                <a:lnTo>
                  <a:pt x="1944" y="1236"/>
                </a:lnTo>
                <a:lnTo>
                  <a:pt x="1944" y="1242"/>
                </a:lnTo>
                <a:lnTo>
                  <a:pt x="1938" y="1248"/>
                </a:lnTo>
                <a:lnTo>
                  <a:pt x="1938" y="1254"/>
                </a:lnTo>
                <a:lnTo>
                  <a:pt x="1932" y="1254"/>
                </a:lnTo>
                <a:lnTo>
                  <a:pt x="1926" y="1260"/>
                </a:lnTo>
                <a:lnTo>
                  <a:pt x="1920" y="1266"/>
                </a:lnTo>
                <a:lnTo>
                  <a:pt x="1914" y="1272"/>
                </a:lnTo>
                <a:lnTo>
                  <a:pt x="1908" y="1272"/>
                </a:lnTo>
                <a:lnTo>
                  <a:pt x="1908" y="1278"/>
                </a:lnTo>
                <a:lnTo>
                  <a:pt x="1914" y="1278"/>
                </a:lnTo>
                <a:lnTo>
                  <a:pt x="1914" y="1290"/>
                </a:lnTo>
                <a:lnTo>
                  <a:pt x="1920" y="1296"/>
                </a:lnTo>
                <a:lnTo>
                  <a:pt x="1938" y="1302"/>
                </a:lnTo>
                <a:lnTo>
                  <a:pt x="1944" y="1308"/>
                </a:lnTo>
                <a:lnTo>
                  <a:pt x="1950" y="1314"/>
                </a:lnTo>
                <a:lnTo>
                  <a:pt x="1956" y="1314"/>
                </a:lnTo>
                <a:lnTo>
                  <a:pt x="1962" y="1320"/>
                </a:lnTo>
                <a:lnTo>
                  <a:pt x="1962" y="1326"/>
                </a:lnTo>
                <a:lnTo>
                  <a:pt x="1968" y="1326"/>
                </a:lnTo>
                <a:lnTo>
                  <a:pt x="1968" y="1332"/>
                </a:lnTo>
                <a:lnTo>
                  <a:pt x="1968" y="1344"/>
                </a:lnTo>
                <a:lnTo>
                  <a:pt x="1968" y="1350"/>
                </a:lnTo>
                <a:lnTo>
                  <a:pt x="1968" y="1368"/>
                </a:lnTo>
                <a:lnTo>
                  <a:pt x="1962" y="1380"/>
                </a:lnTo>
                <a:lnTo>
                  <a:pt x="1968" y="1392"/>
                </a:lnTo>
                <a:lnTo>
                  <a:pt x="1962" y="1398"/>
                </a:lnTo>
                <a:lnTo>
                  <a:pt x="1956" y="1404"/>
                </a:lnTo>
                <a:lnTo>
                  <a:pt x="1950" y="1410"/>
                </a:lnTo>
                <a:lnTo>
                  <a:pt x="1944" y="1410"/>
                </a:lnTo>
                <a:lnTo>
                  <a:pt x="1932" y="1416"/>
                </a:lnTo>
                <a:lnTo>
                  <a:pt x="1926" y="1416"/>
                </a:lnTo>
                <a:lnTo>
                  <a:pt x="1896" y="1428"/>
                </a:lnTo>
                <a:lnTo>
                  <a:pt x="1884" y="1434"/>
                </a:lnTo>
                <a:lnTo>
                  <a:pt x="1878" y="1434"/>
                </a:lnTo>
                <a:lnTo>
                  <a:pt x="1866" y="1434"/>
                </a:lnTo>
                <a:lnTo>
                  <a:pt x="1854" y="1440"/>
                </a:lnTo>
                <a:lnTo>
                  <a:pt x="1848" y="1440"/>
                </a:lnTo>
                <a:lnTo>
                  <a:pt x="1842" y="1446"/>
                </a:lnTo>
                <a:lnTo>
                  <a:pt x="1842" y="1458"/>
                </a:lnTo>
                <a:lnTo>
                  <a:pt x="1836" y="1470"/>
                </a:lnTo>
                <a:lnTo>
                  <a:pt x="1830" y="1476"/>
                </a:lnTo>
                <a:lnTo>
                  <a:pt x="1824" y="1476"/>
                </a:lnTo>
                <a:lnTo>
                  <a:pt x="1806" y="1482"/>
                </a:lnTo>
                <a:lnTo>
                  <a:pt x="1800" y="1488"/>
                </a:lnTo>
                <a:lnTo>
                  <a:pt x="1794" y="1488"/>
                </a:lnTo>
                <a:lnTo>
                  <a:pt x="1788" y="1488"/>
                </a:lnTo>
                <a:lnTo>
                  <a:pt x="1776" y="1494"/>
                </a:lnTo>
                <a:lnTo>
                  <a:pt x="1764" y="1494"/>
                </a:lnTo>
                <a:lnTo>
                  <a:pt x="1758" y="1500"/>
                </a:lnTo>
                <a:lnTo>
                  <a:pt x="1746" y="1506"/>
                </a:lnTo>
                <a:lnTo>
                  <a:pt x="1728" y="1518"/>
                </a:lnTo>
                <a:lnTo>
                  <a:pt x="1716" y="1524"/>
                </a:lnTo>
                <a:lnTo>
                  <a:pt x="1710" y="1530"/>
                </a:lnTo>
                <a:lnTo>
                  <a:pt x="1704" y="1536"/>
                </a:lnTo>
                <a:lnTo>
                  <a:pt x="1698" y="1542"/>
                </a:lnTo>
                <a:lnTo>
                  <a:pt x="1692" y="1554"/>
                </a:lnTo>
                <a:lnTo>
                  <a:pt x="1686" y="1560"/>
                </a:lnTo>
                <a:lnTo>
                  <a:pt x="1680" y="1560"/>
                </a:lnTo>
                <a:lnTo>
                  <a:pt x="1674" y="1560"/>
                </a:lnTo>
                <a:lnTo>
                  <a:pt x="1656" y="1572"/>
                </a:lnTo>
                <a:lnTo>
                  <a:pt x="1650" y="1572"/>
                </a:lnTo>
                <a:lnTo>
                  <a:pt x="1644" y="1572"/>
                </a:lnTo>
                <a:lnTo>
                  <a:pt x="1638" y="1578"/>
                </a:lnTo>
                <a:lnTo>
                  <a:pt x="1632" y="1578"/>
                </a:lnTo>
                <a:lnTo>
                  <a:pt x="1626" y="1578"/>
                </a:lnTo>
                <a:lnTo>
                  <a:pt x="1620" y="1572"/>
                </a:lnTo>
                <a:lnTo>
                  <a:pt x="1614" y="1572"/>
                </a:lnTo>
                <a:lnTo>
                  <a:pt x="1608" y="1566"/>
                </a:lnTo>
                <a:lnTo>
                  <a:pt x="1602" y="1560"/>
                </a:lnTo>
                <a:lnTo>
                  <a:pt x="1596" y="1554"/>
                </a:lnTo>
                <a:lnTo>
                  <a:pt x="1590" y="1548"/>
                </a:lnTo>
                <a:lnTo>
                  <a:pt x="1578" y="1548"/>
                </a:lnTo>
                <a:lnTo>
                  <a:pt x="1572" y="1548"/>
                </a:lnTo>
                <a:lnTo>
                  <a:pt x="1566" y="1548"/>
                </a:lnTo>
                <a:lnTo>
                  <a:pt x="1554" y="1536"/>
                </a:lnTo>
                <a:lnTo>
                  <a:pt x="1548" y="1536"/>
                </a:lnTo>
                <a:lnTo>
                  <a:pt x="1542" y="1542"/>
                </a:lnTo>
                <a:lnTo>
                  <a:pt x="1536" y="1548"/>
                </a:lnTo>
                <a:lnTo>
                  <a:pt x="1536" y="1566"/>
                </a:lnTo>
                <a:lnTo>
                  <a:pt x="1530" y="1572"/>
                </a:lnTo>
                <a:lnTo>
                  <a:pt x="1524" y="1578"/>
                </a:lnTo>
                <a:lnTo>
                  <a:pt x="1518" y="1584"/>
                </a:lnTo>
                <a:lnTo>
                  <a:pt x="1512" y="1596"/>
                </a:lnTo>
                <a:lnTo>
                  <a:pt x="1506" y="1602"/>
                </a:lnTo>
                <a:lnTo>
                  <a:pt x="1506" y="1608"/>
                </a:lnTo>
                <a:lnTo>
                  <a:pt x="1506" y="1614"/>
                </a:lnTo>
                <a:lnTo>
                  <a:pt x="1500" y="1614"/>
                </a:lnTo>
                <a:lnTo>
                  <a:pt x="1500" y="1620"/>
                </a:lnTo>
                <a:lnTo>
                  <a:pt x="1500" y="1626"/>
                </a:lnTo>
                <a:lnTo>
                  <a:pt x="1494" y="1632"/>
                </a:lnTo>
                <a:lnTo>
                  <a:pt x="1488" y="1638"/>
                </a:lnTo>
                <a:lnTo>
                  <a:pt x="1482" y="1638"/>
                </a:lnTo>
                <a:lnTo>
                  <a:pt x="1482" y="1644"/>
                </a:lnTo>
                <a:lnTo>
                  <a:pt x="1482" y="1650"/>
                </a:lnTo>
                <a:lnTo>
                  <a:pt x="1482" y="1656"/>
                </a:lnTo>
                <a:lnTo>
                  <a:pt x="1476" y="1662"/>
                </a:lnTo>
                <a:lnTo>
                  <a:pt x="1470" y="1668"/>
                </a:lnTo>
                <a:lnTo>
                  <a:pt x="1464" y="1674"/>
                </a:lnTo>
                <a:lnTo>
                  <a:pt x="1464" y="1680"/>
                </a:lnTo>
                <a:lnTo>
                  <a:pt x="1458" y="1680"/>
                </a:lnTo>
                <a:lnTo>
                  <a:pt x="1452" y="1686"/>
                </a:lnTo>
                <a:lnTo>
                  <a:pt x="1446" y="1686"/>
                </a:lnTo>
                <a:lnTo>
                  <a:pt x="1440" y="1698"/>
                </a:lnTo>
                <a:lnTo>
                  <a:pt x="1440" y="1704"/>
                </a:lnTo>
                <a:lnTo>
                  <a:pt x="1434" y="1710"/>
                </a:lnTo>
                <a:lnTo>
                  <a:pt x="1434" y="1716"/>
                </a:lnTo>
                <a:lnTo>
                  <a:pt x="1428" y="1716"/>
                </a:lnTo>
                <a:lnTo>
                  <a:pt x="1428" y="1722"/>
                </a:lnTo>
                <a:lnTo>
                  <a:pt x="1428" y="1728"/>
                </a:lnTo>
                <a:lnTo>
                  <a:pt x="1422" y="1728"/>
                </a:lnTo>
                <a:lnTo>
                  <a:pt x="1422" y="1734"/>
                </a:lnTo>
                <a:lnTo>
                  <a:pt x="1416" y="1734"/>
                </a:lnTo>
                <a:lnTo>
                  <a:pt x="1410" y="1734"/>
                </a:lnTo>
                <a:lnTo>
                  <a:pt x="1392" y="1746"/>
                </a:lnTo>
                <a:lnTo>
                  <a:pt x="1386" y="1746"/>
                </a:lnTo>
                <a:lnTo>
                  <a:pt x="1368" y="1752"/>
                </a:lnTo>
                <a:lnTo>
                  <a:pt x="1362" y="1758"/>
                </a:lnTo>
                <a:lnTo>
                  <a:pt x="1362" y="1770"/>
                </a:lnTo>
                <a:lnTo>
                  <a:pt x="1356" y="1782"/>
                </a:lnTo>
                <a:close/>
              </a:path>
            </a:pathLst>
          </a:custGeom>
          <a:solidFill>
            <a:srgbClr val="CD202C"/>
          </a:solidFill>
          <a:ln w="9525">
            <a:solidFill>
              <a:schemeClr val="bg1"/>
            </a:solidFill>
            <a:round/>
            <a:headEnd/>
            <a:tailEnd/>
          </a:ln>
        </p:spPr>
        <p:txBody>
          <a:bodyPr/>
          <a:lstStyle/>
          <a:p>
            <a:endParaRPr lang="en-GB">
              <a:solidFill>
                <a:schemeClr val="bg1"/>
              </a:solidFill>
            </a:endParaRPr>
          </a:p>
        </p:txBody>
      </p:sp>
      <p:sp>
        <p:nvSpPr>
          <p:cNvPr id="20525" name="Rectangle 42"/>
          <p:cNvSpPr>
            <a:spLocks noChangeArrowheads="1"/>
          </p:cNvSpPr>
          <p:nvPr/>
        </p:nvSpPr>
        <p:spPr bwMode="gray">
          <a:xfrm>
            <a:off x="1638300" y="5240338"/>
            <a:ext cx="311150" cy="249237"/>
          </a:xfrm>
          <a:prstGeom prst="rect">
            <a:avLst/>
          </a:prstGeom>
          <a:noFill/>
          <a:ln w="9525">
            <a:noFill/>
            <a:miter lim="800000"/>
            <a:headEnd/>
            <a:tailEnd/>
          </a:ln>
        </p:spPr>
        <p:txBody>
          <a:bodyPr lIns="0" tIns="0" rIns="0" bIns="0">
            <a:spAutoFit/>
          </a:bodyPr>
          <a:lstStyle/>
          <a:p>
            <a:r>
              <a:rPr lang="en-US" sz="800" b="1"/>
              <a:t>Lagos</a:t>
            </a:r>
          </a:p>
          <a:p>
            <a:r>
              <a:rPr lang="en-US" sz="800" b="1"/>
              <a:t>    (30)</a:t>
            </a:r>
          </a:p>
        </p:txBody>
      </p:sp>
      <p:sp>
        <p:nvSpPr>
          <p:cNvPr id="20526" name="Rectangle 43"/>
          <p:cNvSpPr>
            <a:spLocks noChangeArrowheads="1"/>
          </p:cNvSpPr>
          <p:nvPr/>
        </p:nvSpPr>
        <p:spPr bwMode="gray">
          <a:xfrm>
            <a:off x="2881313" y="6080125"/>
            <a:ext cx="404812"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Bayelsa</a:t>
            </a:r>
          </a:p>
          <a:p>
            <a:r>
              <a:rPr lang="en-US" sz="800" b="1">
                <a:solidFill>
                  <a:schemeClr val="bg1"/>
                </a:solidFill>
              </a:rPr>
              <a:t>   (44)</a:t>
            </a:r>
          </a:p>
        </p:txBody>
      </p:sp>
      <p:sp>
        <p:nvSpPr>
          <p:cNvPr id="20527" name="Rectangle 44"/>
          <p:cNvSpPr>
            <a:spLocks noChangeArrowheads="1"/>
          </p:cNvSpPr>
          <p:nvPr/>
        </p:nvSpPr>
        <p:spPr bwMode="gray">
          <a:xfrm>
            <a:off x="3355975" y="5959475"/>
            <a:ext cx="319088"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Rivers</a:t>
            </a:r>
          </a:p>
          <a:p>
            <a:r>
              <a:rPr lang="en-US" sz="800" b="1">
                <a:solidFill>
                  <a:schemeClr val="bg1"/>
                </a:solidFill>
              </a:rPr>
              <a:t>  (56)</a:t>
            </a:r>
          </a:p>
        </p:txBody>
      </p:sp>
      <p:sp>
        <p:nvSpPr>
          <p:cNvPr id="20528" name="Rectangle 45"/>
          <p:cNvSpPr>
            <a:spLocks noChangeArrowheads="1"/>
          </p:cNvSpPr>
          <p:nvPr/>
        </p:nvSpPr>
        <p:spPr bwMode="gray">
          <a:xfrm>
            <a:off x="3559175" y="5673725"/>
            <a:ext cx="190500"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Imo</a:t>
            </a:r>
          </a:p>
          <a:p>
            <a:r>
              <a:rPr lang="en-US" sz="800" b="1">
                <a:solidFill>
                  <a:schemeClr val="bg1"/>
                </a:solidFill>
              </a:rPr>
              <a:t>(43)</a:t>
            </a:r>
          </a:p>
        </p:txBody>
      </p:sp>
      <p:sp>
        <p:nvSpPr>
          <p:cNvPr id="20529" name="Rectangle 46"/>
          <p:cNvSpPr>
            <a:spLocks noChangeArrowheads="1"/>
          </p:cNvSpPr>
          <p:nvPr/>
        </p:nvSpPr>
        <p:spPr bwMode="gray">
          <a:xfrm>
            <a:off x="3778250" y="5656263"/>
            <a:ext cx="255588"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Abia</a:t>
            </a:r>
          </a:p>
          <a:p>
            <a:r>
              <a:rPr lang="en-US" sz="800" b="1">
                <a:solidFill>
                  <a:schemeClr val="bg1"/>
                </a:solidFill>
              </a:rPr>
              <a:t>(42)</a:t>
            </a:r>
          </a:p>
        </p:txBody>
      </p:sp>
      <p:sp>
        <p:nvSpPr>
          <p:cNvPr id="20530" name="Rectangle 47"/>
          <p:cNvSpPr>
            <a:spLocks noChangeArrowheads="1"/>
          </p:cNvSpPr>
          <p:nvPr/>
        </p:nvSpPr>
        <p:spPr bwMode="gray">
          <a:xfrm>
            <a:off x="3870325" y="5976938"/>
            <a:ext cx="271463" cy="373062"/>
          </a:xfrm>
          <a:prstGeom prst="rect">
            <a:avLst/>
          </a:prstGeom>
          <a:noFill/>
          <a:ln w="9525">
            <a:noFill/>
            <a:miter lim="800000"/>
            <a:headEnd/>
            <a:tailEnd/>
          </a:ln>
        </p:spPr>
        <p:txBody>
          <a:bodyPr wrap="none" lIns="0" tIns="0" rIns="0" bIns="0" anchor="ctr" anchorCtr="1">
            <a:spAutoFit/>
          </a:bodyPr>
          <a:lstStyle/>
          <a:p>
            <a:r>
              <a:rPr lang="en-US" sz="800" b="1">
                <a:solidFill>
                  <a:schemeClr val="bg1"/>
                </a:solidFill>
              </a:rPr>
              <a:t>Akwa</a:t>
            </a:r>
            <a:br>
              <a:rPr lang="en-US" sz="800" b="1">
                <a:solidFill>
                  <a:schemeClr val="bg1"/>
                </a:solidFill>
              </a:rPr>
            </a:br>
            <a:r>
              <a:rPr lang="en-US" sz="800" b="1">
                <a:solidFill>
                  <a:schemeClr val="bg1"/>
                </a:solidFill>
              </a:rPr>
              <a:t>Ibom</a:t>
            </a:r>
          </a:p>
          <a:p>
            <a:r>
              <a:rPr lang="en-US" sz="800" b="1">
                <a:solidFill>
                  <a:schemeClr val="bg1"/>
                </a:solidFill>
              </a:rPr>
              <a:t>  (50)</a:t>
            </a:r>
          </a:p>
        </p:txBody>
      </p:sp>
      <p:sp>
        <p:nvSpPr>
          <p:cNvPr id="20531" name="Rectangle 48"/>
          <p:cNvSpPr>
            <a:spLocks noChangeArrowheads="1"/>
          </p:cNvSpPr>
          <p:nvPr/>
        </p:nvSpPr>
        <p:spPr bwMode="gray">
          <a:xfrm>
            <a:off x="6019800" y="3576638"/>
            <a:ext cx="506413" cy="249237"/>
          </a:xfrm>
          <a:prstGeom prst="rect">
            <a:avLst/>
          </a:prstGeom>
          <a:noFill/>
          <a:ln w="9525">
            <a:noFill/>
            <a:miter lim="800000"/>
            <a:headEnd/>
            <a:tailEnd/>
          </a:ln>
        </p:spPr>
        <p:txBody>
          <a:bodyPr lIns="0" tIns="0" rIns="0" bIns="0" anchor="ctr" anchorCtr="1">
            <a:spAutoFit/>
          </a:bodyPr>
          <a:lstStyle/>
          <a:p>
            <a:r>
              <a:rPr lang="en-US" sz="800" b="1"/>
              <a:t>Adamawa</a:t>
            </a:r>
          </a:p>
          <a:p>
            <a:r>
              <a:rPr lang="en-US" sz="800" b="1"/>
              <a:t>    (33)</a:t>
            </a:r>
          </a:p>
        </p:txBody>
      </p:sp>
      <p:sp>
        <p:nvSpPr>
          <p:cNvPr id="20532" name="Rectangle 49"/>
          <p:cNvSpPr>
            <a:spLocks noChangeArrowheads="1"/>
          </p:cNvSpPr>
          <p:nvPr/>
        </p:nvSpPr>
        <p:spPr bwMode="gray">
          <a:xfrm>
            <a:off x="4932363" y="3017838"/>
            <a:ext cx="347662" cy="249237"/>
          </a:xfrm>
          <a:prstGeom prst="rect">
            <a:avLst/>
          </a:prstGeom>
          <a:noFill/>
          <a:ln w="9525">
            <a:noFill/>
            <a:miter lim="800000"/>
            <a:headEnd/>
            <a:tailEnd/>
          </a:ln>
        </p:spPr>
        <p:txBody>
          <a:bodyPr lIns="0" tIns="0" rIns="0" bIns="0" anchor="ctr" anchorCtr="1">
            <a:spAutoFit/>
          </a:bodyPr>
          <a:lstStyle/>
          <a:p>
            <a:r>
              <a:rPr lang="en-US" sz="800" b="1"/>
              <a:t>Bauchi</a:t>
            </a:r>
          </a:p>
          <a:p>
            <a:r>
              <a:rPr lang="en-US" sz="800" b="1"/>
              <a:t>  (37)</a:t>
            </a:r>
          </a:p>
        </p:txBody>
      </p:sp>
      <p:sp>
        <p:nvSpPr>
          <p:cNvPr id="20533" name="Rectangle 50"/>
          <p:cNvSpPr>
            <a:spLocks noChangeArrowheads="1"/>
          </p:cNvSpPr>
          <p:nvPr/>
        </p:nvSpPr>
        <p:spPr bwMode="gray">
          <a:xfrm>
            <a:off x="5588000" y="3416300"/>
            <a:ext cx="371475"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Gombe</a:t>
            </a:r>
          </a:p>
          <a:p>
            <a:r>
              <a:rPr lang="en-US" sz="800" b="1">
                <a:solidFill>
                  <a:schemeClr val="bg1"/>
                </a:solidFill>
              </a:rPr>
              <a:t>  (47)</a:t>
            </a:r>
          </a:p>
        </p:txBody>
      </p:sp>
      <p:sp>
        <p:nvSpPr>
          <p:cNvPr id="20534" name="Rectangle 51"/>
          <p:cNvSpPr>
            <a:spLocks noChangeArrowheads="1"/>
          </p:cNvSpPr>
          <p:nvPr/>
        </p:nvSpPr>
        <p:spPr bwMode="gray">
          <a:xfrm>
            <a:off x="3778250" y="3160713"/>
            <a:ext cx="3937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aduna</a:t>
            </a:r>
          </a:p>
          <a:p>
            <a:r>
              <a:rPr lang="en-US" sz="800" b="1">
                <a:solidFill>
                  <a:schemeClr val="bg1"/>
                </a:solidFill>
              </a:rPr>
              <a:t>   (56)</a:t>
            </a:r>
          </a:p>
        </p:txBody>
      </p:sp>
      <p:sp>
        <p:nvSpPr>
          <p:cNvPr id="20535" name="Rectangle 52"/>
          <p:cNvSpPr>
            <a:spLocks noChangeArrowheads="1"/>
          </p:cNvSpPr>
          <p:nvPr/>
        </p:nvSpPr>
        <p:spPr bwMode="gray">
          <a:xfrm>
            <a:off x="3625850" y="3989388"/>
            <a:ext cx="203200" cy="246062"/>
          </a:xfrm>
          <a:prstGeom prst="rect">
            <a:avLst/>
          </a:prstGeom>
          <a:noFill/>
          <a:ln w="9525">
            <a:noFill/>
            <a:miter lim="800000"/>
            <a:headEnd/>
            <a:tailEnd/>
          </a:ln>
        </p:spPr>
        <p:txBody>
          <a:bodyPr lIns="0" tIns="0" rIns="0" bIns="0" anchor="ctr" anchorCtr="1">
            <a:spAutoFit/>
          </a:bodyPr>
          <a:lstStyle/>
          <a:p>
            <a:r>
              <a:rPr lang="en-US" sz="800" b="1"/>
              <a:t>FCT</a:t>
            </a:r>
          </a:p>
          <a:p>
            <a:r>
              <a:rPr lang="en-US" sz="800" b="1"/>
              <a:t>(30)</a:t>
            </a:r>
          </a:p>
        </p:txBody>
      </p:sp>
      <p:sp>
        <p:nvSpPr>
          <p:cNvPr id="20536" name="Rectangle 53"/>
          <p:cNvSpPr>
            <a:spLocks noChangeArrowheads="1"/>
          </p:cNvSpPr>
          <p:nvPr/>
        </p:nvSpPr>
        <p:spPr bwMode="gray">
          <a:xfrm>
            <a:off x="3935413" y="4176713"/>
            <a:ext cx="566737"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Nassarawa</a:t>
            </a:r>
          </a:p>
          <a:p>
            <a:r>
              <a:rPr lang="en-US" sz="800" b="1">
                <a:solidFill>
                  <a:schemeClr val="bg1"/>
                </a:solidFill>
              </a:rPr>
              <a:t>      (49)</a:t>
            </a:r>
          </a:p>
        </p:txBody>
      </p:sp>
      <p:sp>
        <p:nvSpPr>
          <p:cNvPr id="20537" name="Rectangle 54"/>
          <p:cNvSpPr>
            <a:spLocks noChangeArrowheads="1"/>
          </p:cNvSpPr>
          <p:nvPr/>
        </p:nvSpPr>
        <p:spPr bwMode="gray">
          <a:xfrm>
            <a:off x="4679950" y="3805238"/>
            <a:ext cx="385763"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Plateau</a:t>
            </a:r>
          </a:p>
          <a:p>
            <a:r>
              <a:rPr lang="en-US" sz="800" b="1">
                <a:solidFill>
                  <a:schemeClr val="bg1"/>
                </a:solidFill>
              </a:rPr>
              <a:t>   (45)</a:t>
            </a:r>
          </a:p>
        </p:txBody>
      </p:sp>
      <p:sp>
        <p:nvSpPr>
          <p:cNvPr id="20538" name="Rectangle 55"/>
          <p:cNvSpPr>
            <a:spLocks noChangeArrowheads="1"/>
          </p:cNvSpPr>
          <p:nvPr/>
        </p:nvSpPr>
        <p:spPr bwMode="gray">
          <a:xfrm>
            <a:off x="5327650" y="4438650"/>
            <a:ext cx="360363" cy="249238"/>
          </a:xfrm>
          <a:prstGeom prst="rect">
            <a:avLst/>
          </a:prstGeom>
          <a:noFill/>
          <a:ln w="9525">
            <a:noFill/>
            <a:miter lim="800000"/>
            <a:headEnd/>
            <a:tailEnd/>
          </a:ln>
        </p:spPr>
        <p:txBody>
          <a:bodyPr lIns="0" tIns="0" rIns="0" bIns="0" anchor="ctr" anchorCtr="1">
            <a:spAutoFit/>
          </a:bodyPr>
          <a:lstStyle/>
          <a:p>
            <a:r>
              <a:rPr lang="en-US" sz="800" b="1"/>
              <a:t>Taraba</a:t>
            </a:r>
          </a:p>
          <a:p>
            <a:r>
              <a:rPr lang="en-US" sz="800" b="1"/>
              <a:t>   (12)</a:t>
            </a:r>
          </a:p>
        </p:txBody>
      </p:sp>
      <p:sp>
        <p:nvSpPr>
          <p:cNvPr id="20539" name="Rectangle 56"/>
          <p:cNvSpPr>
            <a:spLocks noChangeArrowheads="1"/>
          </p:cNvSpPr>
          <p:nvPr/>
        </p:nvSpPr>
        <p:spPr bwMode="gray">
          <a:xfrm>
            <a:off x="4316413" y="4784725"/>
            <a:ext cx="331787" cy="249238"/>
          </a:xfrm>
          <a:prstGeom prst="rect">
            <a:avLst/>
          </a:prstGeom>
          <a:noFill/>
          <a:ln w="9525">
            <a:noFill/>
            <a:miter lim="800000"/>
            <a:headEnd/>
            <a:tailEnd/>
          </a:ln>
        </p:spPr>
        <p:txBody>
          <a:bodyPr lIns="0" tIns="0" rIns="0" bIns="0" anchor="ctr" anchorCtr="1">
            <a:spAutoFit/>
          </a:bodyPr>
          <a:lstStyle/>
          <a:p>
            <a:r>
              <a:rPr lang="en-US" sz="800" b="1"/>
              <a:t>Benue</a:t>
            </a:r>
          </a:p>
          <a:p>
            <a:r>
              <a:rPr lang="en-US" sz="800" b="1"/>
              <a:t>  (33)</a:t>
            </a:r>
          </a:p>
        </p:txBody>
      </p:sp>
      <p:sp>
        <p:nvSpPr>
          <p:cNvPr id="20540" name="Rectangle 57"/>
          <p:cNvSpPr>
            <a:spLocks noChangeArrowheads="1"/>
          </p:cNvSpPr>
          <p:nvPr/>
        </p:nvSpPr>
        <p:spPr bwMode="gray">
          <a:xfrm>
            <a:off x="4168775" y="5629275"/>
            <a:ext cx="295275" cy="373063"/>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Cross</a:t>
            </a:r>
          </a:p>
          <a:p>
            <a:r>
              <a:rPr lang="en-US" sz="800" b="1">
                <a:solidFill>
                  <a:schemeClr val="bg1"/>
                </a:solidFill>
              </a:rPr>
              <a:t>River</a:t>
            </a:r>
          </a:p>
          <a:p>
            <a:r>
              <a:rPr lang="en-US" sz="800" b="1">
                <a:solidFill>
                  <a:schemeClr val="bg1"/>
                </a:solidFill>
              </a:rPr>
              <a:t>   (38)</a:t>
            </a:r>
          </a:p>
        </p:txBody>
      </p:sp>
      <p:sp>
        <p:nvSpPr>
          <p:cNvPr id="20541" name="Rectangle 58"/>
          <p:cNvSpPr>
            <a:spLocks noChangeArrowheads="1"/>
          </p:cNvSpPr>
          <p:nvPr/>
        </p:nvSpPr>
        <p:spPr bwMode="gray">
          <a:xfrm>
            <a:off x="3665538" y="5048250"/>
            <a:ext cx="330200" cy="249238"/>
          </a:xfrm>
          <a:prstGeom prst="rect">
            <a:avLst/>
          </a:prstGeom>
          <a:noFill/>
          <a:ln w="9525">
            <a:noFill/>
            <a:miter lim="800000"/>
            <a:headEnd/>
            <a:tailEnd/>
          </a:ln>
        </p:spPr>
        <p:txBody>
          <a:bodyPr lIns="0" tIns="0" rIns="0" bIns="0" anchor="ctr" anchorCtr="1">
            <a:spAutoFit/>
          </a:bodyPr>
          <a:lstStyle/>
          <a:p>
            <a:r>
              <a:rPr lang="en-US" sz="800" b="1"/>
              <a:t>Enugu</a:t>
            </a:r>
          </a:p>
          <a:p>
            <a:r>
              <a:rPr lang="en-US" sz="800" b="1"/>
              <a:t>   (35)</a:t>
            </a:r>
          </a:p>
        </p:txBody>
      </p:sp>
      <p:sp>
        <p:nvSpPr>
          <p:cNvPr id="20542" name="Rectangle 59"/>
          <p:cNvSpPr>
            <a:spLocks noChangeArrowheads="1"/>
          </p:cNvSpPr>
          <p:nvPr/>
        </p:nvSpPr>
        <p:spPr bwMode="gray">
          <a:xfrm>
            <a:off x="3948113" y="5327650"/>
            <a:ext cx="347662" cy="249238"/>
          </a:xfrm>
          <a:prstGeom prst="rect">
            <a:avLst/>
          </a:prstGeom>
          <a:noFill/>
          <a:ln w="9525">
            <a:noFill/>
            <a:miter lim="800000"/>
            <a:headEnd/>
            <a:tailEnd/>
          </a:ln>
        </p:spPr>
        <p:txBody>
          <a:bodyPr lIns="0" tIns="0" rIns="0" bIns="0" anchor="ctr" anchorCtr="1">
            <a:spAutoFit/>
          </a:bodyPr>
          <a:lstStyle/>
          <a:p>
            <a:r>
              <a:rPr lang="en-US" sz="800" b="1"/>
              <a:t>Ebonyi</a:t>
            </a:r>
          </a:p>
          <a:p>
            <a:r>
              <a:rPr lang="en-US" sz="800" b="1"/>
              <a:t>    (33)</a:t>
            </a:r>
          </a:p>
        </p:txBody>
      </p:sp>
      <p:sp>
        <p:nvSpPr>
          <p:cNvPr id="20543" name="Rectangle 60"/>
          <p:cNvSpPr>
            <a:spLocks noChangeArrowheads="1"/>
          </p:cNvSpPr>
          <p:nvPr/>
        </p:nvSpPr>
        <p:spPr bwMode="gray">
          <a:xfrm>
            <a:off x="3328988" y="5289550"/>
            <a:ext cx="461962" cy="249238"/>
          </a:xfrm>
          <a:prstGeom prst="rect">
            <a:avLst/>
          </a:prstGeom>
          <a:noFill/>
          <a:ln w="9525">
            <a:noFill/>
            <a:miter lim="800000"/>
            <a:headEnd/>
            <a:tailEnd/>
          </a:ln>
        </p:spPr>
        <p:txBody>
          <a:bodyPr lIns="0" tIns="0" rIns="0" bIns="0" anchor="ctr" anchorCtr="1">
            <a:spAutoFit/>
          </a:bodyPr>
          <a:lstStyle/>
          <a:p>
            <a:r>
              <a:rPr lang="en-US" sz="800" b="1"/>
              <a:t>Anambra</a:t>
            </a:r>
          </a:p>
          <a:p>
            <a:r>
              <a:rPr lang="en-US" sz="800" b="1"/>
              <a:t>      (28)</a:t>
            </a:r>
          </a:p>
        </p:txBody>
      </p:sp>
      <p:sp>
        <p:nvSpPr>
          <p:cNvPr id="20544" name="Rectangle 61"/>
          <p:cNvSpPr>
            <a:spLocks noChangeArrowheads="1"/>
          </p:cNvSpPr>
          <p:nvPr/>
        </p:nvSpPr>
        <p:spPr bwMode="gray">
          <a:xfrm>
            <a:off x="3011488" y="5688013"/>
            <a:ext cx="265112" cy="249237"/>
          </a:xfrm>
          <a:prstGeom prst="rect">
            <a:avLst/>
          </a:prstGeom>
          <a:noFill/>
          <a:ln w="9525">
            <a:noFill/>
            <a:miter lim="800000"/>
            <a:headEnd/>
            <a:tailEnd/>
          </a:ln>
        </p:spPr>
        <p:txBody>
          <a:bodyPr lIns="0" tIns="0" rIns="0" bIns="0" anchor="ctr" anchorCtr="1">
            <a:spAutoFit/>
          </a:bodyPr>
          <a:lstStyle/>
          <a:p>
            <a:r>
              <a:rPr lang="en-US" sz="800" b="1"/>
              <a:t>Delta</a:t>
            </a:r>
          </a:p>
          <a:p>
            <a:r>
              <a:rPr lang="en-US" sz="800" b="1"/>
              <a:t>  (35)</a:t>
            </a:r>
          </a:p>
        </p:txBody>
      </p:sp>
      <p:sp>
        <p:nvSpPr>
          <p:cNvPr id="20545" name="Rectangle 62"/>
          <p:cNvSpPr>
            <a:spLocks noChangeArrowheads="1"/>
          </p:cNvSpPr>
          <p:nvPr/>
        </p:nvSpPr>
        <p:spPr bwMode="gray">
          <a:xfrm>
            <a:off x="2967038" y="5143500"/>
            <a:ext cx="203200" cy="249238"/>
          </a:xfrm>
          <a:prstGeom prst="rect">
            <a:avLst/>
          </a:prstGeom>
          <a:noFill/>
          <a:ln w="9525">
            <a:noFill/>
            <a:miter lim="800000"/>
            <a:headEnd/>
            <a:tailEnd/>
          </a:ln>
        </p:spPr>
        <p:txBody>
          <a:bodyPr lIns="0" tIns="0" rIns="0" bIns="0" anchor="ctr" anchorCtr="1">
            <a:spAutoFit/>
          </a:bodyPr>
          <a:lstStyle/>
          <a:p>
            <a:r>
              <a:rPr lang="en-US" sz="800" b="1"/>
              <a:t>Edo</a:t>
            </a:r>
          </a:p>
          <a:p>
            <a:r>
              <a:rPr lang="en-US" sz="800" b="1"/>
              <a:t>(37)</a:t>
            </a:r>
          </a:p>
        </p:txBody>
      </p:sp>
      <p:sp>
        <p:nvSpPr>
          <p:cNvPr id="20546" name="Rectangle 63"/>
          <p:cNvSpPr>
            <a:spLocks noChangeArrowheads="1"/>
          </p:cNvSpPr>
          <p:nvPr/>
        </p:nvSpPr>
        <p:spPr bwMode="gray">
          <a:xfrm>
            <a:off x="3340100" y="4579938"/>
            <a:ext cx="228600" cy="249237"/>
          </a:xfrm>
          <a:prstGeom prst="rect">
            <a:avLst/>
          </a:prstGeom>
          <a:noFill/>
          <a:ln w="9525">
            <a:noFill/>
            <a:miter lim="800000"/>
            <a:headEnd/>
            <a:tailEnd/>
          </a:ln>
        </p:spPr>
        <p:txBody>
          <a:bodyPr lIns="0" tIns="0" rIns="0" bIns="0" anchor="ctr" anchorCtr="1">
            <a:spAutoFit/>
          </a:bodyPr>
          <a:lstStyle/>
          <a:p>
            <a:r>
              <a:rPr lang="en-US" sz="800" b="1"/>
              <a:t>Kogi</a:t>
            </a:r>
          </a:p>
          <a:p>
            <a:r>
              <a:rPr lang="en-US" sz="800" b="1"/>
              <a:t> (40)</a:t>
            </a:r>
          </a:p>
        </p:txBody>
      </p:sp>
      <p:sp>
        <p:nvSpPr>
          <p:cNvPr id="20547" name="Rectangle 64"/>
          <p:cNvSpPr>
            <a:spLocks noChangeArrowheads="1"/>
          </p:cNvSpPr>
          <p:nvPr/>
        </p:nvSpPr>
        <p:spPr bwMode="gray">
          <a:xfrm>
            <a:off x="1809750" y="4356100"/>
            <a:ext cx="209550" cy="249238"/>
          </a:xfrm>
          <a:prstGeom prst="rect">
            <a:avLst/>
          </a:prstGeom>
          <a:noFill/>
          <a:ln w="9525">
            <a:noFill/>
            <a:miter lim="800000"/>
            <a:headEnd/>
            <a:tailEnd/>
          </a:ln>
        </p:spPr>
        <p:txBody>
          <a:bodyPr lIns="0" tIns="0" rIns="0" bIns="0" anchor="ctr" anchorCtr="1">
            <a:spAutoFit/>
          </a:bodyPr>
          <a:lstStyle/>
          <a:p>
            <a:r>
              <a:rPr lang="en-US" sz="800" b="1"/>
              <a:t>Oyo</a:t>
            </a:r>
          </a:p>
          <a:p>
            <a:r>
              <a:rPr lang="en-US" sz="800" b="1"/>
              <a:t>(22)</a:t>
            </a:r>
          </a:p>
        </p:txBody>
      </p:sp>
      <p:sp>
        <p:nvSpPr>
          <p:cNvPr id="20548" name="Rectangle 65"/>
          <p:cNvSpPr>
            <a:spLocks noChangeArrowheads="1"/>
          </p:cNvSpPr>
          <p:nvPr/>
        </p:nvSpPr>
        <p:spPr bwMode="gray">
          <a:xfrm>
            <a:off x="1708150" y="4953000"/>
            <a:ext cx="279400" cy="249238"/>
          </a:xfrm>
          <a:prstGeom prst="rect">
            <a:avLst/>
          </a:prstGeom>
          <a:noFill/>
          <a:ln w="9525">
            <a:noFill/>
            <a:miter lim="800000"/>
            <a:headEnd/>
            <a:tailEnd/>
          </a:ln>
        </p:spPr>
        <p:txBody>
          <a:bodyPr lIns="0" tIns="0" rIns="0" bIns="0" anchor="ctr" anchorCtr="1">
            <a:spAutoFit/>
          </a:bodyPr>
          <a:lstStyle/>
          <a:p>
            <a:r>
              <a:rPr lang="en-US" sz="800" b="1"/>
              <a:t>Ogun</a:t>
            </a:r>
          </a:p>
          <a:p>
            <a:r>
              <a:rPr lang="en-US" sz="800" b="1"/>
              <a:t>  (20)</a:t>
            </a:r>
          </a:p>
        </p:txBody>
      </p:sp>
      <p:sp>
        <p:nvSpPr>
          <p:cNvPr id="20549" name="Rectangle 66"/>
          <p:cNvSpPr>
            <a:spLocks noChangeArrowheads="1"/>
          </p:cNvSpPr>
          <p:nvPr/>
        </p:nvSpPr>
        <p:spPr bwMode="gray">
          <a:xfrm>
            <a:off x="2201863" y="4586288"/>
            <a:ext cx="273050" cy="249237"/>
          </a:xfrm>
          <a:prstGeom prst="rect">
            <a:avLst/>
          </a:prstGeom>
          <a:noFill/>
          <a:ln w="9525">
            <a:noFill/>
            <a:miter lim="800000"/>
            <a:headEnd/>
            <a:tailEnd/>
          </a:ln>
        </p:spPr>
        <p:txBody>
          <a:bodyPr lIns="0" tIns="0" rIns="0" bIns="0" anchor="ctr" anchorCtr="1">
            <a:spAutoFit/>
          </a:bodyPr>
          <a:lstStyle/>
          <a:p>
            <a:r>
              <a:rPr lang="en-US" sz="800" b="1"/>
              <a:t>Osun</a:t>
            </a:r>
          </a:p>
          <a:p>
            <a:r>
              <a:rPr lang="en-US" sz="800" b="1"/>
              <a:t> (18)</a:t>
            </a:r>
          </a:p>
        </p:txBody>
      </p:sp>
      <p:sp>
        <p:nvSpPr>
          <p:cNvPr id="20550" name="Rectangle 67"/>
          <p:cNvSpPr>
            <a:spLocks noChangeArrowheads="1"/>
          </p:cNvSpPr>
          <p:nvPr/>
        </p:nvSpPr>
        <p:spPr bwMode="gray">
          <a:xfrm>
            <a:off x="2605088" y="4548188"/>
            <a:ext cx="249237" cy="249237"/>
          </a:xfrm>
          <a:prstGeom prst="rect">
            <a:avLst/>
          </a:prstGeom>
          <a:noFill/>
          <a:ln w="9525">
            <a:noFill/>
            <a:miter lim="800000"/>
            <a:headEnd/>
            <a:tailEnd/>
          </a:ln>
        </p:spPr>
        <p:txBody>
          <a:bodyPr lIns="0" tIns="0" rIns="0" bIns="0" anchor="ctr" anchorCtr="1">
            <a:spAutoFit/>
          </a:bodyPr>
          <a:lstStyle/>
          <a:p>
            <a:r>
              <a:rPr lang="en-US" sz="800" b="1"/>
              <a:t>Ekiti</a:t>
            </a:r>
          </a:p>
          <a:p>
            <a:r>
              <a:rPr lang="en-US" sz="800" b="1"/>
              <a:t>(26)</a:t>
            </a:r>
          </a:p>
        </p:txBody>
      </p:sp>
      <p:sp>
        <p:nvSpPr>
          <p:cNvPr id="20551" name="Rectangle 68"/>
          <p:cNvSpPr>
            <a:spLocks noChangeArrowheads="1"/>
          </p:cNvSpPr>
          <p:nvPr/>
        </p:nvSpPr>
        <p:spPr bwMode="gray">
          <a:xfrm>
            <a:off x="2543175" y="4859338"/>
            <a:ext cx="279400" cy="249237"/>
          </a:xfrm>
          <a:prstGeom prst="rect">
            <a:avLst/>
          </a:prstGeom>
          <a:noFill/>
          <a:ln w="9525">
            <a:noFill/>
            <a:miter lim="800000"/>
            <a:headEnd/>
            <a:tailEnd/>
          </a:ln>
        </p:spPr>
        <p:txBody>
          <a:bodyPr lIns="0" tIns="0" rIns="0" bIns="0" anchor="ctr" anchorCtr="1">
            <a:spAutoFit/>
          </a:bodyPr>
          <a:lstStyle/>
          <a:p>
            <a:r>
              <a:rPr lang="en-US" sz="800" b="1"/>
              <a:t>Ondo</a:t>
            </a:r>
          </a:p>
          <a:p>
            <a:r>
              <a:rPr lang="en-US" sz="800" b="1"/>
              <a:t>  (32)</a:t>
            </a:r>
          </a:p>
        </p:txBody>
      </p:sp>
      <p:sp>
        <p:nvSpPr>
          <p:cNvPr id="20552" name="Rectangle 69"/>
          <p:cNvSpPr>
            <a:spLocks noChangeArrowheads="1"/>
          </p:cNvSpPr>
          <p:nvPr/>
        </p:nvSpPr>
        <p:spPr bwMode="gray">
          <a:xfrm>
            <a:off x="2284413" y="4059238"/>
            <a:ext cx="320675" cy="249237"/>
          </a:xfrm>
          <a:prstGeom prst="rect">
            <a:avLst/>
          </a:prstGeom>
          <a:noFill/>
          <a:ln w="9525">
            <a:noFill/>
            <a:miter lim="800000"/>
            <a:headEnd/>
            <a:tailEnd/>
          </a:ln>
        </p:spPr>
        <p:txBody>
          <a:bodyPr lIns="0" tIns="0" rIns="0" bIns="0" anchor="ctr" anchorCtr="1">
            <a:spAutoFit/>
          </a:bodyPr>
          <a:lstStyle/>
          <a:p>
            <a:r>
              <a:rPr lang="en-US" sz="800" b="1"/>
              <a:t>Kwara </a:t>
            </a:r>
          </a:p>
          <a:p>
            <a:r>
              <a:rPr lang="en-US" sz="800" b="1"/>
              <a:t>  (29)</a:t>
            </a:r>
          </a:p>
        </p:txBody>
      </p:sp>
      <p:sp>
        <p:nvSpPr>
          <p:cNvPr id="20553" name="Rectangle 70"/>
          <p:cNvSpPr>
            <a:spLocks noChangeArrowheads="1"/>
          </p:cNvSpPr>
          <p:nvPr/>
        </p:nvSpPr>
        <p:spPr bwMode="gray">
          <a:xfrm>
            <a:off x="2771775" y="3443288"/>
            <a:ext cx="269875" cy="249237"/>
          </a:xfrm>
          <a:prstGeom prst="rect">
            <a:avLst/>
          </a:prstGeom>
          <a:noFill/>
          <a:ln w="9525">
            <a:noFill/>
            <a:miter lim="800000"/>
            <a:headEnd/>
            <a:tailEnd/>
          </a:ln>
        </p:spPr>
        <p:txBody>
          <a:bodyPr lIns="0" tIns="0" rIns="0" bIns="0" anchor="ctr" anchorCtr="1">
            <a:spAutoFit/>
          </a:bodyPr>
          <a:lstStyle/>
          <a:p>
            <a:r>
              <a:rPr lang="en-US" sz="800" b="1"/>
              <a:t>Niger</a:t>
            </a:r>
          </a:p>
          <a:p>
            <a:r>
              <a:rPr lang="en-US" sz="800" b="1"/>
              <a:t>(39)</a:t>
            </a:r>
          </a:p>
        </p:txBody>
      </p:sp>
      <p:sp>
        <p:nvSpPr>
          <p:cNvPr id="20554" name="Rectangle 71"/>
          <p:cNvSpPr>
            <a:spLocks noChangeArrowheads="1"/>
          </p:cNvSpPr>
          <p:nvPr/>
        </p:nvSpPr>
        <p:spPr bwMode="gray">
          <a:xfrm>
            <a:off x="2592388" y="1741488"/>
            <a:ext cx="3556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Sokoto</a:t>
            </a:r>
          </a:p>
          <a:p>
            <a:r>
              <a:rPr lang="en-US" sz="800" b="1">
                <a:solidFill>
                  <a:schemeClr val="bg1"/>
                </a:solidFill>
              </a:rPr>
              <a:t>   (45)</a:t>
            </a:r>
          </a:p>
        </p:txBody>
      </p:sp>
      <p:sp>
        <p:nvSpPr>
          <p:cNvPr id="20555" name="Rectangle 72"/>
          <p:cNvSpPr>
            <a:spLocks noChangeArrowheads="1"/>
          </p:cNvSpPr>
          <p:nvPr/>
        </p:nvSpPr>
        <p:spPr bwMode="gray">
          <a:xfrm>
            <a:off x="1995488" y="2417763"/>
            <a:ext cx="292100" cy="249237"/>
          </a:xfrm>
          <a:prstGeom prst="rect">
            <a:avLst/>
          </a:prstGeom>
          <a:noFill/>
          <a:ln w="9525">
            <a:noFill/>
            <a:miter lim="800000"/>
            <a:headEnd/>
            <a:tailEnd/>
          </a:ln>
        </p:spPr>
        <p:txBody>
          <a:bodyPr lIns="0" tIns="0" rIns="0" bIns="0" anchor="ctr" anchorCtr="1">
            <a:spAutoFit/>
          </a:bodyPr>
          <a:lstStyle/>
          <a:p>
            <a:r>
              <a:rPr lang="en-US" sz="800" b="1"/>
              <a:t>Kebbi</a:t>
            </a:r>
          </a:p>
          <a:p>
            <a:r>
              <a:rPr lang="en-US" sz="800" b="1"/>
              <a:t> (30)</a:t>
            </a:r>
          </a:p>
        </p:txBody>
      </p:sp>
      <p:sp>
        <p:nvSpPr>
          <p:cNvPr id="20556" name="Rectangle 73"/>
          <p:cNvSpPr>
            <a:spLocks noChangeArrowheads="1"/>
          </p:cNvSpPr>
          <p:nvPr/>
        </p:nvSpPr>
        <p:spPr bwMode="gray">
          <a:xfrm>
            <a:off x="3017838" y="2327275"/>
            <a:ext cx="422275" cy="249238"/>
          </a:xfrm>
          <a:prstGeom prst="rect">
            <a:avLst/>
          </a:prstGeom>
          <a:noFill/>
          <a:ln w="9525">
            <a:noFill/>
            <a:miter lim="800000"/>
            <a:headEnd/>
            <a:tailEnd/>
          </a:ln>
        </p:spPr>
        <p:txBody>
          <a:bodyPr lIns="0" tIns="0" rIns="0" bIns="0" anchor="ctr" anchorCtr="1">
            <a:spAutoFit/>
          </a:bodyPr>
          <a:lstStyle/>
          <a:p>
            <a:r>
              <a:rPr lang="en-US" sz="800" b="1"/>
              <a:t>Zamfara</a:t>
            </a:r>
          </a:p>
          <a:p>
            <a:r>
              <a:rPr lang="en-US" sz="800" b="1"/>
              <a:t>   (33)</a:t>
            </a:r>
          </a:p>
        </p:txBody>
      </p:sp>
      <p:sp>
        <p:nvSpPr>
          <p:cNvPr id="20557" name="Rectangle 74"/>
          <p:cNvSpPr>
            <a:spLocks noChangeArrowheads="1"/>
          </p:cNvSpPr>
          <p:nvPr/>
        </p:nvSpPr>
        <p:spPr bwMode="gray">
          <a:xfrm>
            <a:off x="3717925" y="1989138"/>
            <a:ext cx="379413"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atsina</a:t>
            </a:r>
          </a:p>
          <a:p>
            <a:r>
              <a:rPr lang="en-US" sz="800" b="1">
                <a:solidFill>
                  <a:schemeClr val="bg1"/>
                </a:solidFill>
              </a:rPr>
              <a:t>  (48)</a:t>
            </a:r>
          </a:p>
        </p:txBody>
      </p:sp>
      <p:sp>
        <p:nvSpPr>
          <p:cNvPr id="20558" name="Rectangle 75"/>
          <p:cNvSpPr>
            <a:spLocks noChangeArrowheads="1"/>
          </p:cNvSpPr>
          <p:nvPr/>
        </p:nvSpPr>
        <p:spPr bwMode="gray">
          <a:xfrm>
            <a:off x="4237038" y="2608263"/>
            <a:ext cx="2667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Kano</a:t>
            </a:r>
          </a:p>
          <a:p>
            <a:r>
              <a:rPr lang="en-US" sz="800" b="1">
                <a:solidFill>
                  <a:schemeClr val="bg1"/>
                </a:solidFill>
              </a:rPr>
              <a:t>(48)</a:t>
            </a:r>
          </a:p>
        </p:txBody>
      </p:sp>
      <p:sp>
        <p:nvSpPr>
          <p:cNvPr id="20559" name="Rectangle 76"/>
          <p:cNvSpPr>
            <a:spLocks noChangeArrowheads="1"/>
          </p:cNvSpPr>
          <p:nvPr/>
        </p:nvSpPr>
        <p:spPr bwMode="gray">
          <a:xfrm>
            <a:off x="5672138" y="2227263"/>
            <a:ext cx="266700" cy="249237"/>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Yobe</a:t>
            </a:r>
          </a:p>
          <a:p>
            <a:r>
              <a:rPr lang="en-US" sz="800" b="1">
                <a:solidFill>
                  <a:schemeClr val="bg1"/>
                </a:solidFill>
              </a:rPr>
              <a:t> (55)</a:t>
            </a:r>
          </a:p>
        </p:txBody>
      </p:sp>
      <p:sp>
        <p:nvSpPr>
          <p:cNvPr id="20560" name="Rectangle 77"/>
          <p:cNvSpPr>
            <a:spLocks noChangeArrowheads="1"/>
          </p:cNvSpPr>
          <p:nvPr/>
        </p:nvSpPr>
        <p:spPr bwMode="gray">
          <a:xfrm>
            <a:off x="4679950" y="2143125"/>
            <a:ext cx="352425"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Jigawa</a:t>
            </a:r>
          </a:p>
          <a:p>
            <a:r>
              <a:rPr lang="en-US" sz="800" b="1">
                <a:solidFill>
                  <a:schemeClr val="bg1"/>
                </a:solidFill>
              </a:rPr>
              <a:t>  (59)</a:t>
            </a:r>
          </a:p>
        </p:txBody>
      </p:sp>
      <p:sp>
        <p:nvSpPr>
          <p:cNvPr id="20561" name="Rectangle 78"/>
          <p:cNvSpPr>
            <a:spLocks noChangeArrowheads="1"/>
          </p:cNvSpPr>
          <p:nvPr/>
        </p:nvSpPr>
        <p:spPr bwMode="gray">
          <a:xfrm>
            <a:off x="6530975" y="2432050"/>
            <a:ext cx="303213" cy="249238"/>
          </a:xfrm>
          <a:prstGeom prst="rect">
            <a:avLst/>
          </a:prstGeom>
          <a:noFill/>
          <a:ln w="9525">
            <a:noFill/>
            <a:miter lim="800000"/>
            <a:headEnd/>
            <a:tailEnd/>
          </a:ln>
        </p:spPr>
        <p:txBody>
          <a:bodyPr lIns="0" tIns="0" rIns="0" bIns="0" anchor="ctr" anchorCtr="1">
            <a:spAutoFit/>
          </a:bodyPr>
          <a:lstStyle/>
          <a:p>
            <a:r>
              <a:rPr lang="en-US" sz="800" b="1">
                <a:solidFill>
                  <a:schemeClr val="bg1"/>
                </a:solidFill>
              </a:rPr>
              <a:t>Borno</a:t>
            </a:r>
          </a:p>
          <a:p>
            <a:r>
              <a:rPr lang="en-US" sz="800" b="1">
                <a:solidFill>
                  <a:schemeClr val="bg1"/>
                </a:solidFill>
              </a:rPr>
              <a:t>  (47)</a:t>
            </a:r>
          </a:p>
        </p:txBody>
      </p:sp>
      <p:grpSp>
        <p:nvGrpSpPr>
          <p:cNvPr id="20562" name="Group 141"/>
          <p:cNvGrpSpPr>
            <a:grpSpLocks/>
          </p:cNvGrpSpPr>
          <p:nvPr/>
        </p:nvGrpSpPr>
        <p:grpSpPr bwMode="auto">
          <a:xfrm>
            <a:off x="6043613" y="1331913"/>
            <a:ext cx="2693987" cy="244475"/>
            <a:chOff x="6147372" y="804699"/>
            <a:chExt cx="2098844" cy="153888"/>
          </a:xfrm>
        </p:grpSpPr>
        <p:grpSp>
          <p:nvGrpSpPr>
            <p:cNvPr id="20563" name="Group 142"/>
            <p:cNvGrpSpPr>
              <a:grpSpLocks/>
            </p:cNvGrpSpPr>
            <p:nvPr/>
          </p:nvGrpSpPr>
          <p:grpSpPr bwMode="auto">
            <a:xfrm>
              <a:off x="6147372" y="804699"/>
              <a:ext cx="616514" cy="153888"/>
              <a:chOff x="6147372" y="788385"/>
              <a:chExt cx="616514" cy="153888"/>
            </a:xfrm>
          </p:grpSpPr>
          <p:sp>
            <p:nvSpPr>
              <p:cNvPr id="150" name="RectangleLegend3">
                <a:extLst>
                  <a:ext uri="{FF2B5EF4-FFF2-40B4-BE49-F238E27FC236}"/>
                </a:extLst>
              </p:cNvPr>
              <p:cNvSpPr>
                <a:spLocks noChangeArrowheads="1"/>
              </p:cNvSpPr>
              <p:nvPr/>
            </p:nvSpPr>
            <p:spPr bwMode="gray">
              <a:xfrm>
                <a:off x="6147372" y="788385"/>
                <a:ext cx="204071" cy="153888"/>
              </a:xfrm>
              <a:prstGeom prst="rect">
                <a:avLst/>
              </a:prstGeom>
              <a:solidFill>
                <a:srgbClr val="33CC33"/>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151" name="Legend1">
                <a:extLst>
                  <a:ext uri="{FF2B5EF4-FFF2-40B4-BE49-F238E27FC236}"/>
                </a:extLst>
              </p:cNvPr>
              <p:cNvSpPr>
                <a:spLocks noChangeArrowheads="1"/>
              </p:cNvSpPr>
              <p:nvPr>
                <p:custDataLst>
                  <p:tags r:id="rId5"/>
                </p:custDataLst>
              </p:nvPr>
            </p:nvSpPr>
            <p:spPr bwMode="gray">
              <a:xfrm>
                <a:off x="6461518" y="788385"/>
                <a:ext cx="301779" cy="96929"/>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0-30%</a:t>
                </a:r>
              </a:p>
            </p:txBody>
          </p:sp>
        </p:grpSp>
        <p:grpSp>
          <p:nvGrpSpPr>
            <p:cNvPr id="20564" name="Group 143"/>
            <p:cNvGrpSpPr>
              <a:grpSpLocks/>
            </p:cNvGrpSpPr>
            <p:nvPr/>
          </p:nvGrpSpPr>
          <p:grpSpPr bwMode="auto">
            <a:xfrm>
              <a:off x="6806336" y="804699"/>
              <a:ext cx="658964" cy="153888"/>
              <a:chOff x="6775753" y="791162"/>
              <a:chExt cx="658964" cy="153888"/>
            </a:xfrm>
          </p:grpSpPr>
          <p:sp>
            <p:nvSpPr>
              <p:cNvPr id="148" name="RectangleLegend1">
                <a:extLst>
                  <a:ext uri="{FF2B5EF4-FFF2-40B4-BE49-F238E27FC236}"/>
                </a:extLst>
              </p:cNvPr>
              <p:cNvSpPr>
                <a:spLocks noChangeArrowheads="1"/>
              </p:cNvSpPr>
              <p:nvPr/>
            </p:nvSpPr>
            <p:spPr bwMode="gray">
              <a:xfrm>
                <a:off x="6776002" y="791162"/>
                <a:ext cx="204072" cy="153888"/>
              </a:xfrm>
              <a:prstGeom prst="rect">
                <a:avLst/>
              </a:prstGeom>
              <a:solidFill>
                <a:srgbClr val="FF9900"/>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149" name="Legend2">
                <a:extLst>
                  <a:ext uri="{FF2B5EF4-FFF2-40B4-BE49-F238E27FC236}"/>
                </a:extLst>
              </p:cNvPr>
              <p:cNvSpPr>
                <a:spLocks noChangeArrowheads="1"/>
              </p:cNvSpPr>
              <p:nvPr>
                <p:custDataLst>
                  <p:tags r:id="rId4"/>
                </p:custDataLst>
              </p:nvPr>
            </p:nvSpPr>
            <p:spPr bwMode="gray">
              <a:xfrm>
                <a:off x="7090148" y="791162"/>
                <a:ext cx="345067" cy="96929"/>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31-40%</a:t>
                </a:r>
              </a:p>
            </p:txBody>
          </p:sp>
        </p:grpSp>
        <p:grpSp>
          <p:nvGrpSpPr>
            <p:cNvPr id="20565" name="Group 144"/>
            <p:cNvGrpSpPr>
              <a:grpSpLocks/>
            </p:cNvGrpSpPr>
            <p:nvPr/>
          </p:nvGrpSpPr>
          <p:grpSpPr bwMode="auto">
            <a:xfrm>
              <a:off x="7535831" y="804699"/>
              <a:ext cx="710385" cy="153888"/>
              <a:chOff x="7477032" y="821013"/>
              <a:chExt cx="710385" cy="153888"/>
            </a:xfrm>
          </p:grpSpPr>
          <p:sp>
            <p:nvSpPr>
              <p:cNvPr id="146" name="RectangleLegend2">
                <a:extLst>
                  <a:ext uri="{FF2B5EF4-FFF2-40B4-BE49-F238E27FC236}"/>
                </a:extLst>
              </p:cNvPr>
              <p:cNvSpPr>
                <a:spLocks noChangeArrowheads="1"/>
              </p:cNvSpPr>
              <p:nvPr/>
            </p:nvSpPr>
            <p:spPr bwMode="gray">
              <a:xfrm>
                <a:off x="7477496" y="821013"/>
                <a:ext cx="204072" cy="153888"/>
              </a:xfrm>
              <a:prstGeom prst="rect">
                <a:avLst/>
              </a:prstGeom>
              <a:solidFill>
                <a:srgbClr val="CD202C"/>
              </a:solidFill>
              <a:ln w="9525">
                <a:solidFill>
                  <a:schemeClr val="bg1"/>
                </a:solidFill>
                <a:miter lim="800000"/>
                <a:headEnd/>
                <a:tailEnd/>
              </a:ln>
              <a:effectLst/>
              <a:extLst/>
            </p:spPr>
            <p:txBody>
              <a:bodyPr wrap="none" anchor="ctr"/>
              <a:lstStyle/>
              <a:p>
                <a:pPr>
                  <a:defRPr/>
                </a:pPr>
                <a:endParaRPr lang="en-US" sz="1050" dirty="0">
                  <a:latin typeface="+mn-lt"/>
                  <a:cs typeface="+mn-cs"/>
                </a:endParaRPr>
              </a:p>
            </p:txBody>
          </p:sp>
          <p:sp>
            <p:nvSpPr>
              <p:cNvPr id="147" name="Legend2">
                <a:extLst>
                  <a:ext uri="{FF2B5EF4-FFF2-40B4-BE49-F238E27FC236}"/>
                </a:extLst>
              </p:cNvPr>
              <p:cNvSpPr>
                <a:spLocks noChangeArrowheads="1"/>
              </p:cNvSpPr>
              <p:nvPr>
                <p:custDataLst>
                  <p:tags r:id="rId3"/>
                </p:custDataLst>
              </p:nvPr>
            </p:nvSpPr>
            <p:spPr bwMode="gray">
              <a:xfrm>
                <a:off x="7791642" y="821013"/>
                <a:ext cx="395775" cy="15388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defTabSz="895350">
                  <a:buClr>
                    <a:schemeClr val="tx2"/>
                  </a:buClr>
                  <a:defRPr/>
                </a:pPr>
                <a:r>
                  <a:rPr lang="en-US" sz="1000" dirty="0">
                    <a:latin typeface="+mn-lt"/>
                    <a:cs typeface="+mn-cs"/>
                  </a:rPr>
                  <a:t>41-60%</a:t>
                </a:r>
              </a:p>
            </p:txBody>
          </p:sp>
        </p:gr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Object 108"/>
          <p:cNvGraphicFramePr>
            <a:graphicFrameLocks noChangeAspect="1"/>
          </p:cNvGraphicFramePr>
          <p:nvPr/>
        </p:nvGraphicFramePr>
        <p:xfrm>
          <a:off x="1588" y="841375"/>
          <a:ext cx="1587" cy="1588"/>
        </p:xfrm>
        <a:graphic>
          <a:graphicData uri="http://schemas.openxmlformats.org/presentationml/2006/ole">
            <p:oleObj spid="_x0000_s21506" name="think-cell Slide" r:id="rId12" imgW="360" imgH="360" progId="">
              <p:embed/>
            </p:oleObj>
          </a:graphicData>
        </a:graphic>
      </p:graphicFrame>
      <p:sp>
        <p:nvSpPr>
          <p:cNvPr id="2" name="Rectangle 1"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ZA" sz="2000" dirty="0">
              <a:solidFill>
                <a:schemeClr val="tx1"/>
              </a:solidFill>
              <a:ea typeface="+mj-ea"/>
              <a:cs typeface="+mj-cs"/>
              <a:sym typeface="Arial" panose="020B0604020202020204" pitchFamily="34" charset="0"/>
            </a:endParaRPr>
          </a:p>
        </p:txBody>
      </p:sp>
      <p:sp>
        <p:nvSpPr>
          <p:cNvPr id="152" name="TextBox 1">
            <a:extLst>
              <a:ext uri="{FF2B5EF4-FFF2-40B4-BE49-F238E27FC236}"/>
            </a:extLst>
          </p:cNvPr>
          <p:cNvSpPr txBox="1">
            <a:spLocks noChangeArrowheads="1"/>
          </p:cNvSpPr>
          <p:nvPr/>
        </p:nvSpPr>
        <p:spPr bwMode="auto">
          <a:xfrm>
            <a:off x="173038" y="1481138"/>
            <a:ext cx="793750" cy="381000"/>
          </a:xfrm>
          <a:prstGeom prst="rect">
            <a:avLst/>
          </a:prstGeom>
          <a:solidFill>
            <a:schemeClr val="accent6">
              <a:lumMod val="20000"/>
              <a:lumOff val="8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28004" tIns="28004" rIns="28004" bIns="28004" anchor="ctr"/>
          <a:lstStyle>
            <a:defPPr>
              <a:defRPr lang="en-US"/>
            </a:defPPr>
            <a:lvl1pPr algn="ctr">
              <a:defRPr sz="1150">
                <a:solidFill>
                  <a:srgbClr val="FFFFFF"/>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buClr>
                <a:schemeClr val="bg1"/>
              </a:buClr>
              <a:defRPr/>
            </a:pPr>
            <a:r>
              <a:rPr lang="en-US" sz="1100" b="1" dirty="0">
                <a:solidFill>
                  <a:schemeClr val="tx2"/>
                </a:solidFill>
              </a:rPr>
              <a:t>Overall target</a:t>
            </a:r>
          </a:p>
        </p:txBody>
      </p:sp>
      <p:sp>
        <p:nvSpPr>
          <p:cNvPr id="153" name="TextBox 1">
            <a:extLst>
              <a:ext uri="{FF2B5EF4-FFF2-40B4-BE49-F238E27FC236}"/>
            </a:extLst>
          </p:cNvPr>
          <p:cNvSpPr txBox="1">
            <a:spLocks noChangeArrowheads="1"/>
          </p:cNvSpPr>
          <p:nvPr/>
        </p:nvSpPr>
        <p:spPr bwMode="auto">
          <a:xfrm>
            <a:off x="173038" y="2922588"/>
            <a:ext cx="793750" cy="644525"/>
          </a:xfrm>
          <a:prstGeom prst="rect">
            <a:avLst/>
          </a:prstGeom>
          <a:solidFill>
            <a:schemeClr val="accent3"/>
          </a:solidFill>
          <a:ln w="9525">
            <a:noFill/>
            <a:miter lim="800000"/>
            <a:headEnd/>
            <a:tailEnd/>
          </a:ln>
          <a:effectLst/>
          <a:extLst/>
        </p:spPr>
        <p:txBody>
          <a:bodyPr lIns="28004" tIns="28004" rIns="28004" bIns="28004" anchor="ct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defRPr/>
            </a:pPr>
            <a:r>
              <a:rPr lang="en-US" sz="1100" b="1" dirty="0">
                <a:solidFill>
                  <a:schemeClr val="bg2"/>
                </a:solidFill>
                <a:ea typeface="Arial Unicode MS" pitchFamily="34" charset="-128"/>
                <a:cs typeface="Arial Unicode MS" pitchFamily="34" charset="-128"/>
              </a:rPr>
              <a:t>Vision</a:t>
            </a:r>
          </a:p>
        </p:txBody>
      </p:sp>
      <p:sp>
        <p:nvSpPr>
          <p:cNvPr id="21510" name="TextBox 1"/>
          <p:cNvSpPr txBox="1">
            <a:spLocks noChangeArrowheads="1"/>
          </p:cNvSpPr>
          <p:nvPr/>
        </p:nvSpPr>
        <p:spPr bwMode="auto">
          <a:xfrm>
            <a:off x="173038" y="3613150"/>
            <a:ext cx="793750" cy="1936750"/>
          </a:xfrm>
          <a:prstGeom prst="rect">
            <a:avLst/>
          </a:prstGeom>
          <a:solidFill>
            <a:srgbClr val="FFBFBF"/>
          </a:solidFill>
          <a:ln w="9525">
            <a:noFill/>
            <a:miter lim="800000"/>
            <a:headEnd/>
            <a:tailEnd/>
          </a:ln>
        </p:spPr>
        <p:txBody>
          <a:bodyPr lIns="28004" tIns="28004" rIns="28004" bIns="28004" anchor="ctr"/>
          <a:lstStyle/>
          <a:p>
            <a:pPr defTabSz="895350">
              <a:buClr>
                <a:schemeClr val="tx2"/>
              </a:buClr>
            </a:pPr>
            <a:r>
              <a:rPr lang="en-US" sz="1000" b="1">
                <a:solidFill>
                  <a:schemeClr val="tx2"/>
                </a:solidFill>
                <a:ea typeface="Arial Unicode MS" pitchFamily="34" charset="-128"/>
                <a:cs typeface="Arial Unicode MS" pitchFamily="34" charset="-128"/>
              </a:rPr>
              <a:t>Targets</a:t>
            </a:r>
          </a:p>
        </p:txBody>
      </p:sp>
      <p:sp>
        <p:nvSpPr>
          <p:cNvPr id="141" name="TextBox 1">
            <a:extLst>
              <a:ext uri="{FF2B5EF4-FFF2-40B4-BE49-F238E27FC236}"/>
            </a:extLst>
          </p:cNvPr>
          <p:cNvSpPr txBox="1">
            <a:spLocks noChangeArrowheads="1"/>
          </p:cNvSpPr>
          <p:nvPr/>
        </p:nvSpPr>
        <p:spPr bwMode="auto">
          <a:xfrm>
            <a:off x="173038" y="2382838"/>
            <a:ext cx="793750" cy="493712"/>
          </a:xfrm>
          <a:prstGeom prst="rect">
            <a:avLst/>
          </a:prstGeom>
          <a:solidFill>
            <a:schemeClr val="accent6"/>
          </a:solidFill>
          <a:ln w="9525">
            <a:noFill/>
            <a:miter lim="800000"/>
            <a:headEnd/>
            <a:tailEnd/>
          </a:ln>
          <a:extLst/>
        </p:spPr>
        <p:txBody>
          <a:bodyPr lIns="28004" tIns="28004" rIns="28004" bIns="28004" anchor="ctr"/>
          <a:lstStyle>
            <a:defPPr>
              <a:defRPr lang="en-US"/>
            </a:defPPr>
            <a:lvl1pPr algn="ctr">
              <a:defRPr sz="1150"/>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l">
              <a:buClr>
                <a:schemeClr val="bg1"/>
              </a:buClr>
              <a:defRPr/>
            </a:pPr>
            <a:r>
              <a:rPr lang="en-US" sz="1100" b="1" dirty="0">
                <a:solidFill>
                  <a:schemeClr val="bg1"/>
                </a:solidFill>
                <a:latin typeface="+mn-lt"/>
                <a:cs typeface="+mn-cs"/>
              </a:rPr>
              <a:t>Strategic themes</a:t>
            </a:r>
          </a:p>
        </p:txBody>
      </p:sp>
      <p:sp>
        <p:nvSpPr>
          <p:cNvPr id="129" name="DirArrow">
            <a:extLst>
              <a:ext uri="{FF2B5EF4-FFF2-40B4-BE49-F238E27FC236}"/>
            </a:extLst>
          </p:cNvPr>
          <p:cNvSpPr>
            <a:spLocks noChangeArrowheads="1"/>
          </p:cNvSpPr>
          <p:nvPr>
            <p:custDataLst>
              <p:tags r:id="rId3"/>
            </p:custDataLst>
          </p:nvPr>
        </p:nvSpPr>
        <p:spPr bwMode="auto">
          <a:xfrm>
            <a:off x="1020763" y="736600"/>
            <a:ext cx="7805737" cy="679450"/>
          </a:xfrm>
          <a:prstGeom prst="triangle">
            <a:avLst>
              <a:gd name="adj" fmla="val 49903"/>
            </a:avLst>
          </a:prstGeom>
          <a:solidFill>
            <a:schemeClr val="accent6">
              <a:lumMod val="20000"/>
              <a:lumOff val="8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schemeClr val="bg1"/>
              </a:solidFill>
            </a:endParaRPr>
          </a:p>
        </p:txBody>
      </p:sp>
      <p:sp>
        <p:nvSpPr>
          <p:cNvPr id="21513" name="TextBox 130"/>
          <p:cNvSpPr txBox="1">
            <a:spLocks/>
          </p:cNvSpPr>
          <p:nvPr/>
        </p:nvSpPr>
        <p:spPr bwMode="auto">
          <a:xfrm>
            <a:off x="2974975" y="1033463"/>
            <a:ext cx="3898900" cy="342900"/>
          </a:xfrm>
          <a:prstGeom prst="rect">
            <a:avLst/>
          </a:prstGeom>
          <a:noFill/>
          <a:ln w="19050">
            <a:noFill/>
            <a:miter lim="800000"/>
            <a:headEnd/>
            <a:tailEnd/>
          </a:ln>
        </p:spPr>
        <p:txBody>
          <a:bodyPr lIns="0" tIns="0" rIns="0" bIns="0" anchor="ctr">
            <a:spAutoFit/>
          </a:bodyPr>
          <a:lstStyle/>
          <a:p>
            <a:pPr algn="ctr" defTabSz="895350">
              <a:buClr>
                <a:schemeClr val="tx2"/>
              </a:buClr>
              <a:buSzPct val="100000"/>
            </a:pPr>
            <a:r>
              <a:rPr lang="en-US" sz="1100" b="1">
                <a:solidFill>
                  <a:schemeClr val="tx2"/>
                </a:solidFill>
              </a:rPr>
              <a:t>Healthy, Educated, and Productive Nigerians for a </a:t>
            </a:r>
            <a:br>
              <a:rPr lang="en-US" sz="1100" b="1">
                <a:solidFill>
                  <a:schemeClr val="tx2"/>
                </a:solidFill>
              </a:rPr>
            </a:br>
            <a:r>
              <a:rPr lang="en-US" sz="1100" b="1">
                <a:solidFill>
                  <a:schemeClr val="tx2"/>
                </a:solidFill>
              </a:rPr>
              <a:t>globally competitive nation by 2030</a:t>
            </a:r>
          </a:p>
        </p:txBody>
      </p:sp>
      <p:sp>
        <p:nvSpPr>
          <p:cNvPr id="130" name="Rectangle 129">
            <a:extLst>
              <a:ext uri="{FF2B5EF4-FFF2-40B4-BE49-F238E27FC236}"/>
            </a:extLst>
          </p:cNvPr>
          <p:cNvSpPr>
            <a:spLocks/>
          </p:cNvSpPr>
          <p:nvPr/>
        </p:nvSpPr>
        <p:spPr>
          <a:xfrm>
            <a:off x="1020763" y="1481138"/>
            <a:ext cx="7805737" cy="381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i="1" dirty="0">
                <a:solidFill>
                  <a:schemeClr val="tx1"/>
                </a:solidFill>
              </a:rPr>
              <a:t>~24 million additional healthy (under-five year old children surviving and not stunted), educated (completing secondary school) and productive (youth entering the labour force) Nigerians by 2030</a:t>
            </a:r>
            <a:r>
              <a:rPr lang="en-US" sz="1100" i="1" baseline="30000" dirty="0">
                <a:solidFill>
                  <a:schemeClr val="tx1"/>
                </a:solidFill>
              </a:rPr>
              <a:t>1</a:t>
            </a:r>
            <a:r>
              <a:rPr lang="en-US" sz="1100" i="1" dirty="0">
                <a:solidFill>
                  <a:schemeClr val="tx1"/>
                </a:solidFill>
              </a:rPr>
              <a:t> </a:t>
            </a:r>
          </a:p>
        </p:txBody>
      </p:sp>
      <p:sp>
        <p:nvSpPr>
          <p:cNvPr id="144" name="TextBox 1">
            <a:extLst>
              <a:ext uri="{FF2B5EF4-FFF2-40B4-BE49-F238E27FC236}"/>
            </a:extLst>
          </p:cNvPr>
          <p:cNvSpPr txBox="1">
            <a:spLocks noChangeArrowheads="1"/>
          </p:cNvSpPr>
          <p:nvPr/>
        </p:nvSpPr>
        <p:spPr bwMode="auto">
          <a:xfrm>
            <a:off x="173038" y="5600700"/>
            <a:ext cx="793750" cy="877888"/>
          </a:xfrm>
          <a:prstGeom prst="rect">
            <a:avLst/>
          </a:prstGeom>
          <a:solidFill>
            <a:schemeClr val="accent4"/>
          </a:solidFill>
          <a:ln w="9525">
            <a:noFill/>
            <a:miter lim="800000"/>
            <a:headEnd/>
            <a:tailEnd/>
          </a:ln>
          <a:effectLst/>
          <a:extLst/>
        </p:spPr>
        <p:txBody>
          <a:bodyPr lIns="28004" tIns="28004" rIns="28004" bIns="28004" anchor="ct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chemeClr val="bg2"/>
              </a:buClr>
              <a:defRPr/>
            </a:pPr>
            <a:r>
              <a:rPr lang="en-US" sz="1100" b="1" dirty="0">
                <a:solidFill>
                  <a:schemeClr val="bg1"/>
                </a:solidFill>
                <a:ea typeface="Arial Unicode MS" pitchFamily="34" charset="-128"/>
                <a:cs typeface="Arial Unicode MS" pitchFamily="34" charset="-128"/>
              </a:rPr>
              <a:t>Cross-cutting enablers</a:t>
            </a:r>
          </a:p>
        </p:txBody>
      </p:sp>
      <p:sp>
        <p:nvSpPr>
          <p:cNvPr id="90" name="Rectangle 8">
            <a:extLst>
              <a:ext uri="{FF2B5EF4-FFF2-40B4-BE49-F238E27FC236}"/>
            </a:extLst>
          </p:cNvPr>
          <p:cNvSpPr txBox="1">
            <a:spLocks/>
          </p:cNvSpPr>
          <p:nvPr>
            <p:custDataLst>
              <p:tags r:id="rId4"/>
            </p:custDataLst>
          </p:nvPr>
        </p:nvSpPr>
        <p:spPr>
          <a:xfrm>
            <a:off x="1020763" y="6246813"/>
            <a:ext cx="7805737" cy="23177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ctr">
              <a:defRPr sz="105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defRPr/>
            </a:pPr>
            <a:r>
              <a:rPr lang="en-ZA" sz="1100" i="1" dirty="0"/>
              <a:t>Governance: </a:t>
            </a:r>
            <a:r>
              <a:rPr lang="en-US" sz="1100" i="1" dirty="0"/>
              <a:t>Drive greater  political commitment to ensure improved coordination and accountability</a:t>
            </a:r>
          </a:p>
        </p:txBody>
      </p:sp>
      <p:sp>
        <p:nvSpPr>
          <p:cNvPr id="156" name="Rectangle 8">
            <a:extLst>
              <a:ext uri="{FF2B5EF4-FFF2-40B4-BE49-F238E27FC236}"/>
            </a:extLst>
          </p:cNvPr>
          <p:cNvSpPr txBox="1">
            <a:spLocks/>
          </p:cNvSpPr>
          <p:nvPr>
            <p:custDataLst>
              <p:tags r:id="rId5"/>
            </p:custDataLst>
          </p:nvPr>
        </p:nvSpPr>
        <p:spPr>
          <a:xfrm>
            <a:off x="1020763" y="5600700"/>
            <a:ext cx="7805737" cy="23177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lvl="0">
              <a:defRPr sz="1050" b="1">
                <a:solidFill>
                  <a:schemeClr val="bg1"/>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defRPr/>
            </a:pPr>
            <a:r>
              <a:rPr lang="en-US" sz="1100" i="1" dirty="0"/>
              <a:t>Data: Improve data collection at Federal, State and LGAs for optimal tracking and data-driven decision making</a:t>
            </a:r>
          </a:p>
        </p:txBody>
      </p:sp>
      <p:sp>
        <p:nvSpPr>
          <p:cNvPr id="91" name="Rectangle 8">
            <a:extLst>
              <a:ext uri="{FF2B5EF4-FFF2-40B4-BE49-F238E27FC236}"/>
            </a:extLst>
          </p:cNvPr>
          <p:cNvSpPr txBox="1">
            <a:spLocks/>
          </p:cNvSpPr>
          <p:nvPr>
            <p:custDataLst>
              <p:tags r:id="rId6"/>
            </p:custDataLst>
          </p:nvPr>
        </p:nvSpPr>
        <p:spPr>
          <a:xfrm>
            <a:off x="1020763" y="5905500"/>
            <a:ext cx="7805737" cy="27463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ctr">
              <a:defRPr sz="105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defRPr/>
            </a:pPr>
            <a:r>
              <a:rPr lang="en-ZA" sz="1100" i="1" dirty="0"/>
              <a:t>Funding: </a:t>
            </a:r>
            <a:r>
              <a:rPr lang="en-US" sz="1100" i="1" dirty="0"/>
              <a:t>Increase revenue mobilization, funds allocation and release, and employ effective financing mechanisms </a:t>
            </a:r>
          </a:p>
        </p:txBody>
      </p:sp>
      <p:sp>
        <p:nvSpPr>
          <p:cNvPr id="138" name="Rectangle 137">
            <a:extLst>
              <a:ext uri="{FF2B5EF4-FFF2-40B4-BE49-F238E27FC236}"/>
            </a:extLst>
          </p:cNvPr>
          <p:cNvSpPr>
            <a:spLocks/>
          </p:cNvSpPr>
          <p:nvPr/>
        </p:nvSpPr>
        <p:spPr>
          <a:xfrm>
            <a:off x="1074738" y="2922588"/>
            <a:ext cx="2536825" cy="6445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0"/>
              </a:spcAft>
              <a:defRPr/>
            </a:pPr>
            <a:endParaRPr lang="en-US" sz="1100" dirty="0">
              <a:solidFill>
                <a:schemeClr val="bg2"/>
              </a:solidFill>
            </a:endParaRPr>
          </a:p>
        </p:txBody>
      </p:sp>
      <p:sp>
        <p:nvSpPr>
          <p:cNvPr id="140" name="Rectangle 139">
            <a:extLst>
              <a:ext uri="{FF2B5EF4-FFF2-40B4-BE49-F238E27FC236}"/>
            </a:extLst>
          </p:cNvPr>
          <p:cNvSpPr>
            <a:spLocks/>
          </p:cNvSpPr>
          <p:nvPr/>
        </p:nvSpPr>
        <p:spPr>
          <a:xfrm>
            <a:off x="3657600" y="2922588"/>
            <a:ext cx="2538413" cy="6445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0"/>
              </a:spcAft>
              <a:defRPr/>
            </a:pPr>
            <a:endParaRPr lang="en-US" sz="1100" dirty="0">
              <a:solidFill>
                <a:schemeClr val="bg1"/>
              </a:solidFill>
            </a:endParaRPr>
          </a:p>
        </p:txBody>
      </p:sp>
      <p:sp>
        <p:nvSpPr>
          <p:cNvPr id="175" name="Rectangle 174">
            <a:extLst>
              <a:ext uri="{FF2B5EF4-FFF2-40B4-BE49-F238E27FC236}"/>
            </a:extLst>
          </p:cNvPr>
          <p:cNvSpPr>
            <a:spLocks/>
          </p:cNvSpPr>
          <p:nvPr/>
        </p:nvSpPr>
        <p:spPr>
          <a:xfrm>
            <a:off x="6238875" y="2922588"/>
            <a:ext cx="2538413" cy="6429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0"/>
              </a:spcAft>
              <a:defRPr/>
            </a:pPr>
            <a:endParaRPr lang="en-US" sz="1100" dirty="0">
              <a:solidFill>
                <a:schemeClr val="bg2"/>
              </a:solidFill>
            </a:endParaRPr>
          </a:p>
        </p:txBody>
      </p:sp>
      <p:grpSp>
        <p:nvGrpSpPr>
          <p:cNvPr id="3" name="Group 9">
            <a:extLst>
              <a:ext uri="{FF2B5EF4-FFF2-40B4-BE49-F238E27FC236}"/>
            </a:extLst>
          </p:cNvPr>
          <p:cNvGrpSpPr/>
          <p:nvPr/>
        </p:nvGrpSpPr>
        <p:grpSpPr>
          <a:xfrm>
            <a:off x="1136889" y="3002883"/>
            <a:ext cx="7577457" cy="507831"/>
            <a:chOff x="1234062" y="2994515"/>
            <a:chExt cx="7522448" cy="533735"/>
          </a:xfrm>
          <a:solidFill>
            <a:schemeClr val="accent2">
              <a:lumMod val="20000"/>
              <a:lumOff val="80000"/>
            </a:schemeClr>
          </a:solidFill>
        </p:grpSpPr>
        <p:sp>
          <p:nvSpPr>
            <p:cNvPr id="278" name="TextBox 277">
              <a:extLst>
                <a:ext uri="{FF2B5EF4-FFF2-40B4-BE49-F238E27FC236}"/>
              </a:extLst>
            </p:cNvPr>
            <p:cNvSpPr txBox="1">
              <a:spLocks/>
            </p:cNvSpPr>
            <p:nvPr/>
          </p:nvSpPr>
          <p:spPr>
            <a:xfrm>
              <a:off x="3799268" y="2994515"/>
              <a:ext cx="2394421" cy="355823"/>
            </a:xfrm>
            <a:prstGeom prst="rect">
              <a:avLst/>
            </a:prstGeom>
            <a:grpFill/>
          </p:spPr>
          <p:txBody>
            <a:bodyPr lIns="0" tIns="0" rIns="0" bIns="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spcAft>
                  <a:spcPts val="0"/>
                </a:spcAft>
                <a:buFont typeface="Arial" panose="020B0604020202020204" pitchFamily="34" charset="0"/>
                <a:buChar char="▪"/>
                <a:defRPr/>
              </a:pPr>
              <a:r>
                <a:rPr lang="en-US" sz="1100" b="1" dirty="0">
                  <a:solidFill>
                    <a:schemeClr val="accent4"/>
                  </a:solidFill>
                  <a:cs typeface="+mn-cs"/>
                </a:rPr>
                <a:t>Promote a quality, inclusive and functional education system</a:t>
              </a:r>
            </a:p>
          </p:txBody>
        </p:sp>
        <p:sp>
          <p:nvSpPr>
            <p:cNvPr id="277" name="TextBox 276">
              <a:extLst>
                <a:ext uri="{FF2B5EF4-FFF2-40B4-BE49-F238E27FC236}"/>
              </a:extLst>
            </p:cNvPr>
            <p:cNvSpPr txBox="1">
              <a:spLocks/>
            </p:cNvSpPr>
            <p:nvPr/>
          </p:nvSpPr>
          <p:spPr>
            <a:xfrm>
              <a:off x="1234062" y="2994515"/>
              <a:ext cx="2394421" cy="507832"/>
            </a:xfrm>
            <a:prstGeom prst="rect">
              <a:avLst/>
            </a:prstGeom>
            <a:grpFill/>
          </p:spPr>
          <p:txBody>
            <a:bodyPr lIns="0" tIns="0" rIns="0" bIns="0">
              <a:spAutoFit/>
            </a:bodyPr>
            <a:lstStyle>
              <a:defPPr>
                <a:defRPr lang="en-US"/>
              </a:defPPr>
              <a:lvl1pPr marL="0" lvl="0" indent="0" defTabSz="1218026" eaLnBrk="1" latinLnBrk="0" hangingPunct="1">
                <a:buClr>
                  <a:schemeClr val="tx2"/>
                </a:buClr>
                <a:buSzPct val="100000"/>
                <a:defRPr sz="1600" baseline="0">
                  <a:latin typeface="+mn-lt"/>
                </a:defRPr>
              </a:lvl1pPr>
              <a:lvl2pPr marL="192024" lvl="1" indent="-192024" defTabSz="1218026" eaLnBrk="1" latinLnBrk="0" hangingPunct="1">
                <a:buClr>
                  <a:schemeClr val="tx2"/>
                </a:buClr>
                <a:buSzPct val="125000"/>
                <a:buFont typeface="Arial" charset="0"/>
                <a:buChar char="▪"/>
                <a:defRPr sz="1100" baseline="0">
                  <a:latin typeface="+mn-lt"/>
                </a:defRPr>
              </a:lvl2pPr>
              <a:lvl3pPr marL="457200" lvl="2" indent="-265176" defTabSz="1218026" eaLnBrk="1" latinLnBrk="0" hangingPunct="1">
                <a:buClr>
                  <a:schemeClr val="tx2"/>
                </a:buClr>
                <a:buSzPct val="120000"/>
                <a:buFont typeface="Arial" charset="0"/>
                <a:buChar char="–"/>
                <a:defRPr sz="1600" baseline="0">
                  <a:latin typeface="+mn-lt"/>
                </a:defRPr>
              </a:lvl3pPr>
              <a:lvl4pPr marL="612648" lvl="3" indent="-155448" defTabSz="1218026" eaLnBrk="1" latinLnBrk="0" hangingPunct="1">
                <a:buClr>
                  <a:schemeClr val="tx2"/>
                </a:buClr>
                <a:buSzPct val="120000"/>
                <a:buFont typeface="Arial" charset="0"/>
                <a:buChar char="▫"/>
                <a:defRPr sz="1600" baseline="0">
                  <a:latin typeface="+mn-lt"/>
                </a:defRPr>
              </a:lvl4pPr>
              <a:lvl5pPr marL="749808" lvl="4" indent="-128016" defTabSz="1218026" eaLnBrk="1" latinLnBrk="0" hangingPunct="1">
                <a:buClr>
                  <a:schemeClr val="tx2"/>
                </a:buClr>
                <a:buSzPct val="89000"/>
                <a:buFont typeface="Arial" charset="0"/>
                <a:buChar char="-"/>
                <a:defRPr sz="1600" baseline="0">
                  <a:latin typeface="+mn-lt"/>
                </a:defRPr>
              </a:lvl5pPr>
              <a:lvl6pPr marL="1020030" indent="-177089" defTabSz="1218026" fontAlgn="base">
                <a:spcBef>
                  <a:spcPct val="0"/>
                </a:spcBef>
                <a:spcAft>
                  <a:spcPct val="0"/>
                </a:spcAft>
                <a:buClr>
                  <a:schemeClr val="tx2"/>
                </a:buClr>
                <a:buSzPct val="89000"/>
                <a:buFont typeface="Arial" charset="0"/>
                <a:buChar char="-"/>
                <a:defRPr sz="2176" baseline="0">
                  <a:latin typeface="+mn-lt"/>
                </a:defRPr>
              </a:lvl6pPr>
              <a:lvl7pPr marL="1020030" indent="-177089" defTabSz="1218026" fontAlgn="base">
                <a:spcBef>
                  <a:spcPct val="0"/>
                </a:spcBef>
                <a:spcAft>
                  <a:spcPct val="0"/>
                </a:spcAft>
                <a:buClr>
                  <a:schemeClr val="tx2"/>
                </a:buClr>
                <a:buSzPct val="89000"/>
                <a:buFont typeface="Arial" charset="0"/>
                <a:buChar char="-"/>
                <a:defRPr sz="2176" baseline="0">
                  <a:latin typeface="+mn-lt"/>
                </a:defRPr>
              </a:lvl7pPr>
              <a:lvl8pPr marL="1020030" indent="-177089" defTabSz="1218026" fontAlgn="base">
                <a:spcBef>
                  <a:spcPct val="0"/>
                </a:spcBef>
                <a:spcAft>
                  <a:spcPct val="0"/>
                </a:spcAft>
                <a:buClr>
                  <a:schemeClr val="tx2"/>
                </a:buClr>
                <a:buSzPct val="89000"/>
                <a:buFont typeface="Arial" charset="0"/>
                <a:buChar char="-"/>
                <a:defRPr sz="2176" baseline="0">
                  <a:latin typeface="+mn-lt"/>
                </a:defRPr>
              </a:lvl8pPr>
              <a:lvl9pPr marL="1020030" indent="-177089" defTabSz="1218026" fontAlgn="base">
                <a:spcBef>
                  <a:spcPct val="0"/>
                </a:spcBef>
                <a:spcAft>
                  <a:spcPct val="0"/>
                </a:spcAft>
                <a:buClr>
                  <a:schemeClr val="tx2"/>
                </a:buClr>
                <a:buSzPct val="89000"/>
                <a:buFont typeface="Arial" charset="0"/>
                <a:buChar char="-"/>
                <a:defRPr sz="2176" baseline="0">
                  <a:latin typeface="+mn-lt"/>
                </a:defRPr>
              </a:lvl9pPr>
            </a:lstStyle>
            <a:p>
              <a:pPr lvl="1">
                <a:spcAft>
                  <a:spcPts val="0"/>
                </a:spcAft>
                <a:buFont typeface="Arial" panose="020B0604020202020204" pitchFamily="34" charset="0"/>
                <a:buChar char="▪"/>
                <a:defRPr/>
              </a:pPr>
              <a:r>
                <a:rPr lang="en-US" b="1" dirty="0">
                  <a:solidFill>
                    <a:schemeClr val="accent4"/>
                  </a:solidFill>
                  <a:cs typeface="Arial"/>
                </a:rPr>
                <a:t>Provide equitable access to affordable and quality healthcare for every Nigerian</a:t>
              </a:r>
            </a:p>
          </p:txBody>
        </p:sp>
        <p:sp>
          <p:nvSpPr>
            <p:cNvPr id="279" name="TextBox 278">
              <a:extLst>
                <a:ext uri="{FF2B5EF4-FFF2-40B4-BE49-F238E27FC236}"/>
              </a:extLst>
            </p:cNvPr>
            <p:cNvSpPr txBox="1">
              <a:spLocks/>
            </p:cNvSpPr>
            <p:nvPr/>
          </p:nvSpPr>
          <p:spPr>
            <a:xfrm>
              <a:off x="6362089" y="2994515"/>
              <a:ext cx="2394421" cy="533735"/>
            </a:xfrm>
            <a:prstGeom prst="rect">
              <a:avLst/>
            </a:prstGeom>
            <a:grpFill/>
          </p:spPr>
          <p:txBody>
            <a:bodyPr lIns="0" tIns="0" rIns="0" bIns="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spcAft>
                  <a:spcPts val="0"/>
                </a:spcAft>
                <a:buFont typeface="Arial" panose="020B0604020202020204" pitchFamily="34" charset="0"/>
                <a:buChar char="▪"/>
                <a:defRPr/>
              </a:pPr>
              <a:r>
                <a:rPr lang="en-US" sz="1100" b="1" dirty="0">
                  <a:solidFill>
                    <a:schemeClr val="accent4"/>
                  </a:solidFill>
                  <a:cs typeface="Arial"/>
                </a:rPr>
                <a:t>Empower youth to have the capacity and skills to create or seek employment</a:t>
              </a:r>
            </a:p>
          </p:txBody>
        </p:sp>
      </p:grpSp>
      <p:sp>
        <p:nvSpPr>
          <p:cNvPr id="137" name="Rectangle 136">
            <a:extLst>
              <a:ext uri="{FF2B5EF4-FFF2-40B4-BE49-F238E27FC236}"/>
            </a:extLst>
          </p:cNvPr>
          <p:cNvSpPr>
            <a:spLocks/>
          </p:cNvSpPr>
          <p:nvPr/>
        </p:nvSpPr>
        <p:spPr>
          <a:xfrm>
            <a:off x="1074738" y="3613150"/>
            <a:ext cx="2536825" cy="1936750"/>
          </a:xfrm>
          <a:prstGeom prst="rect">
            <a:avLst/>
          </a:prstGeom>
          <a:solidFill>
            <a:srgbClr val="FFBFBF">
              <a:alpha val="41961"/>
            </a:srgbClr>
          </a:solidFill>
          <a:ln w="9525">
            <a:noFill/>
            <a:miter lim="800000"/>
            <a:headEnd/>
            <a:tailEnd/>
          </a:ln>
        </p:spPr>
        <p:txBody>
          <a:bodyPr wrap="none" lIns="0" tIns="0" rIns="0" bIns="0" anchor="ctr"/>
          <a:lstStyle/>
          <a:p>
            <a:pPr algn="ctr">
              <a:spcAft>
                <a:spcPts val="0"/>
              </a:spcAft>
              <a:defRPr/>
            </a:pPr>
            <a:endParaRPr lang="en-US" sz="1000" dirty="0">
              <a:latin typeface="+mn-lt"/>
              <a:cs typeface="+mn-cs"/>
            </a:endParaRPr>
          </a:p>
        </p:txBody>
      </p:sp>
      <p:sp>
        <p:nvSpPr>
          <p:cNvPr id="139" name="Rectangle 138">
            <a:extLst>
              <a:ext uri="{FF2B5EF4-FFF2-40B4-BE49-F238E27FC236}"/>
            </a:extLst>
          </p:cNvPr>
          <p:cNvSpPr>
            <a:spLocks/>
          </p:cNvSpPr>
          <p:nvPr/>
        </p:nvSpPr>
        <p:spPr>
          <a:xfrm>
            <a:off x="3657600" y="3613150"/>
            <a:ext cx="2538413" cy="1936750"/>
          </a:xfrm>
          <a:prstGeom prst="rect">
            <a:avLst/>
          </a:prstGeom>
          <a:solidFill>
            <a:srgbClr val="FFBFBF">
              <a:alpha val="41961"/>
            </a:srgbClr>
          </a:solidFill>
          <a:ln w="9525">
            <a:noFill/>
            <a:miter lim="800000"/>
            <a:headEnd/>
            <a:tailEnd/>
          </a:ln>
        </p:spPr>
        <p:txBody>
          <a:bodyPr wrap="none" lIns="0" tIns="0" rIns="0" bIns="0" anchor="ctr"/>
          <a:lstStyle/>
          <a:p>
            <a:pPr algn="ctr">
              <a:spcAft>
                <a:spcPts val="0"/>
              </a:spcAft>
              <a:defRPr/>
            </a:pPr>
            <a:endParaRPr lang="en-US" sz="1000" dirty="0">
              <a:latin typeface="+mn-lt"/>
              <a:cs typeface="+mn-cs"/>
            </a:endParaRPr>
          </a:p>
        </p:txBody>
      </p:sp>
      <p:sp>
        <p:nvSpPr>
          <p:cNvPr id="174" name="Rectangle 173">
            <a:extLst>
              <a:ext uri="{FF2B5EF4-FFF2-40B4-BE49-F238E27FC236}"/>
            </a:extLst>
          </p:cNvPr>
          <p:cNvSpPr>
            <a:spLocks/>
          </p:cNvSpPr>
          <p:nvPr/>
        </p:nvSpPr>
        <p:spPr>
          <a:xfrm>
            <a:off x="6238875" y="3613150"/>
            <a:ext cx="2538413" cy="1936750"/>
          </a:xfrm>
          <a:prstGeom prst="rect">
            <a:avLst/>
          </a:prstGeom>
          <a:solidFill>
            <a:srgbClr val="FFBFBF">
              <a:alpha val="41961"/>
            </a:srgbClr>
          </a:solidFill>
          <a:ln w="9525">
            <a:noFill/>
            <a:miter lim="800000"/>
            <a:headEnd/>
            <a:tailEnd/>
          </a:ln>
        </p:spPr>
        <p:txBody>
          <a:bodyPr wrap="none" lIns="0" tIns="0" rIns="0" bIns="0" anchor="ctr"/>
          <a:lstStyle/>
          <a:p>
            <a:pPr algn="ctr">
              <a:spcAft>
                <a:spcPts val="0"/>
              </a:spcAft>
              <a:defRPr/>
            </a:pPr>
            <a:endParaRPr lang="en-US" sz="1000" dirty="0">
              <a:latin typeface="+mn-lt"/>
              <a:cs typeface="+mn-cs"/>
            </a:endParaRPr>
          </a:p>
        </p:txBody>
      </p:sp>
      <p:sp>
        <p:nvSpPr>
          <p:cNvPr id="272" name="TextBox 271">
            <a:extLst>
              <a:ext uri="{FF2B5EF4-FFF2-40B4-BE49-F238E27FC236}"/>
            </a:extLst>
          </p:cNvPr>
          <p:cNvSpPr txBox="1">
            <a:spLocks/>
          </p:cNvSpPr>
          <p:nvPr>
            <p:custDataLst>
              <p:tags r:id="rId7"/>
            </p:custDataLst>
          </p:nvPr>
        </p:nvSpPr>
        <p:spPr>
          <a:xfrm>
            <a:off x="1136650" y="3665538"/>
            <a:ext cx="2411413" cy="1522412"/>
          </a:xfrm>
          <a:prstGeom prst="rect">
            <a:avLst/>
          </a:prstGeom>
        </p:spPr>
        <p:txBody>
          <a:bodyPr lIns="0" tIns="0" rIns="0" bIns="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spcAft>
                <a:spcPts val="0"/>
              </a:spcAft>
              <a:buFont typeface="Arial" panose="020B0604020202020204" pitchFamily="34" charset="0"/>
              <a:buChar char="▪"/>
              <a:defRPr/>
            </a:pPr>
            <a:r>
              <a:rPr lang="en-ZA" sz="1100" dirty="0">
                <a:cs typeface="+mn-cs"/>
              </a:rPr>
              <a:t>Improve nutrition and reduce childhood stunting </a:t>
            </a:r>
            <a:r>
              <a:rPr lang="en-ZA" sz="1100" b="1" dirty="0">
                <a:solidFill>
                  <a:schemeClr val="accent4"/>
                </a:solidFill>
                <a:cs typeface="+mn-cs"/>
              </a:rPr>
              <a:t>by half, from 44% to 22% by 2030</a:t>
            </a:r>
          </a:p>
          <a:p>
            <a:pPr lvl="1">
              <a:spcAft>
                <a:spcPts val="0"/>
              </a:spcAft>
              <a:buFont typeface="Arial" panose="020B0604020202020204" pitchFamily="34" charset="0"/>
              <a:buChar char="▪"/>
              <a:defRPr/>
            </a:pPr>
            <a:r>
              <a:rPr lang="en-ZA" sz="1100" dirty="0">
                <a:cs typeface="+mn-cs"/>
              </a:rPr>
              <a:t>Reduce under 5 mortality rate </a:t>
            </a:r>
            <a:r>
              <a:rPr lang="en-ZA" sz="1100" b="1" dirty="0">
                <a:solidFill>
                  <a:schemeClr val="accent4"/>
                </a:solidFill>
                <a:cs typeface="+mn-cs"/>
              </a:rPr>
              <a:t>by half, from 120/1000 U5 population to 60/1000 by 2030</a:t>
            </a:r>
          </a:p>
          <a:p>
            <a:pPr lvl="1">
              <a:spcAft>
                <a:spcPts val="0"/>
              </a:spcAft>
              <a:buFont typeface="Arial" panose="020B0604020202020204" pitchFamily="34" charset="0"/>
              <a:buChar char="▪"/>
              <a:defRPr/>
            </a:pPr>
            <a:r>
              <a:rPr lang="en-ZA" sz="1100" dirty="0">
                <a:cs typeface="+mn-cs"/>
              </a:rPr>
              <a:t>Reduce maternal mortality </a:t>
            </a:r>
            <a:r>
              <a:rPr lang="en-ZA" sz="1100" b="1" dirty="0">
                <a:solidFill>
                  <a:schemeClr val="accent4"/>
                </a:solidFill>
                <a:cs typeface="+mn-cs"/>
              </a:rPr>
              <a:t>by half, from 576 deaths/100,000 live births to 288</a:t>
            </a:r>
            <a:r>
              <a:rPr lang="en-ZA" sz="1100" dirty="0">
                <a:cs typeface="+mn-cs"/>
              </a:rPr>
              <a:t> by 2030</a:t>
            </a:r>
          </a:p>
        </p:txBody>
      </p:sp>
      <p:sp>
        <p:nvSpPr>
          <p:cNvPr id="273" name="TextBox 272">
            <a:extLst>
              <a:ext uri="{FF2B5EF4-FFF2-40B4-BE49-F238E27FC236}"/>
            </a:extLst>
          </p:cNvPr>
          <p:cNvSpPr txBox="1">
            <a:spLocks/>
          </p:cNvSpPr>
          <p:nvPr>
            <p:custDataLst>
              <p:tags r:id="rId8"/>
            </p:custDataLst>
          </p:nvPr>
        </p:nvSpPr>
        <p:spPr>
          <a:xfrm>
            <a:off x="3678238" y="3665538"/>
            <a:ext cx="2538412" cy="1862137"/>
          </a:xfrm>
          <a:prstGeom prst="rect">
            <a:avLst/>
          </a:prstGeom>
        </p:spPr>
        <p:txBody>
          <a:bodyPr lIns="0" tIns="0" rIns="0" bIns="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29517" lvl="1" indent="-128349">
              <a:spcAft>
                <a:spcPts val="0"/>
              </a:spcAft>
              <a:buFont typeface="Arial" panose="020B0604020202020204" pitchFamily="34" charset="0"/>
              <a:buChar char="▪"/>
              <a:defRPr/>
            </a:pPr>
            <a:r>
              <a:rPr lang="en-ZA" sz="1100" b="1" dirty="0">
                <a:solidFill>
                  <a:schemeClr val="accent4"/>
                </a:solidFill>
                <a:cs typeface="+mn-cs"/>
              </a:rPr>
              <a:t>Double primary school enrolment rates </a:t>
            </a:r>
            <a:r>
              <a:rPr lang="en-ZA" sz="1100" dirty="0">
                <a:cs typeface="+mn-cs"/>
              </a:rPr>
              <a:t>from 46% to ~90% by 2030</a:t>
            </a:r>
          </a:p>
          <a:p>
            <a:pPr marL="129517" lvl="1" indent="-128349">
              <a:spcAft>
                <a:spcPts val="0"/>
              </a:spcAft>
              <a:buFont typeface="Arial" panose="020B0604020202020204" pitchFamily="34" charset="0"/>
              <a:buChar char="▪"/>
              <a:defRPr/>
            </a:pPr>
            <a:r>
              <a:rPr lang="en-US" sz="1100" b="1" dirty="0">
                <a:solidFill>
                  <a:schemeClr val="accent4"/>
                </a:solidFill>
                <a:cs typeface="+mn-cs"/>
              </a:rPr>
              <a:t>D</a:t>
            </a:r>
            <a:r>
              <a:rPr lang="en-ZA" sz="1100" b="1" dirty="0">
                <a:solidFill>
                  <a:schemeClr val="accent4"/>
                </a:solidFill>
                <a:cs typeface="+mn-cs"/>
              </a:rPr>
              <a:t>ouble </a:t>
            </a:r>
            <a:r>
              <a:rPr lang="en-ZA" sz="1100" dirty="0">
                <a:cs typeface="+mn-cs"/>
              </a:rPr>
              <a:t>female enrolment</a:t>
            </a:r>
          </a:p>
          <a:p>
            <a:pPr marL="129517" lvl="1" indent="-128349">
              <a:spcAft>
                <a:spcPts val="0"/>
              </a:spcAft>
              <a:buFont typeface="Arial" panose="020B0604020202020204" pitchFamily="34" charset="0"/>
              <a:buChar char="▪"/>
              <a:defRPr/>
            </a:pPr>
            <a:r>
              <a:rPr lang="en-US" sz="1100" b="1" spc="-20" dirty="0">
                <a:solidFill>
                  <a:schemeClr val="accent4"/>
                </a:solidFill>
                <a:cs typeface="+mn-cs"/>
              </a:rPr>
              <a:t>Double</a:t>
            </a:r>
            <a:r>
              <a:rPr lang="en-ZA" sz="1100" b="1" spc="-20" dirty="0">
                <a:solidFill>
                  <a:schemeClr val="accent4"/>
                </a:solidFill>
                <a:cs typeface="+mn-cs"/>
              </a:rPr>
              <a:t> secondary school comple-tion </a:t>
            </a:r>
            <a:r>
              <a:rPr lang="en-ZA" sz="1100" spc="-20" dirty="0">
                <a:cs typeface="+mn-cs"/>
              </a:rPr>
              <a:t>rates from 42% to ~80% by 2030</a:t>
            </a:r>
          </a:p>
          <a:p>
            <a:pPr marL="129517" lvl="1" indent="-128349">
              <a:spcAft>
                <a:spcPts val="0"/>
              </a:spcAft>
              <a:buFont typeface="Arial" panose="020B0604020202020204" pitchFamily="34" charset="0"/>
              <a:buChar char="▪"/>
              <a:defRPr/>
            </a:pPr>
            <a:r>
              <a:rPr lang="en-US" sz="1100" dirty="0">
                <a:cs typeface="+mn-cs"/>
              </a:rPr>
              <a:t>Reduce out-of-school children (~10m) </a:t>
            </a:r>
            <a:r>
              <a:rPr lang="en-US" sz="1100" b="1" dirty="0">
                <a:solidFill>
                  <a:schemeClr val="accent4"/>
                </a:solidFill>
                <a:cs typeface="+mn-cs"/>
              </a:rPr>
              <a:t>by at least 70%</a:t>
            </a:r>
          </a:p>
          <a:p>
            <a:pPr marL="129517" lvl="1" indent="-128349">
              <a:spcAft>
                <a:spcPts val="0"/>
              </a:spcAft>
              <a:buFont typeface="Arial" panose="020B0604020202020204" pitchFamily="34" charset="0"/>
              <a:buChar char="▪"/>
              <a:defRPr/>
            </a:pPr>
            <a:r>
              <a:rPr lang="en-US" sz="1100" b="1" dirty="0">
                <a:solidFill>
                  <a:schemeClr val="accent4"/>
                </a:solidFill>
                <a:cs typeface="+mn-cs"/>
              </a:rPr>
              <a:t>80% pass rate, students </a:t>
            </a:r>
            <a:r>
              <a:rPr lang="en-US" sz="1100" dirty="0">
                <a:cs typeface="+mn-cs"/>
              </a:rPr>
              <a:t>that reach curricular objectives at end of primary school (reading and mathematics national learning assessment)</a:t>
            </a:r>
            <a:endParaRPr lang="en-US" sz="1100" b="1" dirty="0">
              <a:solidFill>
                <a:schemeClr val="accent4"/>
              </a:solidFill>
              <a:cs typeface="+mn-cs"/>
            </a:endParaRPr>
          </a:p>
        </p:txBody>
      </p:sp>
      <p:sp>
        <p:nvSpPr>
          <p:cNvPr id="275" name="TextBox 274">
            <a:extLst>
              <a:ext uri="{FF2B5EF4-FFF2-40B4-BE49-F238E27FC236}"/>
            </a:extLst>
          </p:cNvPr>
          <p:cNvSpPr txBox="1">
            <a:spLocks/>
          </p:cNvSpPr>
          <p:nvPr>
            <p:custDataLst>
              <p:tags r:id="rId9"/>
            </p:custDataLst>
          </p:nvPr>
        </p:nvSpPr>
        <p:spPr>
          <a:xfrm>
            <a:off x="6302375" y="3665538"/>
            <a:ext cx="2411413" cy="846137"/>
          </a:xfrm>
          <a:prstGeom prst="rect">
            <a:avLst/>
          </a:prstGeom>
        </p:spPr>
        <p:txBody>
          <a:bodyPr lIns="0" tIns="0" rIns="0" bIns="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29517" lvl="1" indent="-128349">
              <a:spcAft>
                <a:spcPts val="0"/>
              </a:spcAft>
              <a:buFont typeface="Arial" panose="020B0604020202020204" pitchFamily="34" charset="0"/>
              <a:buChar char="▪"/>
              <a:defRPr/>
            </a:pPr>
            <a:r>
              <a:rPr lang="en-US" sz="1100" b="1" dirty="0">
                <a:solidFill>
                  <a:schemeClr val="accent4"/>
                </a:solidFill>
                <a:cs typeface="+mn-cs"/>
              </a:rPr>
              <a:t>Double youth participation in labour force </a:t>
            </a:r>
            <a:r>
              <a:rPr lang="en-US" sz="1100" dirty="0">
                <a:cs typeface="+mn-cs"/>
              </a:rPr>
              <a:t>from 23% to 46% by 2030 </a:t>
            </a:r>
          </a:p>
          <a:p>
            <a:pPr marL="129517" lvl="1" indent="-128349">
              <a:spcAft>
                <a:spcPts val="0"/>
              </a:spcAft>
              <a:buFont typeface="Arial" panose="020B0604020202020204" pitchFamily="34" charset="0"/>
              <a:buChar char="▪"/>
              <a:defRPr/>
            </a:pPr>
            <a:r>
              <a:rPr lang="en-US" sz="1100" dirty="0">
                <a:cs typeface="+mn-cs"/>
              </a:rPr>
              <a:t>Double</a:t>
            </a:r>
            <a:r>
              <a:rPr lang="en-US" sz="1100" b="1" dirty="0">
                <a:solidFill>
                  <a:schemeClr val="accent4"/>
                </a:solidFill>
                <a:cs typeface="+mn-cs"/>
              </a:rPr>
              <a:t> female labour force participation</a:t>
            </a:r>
            <a:r>
              <a:rPr lang="en-US" sz="1100" dirty="0">
                <a:cs typeface="+mn-cs"/>
              </a:rPr>
              <a:t> from 21% to 41%</a:t>
            </a:r>
          </a:p>
        </p:txBody>
      </p:sp>
      <p:sp>
        <p:nvSpPr>
          <p:cNvPr id="124" name="Rectangle 123">
            <a:extLst>
              <a:ext uri="{FF2B5EF4-FFF2-40B4-BE49-F238E27FC236}"/>
            </a:extLst>
          </p:cNvPr>
          <p:cNvSpPr>
            <a:spLocks/>
          </p:cNvSpPr>
          <p:nvPr/>
        </p:nvSpPr>
        <p:spPr>
          <a:xfrm>
            <a:off x="1076325" y="2382838"/>
            <a:ext cx="2538413" cy="493712"/>
          </a:xfrm>
          <a:prstGeom prst="rect">
            <a:avLst/>
          </a:prstGeom>
          <a:solidFill>
            <a:schemeClr val="accent6">
              <a:lumMod val="40000"/>
              <a:lumOff val="60000"/>
            </a:schemeClr>
          </a:solidFill>
          <a:ln w="9525">
            <a:noFill/>
            <a:miter lim="800000"/>
            <a:headEnd/>
            <a:tailEnd/>
          </a:ln>
        </p:spPr>
        <p:txBody>
          <a:bodyPr wrap="none" lIns="0" tIns="0" rIns="0" bIns="0" anchor="ctr"/>
          <a:lstStyle/>
          <a:p>
            <a:pPr algn="ctr">
              <a:defRPr/>
            </a:pPr>
            <a:endParaRPr lang="en-US" sz="1000" dirty="0">
              <a:latin typeface="+mn-lt"/>
              <a:cs typeface="+mn-cs"/>
            </a:endParaRPr>
          </a:p>
        </p:txBody>
      </p:sp>
      <p:sp>
        <p:nvSpPr>
          <p:cNvPr id="125" name="Rectangle 124">
            <a:extLst>
              <a:ext uri="{FF2B5EF4-FFF2-40B4-BE49-F238E27FC236}"/>
            </a:extLst>
          </p:cNvPr>
          <p:cNvSpPr>
            <a:spLocks/>
          </p:cNvSpPr>
          <p:nvPr/>
        </p:nvSpPr>
        <p:spPr>
          <a:xfrm>
            <a:off x="3657600" y="2382838"/>
            <a:ext cx="2538413" cy="493712"/>
          </a:xfrm>
          <a:prstGeom prst="rect">
            <a:avLst/>
          </a:prstGeom>
          <a:solidFill>
            <a:schemeClr val="accent6">
              <a:lumMod val="40000"/>
              <a:lumOff val="60000"/>
            </a:schemeClr>
          </a:solidFill>
          <a:ln w="9525">
            <a:noFill/>
            <a:miter lim="800000"/>
            <a:headEnd/>
            <a:tailEnd/>
          </a:ln>
        </p:spPr>
        <p:txBody>
          <a:bodyPr wrap="none" lIns="0" tIns="0" rIns="0" bIns="0" anchor="ctr"/>
          <a:lstStyle/>
          <a:p>
            <a:pPr algn="ctr">
              <a:defRPr/>
            </a:pPr>
            <a:endParaRPr lang="en-US" sz="1000" dirty="0">
              <a:latin typeface="+mn-lt"/>
              <a:cs typeface="+mn-cs"/>
            </a:endParaRPr>
          </a:p>
        </p:txBody>
      </p:sp>
      <p:sp>
        <p:nvSpPr>
          <p:cNvPr id="126" name="Rectangle 125">
            <a:extLst>
              <a:ext uri="{FF2B5EF4-FFF2-40B4-BE49-F238E27FC236}"/>
            </a:extLst>
          </p:cNvPr>
          <p:cNvSpPr>
            <a:spLocks/>
          </p:cNvSpPr>
          <p:nvPr/>
        </p:nvSpPr>
        <p:spPr>
          <a:xfrm>
            <a:off x="6238875" y="2382838"/>
            <a:ext cx="2538413" cy="493712"/>
          </a:xfrm>
          <a:prstGeom prst="rect">
            <a:avLst/>
          </a:prstGeom>
          <a:solidFill>
            <a:schemeClr val="accent6">
              <a:lumMod val="40000"/>
              <a:lumOff val="60000"/>
            </a:schemeClr>
          </a:solidFill>
          <a:ln w="9525">
            <a:noFill/>
            <a:miter lim="800000"/>
            <a:headEnd/>
            <a:tailEnd/>
          </a:ln>
        </p:spPr>
        <p:txBody>
          <a:bodyPr wrap="none" lIns="0" tIns="0" rIns="0" bIns="0" anchor="ctr"/>
          <a:lstStyle/>
          <a:p>
            <a:pPr algn="ctr">
              <a:defRPr/>
            </a:pPr>
            <a:endParaRPr lang="en-US" sz="1000" dirty="0">
              <a:latin typeface="+mn-lt"/>
              <a:cs typeface="+mn-cs"/>
            </a:endParaRPr>
          </a:p>
        </p:txBody>
      </p:sp>
      <p:sp>
        <p:nvSpPr>
          <p:cNvPr id="21532" name="TextBox 159"/>
          <p:cNvSpPr txBox="1">
            <a:spLocks/>
          </p:cNvSpPr>
          <p:nvPr/>
        </p:nvSpPr>
        <p:spPr bwMode="auto">
          <a:xfrm>
            <a:off x="1136650" y="2543175"/>
            <a:ext cx="2411413" cy="171450"/>
          </a:xfrm>
          <a:prstGeom prst="rect">
            <a:avLst/>
          </a:prstGeom>
          <a:noFill/>
          <a:ln w="19050">
            <a:noFill/>
            <a:miter lim="800000"/>
            <a:headEnd/>
            <a:tailEnd/>
          </a:ln>
        </p:spPr>
        <p:txBody>
          <a:bodyPr lIns="0" tIns="0" rIns="0" bIns="0" anchor="ctr">
            <a:spAutoFit/>
          </a:bodyPr>
          <a:lstStyle/>
          <a:p>
            <a:pPr algn="ctr" defTabSz="895350">
              <a:buClr>
                <a:schemeClr val="tx2"/>
              </a:buClr>
              <a:buSzPct val="100000"/>
            </a:pPr>
            <a:r>
              <a:rPr lang="en-US" sz="1100" b="1">
                <a:solidFill>
                  <a:schemeClr val="tx2"/>
                </a:solidFill>
              </a:rPr>
              <a:t>Health and nutrition</a:t>
            </a:r>
          </a:p>
        </p:txBody>
      </p:sp>
      <p:sp>
        <p:nvSpPr>
          <p:cNvPr id="21533" name="TextBox 160"/>
          <p:cNvSpPr txBox="1">
            <a:spLocks/>
          </p:cNvSpPr>
          <p:nvPr/>
        </p:nvSpPr>
        <p:spPr bwMode="auto">
          <a:xfrm>
            <a:off x="3721100" y="2543175"/>
            <a:ext cx="2411413" cy="171450"/>
          </a:xfrm>
          <a:prstGeom prst="rect">
            <a:avLst/>
          </a:prstGeom>
          <a:noFill/>
          <a:ln w="19050">
            <a:noFill/>
            <a:miter lim="800000"/>
            <a:headEnd/>
            <a:tailEnd/>
          </a:ln>
        </p:spPr>
        <p:txBody>
          <a:bodyPr lIns="0" tIns="0" rIns="0" bIns="0" anchor="ctr">
            <a:spAutoFit/>
          </a:bodyPr>
          <a:lstStyle/>
          <a:p>
            <a:pPr algn="ctr" defTabSz="895350">
              <a:buClr>
                <a:schemeClr val="tx2"/>
              </a:buClr>
              <a:buSzPct val="100000"/>
            </a:pPr>
            <a:r>
              <a:rPr lang="en-US" sz="1100" b="1">
                <a:solidFill>
                  <a:schemeClr val="tx2"/>
                </a:solidFill>
              </a:rPr>
              <a:t>Education </a:t>
            </a:r>
          </a:p>
        </p:txBody>
      </p:sp>
      <p:sp>
        <p:nvSpPr>
          <p:cNvPr id="21534" name="TextBox 161"/>
          <p:cNvSpPr txBox="1">
            <a:spLocks/>
          </p:cNvSpPr>
          <p:nvPr/>
        </p:nvSpPr>
        <p:spPr bwMode="auto">
          <a:xfrm>
            <a:off x="6302375" y="2543175"/>
            <a:ext cx="2411413" cy="171450"/>
          </a:xfrm>
          <a:prstGeom prst="rect">
            <a:avLst/>
          </a:prstGeom>
          <a:noFill/>
          <a:ln w="19050">
            <a:noFill/>
            <a:miter lim="800000"/>
            <a:headEnd/>
            <a:tailEnd/>
          </a:ln>
        </p:spPr>
        <p:txBody>
          <a:bodyPr lIns="0" tIns="0" rIns="0" bIns="0" anchor="ctr">
            <a:spAutoFit/>
          </a:bodyPr>
          <a:lstStyle/>
          <a:p>
            <a:pPr algn="ctr" defTabSz="895350">
              <a:buClr>
                <a:schemeClr val="tx2"/>
              </a:buClr>
              <a:buSzPct val="100000"/>
            </a:pPr>
            <a:r>
              <a:rPr lang="en-US" sz="1100" b="1">
                <a:solidFill>
                  <a:schemeClr val="tx2"/>
                </a:solidFill>
              </a:rPr>
              <a:t>Labor force </a:t>
            </a:r>
          </a:p>
        </p:txBody>
      </p:sp>
      <p:grpSp>
        <p:nvGrpSpPr>
          <p:cNvPr id="21535" name="Group 12"/>
          <p:cNvGrpSpPr>
            <a:grpSpLocks/>
          </p:cNvGrpSpPr>
          <p:nvPr/>
        </p:nvGrpSpPr>
        <p:grpSpPr bwMode="auto">
          <a:xfrm>
            <a:off x="3070225" y="2427288"/>
            <a:ext cx="477838" cy="404812"/>
            <a:chOff x="3060348" y="2360066"/>
            <a:chExt cx="480259" cy="405061"/>
          </a:xfrm>
        </p:grpSpPr>
        <p:sp>
          <p:nvSpPr>
            <p:cNvPr id="103" name="Freeform 6">
              <a:extLst>
                <a:ext uri="{FF2B5EF4-FFF2-40B4-BE49-F238E27FC236}"/>
              </a:extLst>
            </p:cNvPr>
            <p:cNvSpPr>
              <a:spLocks/>
            </p:cNvSpPr>
            <p:nvPr/>
          </p:nvSpPr>
          <p:spPr bwMode="auto">
            <a:xfrm>
              <a:off x="3060348" y="2626930"/>
              <a:ext cx="478663" cy="138197"/>
            </a:xfrm>
            <a:custGeom>
              <a:avLst/>
              <a:gdLst>
                <a:gd name="T0" fmla="*/ 0 w 2963"/>
                <a:gd name="T1" fmla="*/ 0 h 879"/>
                <a:gd name="T2" fmla="*/ 2963 w 2963"/>
                <a:gd name="T3" fmla="*/ 0 h 879"/>
                <a:gd name="T4" fmla="*/ 2479 w 2963"/>
                <a:gd name="T5" fmla="*/ 879 h 879"/>
                <a:gd name="T6" fmla="*/ 508 w 2963"/>
                <a:gd name="T7" fmla="*/ 879 h 879"/>
                <a:gd name="T8" fmla="*/ 0 w 2963"/>
                <a:gd name="T9" fmla="*/ 0 h 879"/>
              </a:gdLst>
              <a:ahLst/>
              <a:cxnLst>
                <a:cxn ang="0">
                  <a:pos x="T0" y="T1"/>
                </a:cxn>
                <a:cxn ang="0">
                  <a:pos x="T2" y="T3"/>
                </a:cxn>
                <a:cxn ang="0">
                  <a:pos x="T4" y="T5"/>
                </a:cxn>
                <a:cxn ang="0">
                  <a:pos x="T6" y="T7"/>
                </a:cxn>
                <a:cxn ang="0">
                  <a:pos x="T8" y="T9"/>
                </a:cxn>
              </a:cxnLst>
              <a:rect l="0" t="0" r="r" b="b"/>
              <a:pathLst>
                <a:path w="2963" h="879">
                  <a:moveTo>
                    <a:pt x="0" y="0"/>
                  </a:moveTo>
                  <a:lnTo>
                    <a:pt x="2963" y="0"/>
                  </a:lnTo>
                  <a:lnTo>
                    <a:pt x="2479" y="879"/>
                  </a:lnTo>
                  <a:lnTo>
                    <a:pt x="508" y="879"/>
                  </a:lnTo>
                  <a:lnTo>
                    <a:pt x="0" y="0"/>
                  </a:lnTo>
                  <a:close/>
                </a:path>
              </a:pathLst>
            </a:custGeom>
            <a:solidFill>
              <a:schemeClr val="accent6">
                <a:lumMod val="20000"/>
                <a:lumOff val="80000"/>
              </a:schemeClr>
            </a:solidFill>
            <a:ln w="38100">
              <a:noFill/>
              <a:prstDash val="solid"/>
              <a:round/>
              <a:headEnd/>
              <a:tailEnd/>
            </a:ln>
          </p:spPr>
          <p:txBody>
            <a:bodyPr anchor="ctr"/>
            <a:lstStyle/>
            <a:p>
              <a:pPr>
                <a:defRPr/>
              </a:pPr>
              <a:endParaRPr lang="en-US" sz="200" dirty="0">
                <a:latin typeface="+mn-lt"/>
                <a:cs typeface="+mn-cs"/>
              </a:endParaRPr>
            </a:p>
          </p:txBody>
        </p:sp>
        <p:sp>
          <p:nvSpPr>
            <p:cNvPr id="104" name="Freeform 7">
              <a:extLst>
                <a:ext uri="{FF2B5EF4-FFF2-40B4-BE49-F238E27FC236}"/>
              </a:extLst>
            </p:cNvPr>
            <p:cNvSpPr>
              <a:spLocks/>
            </p:cNvSpPr>
            <p:nvPr/>
          </p:nvSpPr>
          <p:spPr bwMode="auto">
            <a:xfrm>
              <a:off x="3060348" y="2360066"/>
              <a:ext cx="322300" cy="405061"/>
            </a:xfrm>
            <a:custGeom>
              <a:avLst/>
              <a:gdLst>
                <a:gd name="T0" fmla="*/ 983 w 1994"/>
                <a:gd name="T1" fmla="*/ 0 h 2580"/>
                <a:gd name="T2" fmla="*/ 0 w 1994"/>
                <a:gd name="T3" fmla="*/ 1701 h 2580"/>
                <a:gd name="T4" fmla="*/ 508 w 1994"/>
                <a:gd name="T5" fmla="*/ 2580 h 2580"/>
                <a:gd name="T6" fmla="*/ 1994 w 1994"/>
                <a:gd name="T7" fmla="*/ 0 h 2580"/>
                <a:gd name="T8" fmla="*/ 983 w 1994"/>
                <a:gd name="T9" fmla="*/ 0 h 2580"/>
              </a:gdLst>
              <a:ahLst/>
              <a:cxnLst>
                <a:cxn ang="0">
                  <a:pos x="T0" y="T1"/>
                </a:cxn>
                <a:cxn ang="0">
                  <a:pos x="T2" y="T3"/>
                </a:cxn>
                <a:cxn ang="0">
                  <a:pos x="T4" y="T5"/>
                </a:cxn>
                <a:cxn ang="0">
                  <a:pos x="T6" y="T7"/>
                </a:cxn>
                <a:cxn ang="0">
                  <a:pos x="T8" y="T9"/>
                </a:cxn>
              </a:cxnLst>
              <a:rect l="0" t="0" r="r" b="b"/>
              <a:pathLst>
                <a:path w="1994" h="2580">
                  <a:moveTo>
                    <a:pt x="983" y="0"/>
                  </a:moveTo>
                  <a:lnTo>
                    <a:pt x="0" y="1701"/>
                  </a:lnTo>
                  <a:lnTo>
                    <a:pt x="508" y="2580"/>
                  </a:lnTo>
                  <a:lnTo>
                    <a:pt x="1994" y="0"/>
                  </a:lnTo>
                  <a:lnTo>
                    <a:pt x="983" y="0"/>
                  </a:lnTo>
                  <a:close/>
                </a:path>
              </a:pathLst>
            </a:custGeom>
            <a:solidFill>
              <a:schemeClr val="accent2"/>
            </a:solidFill>
            <a:ln w="38100">
              <a:noFill/>
              <a:prstDash val="solid"/>
              <a:round/>
              <a:headEnd/>
              <a:tailEnd/>
            </a:ln>
          </p:spPr>
          <p:txBody>
            <a:bodyPr anchor="ctr"/>
            <a:lstStyle/>
            <a:p>
              <a:pPr>
                <a:defRPr/>
              </a:pPr>
              <a:endParaRPr lang="en-US" sz="200" dirty="0">
                <a:latin typeface="+mn-lt"/>
                <a:cs typeface="+mn-cs"/>
              </a:endParaRPr>
            </a:p>
          </p:txBody>
        </p:sp>
        <p:sp>
          <p:nvSpPr>
            <p:cNvPr id="105" name="Freeform 8">
              <a:extLst>
                <a:ext uri="{FF2B5EF4-FFF2-40B4-BE49-F238E27FC236}"/>
              </a:extLst>
            </p:cNvPr>
            <p:cNvSpPr>
              <a:spLocks/>
            </p:cNvSpPr>
            <p:nvPr/>
          </p:nvSpPr>
          <p:spPr bwMode="auto">
            <a:xfrm>
              <a:off x="3219902" y="2360066"/>
              <a:ext cx="320705" cy="405061"/>
            </a:xfrm>
            <a:custGeom>
              <a:avLst/>
              <a:gdLst>
                <a:gd name="T0" fmla="*/ 0 w 1980"/>
                <a:gd name="T1" fmla="*/ 0 h 2580"/>
                <a:gd name="T2" fmla="*/ 1496 w 1980"/>
                <a:gd name="T3" fmla="*/ 2580 h 2580"/>
                <a:gd name="T4" fmla="*/ 1980 w 1980"/>
                <a:gd name="T5" fmla="*/ 1701 h 2580"/>
                <a:gd name="T6" fmla="*/ 1011 w 1980"/>
                <a:gd name="T7" fmla="*/ 0 h 2580"/>
                <a:gd name="T8" fmla="*/ 0 w 1980"/>
                <a:gd name="T9" fmla="*/ 0 h 2580"/>
              </a:gdLst>
              <a:ahLst/>
              <a:cxnLst>
                <a:cxn ang="0">
                  <a:pos x="T0" y="T1"/>
                </a:cxn>
                <a:cxn ang="0">
                  <a:pos x="T2" y="T3"/>
                </a:cxn>
                <a:cxn ang="0">
                  <a:pos x="T4" y="T5"/>
                </a:cxn>
                <a:cxn ang="0">
                  <a:pos x="T6" y="T7"/>
                </a:cxn>
                <a:cxn ang="0">
                  <a:pos x="T8" y="T9"/>
                </a:cxn>
              </a:cxnLst>
              <a:rect l="0" t="0" r="r" b="b"/>
              <a:pathLst>
                <a:path w="1980" h="2580">
                  <a:moveTo>
                    <a:pt x="0" y="0"/>
                  </a:moveTo>
                  <a:lnTo>
                    <a:pt x="1496" y="2580"/>
                  </a:lnTo>
                  <a:lnTo>
                    <a:pt x="1980" y="1701"/>
                  </a:lnTo>
                  <a:lnTo>
                    <a:pt x="1011" y="0"/>
                  </a:lnTo>
                  <a:lnTo>
                    <a:pt x="0" y="0"/>
                  </a:lnTo>
                  <a:close/>
                </a:path>
              </a:pathLst>
            </a:custGeom>
            <a:solidFill>
              <a:schemeClr val="accent6">
                <a:lumMod val="20000"/>
                <a:lumOff val="80000"/>
              </a:schemeClr>
            </a:solidFill>
            <a:ln w="19050">
              <a:noFill/>
              <a:prstDash val="solid"/>
              <a:round/>
              <a:headEnd/>
              <a:tailEnd/>
            </a:ln>
          </p:spPr>
          <p:txBody>
            <a:bodyPr anchor="ctr"/>
            <a:lstStyle/>
            <a:p>
              <a:pPr>
                <a:defRPr/>
              </a:pPr>
              <a:endParaRPr lang="en-US" sz="200" dirty="0">
                <a:latin typeface="+mn-lt"/>
                <a:cs typeface="+mn-cs"/>
              </a:endParaRPr>
            </a:p>
          </p:txBody>
        </p:sp>
        <p:sp>
          <p:nvSpPr>
            <p:cNvPr id="21563" name="TextBox 105"/>
            <p:cNvSpPr txBox="1">
              <a:spLocks noChangeArrowheads="1"/>
            </p:cNvSpPr>
            <p:nvPr/>
          </p:nvSpPr>
          <p:spPr bwMode="gray">
            <a:xfrm>
              <a:off x="3108760" y="2517977"/>
              <a:ext cx="118783" cy="100633"/>
            </a:xfrm>
            <a:prstGeom prst="rect">
              <a:avLst/>
            </a:prstGeom>
            <a:noFill/>
            <a:ln w="9525">
              <a:noFill/>
              <a:miter lim="800000"/>
              <a:headEnd/>
              <a:tailEnd/>
            </a:ln>
          </p:spPr>
          <p:txBody>
            <a:bodyPr lIns="0" tIns="0" rIns="0" bIns="0" anchor="ctr">
              <a:spAutoFit/>
            </a:bodyPr>
            <a:lstStyle/>
            <a:p>
              <a:pPr algn="ctr" defTabSz="895350">
                <a:buClr>
                  <a:schemeClr val="tx2"/>
                </a:buClr>
                <a:buSzPct val="100000"/>
              </a:pPr>
              <a:r>
                <a:rPr lang="en-US" sz="200" b="1">
                  <a:solidFill>
                    <a:schemeClr val="bg1"/>
                  </a:solidFill>
                </a:rPr>
                <a:t>Health and nutrition</a:t>
              </a:r>
            </a:p>
          </p:txBody>
        </p:sp>
        <p:grpSp>
          <p:nvGrpSpPr>
            <p:cNvPr id="5" name="Group 106">
              <a:extLst>
                <a:ext uri="{FF2B5EF4-FFF2-40B4-BE49-F238E27FC236}"/>
              </a:extLst>
            </p:cNvPr>
            <p:cNvGrpSpPr/>
            <p:nvPr/>
          </p:nvGrpSpPr>
          <p:grpSpPr bwMode="gray">
            <a:xfrm>
              <a:off x="3178525" y="2463005"/>
              <a:ext cx="75406" cy="63602"/>
              <a:chOff x="5045076" y="776288"/>
              <a:chExt cx="566737" cy="506412"/>
            </a:xfrm>
            <a:solidFill>
              <a:schemeClr val="bg1"/>
            </a:solidFill>
          </p:grpSpPr>
          <p:sp>
            <p:nvSpPr>
              <p:cNvPr id="117" name="Freeform 16">
                <a:extLst>
                  <a:ext uri="{FF2B5EF4-FFF2-40B4-BE49-F238E27FC236}"/>
                </a:extLst>
              </p:cNvPr>
              <p:cNvSpPr>
                <a:spLocks/>
              </p:cNvSpPr>
              <p:nvPr/>
            </p:nvSpPr>
            <p:spPr bwMode="gray">
              <a:xfrm>
                <a:off x="5168900" y="977900"/>
                <a:ext cx="368300" cy="304800"/>
              </a:xfrm>
              <a:custGeom>
                <a:avLst/>
                <a:gdLst>
                  <a:gd name="T0" fmla="*/ 81 w 98"/>
                  <a:gd name="T1" fmla="*/ 24 h 81"/>
                  <a:gd name="T2" fmla="*/ 81 w 98"/>
                  <a:gd name="T3" fmla="*/ 23 h 81"/>
                  <a:gd name="T4" fmla="*/ 79 w 98"/>
                  <a:gd name="T5" fmla="*/ 33 h 81"/>
                  <a:gd name="T6" fmla="*/ 75 w 98"/>
                  <a:gd name="T7" fmla="*/ 36 h 81"/>
                  <a:gd name="T8" fmla="*/ 75 w 98"/>
                  <a:gd name="T9" fmla="*/ 36 h 81"/>
                  <a:gd name="T10" fmla="*/ 72 w 98"/>
                  <a:gd name="T11" fmla="*/ 34 h 81"/>
                  <a:gd name="T12" fmla="*/ 65 w 98"/>
                  <a:gd name="T13" fmla="*/ 12 h 81"/>
                  <a:gd name="T14" fmla="*/ 60 w 98"/>
                  <a:gd name="T15" fmla="*/ 26 h 81"/>
                  <a:gd name="T16" fmla="*/ 56 w 98"/>
                  <a:gd name="T17" fmla="*/ 28 h 81"/>
                  <a:gd name="T18" fmla="*/ 53 w 98"/>
                  <a:gd name="T19" fmla="*/ 25 h 81"/>
                  <a:gd name="T20" fmla="*/ 48 w 98"/>
                  <a:gd name="T21" fmla="*/ 0 h 81"/>
                  <a:gd name="T22" fmla="*/ 41 w 98"/>
                  <a:gd name="T23" fmla="*/ 51 h 81"/>
                  <a:gd name="T24" fmla="*/ 38 w 98"/>
                  <a:gd name="T25" fmla="*/ 55 h 81"/>
                  <a:gd name="T26" fmla="*/ 38 w 98"/>
                  <a:gd name="T27" fmla="*/ 55 h 81"/>
                  <a:gd name="T28" fmla="*/ 38 w 98"/>
                  <a:gd name="T29" fmla="*/ 55 h 81"/>
                  <a:gd name="T30" fmla="*/ 34 w 98"/>
                  <a:gd name="T31" fmla="*/ 51 h 81"/>
                  <a:gd name="T32" fmla="*/ 31 w 98"/>
                  <a:gd name="T33" fmla="*/ 33 h 81"/>
                  <a:gd name="T34" fmla="*/ 30 w 98"/>
                  <a:gd name="T35" fmla="*/ 37 h 81"/>
                  <a:gd name="T36" fmla="*/ 26 w 98"/>
                  <a:gd name="T37" fmla="*/ 39 h 81"/>
                  <a:gd name="T38" fmla="*/ 26 w 98"/>
                  <a:gd name="T39" fmla="*/ 39 h 81"/>
                  <a:gd name="T40" fmla="*/ 23 w 98"/>
                  <a:gd name="T41" fmla="*/ 37 h 81"/>
                  <a:gd name="T42" fmla="*/ 17 w 98"/>
                  <a:gd name="T43" fmla="*/ 22 h 81"/>
                  <a:gd name="T44" fmla="*/ 13 w 98"/>
                  <a:gd name="T45" fmla="*/ 36 h 81"/>
                  <a:gd name="T46" fmla="*/ 9 w 98"/>
                  <a:gd name="T47" fmla="*/ 39 h 81"/>
                  <a:gd name="T48" fmla="*/ 0 w 98"/>
                  <a:gd name="T49" fmla="*/ 39 h 81"/>
                  <a:gd name="T50" fmla="*/ 43 w 98"/>
                  <a:gd name="T51" fmla="*/ 81 h 81"/>
                  <a:gd name="T52" fmla="*/ 98 w 98"/>
                  <a:gd name="T53" fmla="*/ 26 h 81"/>
                  <a:gd name="T54" fmla="*/ 84 w 98"/>
                  <a:gd name="T55" fmla="*/ 26 h 81"/>
                  <a:gd name="T56" fmla="*/ 81 w 98"/>
                  <a:gd name="T57"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81">
                    <a:moveTo>
                      <a:pt x="81" y="24"/>
                    </a:moveTo>
                    <a:cubicBezTo>
                      <a:pt x="81" y="23"/>
                      <a:pt x="81" y="23"/>
                      <a:pt x="81" y="23"/>
                    </a:cubicBezTo>
                    <a:cubicBezTo>
                      <a:pt x="79" y="33"/>
                      <a:pt x="79" y="33"/>
                      <a:pt x="79" y="33"/>
                    </a:cubicBezTo>
                    <a:cubicBezTo>
                      <a:pt x="79" y="35"/>
                      <a:pt x="77" y="36"/>
                      <a:pt x="75" y="36"/>
                    </a:cubicBezTo>
                    <a:cubicBezTo>
                      <a:pt x="75" y="36"/>
                      <a:pt x="75" y="36"/>
                      <a:pt x="75" y="36"/>
                    </a:cubicBezTo>
                    <a:cubicBezTo>
                      <a:pt x="74" y="36"/>
                      <a:pt x="72" y="35"/>
                      <a:pt x="72" y="34"/>
                    </a:cubicBezTo>
                    <a:cubicBezTo>
                      <a:pt x="65" y="12"/>
                      <a:pt x="65" y="12"/>
                      <a:pt x="65" y="12"/>
                    </a:cubicBezTo>
                    <a:cubicBezTo>
                      <a:pt x="60" y="26"/>
                      <a:pt x="60" y="26"/>
                      <a:pt x="60" y="26"/>
                    </a:cubicBezTo>
                    <a:cubicBezTo>
                      <a:pt x="59" y="27"/>
                      <a:pt x="58" y="28"/>
                      <a:pt x="56" y="28"/>
                    </a:cubicBezTo>
                    <a:cubicBezTo>
                      <a:pt x="54" y="28"/>
                      <a:pt x="53" y="27"/>
                      <a:pt x="53" y="25"/>
                    </a:cubicBezTo>
                    <a:cubicBezTo>
                      <a:pt x="48" y="0"/>
                      <a:pt x="48" y="0"/>
                      <a:pt x="48" y="0"/>
                    </a:cubicBezTo>
                    <a:cubicBezTo>
                      <a:pt x="41" y="51"/>
                      <a:pt x="41" y="51"/>
                      <a:pt x="41" y="51"/>
                    </a:cubicBezTo>
                    <a:cubicBezTo>
                      <a:pt x="41" y="53"/>
                      <a:pt x="39" y="55"/>
                      <a:pt x="38" y="55"/>
                    </a:cubicBezTo>
                    <a:cubicBezTo>
                      <a:pt x="38" y="55"/>
                      <a:pt x="38" y="55"/>
                      <a:pt x="38" y="55"/>
                    </a:cubicBezTo>
                    <a:cubicBezTo>
                      <a:pt x="38" y="55"/>
                      <a:pt x="38" y="55"/>
                      <a:pt x="38" y="55"/>
                    </a:cubicBezTo>
                    <a:cubicBezTo>
                      <a:pt x="36" y="55"/>
                      <a:pt x="34" y="53"/>
                      <a:pt x="34" y="51"/>
                    </a:cubicBezTo>
                    <a:cubicBezTo>
                      <a:pt x="31" y="33"/>
                      <a:pt x="31" y="33"/>
                      <a:pt x="31" y="33"/>
                    </a:cubicBezTo>
                    <a:cubicBezTo>
                      <a:pt x="30" y="37"/>
                      <a:pt x="30" y="37"/>
                      <a:pt x="30" y="37"/>
                    </a:cubicBezTo>
                    <a:cubicBezTo>
                      <a:pt x="29" y="38"/>
                      <a:pt x="28" y="39"/>
                      <a:pt x="26" y="39"/>
                    </a:cubicBezTo>
                    <a:cubicBezTo>
                      <a:pt x="26" y="39"/>
                      <a:pt x="26" y="39"/>
                      <a:pt x="26" y="39"/>
                    </a:cubicBezTo>
                    <a:cubicBezTo>
                      <a:pt x="25" y="39"/>
                      <a:pt x="23" y="38"/>
                      <a:pt x="23" y="37"/>
                    </a:cubicBezTo>
                    <a:cubicBezTo>
                      <a:pt x="17" y="22"/>
                      <a:pt x="17" y="22"/>
                      <a:pt x="17" y="22"/>
                    </a:cubicBezTo>
                    <a:cubicBezTo>
                      <a:pt x="13" y="36"/>
                      <a:pt x="13" y="36"/>
                      <a:pt x="13" y="36"/>
                    </a:cubicBezTo>
                    <a:cubicBezTo>
                      <a:pt x="13" y="37"/>
                      <a:pt x="11" y="39"/>
                      <a:pt x="9" y="39"/>
                    </a:cubicBezTo>
                    <a:cubicBezTo>
                      <a:pt x="0" y="39"/>
                      <a:pt x="0" y="39"/>
                      <a:pt x="0" y="39"/>
                    </a:cubicBezTo>
                    <a:cubicBezTo>
                      <a:pt x="43" y="81"/>
                      <a:pt x="43" y="81"/>
                      <a:pt x="43" y="81"/>
                    </a:cubicBezTo>
                    <a:cubicBezTo>
                      <a:pt x="98" y="26"/>
                      <a:pt x="98" y="26"/>
                      <a:pt x="98" y="26"/>
                    </a:cubicBezTo>
                    <a:cubicBezTo>
                      <a:pt x="84" y="26"/>
                      <a:pt x="84" y="26"/>
                      <a:pt x="84" y="26"/>
                    </a:cubicBezTo>
                    <a:cubicBezTo>
                      <a:pt x="83" y="26"/>
                      <a:pt x="81" y="25"/>
                      <a:pt x="81" y="24"/>
                    </a:cubicBezTo>
                    <a:close/>
                  </a:path>
                </a:pathLst>
              </a:custGeom>
              <a:grp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sp>
            <p:nvSpPr>
              <p:cNvPr id="118" name="Freeform 17">
                <a:extLst>
                  <a:ext uri="{FF2B5EF4-FFF2-40B4-BE49-F238E27FC236}"/>
                </a:extLst>
              </p:cNvPr>
              <p:cNvSpPr>
                <a:spLocks/>
              </p:cNvSpPr>
              <p:nvPr/>
            </p:nvSpPr>
            <p:spPr bwMode="gray">
              <a:xfrm>
                <a:off x="5045076" y="776288"/>
                <a:ext cx="566737" cy="319088"/>
              </a:xfrm>
              <a:custGeom>
                <a:avLst/>
                <a:gdLst>
                  <a:gd name="T0" fmla="*/ 46 w 151"/>
                  <a:gd name="T1" fmla="*/ 63 h 85"/>
                  <a:gd name="T2" fmla="*/ 50 w 151"/>
                  <a:gd name="T3" fmla="*/ 60 h 85"/>
                  <a:gd name="T4" fmla="*/ 53 w 151"/>
                  <a:gd name="T5" fmla="*/ 63 h 85"/>
                  <a:gd name="T6" fmla="*/ 59 w 151"/>
                  <a:gd name="T7" fmla="*/ 78 h 85"/>
                  <a:gd name="T8" fmla="*/ 61 w 151"/>
                  <a:gd name="T9" fmla="*/ 70 h 85"/>
                  <a:gd name="T10" fmla="*/ 65 w 151"/>
                  <a:gd name="T11" fmla="*/ 67 h 85"/>
                  <a:gd name="T12" fmla="*/ 69 w 151"/>
                  <a:gd name="T13" fmla="*/ 70 h 85"/>
                  <a:gd name="T14" fmla="*/ 70 w 151"/>
                  <a:gd name="T15" fmla="*/ 80 h 85"/>
                  <a:gd name="T16" fmla="*/ 77 w 151"/>
                  <a:gd name="T17" fmla="*/ 29 h 85"/>
                  <a:gd name="T18" fmla="*/ 81 w 151"/>
                  <a:gd name="T19" fmla="*/ 26 h 85"/>
                  <a:gd name="T20" fmla="*/ 84 w 151"/>
                  <a:gd name="T21" fmla="*/ 29 h 85"/>
                  <a:gd name="T22" fmla="*/ 91 w 151"/>
                  <a:gd name="T23" fmla="*/ 64 h 85"/>
                  <a:gd name="T24" fmla="*/ 95 w 151"/>
                  <a:gd name="T25" fmla="*/ 53 h 85"/>
                  <a:gd name="T26" fmla="*/ 98 w 151"/>
                  <a:gd name="T27" fmla="*/ 50 h 85"/>
                  <a:gd name="T28" fmla="*/ 102 w 151"/>
                  <a:gd name="T29" fmla="*/ 53 h 85"/>
                  <a:gd name="T30" fmla="*/ 107 w 151"/>
                  <a:gd name="T31" fmla="*/ 70 h 85"/>
                  <a:gd name="T32" fmla="*/ 109 w 151"/>
                  <a:gd name="T33" fmla="*/ 61 h 85"/>
                  <a:gd name="T34" fmla="*/ 112 w 151"/>
                  <a:gd name="T35" fmla="*/ 58 h 85"/>
                  <a:gd name="T36" fmla="*/ 112 w 151"/>
                  <a:gd name="T37" fmla="*/ 58 h 85"/>
                  <a:gd name="T38" fmla="*/ 116 w 151"/>
                  <a:gd name="T39" fmla="*/ 60 h 85"/>
                  <a:gd name="T40" fmla="*/ 120 w 151"/>
                  <a:gd name="T41" fmla="*/ 73 h 85"/>
                  <a:gd name="T42" fmla="*/ 138 w 151"/>
                  <a:gd name="T43" fmla="*/ 73 h 85"/>
                  <a:gd name="T44" fmla="*/ 135 w 151"/>
                  <a:gd name="T45" fmla="*/ 17 h 85"/>
                  <a:gd name="T46" fmla="*/ 76 w 151"/>
                  <a:gd name="T47" fmla="*/ 17 h 85"/>
                  <a:gd name="T48" fmla="*/ 16 w 151"/>
                  <a:gd name="T49" fmla="*/ 17 h 85"/>
                  <a:gd name="T50" fmla="*/ 16 w 151"/>
                  <a:gd name="T51" fmla="*/ 76 h 85"/>
                  <a:gd name="T52" fmla="*/ 25 w 151"/>
                  <a:gd name="T53" fmla="*/ 85 h 85"/>
                  <a:gd name="T54" fmla="*/ 40 w 151"/>
                  <a:gd name="T55" fmla="*/ 85 h 85"/>
                  <a:gd name="T56" fmla="*/ 46 w 151"/>
                  <a:gd name="T57" fmla="*/ 6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85">
                    <a:moveTo>
                      <a:pt x="46" y="63"/>
                    </a:moveTo>
                    <a:cubicBezTo>
                      <a:pt x="47" y="61"/>
                      <a:pt x="48" y="60"/>
                      <a:pt x="50" y="60"/>
                    </a:cubicBezTo>
                    <a:cubicBezTo>
                      <a:pt x="51" y="60"/>
                      <a:pt x="53" y="61"/>
                      <a:pt x="53" y="63"/>
                    </a:cubicBezTo>
                    <a:cubicBezTo>
                      <a:pt x="59" y="78"/>
                      <a:pt x="59" y="78"/>
                      <a:pt x="59" y="78"/>
                    </a:cubicBezTo>
                    <a:cubicBezTo>
                      <a:pt x="61" y="70"/>
                      <a:pt x="61" y="70"/>
                      <a:pt x="61" y="70"/>
                    </a:cubicBezTo>
                    <a:cubicBezTo>
                      <a:pt x="62" y="68"/>
                      <a:pt x="63" y="67"/>
                      <a:pt x="65" y="67"/>
                    </a:cubicBezTo>
                    <a:cubicBezTo>
                      <a:pt x="67" y="67"/>
                      <a:pt x="68" y="69"/>
                      <a:pt x="69" y="70"/>
                    </a:cubicBezTo>
                    <a:cubicBezTo>
                      <a:pt x="70" y="80"/>
                      <a:pt x="70" y="80"/>
                      <a:pt x="70" y="80"/>
                    </a:cubicBezTo>
                    <a:cubicBezTo>
                      <a:pt x="77" y="29"/>
                      <a:pt x="77" y="29"/>
                      <a:pt x="77" y="29"/>
                    </a:cubicBezTo>
                    <a:cubicBezTo>
                      <a:pt x="77" y="27"/>
                      <a:pt x="79" y="26"/>
                      <a:pt x="81" y="26"/>
                    </a:cubicBezTo>
                    <a:cubicBezTo>
                      <a:pt x="83" y="26"/>
                      <a:pt x="84" y="27"/>
                      <a:pt x="84" y="29"/>
                    </a:cubicBezTo>
                    <a:cubicBezTo>
                      <a:pt x="91" y="64"/>
                      <a:pt x="91" y="64"/>
                      <a:pt x="91" y="64"/>
                    </a:cubicBezTo>
                    <a:cubicBezTo>
                      <a:pt x="95" y="53"/>
                      <a:pt x="95" y="53"/>
                      <a:pt x="95" y="53"/>
                    </a:cubicBezTo>
                    <a:cubicBezTo>
                      <a:pt x="95" y="51"/>
                      <a:pt x="97" y="50"/>
                      <a:pt x="98" y="50"/>
                    </a:cubicBezTo>
                    <a:cubicBezTo>
                      <a:pt x="100" y="50"/>
                      <a:pt x="101" y="51"/>
                      <a:pt x="102" y="53"/>
                    </a:cubicBezTo>
                    <a:cubicBezTo>
                      <a:pt x="107" y="70"/>
                      <a:pt x="107" y="70"/>
                      <a:pt x="107" y="70"/>
                    </a:cubicBezTo>
                    <a:cubicBezTo>
                      <a:pt x="109" y="61"/>
                      <a:pt x="109" y="61"/>
                      <a:pt x="109" y="61"/>
                    </a:cubicBezTo>
                    <a:cubicBezTo>
                      <a:pt x="109" y="59"/>
                      <a:pt x="110" y="58"/>
                      <a:pt x="112" y="58"/>
                    </a:cubicBezTo>
                    <a:cubicBezTo>
                      <a:pt x="112" y="58"/>
                      <a:pt x="112" y="58"/>
                      <a:pt x="112" y="58"/>
                    </a:cubicBezTo>
                    <a:cubicBezTo>
                      <a:pt x="114" y="58"/>
                      <a:pt x="115" y="59"/>
                      <a:pt x="116" y="60"/>
                    </a:cubicBezTo>
                    <a:cubicBezTo>
                      <a:pt x="120" y="73"/>
                      <a:pt x="120" y="73"/>
                      <a:pt x="120" y="73"/>
                    </a:cubicBezTo>
                    <a:cubicBezTo>
                      <a:pt x="138" y="73"/>
                      <a:pt x="138" y="73"/>
                      <a:pt x="138" y="73"/>
                    </a:cubicBezTo>
                    <a:cubicBezTo>
                      <a:pt x="151" y="57"/>
                      <a:pt x="151" y="32"/>
                      <a:pt x="135" y="17"/>
                    </a:cubicBezTo>
                    <a:cubicBezTo>
                      <a:pt x="119" y="0"/>
                      <a:pt x="92" y="0"/>
                      <a:pt x="76" y="17"/>
                    </a:cubicBezTo>
                    <a:cubicBezTo>
                      <a:pt x="59" y="0"/>
                      <a:pt x="33" y="0"/>
                      <a:pt x="16" y="17"/>
                    </a:cubicBezTo>
                    <a:cubicBezTo>
                      <a:pt x="0" y="33"/>
                      <a:pt x="0" y="60"/>
                      <a:pt x="16" y="76"/>
                    </a:cubicBezTo>
                    <a:cubicBezTo>
                      <a:pt x="25" y="85"/>
                      <a:pt x="25" y="85"/>
                      <a:pt x="25" y="85"/>
                    </a:cubicBezTo>
                    <a:cubicBezTo>
                      <a:pt x="40" y="85"/>
                      <a:pt x="40" y="85"/>
                      <a:pt x="40" y="85"/>
                    </a:cubicBezTo>
                    <a:lnTo>
                      <a:pt x="46" y="63"/>
                    </a:lnTo>
                    <a:close/>
                  </a:path>
                </a:pathLst>
              </a:custGeom>
              <a:grp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grpSp>
        <p:sp>
          <p:nvSpPr>
            <p:cNvPr id="108" name="TextBox 107">
              <a:extLst>
                <a:ext uri="{FF2B5EF4-FFF2-40B4-BE49-F238E27FC236}"/>
              </a:extLst>
            </p:cNvPr>
            <p:cNvSpPr txBox="1"/>
            <p:nvPr/>
          </p:nvSpPr>
          <p:spPr bwMode="gray">
            <a:xfrm>
              <a:off x="3360310" y="2534798"/>
              <a:ext cx="129240" cy="66716"/>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Education</a:t>
              </a:r>
            </a:p>
          </p:txBody>
        </p:sp>
        <p:sp>
          <p:nvSpPr>
            <p:cNvPr id="109" name="Freeform 19">
              <a:extLst>
                <a:ext uri="{FF2B5EF4-FFF2-40B4-BE49-F238E27FC236}"/>
              </a:extLst>
            </p:cNvPr>
            <p:cNvSpPr>
              <a:spLocks noEditPoints="1"/>
            </p:cNvSpPr>
            <p:nvPr/>
          </p:nvSpPr>
          <p:spPr bwMode="gray">
            <a:xfrm>
              <a:off x="3344355" y="2461728"/>
              <a:ext cx="89350" cy="66716"/>
            </a:xfrm>
            <a:custGeom>
              <a:avLst/>
              <a:gdLst>
                <a:gd name="T0" fmla="*/ 98 w 748"/>
                <a:gd name="T1" fmla="*/ 338 h 573"/>
                <a:gd name="T2" fmla="*/ 98 w 748"/>
                <a:gd name="T3" fmla="*/ 389 h 573"/>
                <a:gd name="T4" fmla="*/ 109 w 748"/>
                <a:gd name="T5" fmla="*/ 363 h 573"/>
                <a:gd name="T6" fmla="*/ 592 w 748"/>
                <a:gd name="T7" fmla="*/ 288 h 573"/>
                <a:gd name="T8" fmla="*/ 61 w 748"/>
                <a:gd name="T9" fmla="*/ 333 h 573"/>
                <a:gd name="T10" fmla="*/ 101 w 748"/>
                <a:gd name="T11" fmla="*/ 439 h 573"/>
                <a:gd name="T12" fmla="*/ 262 w 748"/>
                <a:gd name="T13" fmla="*/ 543 h 573"/>
                <a:gd name="T14" fmla="*/ 328 w 748"/>
                <a:gd name="T15" fmla="*/ 573 h 573"/>
                <a:gd name="T16" fmla="*/ 385 w 748"/>
                <a:gd name="T17" fmla="*/ 573 h 573"/>
                <a:gd name="T18" fmla="*/ 451 w 748"/>
                <a:gd name="T19" fmla="*/ 543 h 573"/>
                <a:gd name="T20" fmla="*/ 591 w 748"/>
                <a:gd name="T21" fmla="*/ 439 h 573"/>
                <a:gd name="T22" fmla="*/ 592 w 748"/>
                <a:gd name="T23" fmla="*/ 288 h 573"/>
                <a:gd name="T24" fmla="*/ 101 w 748"/>
                <a:gd name="T25" fmla="*/ 419 h 573"/>
                <a:gd name="T26" fmla="*/ 102 w 748"/>
                <a:gd name="T27" fmla="*/ 308 h 573"/>
                <a:gd name="T28" fmla="*/ 126 w 748"/>
                <a:gd name="T29" fmla="*/ 363 h 573"/>
                <a:gd name="T30" fmla="*/ 314 w 748"/>
                <a:gd name="T31" fmla="*/ 419 h 573"/>
                <a:gd name="T32" fmla="*/ 146 w 748"/>
                <a:gd name="T33" fmla="*/ 364 h 573"/>
                <a:gd name="T34" fmla="*/ 314 w 748"/>
                <a:gd name="T35" fmla="*/ 308 h 573"/>
                <a:gd name="T36" fmla="*/ 314 w 748"/>
                <a:gd name="T37" fmla="*/ 419 h 573"/>
                <a:gd name="T38" fmla="*/ 405 w 748"/>
                <a:gd name="T39" fmla="*/ 419 h 573"/>
                <a:gd name="T40" fmla="*/ 405 w 748"/>
                <a:gd name="T41" fmla="*/ 308 h 573"/>
                <a:gd name="T42" fmla="*/ 616 w 748"/>
                <a:gd name="T43" fmla="*/ 363 h 573"/>
                <a:gd name="T44" fmla="*/ 748 w 748"/>
                <a:gd name="T45" fmla="*/ 360 h 573"/>
                <a:gd name="T46" fmla="*/ 734 w 748"/>
                <a:gd name="T47" fmla="*/ 279 h 573"/>
                <a:gd name="T48" fmla="*/ 719 w 748"/>
                <a:gd name="T49" fmla="*/ 220 h 573"/>
                <a:gd name="T50" fmla="*/ 715 w 748"/>
                <a:gd name="T51" fmla="*/ 128 h 573"/>
                <a:gd name="T52" fmla="*/ 580 w 748"/>
                <a:gd name="T53" fmla="*/ 66 h 573"/>
                <a:gd name="T54" fmla="*/ 358 w 748"/>
                <a:gd name="T55" fmla="*/ 0 h 573"/>
                <a:gd name="T56" fmla="*/ 136 w 748"/>
                <a:gd name="T57" fmla="*/ 66 h 573"/>
                <a:gd name="T58" fmla="*/ 0 w 748"/>
                <a:gd name="T59" fmla="*/ 128 h 573"/>
                <a:gd name="T60" fmla="*/ 153 w 748"/>
                <a:gd name="T61" fmla="*/ 174 h 573"/>
                <a:gd name="T62" fmla="*/ 171 w 748"/>
                <a:gd name="T63" fmla="*/ 250 h 573"/>
                <a:gd name="T64" fmla="*/ 544 w 748"/>
                <a:gd name="T65" fmla="*/ 179 h 573"/>
                <a:gd name="T66" fmla="*/ 580 w 748"/>
                <a:gd name="T67" fmla="*/ 169 h 573"/>
                <a:gd name="T68" fmla="*/ 690 w 748"/>
                <a:gd name="T69" fmla="*/ 223 h 573"/>
                <a:gd name="T70" fmla="*/ 683 w 748"/>
                <a:gd name="T71" fmla="*/ 280 h 573"/>
                <a:gd name="T72" fmla="*/ 667 w 748"/>
                <a:gd name="T73" fmla="*/ 36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8" h="573">
                  <a:moveTo>
                    <a:pt x="98" y="338"/>
                  </a:moveTo>
                  <a:cubicBezTo>
                    <a:pt x="98" y="338"/>
                    <a:pt x="98" y="338"/>
                    <a:pt x="98" y="338"/>
                  </a:cubicBezTo>
                  <a:cubicBezTo>
                    <a:pt x="92" y="338"/>
                    <a:pt x="87" y="349"/>
                    <a:pt x="87" y="363"/>
                  </a:cubicBezTo>
                  <a:cubicBezTo>
                    <a:pt x="87" y="377"/>
                    <a:pt x="92" y="388"/>
                    <a:pt x="98" y="389"/>
                  </a:cubicBezTo>
                  <a:cubicBezTo>
                    <a:pt x="98" y="389"/>
                    <a:pt x="98" y="389"/>
                    <a:pt x="98" y="389"/>
                  </a:cubicBezTo>
                  <a:cubicBezTo>
                    <a:pt x="104" y="389"/>
                    <a:pt x="109" y="377"/>
                    <a:pt x="109" y="363"/>
                  </a:cubicBezTo>
                  <a:cubicBezTo>
                    <a:pt x="109" y="349"/>
                    <a:pt x="104" y="338"/>
                    <a:pt x="98" y="338"/>
                  </a:cubicBezTo>
                  <a:close/>
                  <a:moveTo>
                    <a:pt x="592" y="288"/>
                  </a:moveTo>
                  <a:cubicBezTo>
                    <a:pt x="102" y="288"/>
                    <a:pt x="102" y="288"/>
                    <a:pt x="102" y="288"/>
                  </a:cubicBezTo>
                  <a:cubicBezTo>
                    <a:pt x="82" y="288"/>
                    <a:pt x="67" y="305"/>
                    <a:pt x="61" y="333"/>
                  </a:cubicBezTo>
                  <a:cubicBezTo>
                    <a:pt x="59" y="342"/>
                    <a:pt x="57" y="352"/>
                    <a:pt x="57" y="363"/>
                  </a:cubicBezTo>
                  <a:cubicBezTo>
                    <a:pt x="57" y="407"/>
                    <a:pt x="75" y="438"/>
                    <a:pt x="101" y="439"/>
                  </a:cubicBezTo>
                  <a:cubicBezTo>
                    <a:pt x="310" y="439"/>
                    <a:pt x="310" y="439"/>
                    <a:pt x="310" y="439"/>
                  </a:cubicBezTo>
                  <a:cubicBezTo>
                    <a:pt x="262" y="543"/>
                    <a:pt x="262" y="543"/>
                    <a:pt x="262" y="543"/>
                  </a:cubicBezTo>
                  <a:cubicBezTo>
                    <a:pt x="305" y="539"/>
                    <a:pt x="305" y="539"/>
                    <a:pt x="305" y="539"/>
                  </a:cubicBezTo>
                  <a:cubicBezTo>
                    <a:pt x="328" y="573"/>
                    <a:pt x="328" y="573"/>
                    <a:pt x="328" y="573"/>
                  </a:cubicBezTo>
                  <a:cubicBezTo>
                    <a:pt x="357" y="511"/>
                    <a:pt x="357" y="511"/>
                    <a:pt x="357" y="511"/>
                  </a:cubicBezTo>
                  <a:cubicBezTo>
                    <a:pt x="385" y="573"/>
                    <a:pt x="385" y="573"/>
                    <a:pt x="385" y="573"/>
                  </a:cubicBezTo>
                  <a:cubicBezTo>
                    <a:pt x="408" y="539"/>
                    <a:pt x="408" y="539"/>
                    <a:pt x="408" y="539"/>
                  </a:cubicBezTo>
                  <a:cubicBezTo>
                    <a:pt x="451" y="543"/>
                    <a:pt x="451" y="543"/>
                    <a:pt x="451" y="543"/>
                  </a:cubicBezTo>
                  <a:cubicBezTo>
                    <a:pt x="403" y="439"/>
                    <a:pt x="403" y="439"/>
                    <a:pt x="403" y="439"/>
                  </a:cubicBezTo>
                  <a:cubicBezTo>
                    <a:pt x="591" y="439"/>
                    <a:pt x="591" y="439"/>
                    <a:pt x="591" y="439"/>
                  </a:cubicBezTo>
                  <a:cubicBezTo>
                    <a:pt x="617" y="439"/>
                    <a:pt x="636" y="408"/>
                    <a:pt x="636" y="364"/>
                  </a:cubicBezTo>
                  <a:cubicBezTo>
                    <a:pt x="636" y="319"/>
                    <a:pt x="618" y="288"/>
                    <a:pt x="592" y="288"/>
                  </a:cubicBezTo>
                  <a:close/>
                  <a:moveTo>
                    <a:pt x="101" y="419"/>
                  </a:moveTo>
                  <a:cubicBezTo>
                    <a:pt x="101" y="419"/>
                    <a:pt x="101" y="419"/>
                    <a:pt x="101" y="419"/>
                  </a:cubicBezTo>
                  <a:cubicBezTo>
                    <a:pt x="88" y="419"/>
                    <a:pt x="77" y="394"/>
                    <a:pt x="77" y="363"/>
                  </a:cubicBezTo>
                  <a:cubicBezTo>
                    <a:pt x="77" y="332"/>
                    <a:pt x="88" y="308"/>
                    <a:pt x="102" y="308"/>
                  </a:cubicBezTo>
                  <a:cubicBezTo>
                    <a:pt x="102" y="308"/>
                    <a:pt x="102" y="308"/>
                    <a:pt x="102" y="308"/>
                  </a:cubicBezTo>
                  <a:cubicBezTo>
                    <a:pt x="115" y="308"/>
                    <a:pt x="126" y="333"/>
                    <a:pt x="126" y="363"/>
                  </a:cubicBezTo>
                  <a:cubicBezTo>
                    <a:pt x="126" y="394"/>
                    <a:pt x="115" y="419"/>
                    <a:pt x="101" y="419"/>
                  </a:cubicBezTo>
                  <a:close/>
                  <a:moveTo>
                    <a:pt x="314" y="419"/>
                  </a:moveTo>
                  <a:cubicBezTo>
                    <a:pt x="132" y="419"/>
                    <a:pt x="132" y="419"/>
                    <a:pt x="132" y="419"/>
                  </a:cubicBezTo>
                  <a:cubicBezTo>
                    <a:pt x="141" y="406"/>
                    <a:pt x="146" y="386"/>
                    <a:pt x="146" y="364"/>
                  </a:cubicBezTo>
                  <a:cubicBezTo>
                    <a:pt x="146" y="340"/>
                    <a:pt x="141" y="321"/>
                    <a:pt x="133" y="308"/>
                  </a:cubicBezTo>
                  <a:cubicBezTo>
                    <a:pt x="314" y="308"/>
                    <a:pt x="314" y="308"/>
                    <a:pt x="314" y="308"/>
                  </a:cubicBezTo>
                  <a:cubicBezTo>
                    <a:pt x="323" y="319"/>
                    <a:pt x="328" y="340"/>
                    <a:pt x="328" y="364"/>
                  </a:cubicBezTo>
                  <a:cubicBezTo>
                    <a:pt x="328" y="387"/>
                    <a:pt x="322" y="408"/>
                    <a:pt x="314" y="419"/>
                  </a:cubicBezTo>
                  <a:close/>
                  <a:moveTo>
                    <a:pt x="592" y="419"/>
                  </a:moveTo>
                  <a:cubicBezTo>
                    <a:pt x="405" y="419"/>
                    <a:pt x="405" y="419"/>
                    <a:pt x="405" y="419"/>
                  </a:cubicBezTo>
                  <a:cubicBezTo>
                    <a:pt x="413" y="408"/>
                    <a:pt x="419" y="387"/>
                    <a:pt x="419" y="364"/>
                  </a:cubicBezTo>
                  <a:cubicBezTo>
                    <a:pt x="419" y="340"/>
                    <a:pt x="414" y="319"/>
                    <a:pt x="405" y="308"/>
                  </a:cubicBezTo>
                  <a:cubicBezTo>
                    <a:pt x="592" y="308"/>
                    <a:pt x="592" y="308"/>
                    <a:pt x="592" y="308"/>
                  </a:cubicBezTo>
                  <a:cubicBezTo>
                    <a:pt x="605" y="308"/>
                    <a:pt x="616" y="333"/>
                    <a:pt x="616" y="363"/>
                  </a:cubicBezTo>
                  <a:cubicBezTo>
                    <a:pt x="616" y="394"/>
                    <a:pt x="605" y="419"/>
                    <a:pt x="592" y="419"/>
                  </a:cubicBezTo>
                  <a:close/>
                  <a:moveTo>
                    <a:pt x="748" y="360"/>
                  </a:moveTo>
                  <a:cubicBezTo>
                    <a:pt x="728" y="283"/>
                    <a:pt x="728" y="283"/>
                    <a:pt x="728" y="283"/>
                  </a:cubicBezTo>
                  <a:cubicBezTo>
                    <a:pt x="730" y="282"/>
                    <a:pt x="732" y="280"/>
                    <a:pt x="734" y="279"/>
                  </a:cubicBezTo>
                  <a:cubicBezTo>
                    <a:pt x="747" y="264"/>
                    <a:pt x="747" y="242"/>
                    <a:pt x="732" y="228"/>
                  </a:cubicBezTo>
                  <a:cubicBezTo>
                    <a:pt x="728" y="224"/>
                    <a:pt x="724" y="222"/>
                    <a:pt x="719" y="220"/>
                  </a:cubicBezTo>
                  <a:cubicBezTo>
                    <a:pt x="715" y="196"/>
                    <a:pt x="706" y="162"/>
                    <a:pt x="688" y="136"/>
                  </a:cubicBezTo>
                  <a:cubicBezTo>
                    <a:pt x="715" y="128"/>
                    <a:pt x="715" y="128"/>
                    <a:pt x="715" y="128"/>
                  </a:cubicBezTo>
                  <a:cubicBezTo>
                    <a:pt x="715" y="106"/>
                    <a:pt x="715" y="106"/>
                    <a:pt x="715" y="106"/>
                  </a:cubicBezTo>
                  <a:cubicBezTo>
                    <a:pt x="580" y="66"/>
                    <a:pt x="580" y="66"/>
                    <a:pt x="580" y="66"/>
                  </a:cubicBezTo>
                  <a:cubicBezTo>
                    <a:pt x="519" y="48"/>
                    <a:pt x="519" y="48"/>
                    <a:pt x="519" y="48"/>
                  </a:cubicBezTo>
                  <a:cubicBezTo>
                    <a:pt x="358" y="0"/>
                    <a:pt x="358" y="0"/>
                    <a:pt x="358" y="0"/>
                  </a:cubicBezTo>
                  <a:cubicBezTo>
                    <a:pt x="196" y="48"/>
                    <a:pt x="196" y="48"/>
                    <a:pt x="196" y="48"/>
                  </a:cubicBezTo>
                  <a:cubicBezTo>
                    <a:pt x="136" y="66"/>
                    <a:pt x="136" y="66"/>
                    <a:pt x="136" y="66"/>
                  </a:cubicBezTo>
                  <a:cubicBezTo>
                    <a:pt x="0" y="106"/>
                    <a:pt x="0" y="106"/>
                    <a:pt x="0" y="106"/>
                  </a:cubicBezTo>
                  <a:cubicBezTo>
                    <a:pt x="0" y="128"/>
                    <a:pt x="0" y="128"/>
                    <a:pt x="0" y="128"/>
                  </a:cubicBezTo>
                  <a:cubicBezTo>
                    <a:pt x="136" y="169"/>
                    <a:pt x="136" y="169"/>
                    <a:pt x="136" y="169"/>
                  </a:cubicBezTo>
                  <a:cubicBezTo>
                    <a:pt x="153" y="174"/>
                    <a:pt x="153" y="174"/>
                    <a:pt x="153" y="174"/>
                  </a:cubicBezTo>
                  <a:cubicBezTo>
                    <a:pt x="171" y="179"/>
                    <a:pt x="171" y="179"/>
                    <a:pt x="171" y="179"/>
                  </a:cubicBezTo>
                  <a:cubicBezTo>
                    <a:pt x="171" y="250"/>
                    <a:pt x="171" y="250"/>
                    <a:pt x="171" y="250"/>
                  </a:cubicBezTo>
                  <a:cubicBezTo>
                    <a:pt x="544" y="250"/>
                    <a:pt x="544" y="250"/>
                    <a:pt x="544" y="250"/>
                  </a:cubicBezTo>
                  <a:cubicBezTo>
                    <a:pt x="544" y="179"/>
                    <a:pt x="544" y="179"/>
                    <a:pt x="544" y="179"/>
                  </a:cubicBezTo>
                  <a:cubicBezTo>
                    <a:pt x="562" y="174"/>
                    <a:pt x="562" y="174"/>
                    <a:pt x="562" y="174"/>
                  </a:cubicBezTo>
                  <a:cubicBezTo>
                    <a:pt x="580" y="169"/>
                    <a:pt x="580" y="169"/>
                    <a:pt x="580" y="169"/>
                  </a:cubicBezTo>
                  <a:cubicBezTo>
                    <a:pt x="659" y="145"/>
                    <a:pt x="659" y="145"/>
                    <a:pt x="659" y="145"/>
                  </a:cubicBezTo>
                  <a:cubicBezTo>
                    <a:pt x="678" y="166"/>
                    <a:pt x="686" y="199"/>
                    <a:pt x="690" y="223"/>
                  </a:cubicBezTo>
                  <a:cubicBezTo>
                    <a:pt x="687" y="225"/>
                    <a:pt x="684" y="227"/>
                    <a:pt x="682" y="229"/>
                  </a:cubicBezTo>
                  <a:cubicBezTo>
                    <a:pt x="668" y="244"/>
                    <a:pt x="669" y="266"/>
                    <a:pt x="683" y="280"/>
                  </a:cubicBezTo>
                  <a:cubicBezTo>
                    <a:pt x="684" y="281"/>
                    <a:pt x="686" y="282"/>
                    <a:pt x="687" y="283"/>
                  </a:cubicBezTo>
                  <a:cubicBezTo>
                    <a:pt x="667" y="360"/>
                    <a:pt x="667" y="360"/>
                    <a:pt x="667" y="360"/>
                  </a:cubicBezTo>
                  <a:lnTo>
                    <a:pt x="748" y="360"/>
                  </a:lnTo>
                  <a:close/>
                </a:path>
              </a:pathLst>
            </a:custGeom>
            <a:solidFill>
              <a:schemeClr val="accent6">
                <a:lumMod val="60000"/>
                <a:lumOff val="40000"/>
              </a:schemeClr>
            </a:solidFill>
            <a:ln>
              <a:noFill/>
            </a:ln>
            <a:extLst/>
          </p:spPr>
          <p:txBody>
            <a:bodyPr anchor="ctr"/>
            <a:lstStyle/>
            <a:p>
              <a:pPr>
                <a:defRPr/>
              </a:pPr>
              <a:endParaRPr lang="de-DE" sz="200">
                <a:latin typeface="+mn-lt"/>
                <a:cs typeface="+mn-cs"/>
              </a:endParaRPr>
            </a:p>
          </p:txBody>
        </p:sp>
        <p:sp>
          <p:nvSpPr>
            <p:cNvPr id="110" name="TextBox 109">
              <a:extLst>
                <a:ext uri="{FF2B5EF4-FFF2-40B4-BE49-F238E27FC236}"/>
              </a:extLst>
            </p:cNvPr>
            <p:cNvSpPr txBox="1"/>
            <p:nvPr/>
          </p:nvSpPr>
          <p:spPr bwMode="gray">
            <a:xfrm>
              <a:off x="3184800" y="2695234"/>
              <a:ext cx="240928" cy="66716"/>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Labour force participation</a:t>
              </a:r>
            </a:p>
          </p:txBody>
        </p:sp>
        <p:grpSp>
          <p:nvGrpSpPr>
            <p:cNvPr id="6" name="Group 110">
              <a:extLst>
                <a:ext uri="{FF2B5EF4-FFF2-40B4-BE49-F238E27FC236}"/>
              </a:extLst>
            </p:cNvPr>
            <p:cNvGrpSpPr/>
            <p:nvPr/>
          </p:nvGrpSpPr>
          <p:grpSpPr bwMode="gray">
            <a:xfrm>
              <a:off x="3274543" y="2633437"/>
              <a:ext cx="61294" cy="62545"/>
              <a:chOff x="-7816851" y="1463676"/>
              <a:chExt cx="1020763" cy="1073150"/>
            </a:xfrm>
            <a:solidFill>
              <a:schemeClr val="bg1"/>
            </a:solidFill>
          </p:grpSpPr>
          <p:sp>
            <p:nvSpPr>
              <p:cNvPr id="112" name="Freeform 7026">
                <a:extLst>
                  <a:ext uri="{FF2B5EF4-FFF2-40B4-BE49-F238E27FC236}"/>
                </a:extLst>
              </p:cNvPr>
              <p:cNvSpPr>
                <a:spLocks noEditPoints="1"/>
              </p:cNvSpPr>
              <p:nvPr/>
            </p:nvSpPr>
            <p:spPr bwMode="gray">
              <a:xfrm>
                <a:off x="-7816851" y="1463676"/>
                <a:ext cx="873125" cy="1073150"/>
              </a:xfrm>
              <a:custGeom>
                <a:avLst/>
                <a:gdLst>
                  <a:gd name="T0" fmla="*/ 81 w 1063"/>
                  <a:gd name="T1" fmla="*/ 237 h 1305"/>
                  <a:gd name="T2" fmla="*/ 237 w 1063"/>
                  <a:gd name="T3" fmla="*/ 237 h 1305"/>
                  <a:gd name="T4" fmla="*/ 237 w 1063"/>
                  <a:gd name="T5" fmla="*/ 81 h 1305"/>
                  <a:gd name="T6" fmla="*/ 81 w 1063"/>
                  <a:gd name="T7" fmla="*/ 237 h 1305"/>
                  <a:gd name="T8" fmla="*/ 81 w 1063"/>
                  <a:gd name="T9" fmla="*/ 237 h 1305"/>
                  <a:gd name="T10" fmla="*/ 260 w 1063"/>
                  <a:gd name="T11" fmla="*/ 284 h 1305"/>
                  <a:gd name="T12" fmla="*/ 47 w 1063"/>
                  <a:gd name="T13" fmla="*/ 284 h 1305"/>
                  <a:gd name="T14" fmla="*/ 47 w 1063"/>
                  <a:gd name="T15" fmla="*/ 1257 h 1305"/>
                  <a:gd name="T16" fmla="*/ 1016 w 1063"/>
                  <a:gd name="T17" fmla="*/ 1257 h 1305"/>
                  <a:gd name="T18" fmla="*/ 1016 w 1063"/>
                  <a:gd name="T19" fmla="*/ 1184 h 1305"/>
                  <a:gd name="T20" fmla="*/ 1063 w 1063"/>
                  <a:gd name="T21" fmla="*/ 1180 h 1305"/>
                  <a:gd name="T22" fmla="*/ 1063 w 1063"/>
                  <a:gd name="T23" fmla="*/ 1281 h 1305"/>
                  <a:gd name="T24" fmla="*/ 1039 w 1063"/>
                  <a:gd name="T25" fmla="*/ 1305 h 1305"/>
                  <a:gd name="T26" fmla="*/ 24 w 1063"/>
                  <a:gd name="T27" fmla="*/ 1305 h 1305"/>
                  <a:gd name="T28" fmla="*/ 0 w 1063"/>
                  <a:gd name="T29" fmla="*/ 1281 h 1305"/>
                  <a:gd name="T30" fmla="*/ 0 w 1063"/>
                  <a:gd name="T31" fmla="*/ 260 h 1305"/>
                  <a:gd name="T32" fmla="*/ 7 w 1063"/>
                  <a:gd name="T33" fmla="*/ 244 h 1305"/>
                  <a:gd name="T34" fmla="*/ 244 w 1063"/>
                  <a:gd name="T35" fmla="*/ 7 h 1305"/>
                  <a:gd name="T36" fmla="*/ 260 w 1063"/>
                  <a:gd name="T37" fmla="*/ 0 h 1305"/>
                  <a:gd name="T38" fmla="*/ 1039 w 1063"/>
                  <a:gd name="T39" fmla="*/ 0 h 1305"/>
                  <a:gd name="T40" fmla="*/ 1063 w 1063"/>
                  <a:gd name="T41" fmla="*/ 24 h 1305"/>
                  <a:gd name="T42" fmla="*/ 1063 w 1063"/>
                  <a:gd name="T43" fmla="*/ 943 h 1305"/>
                  <a:gd name="T44" fmla="*/ 1016 w 1063"/>
                  <a:gd name="T45" fmla="*/ 947 h 1305"/>
                  <a:gd name="T46" fmla="*/ 1016 w 1063"/>
                  <a:gd name="T47" fmla="*/ 47 h 1305"/>
                  <a:gd name="T48" fmla="*/ 284 w 1063"/>
                  <a:gd name="T49" fmla="*/ 47 h 1305"/>
                  <a:gd name="T50" fmla="*/ 284 w 1063"/>
                  <a:gd name="T51" fmla="*/ 260 h 1305"/>
                  <a:gd name="T52" fmla="*/ 260 w 1063"/>
                  <a:gd name="T53" fmla="*/ 284 h 1305"/>
                  <a:gd name="T54" fmla="*/ 260 w 1063"/>
                  <a:gd name="T55" fmla="*/ 284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3" h="1305">
                    <a:moveTo>
                      <a:pt x="81" y="237"/>
                    </a:moveTo>
                    <a:lnTo>
                      <a:pt x="237" y="237"/>
                    </a:lnTo>
                    <a:lnTo>
                      <a:pt x="237" y="81"/>
                    </a:lnTo>
                    <a:lnTo>
                      <a:pt x="81" y="237"/>
                    </a:lnTo>
                    <a:lnTo>
                      <a:pt x="81" y="237"/>
                    </a:lnTo>
                    <a:close/>
                    <a:moveTo>
                      <a:pt x="260" y="284"/>
                    </a:moveTo>
                    <a:lnTo>
                      <a:pt x="47" y="284"/>
                    </a:lnTo>
                    <a:lnTo>
                      <a:pt x="47" y="1257"/>
                    </a:lnTo>
                    <a:lnTo>
                      <a:pt x="1016" y="1257"/>
                    </a:lnTo>
                    <a:lnTo>
                      <a:pt x="1016" y="1184"/>
                    </a:lnTo>
                    <a:lnTo>
                      <a:pt x="1063" y="1180"/>
                    </a:lnTo>
                    <a:lnTo>
                      <a:pt x="1063" y="1281"/>
                    </a:lnTo>
                    <a:cubicBezTo>
                      <a:pt x="1063" y="1294"/>
                      <a:pt x="1052" y="1305"/>
                      <a:pt x="1039" y="1305"/>
                    </a:cubicBezTo>
                    <a:lnTo>
                      <a:pt x="24" y="1305"/>
                    </a:lnTo>
                    <a:cubicBezTo>
                      <a:pt x="11" y="1305"/>
                      <a:pt x="0" y="1294"/>
                      <a:pt x="0" y="1281"/>
                    </a:cubicBezTo>
                    <a:lnTo>
                      <a:pt x="0" y="260"/>
                    </a:lnTo>
                    <a:cubicBezTo>
                      <a:pt x="0" y="254"/>
                      <a:pt x="3" y="248"/>
                      <a:pt x="7" y="244"/>
                    </a:cubicBezTo>
                    <a:lnTo>
                      <a:pt x="244" y="7"/>
                    </a:lnTo>
                    <a:lnTo>
                      <a:pt x="260" y="0"/>
                    </a:lnTo>
                    <a:lnTo>
                      <a:pt x="1039" y="0"/>
                    </a:lnTo>
                    <a:cubicBezTo>
                      <a:pt x="1052" y="0"/>
                      <a:pt x="1063" y="11"/>
                      <a:pt x="1063" y="24"/>
                    </a:cubicBezTo>
                    <a:lnTo>
                      <a:pt x="1063" y="943"/>
                    </a:lnTo>
                    <a:lnTo>
                      <a:pt x="1016" y="947"/>
                    </a:lnTo>
                    <a:lnTo>
                      <a:pt x="1016" y="47"/>
                    </a:lnTo>
                    <a:lnTo>
                      <a:pt x="284" y="47"/>
                    </a:lnTo>
                    <a:lnTo>
                      <a:pt x="284" y="260"/>
                    </a:lnTo>
                    <a:cubicBezTo>
                      <a:pt x="284" y="273"/>
                      <a:pt x="273" y="284"/>
                      <a:pt x="260" y="284"/>
                    </a:cubicBezTo>
                    <a:lnTo>
                      <a:pt x="260" y="284"/>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13" name="Freeform 7027">
                <a:extLst>
                  <a:ext uri="{FF2B5EF4-FFF2-40B4-BE49-F238E27FC236}"/>
                </a:extLst>
              </p:cNvPr>
              <p:cNvSpPr>
                <a:spLocks/>
              </p:cNvSpPr>
              <p:nvPr/>
            </p:nvSpPr>
            <p:spPr bwMode="gray">
              <a:xfrm>
                <a:off x="-7712076" y="2087563"/>
                <a:ext cx="661988" cy="38100"/>
              </a:xfrm>
              <a:custGeom>
                <a:avLst/>
                <a:gdLst>
                  <a:gd name="T0" fmla="*/ 24 w 807"/>
                  <a:gd name="T1" fmla="*/ 47 h 47"/>
                  <a:gd name="T2" fmla="*/ 0 w 807"/>
                  <a:gd name="T3" fmla="*/ 24 h 47"/>
                  <a:gd name="T4" fmla="*/ 24 w 807"/>
                  <a:gd name="T5" fmla="*/ 0 h 47"/>
                  <a:gd name="T6" fmla="*/ 783 w 807"/>
                  <a:gd name="T7" fmla="*/ 0 h 47"/>
                  <a:gd name="T8" fmla="*/ 807 w 807"/>
                  <a:gd name="T9" fmla="*/ 24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7"/>
                      <a:pt x="0" y="24"/>
                    </a:cubicBezTo>
                    <a:cubicBezTo>
                      <a:pt x="0" y="11"/>
                      <a:pt x="10" y="0"/>
                      <a:pt x="24" y="0"/>
                    </a:cubicBezTo>
                    <a:lnTo>
                      <a:pt x="783" y="0"/>
                    </a:lnTo>
                    <a:cubicBezTo>
                      <a:pt x="796" y="0"/>
                      <a:pt x="807" y="11"/>
                      <a:pt x="807" y="24"/>
                    </a:cubicBezTo>
                    <a:cubicBezTo>
                      <a:pt x="807" y="37"/>
                      <a:pt x="796" y="47"/>
                      <a:pt x="783" y="47"/>
                    </a:cubicBezTo>
                    <a:lnTo>
                      <a:pt x="24" y="47"/>
                    </a:lnTo>
                    <a:lnTo>
                      <a:pt x="24" y="47"/>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14" name="Freeform 7028">
                <a:extLst>
                  <a:ext uri="{FF2B5EF4-FFF2-40B4-BE49-F238E27FC236}"/>
                </a:extLst>
              </p:cNvPr>
              <p:cNvSpPr>
                <a:spLocks/>
              </p:cNvSpPr>
              <p:nvPr/>
            </p:nvSpPr>
            <p:spPr bwMode="gray">
              <a:xfrm>
                <a:off x="-7712076" y="2178051"/>
                <a:ext cx="661988" cy="38100"/>
              </a:xfrm>
              <a:custGeom>
                <a:avLst/>
                <a:gdLst>
                  <a:gd name="T0" fmla="*/ 24 w 807"/>
                  <a:gd name="T1" fmla="*/ 47 h 47"/>
                  <a:gd name="T2" fmla="*/ 0 w 807"/>
                  <a:gd name="T3" fmla="*/ 23 h 47"/>
                  <a:gd name="T4" fmla="*/ 24 w 807"/>
                  <a:gd name="T5" fmla="*/ 0 h 47"/>
                  <a:gd name="T6" fmla="*/ 783 w 807"/>
                  <a:gd name="T7" fmla="*/ 0 h 47"/>
                  <a:gd name="T8" fmla="*/ 807 w 807"/>
                  <a:gd name="T9" fmla="*/ 23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6"/>
                      <a:pt x="0" y="23"/>
                    </a:cubicBezTo>
                    <a:cubicBezTo>
                      <a:pt x="0" y="10"/>
                      <a:pt x="10" y="0"/>
                      <a:pt x="24" y="0"/>
                    </a:cubicBezTo>
                    <a:lnTo>
                      <a:pt x="783" y="0"/>
                    </a:lnTo>
                    <a:cubicBezTo>
                      <a:pt x="796" y="0"/>
                      <a:pt x="807" y="10"/>
                      <a:pt x="807" y="23"/>
                    </a:cubicBezTo>
                    <a:cubicBezTo>
                      <a:pt x="807" y="36"/>
                      <a:pt x="796" y="47"/>
                      <a:pt x="783" y="47"/>
                    </a:cubicBezTo>
                    <a:lnTo>
                      <a:pt x="24" y="47"/>
                    </a:lnTo>
                    <a:lnTo>
                      <a:pt x="24" y="47"/>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15" name="Freeform 7029">
                <a:extLst>
                  <a:ext uri="{FF2B5EF4-FFF2-40B4-BE49-F238E27FC236}"/>
                </a:extLst>
              </p:cNvPr>
              <p:cNvSpPr>
                <a:spLocks noEditPoints="1"/>
              </p:cNvSpPr>
              <p:nvPr/>
            </p:nvSpPr>
            <p:spPr bwMode="gray">
              <a:xfrm>
                <a:off x="-7526338" y="2266951"/>
                <a:ext cx="730250" cy="168275"/>
              </a:xfrm>
              <a:custGeom>
                <a:avLst/>
                <a:gdLst>
                  <a:gd name="T0" fmla="*/ 827 w 890"/>
                  <a:gd name="T1" fmla="*/ 21 h 204"/>
                  <a:gd name="T2" fmla="*/ 845 w 890"/>
                  <a:gd name="T3" fmla="*/ 36 h 204"/>
                  <a:gd name="T4" fmla="*/ 830 w 890"/>
                  <a:gd name="T5" fmla="*/ 53 h 204"/>
                  <a:gd name="T6" fmla="*/ 813 w 890"/>
                  <a:gd name="T7" fmla="*/ 39 h 204"/>
                  <a:gd name="T8" fmla="*/ 827 w 890"/>
                  <a:gd name="T9" fmla="*/ 21 h 204"/>
                  <a:gd name="T10" fmla="*/ 827 w 890"/>
                  <a:gd name="T11" fmla="*/ 21 h 204"/>
                  <a:gd name="T12" fmla="*/ 724 w 890"/>
                  <a:gd name="T13" fmla="*/ 11 h 204"/>
                  <a:gd name="T14" fmla="*/ 810 w 890"/>
                  <a:gd name="T15" fmla="*/ 3 h 204"/>
                  <a:gd name="T16" fmla="*/ 886 w 890"/>
                  <a:gd name="T17" fmla="*/ 68 h 204"/>
                  <a:gd name="T18" fmla="*/ 822 w 890"/>
                  <a:gd name="T19" fmla="*/ 144 h 204"/>
                  <a:gd name="T20" fmla="*/ 737 w 890"/>
                  <a:gd name="T21" fmla="*/ 152 h 204"/>
                  <a:gd name="T22" fmla="*/ 724 w 890"/>
                  <a:gd name="T23" fmla="*/ 11 h 204"/>
                  <a:gd name="T24" fmla="*/ 724 w 890"/>
                  <a:gd name="T25" fmla="*/ 11 h 204"/>
                  <a:gd name="T26" fmla="*/ 134 w 890"/>
                  <a:gd name="T27" fmla="*/ 204 h 204"/>
                  <a:gd name="T28" fmla="*/ 6 w 890"/>
                  <a:gd name="T29" fmla="*/ 153 h 204"/>
                  <a:gd name="T30" fmla="*/ 0 w 890"/>
                  <a:gd name="T31" fmla="*/ 145 h 204"/>
                  <a:gd name="T32" fmla="*/ 4 w 890"/>
                  <a:gd name="T33" fmla="*/ 136 h 204"/>
                  <a:gd name="T34" fmla="*/ 121 w 890"/>
                  <a:gd name="T35" fmla="*/ 65 h 204"/>
                  <a:gd name="T36" fmla="*/ 126 w 890"/>
                  <a:gd name="T37" fmla="*/ 63 h 204"/>
                  <a:gd name="T38" fmla="*/ 712 w 890"/>
                  <a:gd name="T39" fmla="*/ 12 h 204"/>
                  <a:gd name="T40" fmla="*/ 715 w 890"/>
                  <a:gd name="T41" fmla="*/ 39 h 204"/>
                  <a:gd name="T42" fmla="*/ 153 w 890"/>
                  <a:gd name="T43" fmla="*/ 89 h 204"/>
                  <a:gd name="T44" fmla="*/ 148 w 890"/>
                  <a:gd name="T45" fmla="*/ 94 h 204"/>
                  <a:gd name="T46" fmla="*/ 149 w 890"/>
                  <a:gd name="T47" fmla="*/ 96 h 204"/>
                  <a:gd name="T48" fmla="*/ 154 w 890"/>
                  <a:gd name="T49" fmla="*/ 101 h 204"/>
                  <a:gd name="T50" fmla="*/ 716 w 890"/>
                  <a:gd name="T51" fmla="*/ 51 h 204"/>
                  <a:gd name="T52" fmla="*/ 725 w 890"/>
                  <a:gd name="T53" fmla="*/ 153 h 204"/>
                  <a:gd name="T54" fmla="*/ 138 w 890"/>
                  <a:gd name="T55" fmla="*/ 204 h 204"/>
                  <a:gd name="T56" fmla="*/ 134 w 890"/>
                  <a:gd name="T57" fmla="*/ 204 h 204"/>
                  <a:gd name="T58" fmla="*/ 134 w 890"/>
                  <a:gd name="T5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0" h="204">
                    <a:moveTo>
                      <a:pt x="827" y="21"/>
                    </a:moveTo>
                    <a:cubicBezTo>
                      <a:pt x="836" y="21"/>
                      <a:pt x="844" y="27"/>
                      <a:pt x="845" y="36"/>
                    </a:cubicBezTo>
                    <a:cubicBezTo>
                      <a:pt x="845" y="45"/>
                      <a:pt x="839" y="52"/>
                      <a:pt x="830" y="53"/>
                    </a:cubicBezTo>
                    <a:cubicBezTo>
                      <a:pt x="821" y="54"/>
                      <a:pt x="814" y="47"/>
                      <a:pt x="813" y="39"/>
                    </a:cubicBezTo>
                    <a:cubicBezTo>
                      <a:pt x="812" y="30"/>
                      <a:pt x="818" y="22"/>
                      <a:pt x="827" y="21"/>
                    </a:cubicBezTo>
                    <a:lnTo>
                      <a:pt x="827" y="21"/>
                    </a:lnTo>
                    <a:close/>
                    <a:moveTo>
                      <a:pt x="724" y="11"/>
                    </a:moveTo>
                    <a:lnTo>
                      <a:pt x="810" y="3"/>
                    </a:lnTo>
                    <a:cubicBezTo>
                      <a:pt x="849" y="0"/>
                      <a:pt x="883" y="29"/>
                      <a:pt x="886" y="68"/>
                    </a:cubicBezTo>
                    <a:cubicBezTo>
                      <a:pt x="890" y="107"/>
                      <a:pt x="861" y="141"/>
                      <a:pt x="822" y="144"/>
                    </a:cubicBezTo>
                    <a:lnTo>
                      <a:pt x="737" y="152"/>
                    </a:lnTo>
                    <a:lnTo>
                      <a:pt x="724" y="11"/>
                    </a:lnTo>
                    <a:lnTo>
                      <a:pt x="724" y="11"/>
                    </a:lnTo>
                    <a:close/>
                    <a:moveTo>
                      <a:pt x="134" y="204"/>
                    </a:moveTo>
                    <a:lnTo>
                      <a:pt x="6" y="153"/>
                    </a:lnTo>
                    <a:cubicBezTo>
                      <a:pt x="2" y="152"/>
                      <a:pt x="0" y="149"/>
                      <a:pt x="0" y="145"/>
                    </a:cubicBezTo>
                    <a:cubicBezTo>
                      <a:pt x="0" y="142"/>
                      <a:pt x="1" y="138"/>
                      <a:pt x="4" y="136"/>
                    </a:cubicBezTo>
                    <a:lnTo>
                      <a:pt x="121" y="65"/>
                    </a:lnTo>
                    <a:cubicBezTo>
                      <a:pt x="123" y="64"/>
                      <a:pt x="124" y="63"/>
                      <a:pt x="126" y="63"/>
                    </a:cubicBezTo>
                    <a:lnTo>
                      <a:pt x="712" y="12"/>
                    </a:lnTo>
                    <a:lnTo>
                      <a:pt x="715" y="39"/>
                    </a:lnTo>
                    <a:lnTo>
                      <a:pt x="153" y="89"/>
                    </a:lnTo>
                    <a:cubicBezTo>
                      <a:pt x="150" y="89"/>
                      <a:pt x="148" y="91"/>
                      <a:pt x="148" y="94"/>
                    </a:cubicBezTo>
                    <a:lnTo>
                      <a:pt x="149" y="96"/>
                    </a:lnTo>
                    <a:cubicBezTo>
                      <a:pt x="149" y="99"/>
                      <a:pt x="151" y="101"/>
                      <a:pt x="154" y="101"/>
                    </a:cubicBezTo>
                    <a:lnTo>
                      <a:pt x="716" y="51"/>
                    </a:lnTo>
                    <a:lnTo>
                      <a:pt x="725" y="153"/>
                    </a:lnTo>
                    <a:lnTo>
                      <a:pt x="138" y="204"/>
                    </a:lnTo>
                    <a:cubicBezTo>
                      <a:pt x="136" y="204"/>
                      <a:pt x="135" y="204"/>
                      <a:pt x="134" y="204"/>
                    </a:cubicBezTo>
                    <a:lnTo>
                      <a:pt x="134" y="204"/>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16" name="Freeform 7030">
                <a:extLst>
                  <a:ext uri="{FF2B5EF4-FFF2-40B4-BE49-F238E27FC236}"/>
                </a:extLst>
              </p:cNvPr>
              <p:cNvSpPr>
                <a:spLocks noEditPoints="1"/>
              </p:cNvSpPr>
              <p:nvPr/>
            </p:nvSpPr>
            <p:spPr bwMode="gray">
              <a:xfrm>
                <a:off x="-7510463" y="1612901"/>
                <a:ext cx="258763" cy="381000"/>
              </a:xfrm>
              <a:custGeom>
                <a:avLst/>
                <a:gdLst>
                  <a:gd name="T0" fmla="*/ 157 w 315"/>
                  <a:gd name="T1" fmla="*/ 0 h 464"/>
                  <a:gd name="T2" fmla="*/ 57 w 315"/>
                  <a:gd name="T3" fmla="*/ 100 h 464"/>
                  <a:gd name="T4" fmla="*/ 157 w 315"/>
                  <a:gd name="T5" fmla="*/ 200 h 464"/>
                  <a:gd name="T6" fmla="*/ 258 w 315"/>
                  <a:gd name="T7" fmla="*/ 100 h 464"/>
                  <a:gd name="T8" fmla="*/ 157 w 315"/>
                  <a:gd name="T9" fmla="*/ 0 h 464"/>
                  <a:gd name="T10" fmla="*/ 157 w 315"/>
                  <a:gd name="T11" fmla="*/ 0 h 464"/>
                  <a:gd name="T12" fmla="*/ 281 w 315"/>
                  <a:gd name="T13" fmla="*/ 298 h 464"/>
                  <a:gd name="T14" fmla="*/ 315 w 315"/>
                  <a:gd name="T15" fmla="*/ 464 h 464"/>
                  <a:gd name="T16" fmla="*/ 0 w 315"/>
                  <a:gd name="T17" fmla="*/ 464 h 464"/>
                  <a:gd name="T18" fmla="*/ 34 w 315"/>
                  <a:gd name="T19" fmla="*/ 298 h 464"/>
                  <a:gd name="T20" fmla="*/ 157 w 315"/>
                  <a:gd name="T21" fmla="*/ 222 h 464"/>
                  <a:gd name="T22" fmla="*/ 281 w 315"/>
                  <a:gd name="T23" fmla="*/ 298 h 464"/>
                  <a:gd name="T24" fmla="*/ 281 w 315"/>
                  <a:gd name="T25" fmla="*/ 29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464">
                    <a:moveTo>
                      <a:pt x="157" y="0"/>
                    </a:moveTo>
                    <a:cubicBezTo>
                      <a:pt x="102" y="0"/>
                      <a:pt x="57" y="45"/>
                      <a:pt x="57" y="100"/>
                    </a:cubicBezTo>
                    <a:cubicBezTo>
                      <a:pt x="57" y="155"/>
                      <a:pt x="102" y="200"/>
                      <a:pt x="157" y="200"/>
                    </a:cubicBezTo>
                    <a:cubicBezTo>
                      <a:pt x="213" y="200"/>
                      <a:pt x="258" y="155"/>
                      <a:pt x="258" y="100"/>
                    </a:cubicBezTo>
                    <a:cubicBezTo>
                      <a:pt x="258" y="45"/>
                      <a:pt x="213" y="0"/>
                      <a:pt x="157" y="0"/>
                    </a:cubicBezTo>
                    <a:lnTo>
                      <a:pt x="157" y="0"/>
                    </a:lnTo>
                    <a:close/>
                    <a:moveTo>
                      <a:pt x="281" y="298"/>
                    </a:moveTo>
                    <a:lnTo>
                      <a:pt x="315" y="464"/>
                    </a:lnTo>
                    <a:lnTo>
                      <a:pt x="0" y="464"/>
                    </a:lnTo>
                    <a:lnTo>
                      <a:pt x="34" y="298"/>
                    </a:lnTo>
                    <a:cubicBezTo>
                      <a:pt x="45" y="245"/>
                      <a:pt x="109" y="222"/>
                      <a:pt x="157" y="222"/>
                    </a:cubicBezTo>
                    <a:cubicBezTo>
                      <a:pt x="206" y="222"/>
                      <a:pt x="270" y="245"/>
                      <a:pt x="281" y="298"/>
                    </a:cubicBezTo>
                    <a:lnTo>
                      <a:pt x="281" y="298"/>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grpSp>
      </p:grpSp>
      <p:grpSp>
        <p:nvGrpSpPr>
          <p:cNvPr id="21536" name="Group 10"/>
          <p:cNvGrpSpPr>
            <a:grpSpLocks/>
          </p:cNvGrpSpPr>
          <p:nvPr/>
        </p:nvGrpSpPr>
        <p:grpSpPr bwMode="auto">
          <a:xfrm>
            <a:off x="5653088" y="2427288"/>
            <a:ext cx="479425" cy="404812"/>
            <a:chOff x="5651205" y="2360066"/>
            <a:chExt cx="480259" cy="405061"/>
          </a:xfrm>
        </p:grpSpPr>
        <p:sp>
          <p:nvSpPr>
            <p:cNvPr id="120" name="Freeform 6">
              <a:extLst>
                <a:ext uri="{FF2B5EF4-FFF2-40B4-BE49-F238E27FC236}"/>
              </a:extLst>
            </p:cNvPr>
            <p:cNvSpPr>
              <a:spLocks/>
            </p:cNvSpPr>
            <p:nvPr/>
          </p:nvSpPr>
          <p:spPr bwMode="auto">
            <a:xfrm>
              <a:off x="5651205" y="2626930"/>
              <a:ext cx="478668" cy="138197"/>
            </a:xfrm>
            <a:custGeom>
              <a:avLst/>
              <a:gdLst>
                <a:gd name="T0" fmla="*/ 0 w 2963"/>
                <a:gd name="T1" fmla="*/ 0 h 879"/>
                <a:gd name="T2" fmla="*/ 2963 w 2963"/>
                <a:gd name="T3" fmla="*/ 0 h 879"/>
                <a:gd name="T4" fmla="*/ 2479 w 2963"/>
                <a:gd name="T5" fmla="*/ 879 h 879"/>
                <a:gd name="T6" fmla="*/ 508 w 2963"/>
                <a:gd name="T7" fmla="*/ 879 h 879"/>
                <a:gd name="T8" fmla="*/ 0 w 2963"/>
                <a:gd name="T9" fmla="*/ 0 h 879"/>
              </a:gdLst>
              <a:ahLst/>
              <a:cxnLst>
                <a:cxn ang="0">
                  <a:pos x="T0" y="T1"/>
                </a:cxn>
                <a:cxn ang="0">
                  <a:pos x="T2" y="T3"/>
                </a:cxn>
                <a:cxn ang="0">
                  <a:pos x="T4" y="T5"/>
                </a:cxn>
                <a:cxn ang="0">
                  <a:pos x="T6" y="T7"/>
                </a:cxn>
                <a:cxn ang="0">
                  <a:pos x="T8" y="T9"/>
                </a:cxn>
              </a:cxnLst>
              <a:rect l="0" t="0" r="r" b="b"/>
              <a:pathLst>
                <a:path w="2963" h="879">
                  <a:moveTo>
                    <a:pt x="0" y="0"/>
                  </a:moveTo>
                  <a:lnTo>
                    <a:pt x="2963" y="0"/>
                  </a:lnTo>
                  <a:lnTo>
                    <a:pt x="2479" y="879"/>
                  </a:lnTo>
                  <a:lnTo>
                    <a:pt x="508" y="879"/>
                  </a:lnTo>
                  <a:lnTo>
                    <a:pt x="0" y="0"/>
                  </a:lnTo>
                  <a:close/>
                </a:path>
              </a:pathLst>
            </a:custGeom>
            <a:solidFill>
              <a:schemeClr val="accent6">
                <a:lumMod val="20000"/>
                <a:lumOff val="80000"/>
              </a:schemeClr>
            </a:solidFill>
            <a:ln w="38100">
              <a:noFill/>
              <a:prstDash val="solid"/>
              <a:round/>
              <a:headEnd/>
              <a:tailEnd/>
            </a:ln>
          </p:spPr>
          <p:txBody>
            <a:bodyPr anchor="ctr"/>
            <a:lstStyle/>
            <a:p>
              <a:pPr>
                <a:defRPr/>
              </a:pPr>
              <a:endParaRPr lang="en-US" sz="200" dirty="0">
                <a:latin typeface="+mn-lt"/>
                <a:cs typeface="+mn-cs"/>
              </a:endParaRPr>
            </a:p>
          </p:txBody>
        </p:sp>
        <p:sp>
          <p:nvSpPr>
            <p:cNvPr id="121" name="Freeform 7">
              <a:extLst>
                <a:ext uri="{FF2B5EF4-FFF2-40B4-BE49-F238E27FC236}"/>
              </a:extLst>
            </p:cNvPr>
            <p:cNvSpPr>
              <a:spLocks/>
            </p:cNvSpPr>
            <p:nvPr/>
          </p:nvSpPr>
          <p:spPr bwMode="auto">
            <a:xfrm>
              <a:off x="5651205" y="2360066"/>
              <a:ext cx="322823" cy="405061"/>
            </a:xfrm>
            <a:custGeom>
              <a:avLst/>
              <a:gdLst>
                <a:gd name="T0" fmla="*/ 983 w 1994"/>
                <a:gd name="T1" fmla="*/ 0 h 2580"/>
                <a:gd name="T2" fmla="*/ 0 w 1994"/>
                <a:gd name="T3" fmla="*/ 1701 h 2580"/>
                <a:gd name="T4" fmla="*/ 508 w 1994"/>
                <a:gd name="T5" fmla="*/ 2580 h 2580"/>
                <a:gd name="T6" fmla="*/ 1994 w 1994"/>
                <a:gd name="T7" fmla="*/ 0 h 2580"/>
                <a:gd name="T8" fmla="*/ 983 w 1994"/>
                <a:gd name="T9" fmla="*/ 0 h 2580"/>
              </a:gdLst>
              <a:ahLst/>
              <a:cxnLst>
                <a:cxn ang="0">
                  <a:pos x="T0" y="T1"/>
                </a:cxn>
                <a:cxn ang="0">
                  <a:pos x="T2" y="T3"/>
                </a:cxn>
                <a:cxn ang="0">
                  <a:pos x="T4" y="T5"/>
                </a:cxn>
                <a:cxn ang="0">
                  <a:pos x="T6" y="T7"/>
                </a:cxn>
                <a:cxn ang="0">
                  <a:pos x="T8" y="T9"/>
                </a:cxn>
              </a:cxnLst>
              <a:rect l="0" t="0" r="r" b="b"/>
              <a:pathLst>
                <a:path w="1994" h="2580">
                  <a:moveTo>
                    <a:pt x="983" y="0"/>
                  </a:moveTo>
                  <a:lnTo>
                    <a:pt x="0" y="1701"/>
                  </a:lnTo>
                  <a:lnTo>
                    <a:pt x="508" y="2580"/>
                  </a:lnTo>
                  <a:lnTo>
                    <a:pt x="1994" y="0"/>
                  </a:lnTo>
                  <a:lnTo>
                    <a:pt x="983" y="0"/>
                  </a:lnTo>
                  <a:close/>
                </a:path>
              </a:pathLst>
            </a:custGeom>
            <a:solidFill>
              <a:schemeClr val="accent6">
                <a:lumMod val="20000"/>
                <a:lumOff val="80000"/>
              </a:schemeClr>
            </a:solidFill>
            <a:ln w="38100">
              <a:noFill/>
              <a:prstDash val="solid"/>
              <a:round/>
              <a:headEnd/>
              <a:tailEnd/>
            </a:ln>
          </p:spPr>
          <p:txBody>
            <a:bodyPr anchor="ctr"/>
            <a:lstStyle/>
            <a:p>
              <a:pPr>
                <a:defRPr/>
              </a:pPr>
              <a:endParaRPr lang="en-US" sz="200" dirty="0">
                <a:latin typeface="+mn-lt"/>
                <a:cs typeface="+mn-cs"/>
              </a:endParaRPr>
            </a:p>
          </p:txBody>
        </p:sp>
        <p:sp>
          <p:nvSpPr>
            <p:cNvPr id="122" name="Freeform 8">
              <a:extLst>
                <a:ext uri="{FF2B5EF4-FFF2-40B4-BE49-F238E27FC236}"/>
              </a:extLst>
            </p:cNvPr>
            <p:cNvSpPr>
              <a:spLocks/>
            </p:cNvSpPr>
            <p:nvPr/>
          </p:nvSpPr>
          <p:spPr bwMode="auto">
            <a:xfrm>
              <a:off x="5811821" y="2360066"/>
              <a:ext cx="319643" cy="405061"/>
            </a:xfrm>
            <a:custGeom>
              <a:avLst/>
              <a:gdLst>
                <a:gd name="T0" fmla="*/ 0 w 1980"/>
                <a:gd name="T1" fmla="*/ 0 h 2580"/>
                <a:gd name="T2" fmla="*/ 1496 w 1980"/>
                <a:gd name="T3" fmla="*/ 2580 h 2580"/>
                <a:gd name="T4" fmla="*/ 1980 w 1980"/>
                <a:gd name="T5" fmla="*/ 1701 h 2580"/>
                <a:gd name="T6" fmla="*/ 1011 w 1980"/>
                <a:gd name="T7" fmla="*/ 0 h 2580"/>
                <a:gd name="T8" fmla="*/ 0 w 1980"/>
                <a:gd name="T9" fmla="*/ 0 h 2580"/>
              </a:gdLst>
              <a:ahLst/>
              <a:cxnLst>
                <a:cxn ang="0">
                  <a:pos x="T0" y="T1"/>
                </a:cxn>
                <a:cxn ang="0">
                  <a:pos x="T2" y="T3"/>
                </a:cxn>
                <a:cxn ang="0">
                  <a:pos x="T4" y="T5"/>
                </a:cxn>
                <a:cxn ang="0">
                  <a:pos x="T6" y="T7"/>
                </a:cxn>
                <a:cxn ang="0">
                  <a:pos x="T8" y="T9"/>
                </a:cxn>
              </a:cxnLst>
              <a:rect l="0" t="0" r="r" b="b"/>
              <a:pathLst>
                <a:path w="1980" h="2580">
                  <a:moveTo>
                    <a:pt x="0" y="0"/>
                  </a:moveTo>
                  <a:lnTo>
                    <a:pt x="1496" y="2580"/>
                  </a:lnTo>
                  <a:lnTo>
                    <a:pt x="1980" y="1701"/>
                  </a:lnTo>
                  <a:lnTo>
                    <a:pt x="1011" y="0"/>
                  </a:lnTo>
                  <a:lnTo>
                    <a:pt x="0" y="0"/>
                  </a:lnTo>
                  <a:close/>
                </a:path>
              </a:pathLst>
            </a:custGeom>
            <a:solidFill>
              <a:schemeClr val="accent3"/>
            </a:solidFill>
            <a:ln w="19050">
              <a:noFill/>
              <a:prstDash val="solid"/>
              <a:round/>
              <a:headEnd/>
              <a:tailEnd/>
            </a:ln>
          </p:spPr>
          <p:txBody>
            <a:bodyPr anchor="ctr"/>
            <a:lstStyle/>
            <a:p>
              <a:pPr>
                <a:defRPr/>
              </a:pPr>
              <a:endParaRPr lang="en-US" sz="200" dirty="0">
                <a:latin typeface="+mn-lt"/>
                <a:cs typeface="+mn-cs"/>
              </a:endParaRPr>
            </a:p>
          </p:txBody>
        </p:sp>
        <p:sp>
          <p:nvSpPr>
            <p:cNvPr id="123" name="TextBox 122">
              <a:extLst>
                <a:ext uri="{FF2B5EF4-FFF2-40B4-BE49-F238E27FC236}"/>
              </a:extLst>
            </p:cNvPr>
            <p:cNvSpPr txBox="1"/>
            <p:nvPr/>
          </p:nvSpPr>
          <p:spPr bwMode="gray">
            <a:xfrm>
              <a:off x="5698913" y="2517325"/>
              <a:ext cx="119269" cy="101662"/>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Health and nutrition</a:t>
              </a:r>
            </a:p>
          </p:txBody>
        </p:sp>
        <p:grpSp>
          <p:nvGrpSpPr>
            <p:cNvPr id="9" name="Group 127">
              <a:extLst>
                <a:ext uri="{FF2B5EF4-FFF2-40B4-BE49-F238E27FC236}"/>
              </a:extLst>
            </p:cNvPr>
            <p:cNvGrpSpPr/>
            <p:nvPr/>
          </p:nvGrpSpPr>
          <p:grpSpPr bwMode="gray">
            <a:xfrm>
              <a:off x="5769382" y="2463005"/>
              <a:ext cx="75406" cy="63602"/>
              <a:chOff x="5045076" y="776288"/>
              <a:chExt cx="566737" cy="506412"/>
            </a:xfrm>
            <a:solidFill>
              <a:schemeClr val="bg1"/>
            </a:solidFill>
          </p:grpSpPr>
          <p:sp>
            <p:nvSpPr>
              <p:cNvPr id="148" name="Freeform 16">
                <a:extLst>
                  <a:ext uri="{FF2B5EF4-FFF2-40B4-BE49-F238E27FC236}"/>
                </a:extLst>
              </p:cNvPr>
              <p:cNvSpPr>
                <a:spLocks/>
              </p:cNvSpPr>
              <p:nvPr/>
            </p:nvSpPr>
            <p:spPr bwMode="gray">
              <a:xfrm>
                <a:off x="5168900" y="977900"/>
                <a:ext cx="368300" cy="304800"/>
              </a:xfrm>
              <a:custGeom>
                <a:avLst/>
                <a:gdLst>
                  <a:gd name="T0" fmla="*/ 81 w 98"/>
                  <a:gd name="T1" fmla="*/ 24 h 81"/>
                  <a:gd name="T2" fmla="*/ 81 w 98"/>
                  <a:gd name="T3" fmla="*/ 23 h 81"/>
                  <a:gd name="T4" fmla="*/ 79 w 98"/>
                  <a:gd name="T5" fmla="*/ 33 h 81"/>
                  <a:gd name="T6" fmla="*/ 75 w 98"/>
                  <a:gd name="T7" fmla="*/ 36 h 81"/>
                  <a:gd name="T8" fmla="*/ 75 w 98"/>
                  <a:gd name="T9" fmla="*/ 36 h 81"/>
                  <a:gd name="T10" fmla="*/ 72 w 98"/>
                  <a:gd name="T11" fmla="*/ 34 h 81"/>
                  <a:gd name="T12" fmla="*/ 65 w 98"/>
                  <a:gd name="T13" fmla="*/ 12 h 81"/>
                  <a:gd name="T14" fmla="*/ 60 w 98"/>
                  <a:gd name="T15" fmla="*/ 26 h 81"/>
                  <a:gd name="T16" fmla="*/ 56 w 98"/>
                  <a:gd name="T17" fmla="*/ 28 h 81"/>
                  <a:gd name="T18" fmla="*/ 53 w 98"/>
                  <a:gd name="T19" fmla="*/ 25 h 81"/>
                  <a:gd name="T20" fmla="*/ 48 w 98"/>
                  <a:gd name="T21" fmla="*/ 0 h 81"/>
                  <a:gd name="T22" fmla="*/ 41 w 98"/>
                  <a:gd name="T23" fmla="*/ 51 h 81"/>
                  <a:gd name="T24" fmla="*/ 38 w 98"/>
                  <a:gd name="T25" fmla="*/ 55 h 81"/>
                  <a:gd name="T26" fmla="*/ 38 w 98"/>
                  <a:gd name="T27" fmla="*/ 55 h 81"/>
                  <a:gd name="T28" fmla="*/ 38 w 98"/>
                  <a:gd name="T29" fmla="*/ 55 h 81"/>
                  <a:gd name="T30" fmla="*/ 34 w 98"/>
                  <a:gd name="T31" fmla="*/ 51 h 81"/>
                  <a:gd name="T32" fmla="*/ 31 w 98"/>
                  <a:gd name="T33" fmla="*/ 33 h 81"/>
                  <a:gd name="T34" fmla="*/ 30 w 98"/>
                  <a:gd name="T35" fmla="*/ 37 h 81"/>
                  <a:gd name="T36" fmla="*/ 26 w 98"/>
                  <a:gd name="T37" fmla="*/ 39 h 81"/>
                  <a:gd name="T38" fmla="*/ 26 w 98"/>
                  <a:gd name="T39" fmla="*/ 39 h 81"/>
                  <a:gd name="T40" fmla="*/ 23 w 98"/>
                  <a:gd name="T41" fmla="*/ 37 h 81"/>
                  <a:gd name="T42" fmla="*/ 17 w 98"/>
                  <a:gd name="T43" fmla="*/ 22 h 81"/>
                  <a:gd name="T44" fmla="*/ 13 w 98"/>
                  <a:gd name="T45" fmla="*/ 36 h 81"/>
                  <a:gd name="T46" fmla="*/ 9 w 98"/>
                  <a:gd name="T47" fmla="*/ 39 h 81"/>
                  <a:gd name="T48" fmla="*/ 0 w 98"/>
                  <a:gd name="T49" fmla="*/ 39 h 81"/>
                  <a:gd name="T50" fmla="*/ 43 w 98"/>
                  <a:gd name="T51" fmla="*/ 81 h 81"/>
                  <a:gd name="T52" fmla="*/ 98 w 98"/>
                  <a:gd name="T53" fmla="*/ 26 h 81"/>
                  <a:gd name="T54" fmla="*/ 84 w 98"/>
                  <a:gd name="T55" fmla="*/ 26 h 81"/>
                  <a:gd name="T56" fmla="*/ 81 w 98"/>
                  <a:gd name="T57"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81">
                    <a:moveTo>
                      <a:pt x="81" y="24"/>
                    </a:moveTo>
                    <a:cubicBezTo>
                      <a:pt x="81" y="23"/>
                      <a:pt x="81" y="23"/>
                      <a:pt x="81" y="23"/>
                    </a:cubicBezTo>
                    <a:cubicBezTo>
                      <a:pt x="79" y="33"/>
                      <a:pt x="79" y="33"/>
                      <a:pt x="79" y="33"/>
                    </a:cubicBezTo>
                    <a:cubicBezTo>
                      <a:pt x="79" y="35"/>
                      <a:pt x="77" y="36"/>
                      <a:pt x="75" y="36"/>
                    </a:cubicBezTo>
                    <a:cubicBezTo>
                      <a:pt x="75" y="36"/>
                      <a:pt x="75" y="36"/>
                      <a:pt x="75" y="36"/>
                    </a:cubicBezTo>
                    <a:cubicBezTo>
                      <a:pt x="74" y="36"/>
                      <a:pt x="72" y="35"/>
                      <a:pt x="72" y="34"/>
                    </a:cubicBezTo>
                    <a:cubicBezTo>
                      <a:pt x="65" y="12"/>
                      <a:pt x="65" y="12"/>
                      <a:pt x="65" y="12"/>
                    </a:cubicBezTo>
                    <a:cubicBezTo>
                      <a:pt x="60" y="26"/>
                      <a:pt x="60" y="26"/>
                      <a:pt x="60" y="26"/>
                    </a:cubicBezTo>
                    <a:cubicBezTo>
                      <a:pt x="59" y="27"/>
                      <a:pt x="58" y="28"/>
                      <a:pt x="56" y="28"/>
                    </a:cubicBezTo>
                    <a:cubicBezTo>
                      <a:pt x="54" y="28"/>
                      <a:pt x="53" y="27"/>
                      <a:pt x="53" y="25"/>
                    </a:cubicBezTo>
                    <a:cubicBezTo>
                      <a:pt x="48" y="0"/>
                      <a:pt x="48" y="0"/>
                      <a:pt x="48" y="0"/>
                    </a:cubicBezTo>
                    <a:cubicBezTo>
                      <a:pt x="41" y="51"/>
                      <a:pt x="41" y="51"/>
                      <a:pt x="41" y="51"/>
                    </a:cubicBezTo>
                    <a:cubicBezTo>
                      <a:pt x="41" y="53"/>
                      <a:pt x="39" y="55"/>
                      <a:pt x="38" y="55"/>
                    </a:cubicBezTo>
                    <a:cubicBezTo>
                      <a:pt x="38" y="55"/>
                      <a:pt x="38" y="55"/>
                      <a:pt x="38" y="55"/>
                    </a:cubicBezTo>
                    <a:cubicBezTo>
                      <a:pt x="38" y="55"/>
                      <a:pt x="38" y="55"/>
                      <a:pt x="38" y="55"/>
                    </a:cubicBezTo>
                    <a:cubicBezTo>
                      <a:pt x="36" y="55"/>
                      <a:pt x="34" y="53"/>
                      <a:pt x="34" y="51"/>
                    </a:cubicBezTo>
                    <a:cubicBezTo>
                      <a:pt x="31" y="33"/>
                      <a:pt x="31" y="33"/>
                      <a:pt x="31" y="33"/>
                    </a:cubicBezTo>
                    <a:cubicBezTo>
                      <a:pt x="30" y="37"/>
                      <a:pt x="30" y="37"/>
                      <a:pt x="30" y="37"/>
                    </a:cubicBezTo>
                    <a:cubicBezTo>
                      <a:pt x="29" y="38"/>
                      <a:pt x="28" y="39"/>
                      <a:pt x="26" y="39"/>
                    </a:cubicBezTo>
                    <a:cubicBezTo>
                      <a:pt x="26" y="39"/>
                      <a:pt x="26" y="39"/>
                      <a:pt x="26" y="39"/>
                    </a:cubicBezTo>
                    <a:cubicBezTo>
                      <a:pt x="25" y="39"/>
                      <a:pt x="23" y="38"/>
                      <a:pt x="23" y="37"/>
                    </a:cubicBezTo>
                    <a:cubicBezTo>
                      <a:pt x="17" y="22"/>
                      <a:pt x="17" y="22"/>
                      <a:pt x="17" y="22"/>
                    </a:cubicBezTo>
                    <a:cubicBezTo>
                      <a:pt x="13" y="36"/>
                      <a:pt x="13" y="36"/>
                      <a:pt x="13" y="36"/>
                    </a:cubicBezTo>
                    <a:cubicBezTo>
                      <a:pt x="13" y="37"/>
                      <a:pt x="11" y="39"/>
                      <a:pt x="9" y="39"/>
                    </a:cubicBezTo>
                    <a:cubicBezTo>
                      <a:pt x="0" y="39"/>
                      <a:pt x="0" y="39"/>
                      <a:pt x="0" y="39"/>
                    </a:cubicBezTo>
                    <a:cubicBezTo>
                      <a:pt x="43" y="81"/>
                      <a:pt x="43" y="81"/>
                      <a:pt x="43" y="81"/>
                    </a:cubicBezTo>
                    <a:cubicBezTo>
                      <a:pt x="98" y="26"/>
                      <a:pt x="98" y="26"/>
                      <a:pt x="98" y="26"/>
                    </a:cubicBezTo>
                    <a:cubicBezTo>
                      <a:pt x="84" y="26"/>
                      <a:pt x="84" y="26"/>
                      <a:pt x="84" y="26"/>
                    </a:cubicBezTo>
                    <a:cubicBezTo>
                      <a:pt x="83" y="26"/>
                      <a:pt x="81" y="25"/>
                      <a:pt x="81" y="24"/>
                    </a:cubicBezTo>
                    <a:close/>
                  </a:path>
                </a:pathLst>
              </a:custGeom>
              <a:solidFill>
                <a:schemeClr val="accent6">
                  <a:lumMod val="60000"/>
                  <a:lumOff val="40000"/>
                </a:schemeClr>
              </a:solid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sp>
            <p:nvSpPr>
              <p:cNvPr id="149" name="Freeform 17">
                <a:extLst>
                  <a:ext uri="{FF2B5EF4-FFF2-40B4-BE49-F238E27FC236}"/>
                </a:extLst>
              </p:cNvPr>
              <p:cNvSpPr>
                <a:spLocks/>
              </p:cNvSpPr>
              <p:nvPr/>
            </p:nvSpPr>
            <p:spPr bwMode="gray">
              <a:xfrm>
                <a:off x="5045076" y="776288"/>
                <a:ext cx="566737" cy="319088"/>
              </a:xfrm>
              <a:custGeom>
                <a:avLst/>
                <a:gdLst>
                  <a:gd name="T0" fmla="*/ 46 w 151"/>
                  <a:gd name="T1" fmla="*/ 63 h 85"/>
                  <a:gd name="T2" fmla="*/ 50 w 151"/>
                  <a:gd name="T3" fmla="*/ 60 h 85"/>
                  <a:gd name="T4" fmla="*/ 53 w 151"/>
                  <a:gd name="T5" fmla="*/ 63 h 85"/>
                  <a:gd name="T6" fmla="*/ 59 w 151"/>
                  <a:gd name="T7" fmla="*/ 78 h 85"/>
                  <a:gd name="T8" fmla="*/ 61 w 151"/>
                  <a:gd name="T9" fmla="*/ 70 h 85"/>
                  <a:gd name="T10" fmla="*/ 65 w 151"/>
                  <a:gd name="T11" fmla="*/ 67 h 85"/>
                  <a:gd name="T12" fmla="*/ 69 w 151"/>
                  <a:gd name="T13" fmla="*/ 70 h 85"/>
                  <a:gd name="T14" fmla="*/ 70 w 151"/>
                  <a:gd name="T15" fmla="*/ 80 h 85"/>
                  <a:gd name="T16" fmla="*/ 77 w 151"/>
                  <a:gd name="T17" fmla="*/ 29 h 85"/>
                  <a:gd name="T18" fmla="*/ 81 w 151"/>
                  <a:gd name="T19" fmla="*/ 26 h 85"/>
                  <a:gd name="T20" fmla="*/ 84 w 151"/>
                  <a:gd name="T21" fmla="*/ 29 h 85"/>
                  <a:gd name="T22" fmla="*/ 91 w 151"/>
                  <a:gd name="T23" fmla="*/ 64 h 85"/>
                  <a:gd name="T24" fmla="*/ 95 w 151"/>
                  <a:gd name="T25" fmla="*/ 53 h 85"/>
                  <a:gd name="T26" fmla="*/ 98 w 151"/>
                  <a:gd name="T27" fmla="*/ 50 h 85"/>
                  <a:gd name="T28" fmla="*/ 102 w 151"/>
                  <a:gd name="T29" fmla="*/ 53 h 85"/>
                  <a:gd name="T30" fmla="*/ 107 w 151"/>
                  <a:gd name="T31" fmla="*/ 70 h 85"/>
                  <a:gd name="T32" fmla="*/ 109 w 151"/>
                  <a:gd name="T33" fmla="*/ 61 h 85"/>
                  <a:gd name="T34" fmla="*/ 112 w 151"/>
                  <a:gd name="T35" fmla="*/ 58 h 85"/>
                  <a:gd name="T36" fmla="*/ 112 w 151"/>
                  <a:gd name="T37" fmla="*/ 58 h 85"/>
                  <a:gd name="T38" fmla="*/ 116 w 151"/>
                  <a:gd name="T39" fmla="*/ 60 h 85"/>
                  <a:gd name="T40" fmla="*/ 120 w 151"/>
                  <a:gd name="T41" fmla="*/ 73 h 85"/>
                  <a:gd name="T42" fmla="*/ 138 w 151"/>
                  <a:gd name="T43" fmla="*/ 73 h 85"/>
                  <a:gd name="T44" fmla="*/ 135 w 151"/>
                  <a:gd name="T45" fmla="*/ 17 h 85"/>
                  <a:gd name="T46" fmla="*/ 76 w 151"/>
                  <a:gd name="T47" fmla="*/ 17 h 85"/>
                  <a:gd name="T48" fmla="*/ 16 w 151"/>
                  <a:gd name="T49" fmla="*/ 17 h 85"/>
                  <a:gd name="T50" fmla="*/ 16 w 151"/>
                  <a:gd name="T51" fmla="*/ 76 h 85"/>
                  <a:gd name="T52" fmla="*/ 25 w 151"/>
                  <a:gd name="T53" fmla="*/ 85 h 85"/>
                  <a:gd name="T54" fmla="*/ 40 w 151"/>
                  <a:gd name="T55" fmla="*/ 85 h 85"/>
                  <a:gd name="T56" fmla="*/ 46 w 151"/>
                  <a:gd name="T57" fmla="*/ 6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85">
                    <a:moveTo>
                      <a:pt x="46" y="63"/>
                    </a:moveTo>
                    <a:cubicBezTo>
                      <a:pt x="47" y="61"/>
                      <a:pt x="48" y="60"/>
                      <a:pt x="50" y="60"/>
                    </a:cubicBezTo>
                    <a:cubicBezTo>
                      <a:pt x="51" y="60"/>
                      <a:pt x="53" y="61"/>
                      <a:pt x="53" y="63"/>
                    </a:cubicBezTo>
                    <a:cubicBezTo>
                      <a:pt x="59" y="78"/>
                      <a:pt x="59" y="78"/>
                      <a:pt x="59" y="78"/>
                    </a:cubicBezTo>
                    <a:cubicBezTo>
                      <a:pt x="61" y="70"/>
                      <a:pt x="61" y="70"/>
                      <a:pt x="61" y="70"/>
                    </a:cubicBezTo>
                    <a:cubicBezTo>
                      <a:pt x="62" y="68"/>
                      <a:pt x="63" y="67"/>
                      <a:pt x="65" y="67"/>
                    </a:cubicBezTo>
                    <a:cubicBezTo>
                      <a:pt x="67" y="67"/>
                      <a:pt x="68" y="69"/>
                      <a:pt x="69" y="70"/>
                    </a:cubicBezTo>
                    <a:cubicBezTo>
                      <a:pt x="70" y="80"/>
                      <a:pt x="70" y="80"/>
                      <a:pt x="70" y="80"/>
                    </a:cubicBezTo>
                    <a:cubicBezTo>
                      <a:pt x="77" y="29"/>
                      <a:pt x="77" y="29"/>
                      <a:pt x="77" y="29"/>
                    </a:cubicBezTo>
                    <a:cubicBezTo>
                      <a:pt x="77" y="27"/>
                      <a:pt x="79" y="26"/>
                      <a:pt x="81" y="26"/>
                    </a:cubicBezTo>
                    <a:cubicBezTo>
                      <a:pt x="83" y="26"/>
                      <a:pt x="84" y="27"/>
                      <a:pt x="84" y="29"/>
                    </a:cubicBezTo>
                    <a:cubicBezTo>
                      <a:pt x="91" y="64"/>
                      <a:pt x="91" y="64"/>
                      <a:pt x="91" y="64"/>
                    </a:cubicBezTo>
                    <a:cubicBezTo>
                      <a:pt x="95" y="53"/>
                      <a:pt x="95" y="53"/>
                      <a:pt x="95" y="53"/>
                    </a:cubicBezTo>
                    <a:cubicBezTo>
                      <a:pt x="95" y="51"/>
                      <a:pt x="97" y="50"/>
                      <a:pt x="98" y="50"/>
                    </a:cubicBezTo>
                    <a:cubicBezTo>
                      <a:pt x="100" y="50"/>
                      <a:pt x="101" y="51"/>
                      <a:pt x="102" y="53"/>
                    </a:cubicBezTo>
                    <a:cubicBezTo>
                      <a:pt x="107" y="70"/>
                      <a:pt x="107" y="70"/>
                      <a:pt x="107" y="70"/>
                    </a:cubicBezTo>
                    <a:cubicBezTo>
                      <a:pt x="109" y="61"/>
                      <a:pt x="109" y="61"/>
                      <a:pt x="109" y="61"/>
                    </a:cubicBezTo>
                    <a:cubicBezTo>
                      <a:pt x="109" y="59"/>
                      <a:pt x="110" y="58"/>
                      <a:pt x="112" y="58"/>
                    </a:cubicBezTo>
                    <a:cubicBezTo>
                      <a:pt x="112" y="58"/>
                      <a:pt x="112" y="58"/>
                      <a:pt x="112" y="58"/>
                    </a:cubicBezTo>
                    <a:cubicBezTo>
                      <a:pt x="114" y="58"/>
                      <a:pt x="115" y="59"/>
                      <a:pt x="116" y="60"/>
                    </a:cubicBezTo>
                    <a:cubicBezTo>
                      <a:pt x="120" y="73"/>
                      <a:pt x="120" y="73"/>
                      <a:pt x="120" y="73"/>
                    </a:cubicBezTo>
                    <a:cubicBezTo>
                      <a:pt x="138" y="73"/>
                      <a:pt x="138" y="73"/>
                      <a:pt x="138" y="73"/>
                    </a:cubicBezTo>
                    <a:cubicBezTo>
                      <a:pt x="151" y="57"/>
                      <a:pt x="151" y="32"/>
                      <a:pt x="135" y="17"/>
                    </a:cubicBezTo>
                    <a:cubicBezTo>
                      <a:pt x="119" y="0"/>
                      <a:pt x="92" y="0"/>
                      <a:pt x="76" y="17"/>
                    </a:cubicBezTo>
                    <a:cubicBezTo>
                      <a:pt x="59" y="0"/>
                      <a:pt x="33" y="0"/>
                      <a:pt x="16" y="17"/>
                    </a:cubicBezTo>
                    <a:cubicBezTo>
                      <a:pt x="0" y="33"/>
                      <a:pt x="0" y="60"/>
                      <a:pt x="16" y="76"/>
                    </a:cubicBezTo>
                    <a:cubicBezTo>
                      <a:pt x="25" y="85"/>
                      <a:pt x="25" y="85"/>
                      <a:pt x="25" y="85"/>
                    </a:cubicBezTo>
                    <a:cubicBezTo>
                      <a:pt x="40" y="85"/>
                      <a:pt x="40" y="85"/>
                      <a:pt x="40" y="85"/>
                    </a:cubicBezTo>
                    <a:lnTo>
                      <a:pt x="46" y="63"/>
                    </a:lnTo>
                    <a:close/>
                  </a:path>
                </a:pathLst>
              </a:custGeom>
              <a:solidFill>
                <a:schemeClr val="accent6">
                  <a:lumMod val="60000"/>
                  <a:lumOff val="40000"/>
                </a:schemeClr>
              </a:solid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grpSp>
        <p:sp>
          <p:nvSpPr>
            <p:cNvPr id="21556" name="TextBox 131"/>
            <p:cNvSpPr txBox="1">
              <a:spLocks noChangeArrowheads="1"/>
            </p:cNvSpPr>
            <p:nvPr/>
          </p:nvSpPr>
          <p:spPr bwMode="gray">
            <a:xfrm>
              <a:off x="5951634" y="2534750"/>
              <a:ext cx="129300" cy="67088"/>
            </a:xfrm>
            <a:prstGeom prst="rect">
              <a:avLst/>
            </a:prstGeom>
            <a:noFill/>
            <a:ln w="9525">
              <a:noFill/>
              <a:miter lim="800000"/>
              <a:headEnd/>
              <a:tailEnd/>
            </a:ln>
          </p:spPr>
          <p:txBody>
            <a:bodyPr lIns="0" tIns="0" rIns="0" bIns="0" anchor="ctr">
              <a:spAutoFit/>
            </a:bodyPr>
            <a:lstStyle/>
            <a:p>
              <a:pPr algn="ctr" defTabSz="895350">
                <a:buClr>
                  <a:schemeClr val="tx2"/>
                </a:buClr>
                <a:buSzPct val="100000"/>
              </a:pPr>
              <a:r>
                <a:rPr lang="en-US" sz="200" b="1">
                  <a:solidFill>
                    <a:schemeClr val="bg1"/>
                  </a:solidFill>
                </a:rPr>
                <a:t>Education</a:t>
              </a:r>
            </a:p>
          </p:txBody>
        </p:sp>
        <p:sp>
          <p:nvSpPr>
            <p:cNvPr id="133" name="Freeform 19">
              <a:extLst>
                <a:ext uri="{FF2B5EF4-FFF2-40B4-BE49-F238E27FC236}"/>
              </a:extLst>
            </p:cNvPr>
            <p:cNvSpPr>
              <a:spLocks noEditPoints="1"/>
            </p:cNvSpPr>
            <p:nvPr/>
          </p:nvSpPr>
          <p:spPr bwMode="gray">
            <a:xfrm>
              <a:off x="5935861" y="2461728"/>
              <a:ext cx="89055" cy="66716"/>
            </a:xfrm>
            <a:custGeom>
              <a:avLst/>
              <a:gdLst>
                <a:gd name="T0" fmla="*/ 98 w 748"/>
                <a:gd name="T1" fmla="*/ 338 h 573"/>
                <a:gd name="T2" fmla="*/ 98 w 748"/>
                <a:gd name="T3" fmla="*/ 389 h 573"/>
                <a:gd name="T4" fmla="*/ 109 w 748"/>
                <a:gd name="T5" fmla="*/ 363 h 573"/>
                <a:gd name="T6" fmla="*/ 592 w 748"/>
                <a:gd name="T7" fmla="*/ 288 h 573"/>
                <a:gd name="T8" fmla="*/ 61 w 748"/>
                <a:gd name="T9" fmla="*/ 333 h 573"/>
                <a:gd name="T10" fmla="*/ 101 w 748"/>
                <a:gd name="T11" fmla="*/ 439 h 573"/>
                <a:gd name="T12" fmla="*/ 262 w 748"/>
                <a:gd name="T13" fmla="*/ 543 h 573"/>
                <a:gd name="T14" fmla="*/ 328 w 748"/>
                <a:gd name="T15" fmla="*/ 573 h 573"/>
                <a:gd name="T16" fmla="*/ 385 w 748"/>
                <a:gd name="T17" fmla="*/ 573 h 573"/>
                <a:gd name="T18" fmla="*/ 451 w 748"/>
                <a:gd name="T19" fmla="*/ 543 h 573"/>
                <a:gd name="T20" fmla="*/ 591 w 748"/>
                <a:gd name="T21" fmla="*/ 439 h 573"/>
                <a:gd name="T22" fmla="*/ 592 w 748"/>
                <a:gd name="T23" fmla="*/ 288 h 573"/>
                <a:gd name="T24" fmla="*/ 101 w 748"/>
                <a:gd name="T25" fmla="*/ 419 h 573"/>
                <a:gd name="T26" fmla="*/ 102 w 748"/>
                <a:gd name="T27" fmla="*/ 308 h 573"/>
                <a:gd name="T28" fmla="*/ 126 w 748"/>
                <a:gd name="T29" fmla="*/ 363 h 573"/>
                <a:gd name="T30" fmla="*/ 314 w 748"/>
                <a:gd name="T31" fmla="*/ 419 h 573"/>
                <a:gd name="T32" fmla="*/ 146 w 748"/>
                <a:gd name="T33" fmla="*/ 364 h 573"/>
                <a:gd name="T34" fmla="*/ 314 w 748"/>
                <a:gd name="T35" fmla="*/ 308 h 573"/>
                <a:gd name="T36" fmla="*/ 314 w 748"/>
                <a:gd name="T37" fmla="*/ 419 h 573"/>
                <a:gd name="T38" fmla="*/ 405 w 748"/>
                <a:gd name="T39" fmla="*/ 419 h 573"/>
                <a:gd name="T40" fmla="*/ 405 w 748"/>
                <a:gd name="T41" fmla="*/ 308 h 573"/>
                <a:gd name="T42" fmla="*/ 616 w 748"/>
                <a:gd name="T43" fmla="*/ 363 h 573"/>
                <a:gd name="T44" fmla="*/ 748 w 748"/>
                <a:gd name="T45" fmla="*/ 360 h 573"/>
                <a:gd name="T46" fmla="*/ 734 w 748"/>
                <a:gd name="T47" fmla="*/ 279 h 573"/>
                <a:gd name="T48" fmla="*/ 719 w 748"/>
                <a:gd name="T49" fmla="*/ 220 h 573"/>
                <a:gd name="T50" fmla="*/ 715 w 748"/>
                <a:gd name="T51" fmla="*/ 128 h 573"/>
                <a:gd name="T52" fmla="*/ 580 w 748"/>
                <a:gd name="T53" fmla="*/ 66 h 573"/>
                <a:gd name="T54" fmla="*/ 358 w 748"/>
                <a:gd name="T55" fmla="*/ 0 h 573"/>
                <a:gd name="T56" fmla="*/ 136 w 748"/>
                <a:gd name="T57" fmla="*/ 66 h 573"/>
                <a:gd name="T58" fmla="*/ 0 w 748"/>
                <a:gd name="T59" fmla="*/ 128 h 573"/>
                <a:gd name="T60" fmla="*/ 153 w 748"/>
                <a:gd name="T61" fmla="*/ 174 h 573"/>
                <a:gd name="T62" fmla="*/ 171 w 748"/>
                <a:gd name="T63" fmla="*/ 250 h 573"/>
                <a:gd name="T64" fmla="*/ 544 w 748"/>
                <a:gd name="T65" fmla="*/ 179 h 573"/>
                <a:gd name="T66" fmla="*/ 580 w 748"/>
                <a:gd name="T67" fmla="*/ 169 h 573"/>
                <a:gd name="T68" fmla="*/ 690 w 748"/>
                <a:gd name="T69" fmla="*/ 223 h 573"/>
                <a:gd name="T70" fmla="*/ 683 w 748"/>
                <a:gd name="T71" fmla="*/ 280 h 573"/>
                <a:gd name="T72" fmla="*/ 667 w 748"/>
                <a:gd name="T73" fmla="*/ 36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8" h="573">
                  <a:moveTo>
                    <a:pt x="98" y="338"/>
                  </a:moveTo>
                  <a:cubicBezTo>
                    <a:pt x="98" y="338"/>
                    <a:pt x="98" y="338"/>
                    <a:pt x="98" y="338"/>
                  </a:cubicBezTo>
                  <a:cubicBezTo>
                    <a:pt x="92" y="338"/>
                    <a:pt x="87" y="349"/>
                    <a:pt x="87" y="363"/>
                  </a:cubicBezTo>
                  <a:cubicBezTo>
                    <a:pt x="87" y="377"/>
                    <a:pt x="92" y="388"/>
                    <a:pt x="98" y="389"/>
                  </a:cubicBezTo>
                  <a:cubicBezTo>
                    <a:pt x="98" y="389"/>
                    <a:pt x="98" y="389"/>
                    <a:pt x="98" y="389"/>
                  </a:cubicBezTo>
                  <a:cubicBezTo>
                    <a:pt x="104" y="389"/>
                    <a:pt x="109" y="377"/>
                    <a:pt x="109" y="363"/>
                  </a:cubicBezTo>
                  <a:cubicBezTo>
                    <a:pt x="109" y="349"/>
                    <a:pt x="104" y="338"/>
                    <a:pt x="98" y="338"/>
                  </a:cubicBezTo>
                  <a:close/>
                  <a:moveTo>
                    <a:pt x="592" y="288"/>
                  </a:moveTo>
                  <a:cubicBezTo>
                    <a:pt x="102" y="288"/>
                    <a:pt x="102" y="288"/>
                    <a:pt x="102" y="288"/>
                  </a:cubicBezTo>
                  <a:cubicBezTo>
                    <a:pt x="82" y="288"/>
                    <a:pt x="67" y="305"/>
                    <a:pt x="61" y="333"/>
                  </a:cubicBezTo>
                  <a:cubicBezTo>
                    <a:pt x="59" y="342"/>
                    <a:pt x="57" y="352"/>
                    <a:pt x="57" y="363"/>
                  </a:cubicBezTo>
                  <a:cubicBezTo>
                    <a:pt x="57" y="407"/>
                    <a:pt x="75" y="438"/>
                    <a:pt x="101" y="439"/>
                  </a:cubicBezTo>
                  <a:cubicBezTo>
                    <a:pt x="310" y="439"/>
                    <a:pt x="310" y="439"/>
                    <a:pt x="310" y="439"/>
                  </a:cubicBezTo>
                  <a:cubicBezTo>
                    <a:pt x="262" y="543"/>
                    <a:pt x="262" y="543"/>
                    <a:pt x="262" y="543"/>
                  </a:cubicBezTo>
                  <a:cubicBezTo>
                    <a:pt x="305" y="539"/>
                    <a:pt x="305" y="539"/>
                    <a:pt x="305" y="539"/>
                  </a:cubicBezTo>
                  <a:cubicBezTo>
                    <a:pt x="328" y="573"/>
                    <a:pt x="328" y="573"/>
                    <a:pt x="328" y="573"/>
                  </a:cubicBezTo>
                  <a:cubicBezTo>
                    <a:pt x="357" y="511"/>
                    <a:pt x="357" y="511"/>
                    <a:pt x="357" y="511"/>
                  </a:cubicBezTo>
                  <a:cubicBezTo>
                    <a:pt x="385" y="573"/>
                    <a:pt x="385" y="573"/>
                    <a:pt x="385" y="573"/>
                  </a:cubicBezTo>
                  <a:cubicBezTo>
                    <a:pt x="408" y="539"/>
                    <a:pt x="408" y="539"/>
                    <a:pt x="408" y="539"/>
                  </a:cubicBezTo>
                  <a:cubicBezTo>
                    <a:pt x="451" y="543"/>
                    <a:pt x="451" y="543"/>
                    <a:pt x="451" y="543"/>
                  </a:cubicBezTo>
                  <a:cubicBezTo>
                    <a:pt x="403" y="439"/>
                    <a:pt x="403" y="439"/>
                    <a:pt x="403" y="439"/>
                  </a:cubicBezTo>
                  <a:cubicBezTo>
                    <a:pt x="591" y="439"/>
                    <a:pt x="591" y="439"/>
                    <a:pt x="591" y="439"/>
                  </a:cubicBezTo>
                  <a:cubicBezTo>
                    <a:pt x="617" y="439"/>
                    <a:pt x="636" y="408"/>
                    <a:pt x="636" y="364"/>
                  </a:cubicBezTo>
                  <a:cubicBezTo>
                    <a:pt x="636" y="319"/>
                    <a:pt x="618" y="288"/>
                    <a:pt x="592" y="288"/>
                  </a:cubicBezTo>
                  <a:close/>
                  <a:moveTo>
                    <a:pt x="101" y="419"/>
                  </a:moveTo>
                  <a:cubicBezTo>
                    <a:pt x="101" y="419"/>
                    <a:pt x="101" y="419"/>
                    <a:pt x="101" y="419"/>
                  </a:cubicBezTo>
                  <a:cubicBezTo>
                    <a:pt x="88" y="419"/>
                    <a:pt x="77" y="394"/>
                    <a:pt x="77" y="363"/>
                  </a:cubicBezTo>
                  <a:cubicBezTo>
                    <a:pt x="77" y="332"/>
                    <a:pt x="88" y="308"/>
                    <a:pt x="102" y="308"/>
                  </a:cubicBezTo>
                  <a:cubicBezTo>
                    <a:pt x="102" y="308"/>
                    <a:pt x="102" y="308"/>
                    <a:pt x="102" y="308"/>
                  </a:cubicBezTo>
                  <a:cubicBezTo>
                    <a:pt x="115" y="308"/>
                    <a:pt x="126" y="333"/>
                    <a:pt x="126" y="363"/>
                  </a:cubicBezTo>
                  <a:cubicBezTo>
                    <a:pt x="126" y="394"/>
                    <a:pt x="115" y="419"/>
                    <a:pt x="101" y="419"/>
                  </a:cubicBezTo>
                  <a:close/>
                  <a:moveTo>
                    <a:pt x="314" y="419"/>
                  </a:moveTo>
                  <a:cubicBezTo>
                    <a:pt x="132" y="419"/>
                    <a:pt x="132" y="419"/>
                    <a:pt x="132" y="419"/>
                  </a:cubicBezTo>
                  <a:cubicBezTo>
                    <a:pt x="141" y="406"/>
                    <a:pt x="146" y="386"/>
                    <a:pt x="146" y="364"/>
                  </a:cubicBezTo>
                  <a:cubicBezTo>
                    <a:pt x="146" y="340"/>
                    <a:pt x="141" y="321"/>
                    <a:pt x="133" y="308"/>
                  </a:cubicBezTo>
                  <a:cubicBezTo>
                    <a:pt x="314" y="308"/>
                    <a:pt x="314" y="308"/>
                    <a:pt x="314" y="308"/>
                  </a:cubicBezTo>
                  <a:cubicBezTo>
                    <a:pt x="323" y="319"/>
                    <a:pt x="328" y="340"/>
                    <a:pt x="328" y="364"/>
                  </a:cubicBezTo>
                  <a:cubicBezTo>
                    <a:pt x="328" y="387"/>
                    <a:pt x="322" y="408"/>
                    <a:pt x="314" y="419"/>
                  </a:cubicBezTo>
                  <a:close/>
                  <a:moveTo>
                    <a:pt x="592" y="419"/>
                  </a:moveTo>
                  <a:cubicBezTo>
                    <a:pt x="405" y="419"/>
                    <a:pt x="405" y="419"/>
                    <a:pt x="405" y="419"/>
                  </a:cubicBezTo>
                  <a:cubicBezTo>
                    <a:pt x="413" y="408"/>
                    <a:pt x="419" y="387"/>
                    <a:pt x="419" y="364"/>
                  </a:cubicBezTo>
                  <a:cubicBezTo>
                    <a:pt x="419" y="340"/>
                    <a:pt x="414" y="319"/>
                    <a:pt x="405" y="308"/>
                  </a:cubicBezTo>
                  <a:cubicBezTo>
                    <a:pt x="592" y="308"/>
                    <a:pt x="592" y="308"/>
                    <a:pt x="592" y="308"/>
                  </a:cubicBezTo>
                  <a:cubicBezTo>
                    <a:pt x="605" y="308"/>
                    <a:pt x="616" y="333"/>
                    <a:pt x="616" y="363"/>
                  </a:cubicBezTo>
                  <a:cubicBezTo>
                    <a:pt x="616" y="394"/>
                    <a:pt x="605" y="419"/>
                    <a:pt x="592" y="419"/>
                  </a:cubicBezTo>
                  <a:close/>
                  <a:moveTo>
                    <a:pt x="748" y="360"/>
                  </a:moveTo>
                  <a:cubicBezTo>
                    <a:pt x="728" y="283"/>
                    <a:pt x="728" y="283"/>
                    <a:pt x="728" y="283"/>
                  </a:cubicBezTo>
                  <a:cubicBezTo>
                    <a:pt x="730" y="282"/>
                    <a:pt x="732" y="280"/>
                    <a:pt x="734" y="279"/>
                  </a:cubicBezTo>
                  <a:cubicBezTo>
                    <a:pt x="747" y="264"/>
                    <a:pt x="747" y="242"/>
                    <a:pt x="732" y="228"/>
                  </a:cubicBezTo>
                  <a:cubicBezTo>
                    <a:pt x="728" y="224"/>
                    <a:pt x="724" y="222"/>
                    <a:pt x="719" y="220"/>
                  </a:cubicBezTo>
                  <a:cubicBezTo>
                    <a:pt x="715" y="196"/>
                    <a:pt x="706" y="162"/>
                    <a:pt x="688" y="136"/>
                  </a:cubicBezTo>
                  <a:cubicBezTo>
                    <a:pt x="715" y="128"/>
                    <a:pt x="715" y="128"/>
                    <a:pt x="715" y="128"/>
                  </a:cubicBezTo>
                  <a:cubicBezTo>
                    <a:pt x="715" y="106"/>
                    <a:pt x="715" y="106"/>
                    <a:pt x="715" y="106"/>
                  </a:cubicBezTo>
                  <a:cubicBezTo>
                    <a:pt x="580" y="66"/>
                    <a:pt x="580" y="66"/>
                    <a:pt x="580" y="66"/>
                  </a:cubicBezTo>
                  <a:cubicBezTo>
                    <a:pt x="519" y="48"/>
                    <a:pt x="519" y="48"/>
                    <a:pt x="519" y="48"/>
                  </a:cubicBezTo>
                  <a:cubicBezTo>
                    <a:pt x="358" y="0"/>
                    <a:pt x="358" y="0"/>
                    <a:pt x="358" y="0"/>
                  </a:cubicBezTo>
                  <a:cubicBezTo>
                    <a:pt x="196" y="48"/>
                    <a:pt x="196" y="48"/>
                    <a:pt x="196" y="48"/>
                  </a:cubicBezTo>
                  <a:cubicBezTo>
                    <a:pt x="136" y="66"/>
                    <a:pt x="136" y="66"/>
                    <a:pt x="136" y="66"/>
                  </a:cubicBezTo>
                  <a:cubicBezTo>
                    <a:pt x="0" y="106"/>
                    <a:pt x="0" y="106"/>
                    <a:pt x="0" y="106"/>
                  </a:cubicBezTo>
                  <a:cubicBezTo>
                    <a:pt x="0" y="128"/>
                    <a:pt x="0" y="128"/>
                    <a:pt x="0" y="128"/>
                  </a:cubicBezTo>
                  <a:cubicBezTo>
                    <a:pt x="136" y="169"/>
                    <a:pt x="136" y="169"/>
                    <a:pt x="136" y="169"/>
                  </a:cubicBezTo>
                  <a:cubicBezTo>
                    <a:pt x="153" y="174"/>
                    <a:pt x="153" y="174"/>
                    <a:pt x="153" y="174"/>
                  </a:cubicBezTo>
                  <a:cubicBezTo>
                    <a:pt x="171" y="179"/>
                    <a:pt x="171" y="179"/>
                    <a:pt x="171" y="179"/>
                  </a:cubicBezTo>
                  <a:cubicBezTo>
                    <a:pt x="171" y="250"/>
                    <a:pt x="171" y="250"/>
                    <a:pt x="171" y="250"/>
                  </a:cubicBezTo>
                  <a:cubicBezTo>
                    <a:pt x="544" y="250"/>
                    <a:pt x="544" y="250"/>
                    <a:pt x="544" y="250"/>
                  </a:cubicBezTo>
                  <a:cubicBezTo>
                    <a:pt x="544" y="179"/>
                    <a:pt x="544" y="179"/>
                    <a:pt x="544" y="179"/>
                  </a:cubicBezTo>
                  <a:cubicBezTo>
                    <a:pt x="562" y="174"/>
                    <a:pt x="562" y="174"/>
                    <a:pt x="562" y="174"/>
                  </a:cubicBezTo>
                  <a:cubicBezTo>
                    <a:pt x="580" y="169"/>
                    <a:pt x="580" y="169"/>
                    <a:pt x="580" y="169"/>
                  </a:cubicBezTo>
                  <a:cubicBezTo>
                    <a:pt x="659" y="145"/>
                    <a:pt x="659" y="145"/>
                    <a:pt x="659" y="145"/>
                  </a:cubicBezTo>
                  <a:cubicBezTo>
                    <a:pt x="678" y="166"/>
                    <a:pt x="686" y="199"/>
                    <a:pt x="690" y="223"/>
                  </a:cubicBezTo>
                  <a:cubicBezTo>
                    <a:pt x="687" y="225"/>
                    <a:pt x="684" y="227"/>
                    <a:pt x="682" y="229"/>
                  </a:cubicBezTo>
                  <a:cubicBezTo>
                    <a:pt x="668" y="244"/>
                    <a:pt x="669" y="266"/>
                    <a:pt x="683" y="280"/>
                  </a:cubicBezTo>
                  <a:cubicBezTo>
                    <a:pt x="684" y="281"/>
                    <a:pt x="686" y="282"/>
                    <a:pt x="687" y="283"/>
                  </a:cubicBezTo>
                  <a:cubicBezTo>
                    <a:pt x="667" y="360"/>
                    <a:pt x="667" y="360"/>
                    <a:pt x="667" y="360"/>
                  </a:cubicBezTo>
                  <a:lnTo>
                    <a:pt x="748" y="360"/>
                  </a:lnTo>
                  <a:close/>
                </a:path>
              </a:pathLst>
            </a:custGeom>
            <a:solidFill>
              <a:schemeClr val="bg1"/>
            </a:solidFill>
            <a:ln>
              <a:noFill/>
            </a:ln>
            <a:extLst/>
          </p:spPr>
          <p:txBody>
            <a:bodyPr anchor="ctr"/>
            <a:lstStyle/>
            <a:p>
              <a:pPr>
                <a:defRPr/>
              </a:pPr>
              <a:endParaRPr lang="de-DE" sz="200">
                <a:latin typeface="+mn-lt"/>
                <a:cs typeface="+mn-cs"/>
              </a:endParaRPr>
            </a:p>
          </p:txBody>
        </p:sp>
        <p:sp>
          <p:nvSpPr>
            <p:cNvPr id="134" name="TextBox 133">
              <a:extLst>
                <a:ext uri="{FF2B5EF4-FFF2-40B4-BE49-F238E27FC236}"/>
              </a:extLst>
            </p:cNvPr>
            <p:cNvSpPr txBox="1"/>
            <p:nvPr/>
          </p:nvSpPr>
          <p:spPr bwMode="gray">
            <a:xfrm>
              <a:off x="5775245" y="2695234"/>
              <a:ext cx="241720" cy="66716"/>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Labour force participation</a:t>
              </a:r>
            </a:p>
          </p:txBody>
        </p:sp>
        <p:grpSp>
          <p:nvGrpSpPr>
            <p:cNvPr id="10" name="Group 134">
              <a:extLst>
                <a:ext uri="{FF2B5EF4-FFF2-40B4-BE49-F238E27FC236}"/>
              </a:extLst>
            </p:cNvPr>
            <p:cNvGrpSpPr/>
            <p:nvPr/>
          </p:nvGrpSpPr>
          <p:grpSpPr bwMode="gray">
            <a:xfrm>
              <a:off x="5865400" y="2633437"/>
              <a:ext cx="61294" cy="62545"/>
              <a:chOff x="-7816851" y="1463676"/>
              <a:chExt cx="1020763" cy="1073150"/>
            </a:xfrm>
            <a:solidFill>
              <a:schemeClr val="bg1"/>
            </a:solidFill>
          </p:grpSpPr>
          <p:sp>
            <p:nvSpPr>
              <p:cNvPr id="136" name="Freeform 7026">
                <a:extLst>
                  <a:ext uri="{FF2B5EF4-FFF2-40B4-BE49-F238E27FC236}"/>
                </a:extLst>
              </p:cNvPr>
              <p:cNvSpPr>
                <a:spLocks noEditPoints="1"/>
              </p:cNvSpPr>
              <p:nvPr/>
            </p:nvSpPr>
            <p:spPr bwMode="gray">
              <a:xfrm>
                <a:off x="-7816851" y="1463676"/>
                <a:ext cx="873125" cy="1073150"/>
              </a:xfrm>
              <a:custGeom>
                <a:avLst/>
                <a:gdLst>
                  <a:gd name="T0" fmla="*/ 81 w 1063"/>
                  <a:gd name="T1" fmla="*/ 237 h 1305"/>
                  <a:gd name="T2" fmla="*/ 237 w 1063"/>
                  <a:gd name="T3" fmla="*/ 237 h 1305"/>
                  <a:gd name="T4" fmla="*/ 237 w 1063"/>
                  <a:gd name="T5" fmla="*/ 81 h 1305"/>
                  <a:gd name="T6" fmla="*/ 81 w 1063"/>
                  <a:gd name="T7" fmla="*/ 237 h 1305"/>
                  <a:gd name="T8" fmla="*/ 81 w 1063"/>
                  <a:gd name="T9" fmla="*/ 237 h 1305"/>
                  <a:gd name="T10" fmla="*/ 260 w 1063"/>
                  <a:gd name="T11" fmla="*/ 284 h 1305"/>
                  <a:gd name="T12" fmla="*/ 47 w 1063"/>
                  <a:gd name="T13" fmla="*/ 284 h 1305"/>
                  <a:gd name="T14" fmla="*/ 47 w 1063"/>
                  <a:gd name="T15" fmla="*/ 1257 h 1305"/>
                  <a:gd name="T16" fmla="*/ 1016 w 1063"/>
                  <a:gd name="T17" fmla="*/ 1257 h 1305"/>
                  <a:gd name="T18" fmla="*/ 1016 w 1063"/>
                  <a:gd name="T19" fmla="*/ 1184 h 1305"/>
                  <a:gd name="T20" fmla="*/ 1063 w 1063"/>
                  <a:gd name="T21" fmla="*/ 1180 h 1305"/>
                  <a:gd name="T22" fmla="*/ 1063 w 1063"/>
                  <a:gd name="T23" fmla="*/ 1281 h 1305"/>
                  <a:gd name="T24" fmla="*/ 1039 w 1063"/>
                  <a:gd name="T25" fmla="*/ 1305 h 1305"/>
                  <a:gd name="T26" fmla="*/ 24 w 1063"/>
                  <a:gd name="T27" fmla="*/ 1305 h 1305"/>
                  <a:gd name="T28" fmla="*/ 0 w 1063"/>
                  <a:gd name="T29" fmla="*/ 1281 h 1305"/>
                  <a:gd name="T30" fmla="*/ 0 w 1063"/>
                  <a:gd name="T31" fmla="*/ 260 h 1305"/>
                  <a:gd name="T32" fmla="*/ 7 w 1063"/>
                  <a:gd name="T33" fmla="*/ 244 h 1305"/>
                  <a:gd name="T34" fmla="*/ 244 w 1063"/>
                  <a:gd name="T35" fmla="*/ 7 h 1305"/>
                  <a:gd name="T36" fmla="*/ 260 w 1063"/>
                  <a:gd name="T37" fmla="*/ 0 h 1305"/>
                  <a:gd name="T38" fmla="*/ 1039 w 1063"/>
                  <a:gd name="T39" fmla="*/ 0 h 1305"/>
                  <a:gd name="T40" fmla="*/ 1063 w 1063"/>
                  <a:gd name="T41" fmla="*/ 24 h 1305"/>
                  <a:gd name="T42" fmla="*/ 1063 w 1063"/>
                  <a:gd name="T43" fmla="*/ 943 h 1305"/>
                  <a:gd name="T44" fmla="*/ 1016 w 1063"/>
                  <a:gd name="T45" fmla="*/ 947 h 1305"/>
                  <a:gd name="T46" fmla="*/ 1016 w 1063"/>
                  <a:gd name="T47" fmla="*/ 47 h 1305"/>
                  <a:gd name="T48" fmla="*/ 284 w 1063"/>
                  <a:gd name="T49" fmla="*/ 47 h 1305"/>
                  <a:gd name="T50" fmla="*/ 284 w 1063"/>
                  <a:gd name="T51" fmla="*/ 260 h 1305"/>
                  <a:gd name="T52" fmla="*/ 260 w 1063"/>
                  <a:gd name="T53" fmla="*/ 284 h 1305"/>
                  <a:gd name="T54" fmla="*/ 260 w 1063"/>
                  <a:gd name="T55" fmla="*/ 284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3" h="1305">
                    <a:moveTo>
                      <a:pt x="81" y="237"/>
                    </a:moveTo>
                    <a:lnTo>
                      <a:pt x="237" y="237"/>
                    </a:lnTo>
                    <a:lnTo>
                      <a:pt x="237" y="81"/>
                    </a:lnTo>
                    <a:lnTo>
                      <a:pt x="81" y="237"/>
                    </a:lnTo>
                    <a:lnTo>
                      <a:pt x="81" y="237"/>
                    </a:lnTo>
                    <a:close/>
                    <a:moveTo>
                      <a:pt x="260" y="284"/>
                    </a:moveTo>
                    <a:lnTo>
                      <a:pt x="47" y="284"/>
                    </a:lnTo>
                    <a:lnTo>
                      <a:pt x="47" y="1257"/>
                    </a:lnTo>
                    <a:lnTo>
                      <a:pt x="1016" y="1257"/>
                    </a:lnTo>
                    <a:lnTo>
                      <a:pt x="1016" y="1184"/>
                    </a:lnTo>
                    <a:lnTo>
                      <a:pt x="1063" y="1180"/>
                    </a:lnTo>
                    <a:lnTo>
                      <a:pt x="1063" y="1281"/>
                    </a:lnTo>
                    <a:cubicBezTo>
                      <a:pt x="1063" y="1294"/>
                      <a:pt x="1052" y="1305"/>
                      <a:pt x="1039" y="1305"/>
                    </a:cubicBezTo>
                    <a:lnTo>
                      <a:pt x="24" y="1305"/>
                    </a:lnTo>
                    <a:cubicBezTo>
                      <a:pt x="11" y="1305"/>
                      <a:pt x="0" y="1294"/>
                      <a:pt x="0" y="1281"/>
                    </a:cubicBezTo>
                    <a:lnTo>
                      <a:pt x="0" y="260"/>
                    </a:lnTo>
                    <a:cubicBezTo>
                      <a:pt x="0" y="254"/>
                      <a:pt x="3" y="248"/>
                      <a:pt x="7" y="244"/>
                    </a:cubicBezTo>
                    <a:lnTo>
                      <a:pt x="244" y="7"/>
                    </a:lnTo>
                    <a:lnTo>
                      <a:pt x="260" y="0"/>
                    </a:lnTo>
                    <a:lnTo>
                      <a:pt x="1039" y="0"/>
                    </a:lnTo>
                    <a:cubicBezTo>
                      <a:pt x="1052" y="0"/>
                      <a:pt x="1063" y="11"/>
                      <a:pt x="1063" y="24"/>
                    </a:cubicBezTo>
                    <a:lnTo>
                      <a:pt x="1063" y="943"/>
                    </a:lnTo>
                    <a:lnTo>
                      <a:pt x="1016" y="947"/>
                    </a:lnTo>
                    <a:lnTo>
                      <a:pt x="1016" y="47"/>
                    </a:lnTo>
                    <a:lnTo>
                      <a:pt x="284" y="47"/>
                    </a:lnTo>
                    <a:lnTo>
                      <a:pt x="284" y="260"/>
                    </a:lnTo>
                    <a:cubicBezTo>
                      <a:pt x="284" y="273"/>
                      <a:pt x="273" y="284"/>
                      <a:pt x="260" y="284"/>
                    </a:cubicBezTo>
                    <a:lnTo>
                      <a:pt x="260" y="284"/>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43" name="Freeform 7027">
                <a:extLst>
                  <a:ext uri="{FF2B5EF4-FFF2-40B4-BE49-F238E27FC236}"/>
                </a:extLst>
              </p:cNvPr>
              <p:cNvSpPr>
                <a:spLocks/>
              </p:cNvSpPr>
              <p:nvPr/>
            </p:nvSpPr>
            <p:spPr bwMode="gray">
              <a:xfrm>
                <a:off x="-7712076" y="2087563"/>
                <a:ext cx="661988" cy="38100"/>
              </a:xfrm>
              <a:custGeom>
                <a:avLst/>
                <a:gdLst>
                  <a:gd name="T0" fmla="*/ 24 w 807"/>
                  <a:gd name="T1" fmla="*/ 47 h 47"/>
                  <a:gd name="T2" fmla="*/ 0 w 807"/>
                  <a:gd name="T3" fmla="*/ 24 h 47"/>
                  <a:gd name="T4" fmla="*/ 24 w 807"/>
                  <a:gd name="T5" fmla="*/ 0 h 47"/>
                  <a:gd name="T6" fmla="*/ 783 w 807"/>
                  <a:gd name="T7" fmla="*/ 0 h 47"/>
                  <a:gd name="T8" fmla="*/ 807 w 807"/>
                  <a:gd name="T9" fmla="*/ 24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7"/>
                      <a:pt x="0" y="24"/>
                    </a:cubicBezTo>
                    <a:cubicBezTo>
                      <a:pt x="0" y="11"/>
                      <a:pt x="10" y="0"/>
                      <a:pt x="24" y="0"/>
                    </a:cubicBezTo>
                    <a:lnTo>
                      <a:pt x="783" y="0"/>
                    </a:lnTo>
                    <a:cubicBezTo>
                      <a:pt x="796" y="0"/>
                      <a:pt x="807" y="11"/>
                      <a:pt x="807" y="24"/>
                    </a:cubicBezTo>
                    <a:cubicBezTo>
                      <a:pt x="807" y="37"/>
                      <a:pt x="796" y="47"/>
                      <a:pt x="783" y="47"/>
                    </a:cubicBezTo>
                    <a:lnTo>
                      <a:pt x="24" y="47"/>
                    </a:lnTo>
                    <a:lnTo>
                      <a:pt x="24" y="47"/>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45" name="Freeform 7028">
                <a:extLst>
                  <a:ext uri="{FF2B5EF4-FFF2-40B4-BE49-F238E27FC236}"/>
                </a:extLst>
              </p:cNvPr>
              <p:cNvSpPr>
                <a:spLocks/>
              </p:cNvSpPr>
              <p:nvPr/>
            </p:nvSpPr>
            <p:spPr bwMode="gray">
              <a:xfrm>
                <a:off x="-7712076" y="2178051"/>
                <a:ext cx="661988" cy="38100"/>
              </a:xfrm>
              <a:custGeom>
                <a:avLst/>
                <a:gdLst>
                  <a:gd name="T0" fmla="*/ 24 w 807"/>
                  <a:gd name="T1" fmla="*/ 47 h 47"/>
                  <a:gd name="T2" fmla="*/ 0 w 807"/>
                  <a:gd name="T3" fmla="*/ 23 h 47"/>
                  <a:gd name="T4" fmla="*/ 24 w 807"/>
                  <a:gd name="T5" fmla="*/ 0 h 47"/>
                  <a:gd name="T6" fmla="*/ 783 w 807"/>
                  <a:gd name="T7" fmla="*/ 0 h 47"/>
                  <a:gd name="T8" fmla="*/ 807 w 807"/>
                  <a:gd name="T9" fmla="*/ 23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6"/>
                      <a:pt x="0" y="23"/>
                    </a:cubicBezTo>
                    <a:cubicBezTo>
                      <a:pt x="0" y="10"/>
                      <a:pt x="10" y="0"/>
                      <a:pt x="24" y="0"/>
                    </a:cubicBezTo>
                    <a:lnTo>
                      <a:pt x="783" y="0"/>
                    </a:lnTo>
                    <a:cubicBezTo>
                      <a:pt x="796" y="0"/>
                      <a:pt x="807" y="10"/>
                      <a:pt x="807" y="23"/>
                    </a:cubicBezTo>
                    <a:cubicBezTo>
                      <a:pt x="807" y="36"/>
                      <a:pt x="796" y="47"/>
                      <a:pt x="783" y="47"/>
                    </a:cubicBezTo>
                    <a:lnTo>
                      <a:pt x="24" y="47"/>
                    </a:lnTo>
                    <a:lnTo>
                      <a:pt x="24" y="47"/>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46" name="Freeform 7029">
                <a:extLst>
                  <a:ext uri="{FF2B5EF4-FFF2-40B4-BE49-F238E27FC236}"/>
                </a:extLst>
              </p:cNvPr>
              <p:cNvSpPr>
                <a:spLocks noEditPoints="1"/>
              </p:cNvSpPr>
              <p:nvPr/>
            </p:nvSpPr>
            <p:spPr bwMode="gray">
              <a:xfrm>
                <a:off x="-7526338" y="2266951"/>
                <a:ext cx="730250" cy="168275"/>
              </a:xfrm>
              <a:custGeom>
                <a:avLst/>
                <a:gdLst>
                  <a:gd name="T0" fmla="*/ 827 w 890"/>
                  <a:gd name="T1" fmla="*/ 21 h 204"/>
                  <a:gd name="T2" fmla="*/ 845 w 890"/>
                  <a:gd name="T3" fmla="*/ 36 h 204"/>
                  <a:gd name="T4" fmla="*/ 830 w 890"/>
                  <a:gd name="T5" fmla="*/ 53 h 204"/>
                  <a:gd name="T6" fmla="*/ 813 w 890"/>
                  <a:gd name="T7" fmla="*/ 39 h 204"/>
                  <a:gd name="T8" fmla="*/ 827 w 890"/>
                  <a:gd name="T9" fmla="*/ 21 h 204"/>
                  <a:gd name="T10" fmla="*/ 827 w 890"/>
                  <a:gd name="T11" fmla="*/ 21 h 204"/>
                  <a:gd name="T12" fmla="*/ 724 w 890"/>
                  <a:gd name="T13" fmla="*/ 11 h 204"/>
                  <a:gd name="T14" fmla="*/ 810 w 890"/>
                  <a:gd name="T15" fmla="*/ 3 h 204"/>
                  <a:gd name="T16" fmla="*/ 886 w 890"/>
                  <a:gd name="T17" fmla="*/ 68 h 204"/>
                  <a:gd name="T18" fmla="*/ 822 w 890"/>
                  <a:gd name="T19" fmla="*/ 144 h 204"/>
                  <a:gd name="T20" fmla="*/ 737 w 890"/>
                  <a:gd name="T21" fmla="*/ 152 h 204"/>
                  <a:gd name="T22" fmla="*/ 724 w 890"/>
                  <a:gd name="T23" fmla="*/ 11 h 204"/>
                  <a:gd name="T24" fmla="*/ 724 w 890"/>
                  <a:gd name="T25" fmla="*/ 11 h 204"/>
                  <a:gd name="T26" fmla="*/ 134 w 890"/>
                  <a:gd name="T27" fmla="*/ 204 h 204"/>
                  <a:gd name="T28" fmla="*/ 6 w 890"/>
                  <a:gd name="T29" fmla="*/ 153 h 204"/>
                  <a:gd name="T30" fmla="*/ 0 w 890"/>
                  <a:gd name="T31" fmla="*/ 145 h 204"/>
                  <a:gd name="T32" fmla="*/ 4 w 890"/>
                  <a:gd name="T33" fmla="*/ 136 h 204"/>
                  <a:gd name="T34" fmla="*/ 121 w 890"/>
                  <a:gd name="T35" fmla="*/ 65 h 204"/>
                  <a:gd name="T36" fmla="*/ 126 w 890"/>
                  <a:gd name="T37" fmla="*/ 63 h 204"/>
                  <a:gd name="T38" fmla="*/ 712 w 890"/>
                  <a:gd name="T39" fmla="*/ 12 h 204"/>
                  <a:gd name="T40" fmla="*/ 715 w 890"/>
                  <a:gd name="T41" fmla="*/ 39 h 204"/>
                  <a:gd name="T42" fmla="*/ 153 w 890"/>
                  <a:gd name="T43" fmla="*/ 89 h 204"/>
                  <a:gd name="T44" fmla="*/ 148 w 890"/>
                  <a:gd name="T45" fmla="*/ 94 h 204"/>
                  <a:gd name="T46" fmla="*/ 149 w 890"/>
                  <a:gd name="T47" fmla="*/ 96 h 204"/>
                  <a:gd name="T48" fmla="*/ 154 w 890"/>
                  <a:gd name="T49" fmla="*/ 101 h 204"/>
                  <a:gd name="T50" fmla="*/ 716 w 890"/>
                  <a:gd name="T51" fmla="*/ 51 h 204"/>
                  <a:gd name="T52" fmla="*/ 725 w 890"/>
                  <a:gd name="T53" fmla="*/ 153 h 204"/>
                  <a:gd name="T54" fmla="*/ 138 w 890"/>
                  <a:gd name="T55" fmla="*/ 204 h 204"/>
                  <a:gd name="T56" fmla="*/ 134 w 890"/>
                  <a:gd name="T57" fmla="*/ 204 h 204"/>
                  <a:gd name="T58" fmla="*/ 134 w 890"/>
                  <a:gd name="T5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0" h="204">
                    <a:moveTo>
                      <a:pt x="827" y="21"/>
                    </a:moveTo>
                    <a:cubicBezTo>
                      <a:pt x="836" y="21"/>
                      <a:pt x="844" y="27"/>
                      <a:pt x="845" y="36"/>
                    </a:cubicBezTo>
                    <a:cubicBezTo>
                      <a:pt x="845" y="45"/>
                      <a:pt x="839" y="52"/>
                      <a:pt x="830" y="53"/>
                    </a:cubicBezTo>
                    <a:cubicBezTo>
                      <a:pt x="821" y="54"/>
                      <a:pt x="814" y="47"/>
                      <a:pt x="813" y="39"/>
                    </a:cubicBezTo>
                    <a:cubicBezTo>
                      <a:pt x="812" y="30"/>
                      <a:pt x="818" y="22"/>
                      <a:pt x="827" y="21"/>
                    </a:cubicBezTo>
                    <a:lnTo>
                      <a:pt x="827" y="21"/>
                    </a:lnTo>
                    <a:close/>
                    <a:moveTo>
                      <a:pt x="724" y="11"/>
                    </a:moveTo>
                    <a:lnTo>
                      <a:pt x="810" y="3"/>
                    </a:lnTo>
                    <a:cubicBezTo>
                      <a:pt x="849" y="0"/>
                      <a:pt x="883" y="29"/>
                      <a:pt x="886" y="68"/>
                    </a:cubicBezTo>
                    <a:cubicBezTo>
                      <a:pt x="890" y="107"/>
                      <a:pt x="861" y="141"/>
                      <a:pt x="822" y="144"/>
                    </a:cubicBezTo>
                    <a:lnTo>
                      <a:pt x="737" y="152"/>
                    </a:lnTo>
                    <a:lnTo>
                      <a:pt x="724" y="11"/>
                    </a:lnTo>
                    <a:lnTo>
                      <a:pt x="724" y="11"/>
                    </a:lnTo>
                    <a:close/>
                    <a:moveTo>
                      <a:pt x="134" y="204"/>
                    </a:moveTo>
                    <a:lnTo>
                      <a:pt x="6" y="153"/>
                    </a:lnTo>
                    <a:cubicBezTo>
                      <a:pt x="2" y="152"/>
                      <a:pt x="0" y="149"/>
                      <a:pt x="0" y="145"/>
                    </a:cubicBezTo>
                    <a:cubicBezTo>
                      <a:pt x="0" y="142"/>
                      <a:pt x="1" y="138"/>
                      <a:pt x="4" y="136"/>
                    </a:cubicBezTo>
                    <a:lnTo>
                      <a:pt x="121" y="65"/>
                    </a:lnTo>
                    <a:cubicBezTo>
                      <a:pt x="123" y="64"/>
                      <a:pt x="124" y="63"/>
                      <a:pt x="126" y="63"/>
                    </a:cubicBezTo>
                    <a:lnTo>
                      <a:pt x="712" y="12"/>
                    </a:lnTo>
                    <a:lnTo>
                      <a:pt x="715" y="39"/>
                    </a:lnTo>
                    <a:lnTo>
                      <a:pt x="153" y="89"/>
                    </a:lnTo>
                    <a:cubicBezTo>
                      <a:pt x="150" y="89"/>
                      <a:pt x="148" y="91"/>
                      <a:pt x="148" y="94"/>
                    </a:cubicBezTo>
                    <a:lnTo>
                      <a:pt x="149" y="96"/>
                    </a:lnTo>
                    <a:cubicBezTo>
                      <a:pt x="149" y="99"/>
                      <a:pt x="151" y="101"/>
                      <a:pt x="154" y="101"/>
                    </a:cubicBezTo>
                    <a:lnTo>
                      <a:pt x="716" y="51"/>
                    </a:lnTo>
                    <a:lnTo>
                      <a:pt x="725" y="153"/>
                    </a:lnTo>
                    <a:lnTo>
                      <a:pt x="138" y="204"/>
                    </a:lnTo>
                    <a:cubicBezTo>
                      <a:pt x="136" y="204"/>
                      <a:pt x="135" y="204"/>
                      <a:pt x="134" y="204"/>
                    </a:cubicBezTo>
                    <a:lnTo>
                      <a:pt x="134" y="204"/>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47" name="Freeform 7030">
                <a:extLst>
                  <a:ext uri="{FF2B5EF4-FFF2-40B4-BE49-F238E27FC236}"/>
                </a:extLst>
              </p:cNvPr>
              <p:cNvSpPr>
                <a:spLocks noEditPoints="1"/>
              </p:cNvSpPr>
              <p:nvPr/>
            </p:nvSpPr>
            <p:spPr bwMode="gray">
              <a:xfrm>
                <a:off x="-7510463" y="1612901"/>
                <a:ext cx="258763" cy="381000"/>
              </a:xfrm>
              <a:custGeom>
                <a:avLst/>
                <a:gdLst>
                  <a:gd name="T0" fmla="*/ 157 w 315"/>
                  <a:gd name="T1" fmla="*/ 0 h 464"/>
                  <a:gd name="T2" fmla="*/ 57 w 315"/>
                  <a:gd name="T3" fmla="*/ 100 h 464"/>
                  <a:gd name="T4" fmla="*/ 157 w 315"/>
                  <a:gd name="T5" fmla="*/ 200 h 464"/>
                  <a:gd name="T6" fmla="*/ 258 w 315"/>
                  <a:gd name="T7" fmla="*/ 100 h 464"/>
                  <a:gd name="T8" fmla="*/ 157 w 315"/>
                  <a:gd name="T9" fmla="*/ 0 h 464"/>
                  <a:gd name="T10" fmla="*/ 157 w 315"/>
                  <a:gd name="T11" fmla="*/ 0 h 464"/>
                  <a:gd name="T12" fmla="*/ 281 w 315"/>
                  <a:gd name="T13" fmla="*/ 298 h 464"/>
                  <a:gd name="T14" fmla="*/ 315 w 315"/>
                  <a:gd name="T15" fmla="*/ 464 h 464"/>
                  <a:gd name="T16" fmla="*/ 0 w 315"/>
                  <a:gd name="T17" fmla="*/ 464 h 464"/>
                  <a:gd name="T18" fmla="*/ 34 w 315"/>
                  <a:gd name="T19" fmla="*/ 298 h 464"/>
                  <a:gd name="T20" fmla="*/ 157 w 315"/>
                  <a:gd name="T21" fmla="*/ 222 h 464"/>
                  <a:gd name="T22" fmla="*/ 281 w 315"/>
                  <a:gd name="T23" fmla="*/ 298 h 464"/>
                  <a:gd name="T24" fmla="*/ 281 w 315"/>
                  <a:gd name="T25" fmla="*/ 29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464">
                    <a:moveTo>
                      <a:pt x="157" y="0"/>
                    </a:moveTo>
                    <a:cubicBezTo>
                      <a:pt x="102" y="0"/>
                      <a:pt x="57" y="45"/>
                      <a:pt x="57" y="100"/>
                    </a:cubicBezTo>
                    <a:cubicBezTo>
                      <a:pt x="57" y="155"/>
                      <a:pt x="102" y="200"/>
                      <a:pt x="157" y="200"/>
                    </a:cubicBezTo>
                    <a:cubicBezTo>
                      <a:pt x="213" y="200"/>
                      <a:pt x="258" y="155"/>
                      <a:pt x="258" y="100"/>
                    </a:cubicBezTo>
                    <a:cubicBezTo>
                      <a:pt x="258" y="45"/>
                      <a:pt x="213" y="0"/>
                      <a:pt x="157" y="0"/>
                    </a:cubicBezTo>
                    <a:lnTo>
                      <a:pt x="157" y="0"/>
                    </a:lnTo>
                    <a:close/>
                    <a:moveTo>
                      <a:pt x="281" y="298"/>
                    </a:moveTo>
                    <a:lnTo>
                      <a:pt x="315" y="464"/>
                    </a:lnTo>
                    <a:lnTo>
                      <a:pt x="0" y="464"/>
                    </a:lnTo>
                    <a:lnTo>
                      <a:pt x="34" y="298"/>
                    </a:lnTo>
                    <a:cubicBezTo>
                      <a:pt x="45" y="245"/>
                      <a:pt x="109" y="222"/>
                      <a:pt x="157" y="222"/>
                    </a:cubicBezTo>
                    <a:cubicBezTo>
                      <a:pt x="206" y="222"/>
                      <a:pt x="270" y="245"/>
                      <a:pt x="281" y="298"/>
                    </a:cubicBezTo>
                    <a:lnTo>
                      <a:pt x="281" y="298"/>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grpSp>
      </p:grpSp>
      <p:grpSp>
        <p:nvGrpSpPr>
          <p:cNvPr id="21537" name="Group 7"/>
          <p:cNvGrpSpPr>
            <a:grpSpLocks/>
          </p:cNvGrpSpPr>
          <p:nvPr/>
        </p:nvGrpSpPr>
        <p:grpSpPr bwMode="auto">
          <a:xfrm>
            <a:off x="8235950" y="2427288"/>
            <a:ext cx="477838" cy="404812"/>
            <a:chOff x="8239654" y="2360066"/>
            <a:chExt cx="480259" cy="405061"/>
          </a:xfrm>
        </p:grpSpPr>
        <p:sp>
          <p:nvSpPr>
            <p:cNvPr id="151" name="Freeform 6">
              <a:extLst>
                <a:ext uri="{FF2B5EF4-FFF2-40B4-BE49-F238E27FC236}"/>
              </a:extLst>
            </p:cNvPr>
            <p:cNvSpPr>
              <a:spLocks/>
            </p:cNvSpPr>
            <p:nvPr/>
          </p:nvSpPr>
          <p:spPr bwMode="auto">
            <a:xfrm>
              <a:off x="8239654" y="2626930"/>
              <a:ext cx="478663" cy="138197"/>
            </a:xfrm>
            <a:custGeom>
              <a:avLst/>
              <a:gdLst>
                <a:gd name="T0" fmla="*/ 0 w 2963"/>
                <a:gd name="T1" fmla="*/ 0 h 879"/>
                <a:gd name="T2" fmla="*/ 2963 w 2963"/>
                <a:gd name="T3" fmla="*/ 0 h 879"/>
                <a:gd name="T4" fmla="*/ 2479 w 2963"/>
                <a:gd name="T5" fmla="*/ 879 h 879"/>
                <a:gd name="T6" fmla="*/ 508 w 2963"/>
                <a:gd name="T7" fmla="*/ 879 h 879"/>
                <a:gd name="T8" fmla="*/ 0 w 2963"/>
                <a:gd name="T9" fmla="*/ 0 h 879"/>
              </a:gdLst>
              <a:ahLst/>
              <a:cxnLst>
                <a:cxn ang="0">
                  <a:pos x="T0" y="T1"/>
                </a:cxn>
                <a:cxn ang="0">
                  <a:pos x="T2" y="T3"/>
                </a:cxn>
                <a:cxn ang="0">
                  <a:pos x="T4" y="T5"/>
                </a:cxn>
                <a:cxn ang="0">
                  <a:pos x="T6" y="T7"/>
                </a:cxn>
                <a:cxn ang="0">
                  <a:pos x="T8" y="T9"/>
                </a:cxn>
              </a:cxnLst>
              <a:rect l="0" t="0" r="r" b="b"/>
              <a:pathLst>
                <a:path w="2963" h="879">
                  <a:moveTo>
                    <a:pt x="0" y="0"/>
                  </a:moveTo>
                  <a:lnTo>
                    <a:pt x="2963" y="0"/>
                  </a:lnTo>
                  <a:lnTo>
                    <a:pt x="2479" y="879"/>
                  </a:lnTo>
                  <a:lnTo>
                    <a:pt x="508" y="879"/>
                  </a:lnTo>
                  <a:lnTo>
                    <a:pt x="0" y="0"/>
                  </a:lnTo>
                  <a:close/>
                </a:path>
              </a:pathLst>
            </a:custGeom>
            <a:solidFill>
              <a:srgbClr val="009900"/>
            </a:solidFill>
            <a:ln w="38100">
              <a:noFill/>
              <a:prstDash val="solid"/>
              <a:round/>
              <a:headEnd/>
              <a:tailEnd/>
            </a:ln>
          </p:spPr>
          <p:txBody>
            <a:bodyPr anchor="ctr"/>
            <a:lstStyle/>
            <a:p>
              <a:pPr>
                <a:defRPr/>
              </a:pPr>
              <a:endParaRPr lang="en-US" sz="200" dirty="0">
                <a:latin typeface="+mn-lt"/>
                <a:cs typeface="+mn-cs"/>
              </a:endParaRPr>
            </a:p>
          </p:txBody>
        </p:sp>
        <p:sp>
          <p:nvSpPr>
            <p:cNvPr id="154" name="Freeform 7">
              <a:extLst>
                <a:ext uri="{FF2B5EF4-FFF2-40B4-BE49-F238E27FC236}"/>
              </a:extLst>
            </p:cNvPr>
            <p:cNvSpPr>
              <a:spLocks/>
            </p:cNvSpPr>
            <p:nvPr/>
          </p:nvSpPr>
          <p:spPr bwMode="auto">
            <a:xfrm>
              <a:off x="8239654" y="2360066"/>
              <a:ext cx="322300" cy="405061"/>
            </a:xfrm>
            <a:custGeom>
              <a:avLst/>
              <a:gdLst>
                <a:gd name="T0" fmla="*/ 983 w 1994"/>
                <a:gd name="T1" fmla="*/ 0 h 2580"/>
                <a:gd name="T2" fmla="*/ 0 w 1994"/>
                <a:gd name="T3" fmla="*/ 1701 h 2580"/>
                <a:gd name="T4" fmla="*/ 508 w 1994"/>
                <a:gd name="T5" fmla="*/ 2580 h 2580"/>
                <a:gd name="T6" fmla="*/ 1994 w 1994"/>
                <a:gd name="T7" fmla="*/ 0 h 2580"/>
                <a:gd name="T8" fmla="*/ 983 w 1994"/>
                <a:gd name="T9" fmla="*/ 0 h 2580"/>
              </a:gdLst>
              <a:ahLst/>
              <a:cxnLst>
                <a:cxn ang="0">
                  <a:pos x="T0" y="T1"/>
                </a:cxn>
                <a:cxn ang="0">
                  <a:pos x="T2" y="T3"/>
                </a:cxn>
                <a:cxn ang="0">
                  <a:pos x="T4" y="T5"/>
                </a:cxn>
                <a:cxn ang="0">
                  <a:pos x="T6" y="T7"/>
                </a:cxn>
                <a:cxn ang="0">
                  <a:pos x="T8" y="T9"/>
                </a:cxn>
              </a:cxnLst>
              <a:rect l="0" t="0" r="r" b="b"/>
              <a:pathLst>
                <a:path w="1994" h="2580">
                  <a:moveTo>
                    <a:pt x="983" y="0"/>
                  </a:moveTo>
                  <a:lnTo>
                    <a:pt x="0" y="1701"/>
                  </a:lnTo>
                  <a:lnTo>
                    <a:pt x="508" y="2580"/>
                  </a:lnTo>
                  <a:lnTo>
                    <a:pt x="1994" y="0"/>
                  </a:lnTo>
                  <a:lnTo>
                    <a:pt x="983" y="0"/>
                  </a:lnTo>
                  <a:close/>
                </a:path>
              </a:pathLst>
            </a:custGeom>
            <a:solidFill>
              <a:schemeClr val="accent6">
                <a:lumMod val="20000"/>
                <a:lumOff val="80000"/>
              </a:schemeClr>
            </a:solidFill>
            <a:ln w="38100">
              <a:noFill/>
              <a:prstDash val="solid"/>
              <a:round/>
              <a:headEnd/>
              <a:tailEnd/>
            </a:ln>
          </p:spPr>
          <p:txBody>
            <a:bodyPr anchor="ctr"/>
            <a:lstStyle/>
            <a:p>
              <a:pPr>
                <a:defRPr/>
              </a:pPr>
              <a:endParaRPr lang="en-US" sz="200" dirty="0">
                <a:latin typeface="+mn-lt"/>
                <a:cs typeface="+mn-cs"/>
              </a:endParaRPr>
            </a:p>
          </p:txBody>
        </p:sp>
        <p:sp>
          <p:nvSpPr>
            <p:cNvPr id="155" name="Freeform 8">
              <a:extLst>
                <a:ext uri="{FF2B5EF4-FFF2-40B4-BE49-F238E27FC236}"/>
              </a:extLst>
            </p:cNvPr>
            <p:cNvSpPr>
              <a:spLocks/>
            </p:cNvSpPr>
            <p:nvPr/>
          </p:nvSpPr>
          <p:spPr bwMode="auto">
            <a:xfrm>
              <a:off x="8399208" y="2360066"/>
              <a:ext cx="320705" cy="405061"/>
            </a:xfrm>
            <a:custGeom>
              <a:avLst/>
              <a:gdLst>
                <a:gd name="T0" fmla="*/ 0 w 1980"/>
                <a:gd name="T1" fmla="*/ 0 h 2580"/>
                <a:gd name="T2" fmla="*/ 1496 w 1980"/>
                <a:gd name="T3" fmla="*/ 2580 h 2580"/>
                <a:gd name="T4" fmla="*/ 1980 w 1980"/>
                <a:gd name="T5" fmla="*/ 1701 h 2580"/>
                <a:gd name="T6" fmla="*/ 1011 w 1980"/>
                <a:gd name="T7" fmla="*/ 0 h 2580"/>
                <a:gd name="T8" fmla="*/ 0 w 1980"/>
                <a:gd name="T9" fmla="*/ 0 h 2580"/>
              </a:gdLst>
              <a:ahLst/>
              <a:cxnLst>
                <a:cxn ang="0">
                  <a:pos x="T0" y="T1"/>
                </a:cxn>
                <a:cxn ang="0">
                  <a:pos x="T2" y="T3"/>
                </a:cxn>
                <a:cxn ang="0">
                  <a:pos x="T4" y="T5"/>
                </a:cxn>
                <a:cxn ang="0">
                  <a:pos x="T6" y="T7"/>
                </a:cxn>
                <a:cxn ang="0">
                  <a:pos x="T8" y="T9"/>
                </a:cxn>
              </a:cxnLst>
              <a:rect l="0" t="0" r="r" b="b"/>
              <a:pathLst>
                <a:path w="1980" h="2580">
                  <a:moveTo>
                    <a:pt x="0" y="0"/>
                  </a:moveTo>
                  <a:lnTo>
                    <a:pt x="1496" y="2580"/>
                  </a:lnTo>
                  <a:lnTo>
                    <a:pt x="1980" y="1701"/>
                  </a:lnTo>
                  <a:lnTo>
                    <a:pt x="1011" y="0"/>
                  </a:lnTo>
                  <a:lnTo>
                    <a:pt x="0" y="0"/>
                  </a:lnTo>
                  <a:close/>
                </a:path>
              </a:pathLst>
            </a:custGeom>
            <a:solidFill>
              <a:schemeClr val="accent6">
                <a:lumMod val="20000"/>
                <a:lumOff val="80000"/>
              </a:schemeClr>
            </a:solidFill>
            <a:ln w="19050">
              <a:noFill/>
              <a:prstDash val="solid"/>
              <a:round/>
              <a:headEnd/>
              <a:tailEnd/>
            </a:ln>
          </p:spPr>
          <p:txBody>
            <a:bodyPr anchor="ctr"/>
            <a:lstStyle/>
            <a:p>
              <a:pPr>
                <a:defRPr/>
              </a:pPr>
              <a:endParaRPr lang="en-US" sz="200" dirty="0">
                <a:latin typeface="+mn-lt"/>
                <a:cs typeface="+mn-cs"/>
              </a:endParaRPr>
            </a:p>
          </p:txBody>
        </p:sp>
        <p:sp>
          <p:nvSpPr>
            <p:cNvPr id="157" name="TextBox 156">
              <a:extLst>
                <a:ext uri="{FF2B5EF4-FFF2-40B4-BE49-F238E27FC236}"/>
              </a:extLst>
            </p:cNvPr>
            <p:cNvSpPr txBox="1"/>
            <p:nvPr/>
          </p:nvSpPr>
          <p:spPr bwMode="gray">
            <a:xfrm>
              <a:off x="8287520" y="2517325"/>
              <a:ext cx="119666" cy="101662"/>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Health and nutrition</a:t>
              </a:r>
            </a:p>
          </p:txBody>
        </p:sp>
        <p:grpSp>
          <p:nvGrpSpPr>
            <p:cNvPr id="12" name="Group 157">
              <a:extLst>
                <a:ext uri="{FF2B5EF4-FFF2-40B4-BE49-F238E27FC236}"/>
              </a:extLst>
            </p:cNvPr>
            <p:cNvGrpSpPr/>
            <p:nvPr/>
          </p:nvGrpSpPr>
          <p:grpSpPr bwMode="gray">
            <a:xfrm>
              <a:off x="8357831" y="2463005"/>
              <a:ext cx="75406" cy="63602"/>
              <a:chOff x="5045076" y="776288"/>
              <a:chExt cx="566737" cy="506412"/>
            </a:xfrm>
            <a:solidFill>
              <a:schemeClr val="bg1"/>
            </a:solidFill>
          </p:grpSpPr>
          <p:sp>
            <p:nvSpPr>
              <p:cNvPr id="172" name="Freeform 16">
                <a:extLst>
                  <a:ext uri="{FF2B5EF4-FFF2-40B4-BE49-F238E27FC236}"/>
                </a:extLst>
              </p:cNvPr>
              <p:cNvSpPr>
                <a:spLocks/>
              </p:cNvSpPr>
              <p:nvPr/>
            </p:nvSpPr>
            <p:spPr bwMode="gray">
              <a:xfrm>
                <a:off x="5168900" y="977900"/>
                <a:ext cx="368300" cy="304800"/>
              </a:xfrm>
              <a:custGeom>
                <a:avLst/>
                <a:gdLst>
                  <a:gd name="T0" fmla="*/ 81 w 98"/>
                  <a:gd name="T1" fmla="*/ 24 h 81"/>
                  <a:gd name="T2" fmla="*/ 81 w 98"/>
                  <a:gd name="T3" fmla="*/ 23 h 81"/>
                  <a:gd name="T4" fmla="*/ 79 w 98"/>
                  <a:gd name="T5" fmla="*/ 33 h 81"/>
                  <a:gd name="T6" fmla="*/ 75 w 98"/>
                  <a:gd name="T7" fmla="*/ 36 h 81"/>
                  <a:gd name="T8" fmla="*/ 75 w 98"/>
                  <a:gd name="T9" fmla="*/ 36 h 81"/>
                  <a:gd name="T10" fmla="*/ 72 w 98"/>
                  <a:gd name="T11" fmla="*/ 34 h 81"/>
                  <a:gd name="T12" fmla="*/ 65 w 98"/>
                  <a:gd name="T13" fmla="*/ 12 h 81"/>
                  <a:gd name="T14" fmla="*/ 60 w 98"/>
                  <a:gd name="T15" fmla="*/ 26 h 81"/>
                  <a:gd name="T16" fmla="*/ 56 w 98"/>
                  <a:gd name="T17" fmla="*/ 28 h 81"/>
                  <a:gd name="T18" fmla="*/ 53 w 98"/>
                  <a:gd name="T19" fmla="*/ 25 h 81"/>
                  <a:gd name="T20" fmla="*/ 48 w 98"/>
                  <a:gd name="T21" fmla="*/ 0 h 81"/>
                  <a:gd name="T22" fmla="*/ 41 w 98"/>
                  <a:gd name="T23" fmla="*/ 51 h 81"/>
                  <a:gd name="T24" fmla="*/ 38 w 98"/>
                  <a:gd name="T25" fmla="*/ 55 h 81"/>
                  <a:gd name="T26" fmla="*/ 38 w 98"/>
                  <a:gd name="T27" fmla="*/ 55 h 81"/>
                  <a:gd name="T28" fmla="*/ 38 w 98"/>
                  <a:gd name="T29" fmla="*/ 55 h 81"/>
                  <a:gd name="T30" fmla="*/ 34 w 98"/>
                  <a:gd name="T31" fmla="*/ 51 h 81"/>
                  <a:gd name="T32" fmla="*/ 31 w 98"/>
                  <a:gd name="T33" fmla="*/ 33 h 81"/>
                  <a:gd name="T34" fmla="*/ 30 w 98"/>
                  <a:gd name="T35" fmla="*/ 37 h 81"/>
                  <a:gd name="T36" fmla="*/ 26 w 98"/>
                  <a:gd name="T37" fmla="*/ 39 h 81"/>
                  <a:gd name="T38" fmla="*/ 26 w 98"/>
                  <a:gd name="T39" fmla="*/ 39 h 81"/>
                  <a:gd name="T40" fmla="*/ 23 w 98"/>
                  <a:gd name="T41" fmla="*/ 37 h 81"/>
                  <a:gd name="T42" fmla="*/ 17 w 98"/>
                  <a:gd name="T43" fmla="*/ 22 h 81"/>
                  <a:gd name="T44" fmla="*/ 13 w 98"/>
                  <a:gd name="T45" fmla="*/ 36 h 81"/>
                  <a:gd name="T46" fmla="*/ 9 w 98"/>
                  <a:gd name="T47" fmla="*/ 39 h 81"/>
                  <a:gd name="T48" fmla="*/ 0 w 98"/>
                  <a:gd name="T49" fmla="*/ 39 h 81"/>
                  <a:gd name="T50" fmla="*/ 43 w 98"/>
                  <a:gd name="T51" fmla="*/ 81 h 81"/>
                  <a:gd name="T52" fmla="*/ 98 w 98"/>
                  <a:gd name="T53" fmla="*/ 26 h 81"/>
                  <a:gd name="T54" fmla="*/ 84 w 98"/>
                  <a:gd name="T55" fmla="*/ 26 h 81"/>
                  <a:gd name="T56" fmla="*/ 81 w 98"/>
                  <a:gd name="T57"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81">
                    <a:moveTo>
                      <a:pt x="81" y="24"/>
                    </a:moveTo>
                    <a:cubicBezTo>
                      <a:pt x="81" y="23"/>
                      <a:pt x="81" y="23"/>
                      <a:pt x="81" y="23"/>
                    </a:cubicBezTo>
                    <a:cubicBezTo>
                      <a:pt x="79" y="33"/>
                      <a:pt x="79" y="33"/>
                      <a:pt x="79" y="33"/>
                    </a:cubicBezTo>
                    <a:cubicBezTo>
                      <a:pt x="79" y="35"/>
                      <a:pt x="77" y="36"/>
                      <a:pt x="75" y="36"/>
                    </a:cubicBezTo>
                    <a:cubicBezTo>
                      <a:pt x="75" y="36"/>
                      <a:pt x="75" y="36"/>
                      <a:pt x="75" y="36"/>
                    </a:cubicBezTo>
                    <a:cubicBezTo>
                      <a:pt x="74" y="36"/>
                      <a:pt x="72" y="35"/>
                      <a:pt x="72" y="34"/>
                    </a:cubicBezTo>
                    <a:cubicBezTo>
                      <a:pt x="65" y="12"/>
                      <a:pt x="65" y="12"/>
                      <a:pt x="65" y="12"/>
                    </a:cubicBezTo>
                    <a:cubicBezTo>
                      <a:pt x="60" y="26"/>
                      <a:pt x="60" y="26"/>
                      <a:pt x="60" y="26"/>
                    </a:cubicBezTo>
                    <a:cubicBezTo>
                      <a:pt x="59" y="27"/>
                      <a:pt x="58" y="28"/>
                      <a:pt x="56" y="28"/>
                    </a:cubicBezTo>
                    <a:cubicBezTo>
                      <a:pt x="54" y="28"/>
                      <a:pt x="53" y="27"/>
                      <a:pt x="53" y="25"/>
                    </a:cubicBezTo>
                    <a:cubicBezTo>
                      <a:pt x="48" y="0"/>
                      <a:pt x="48" y="0"/>
                      <a:pt x="48" y="0"/>
                    </a:cubicBezTo>
                    <a:cubicBezTo>
                      <a:pt x="41" y="51"/>
                      <a:pt x="41" y="51"/>
                      <a:pt x="41" y="51"/>
                    </a:cubicBezTo>
                    <a:cubicBezTo>
                      <a:pt x="41" y="53"/>
                      <a:pt x="39" y="55"/>
                      <a:pt x="38" y="55"/>
                    </a:cubicBezTo>
                    <a:cubicBezTo>
                      <a:pt x="38" y="55"/>
                      <a:pt x="38" y="55"/>
                      <a:pt x="38" y="55"/>
                    </a:cubicBezTo>
                    <a:cubicBezTo>
                      <a:pt x="38" y="55"/>
                      <a:pt x="38" y="55"/>
                      <a:pt x="38" y="55"/>
                    </a:cubicBezTo>
                    <a:cubicBezTo>
                      <a:pt x="36" y="55"/>
                      <a:pt x="34" y="53"/>
                      <a:pt x="34" y="51"/>
                    </a:cubicBezTo>
                    <a:cubicBezTo>
                      <a:pt x="31" y="33"/>
                      <a:pt x="31" y="33"/>
                      <a:pt x="31" y="33"/>
                    </a:cubicBezTo>
                    <a:cubicBezTo>
                      <a:pt x="30" y="37"/>
                      <a:pt x="30" y="37"/>
                      <a:pt x="30" y="37"/>
                    </a:cubicBezTo>
                    <a:cubicBezTo>
                      <a:pt x="29" y="38"/>
                      <a:pt x="28" y="39"/>
                      <a:pt x="26" y="39"/>
                    </a:cubicBezTo>
                    <a:cubicBezTo>
                      <a:pt x="26" y="39"/>
                      <a:pt x="26" y="39"/>
                      <a:pt x="26" y="39"/>
                    </a:cubicBezTo>
                    <a:cubicBezTo>
                      <a:pt x="25" y="39"/>
                      <a:pt x="23" y="38"/>
                      <a:pt x="23" y="37"/>
                    </a:cubicBezTo>
                    <a:cubicBezTo>
                      <a:pt x="17" y="22"/>
                      <a:pt x="17" y="22"/>
                      <a:pt x="17" y="22"/>
                    </a:cubicBezTo>
                    <a:cubicBezTo>
                      <a:pt x="13" y="36"/>
                      <a:pt x="13" y="36"/>
                      <a:pt x="13" y="36"/>
                    </a:cubicBezTo>
                    <a:cubicBezTo>
                      <a:pt x="13" y="37"/>
                      <a:pt x="11" y="39"/>
                      <a:pt x="9" y="39"/>
                    </a:cubicBezTo>
                    <a:cubicBezTo>
                      <a:pt x="0" y="39"/>
                      <a:pt x="0" y="39"/>
                      <a:pt x="0" y="39"/>
                    </a:cubicBezTo>
                    <a:cubicBezTo>
                      <a:pt x="43" y="81"/>
                      <a:pt x="43" y="81"/>
                      <a:pt x="43" y="81"/>
                    </a:cubicBezTo>
                    <a:cubicBezTo>
                      <a:pt x="98" y="26"/>
                      <a:pt x="98" y="26"/>
                      <a:pt x="98" y="26"/>
                    </a:cubicBezTo>
                    <a:cubicBezTo>
                      <a:pt x="84" y="26"/>
                      <a:pt x="84" y="26"/>
                      <a:pt x="84" y="26"/>
                    </a:cubicBezTo>
                    <a:cubicBezTo>
                      <a:pt x="83" y="26"/>
                      <a:pt x="81" y="25"/>
                      <a:pt x="81" y="24"/>
                    </a:cubicBezTo>
                    <a:close/>
                  </a:path>
                </a:pathLst>
              </a:custGeom>
              <a:solidFill>
                <a:schemeClr val="accent6">
                  <a:lumMod val="60000"/>
                  <a:lumOff val="40000"/>
                </a:schemeClr>
              </a:solid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sp>
            <p:nvSpPr>
              <p:cNvPr id="173" name="Freeform 17">
                <a:extLst>
                  <a:ext uri="{FF2B5EF4-FFF2-40B4-BE49-F238E27FC236}"/>
                </a:extLst>
              </p:cNvPr>
              <p:cNvSpPr>
                <a:spLocks/>
              </p:cNvSpPr>
              <p:nvPr/>
            </p:nvSpPr>
            <p:spPr bwMode="gray">
              <a:xfrm>
                <a:off x="5045076" y="776288"/>
                <a:ext cx="566737" cy="319088"/>
              </a:xfrm>
              <a:custGeom>
                <a:avLst/>
                <a:gdLst>
                  <a:gd name="T0" fmla="*/ 46 w 151"/>
                  <a:gd name="T1" fmla="*/ 63 h 85"/>
                  <a:gd name="T2" fmla="*/ 50 w 151"/>
                  <a:gd name="T3" fmla="*/ 60 h 85"/>
                  <a:gd name="T4" fmla="*/ 53 w 151"/>
                  <a:gd name="T5" fmla="*/ 63 h 85"/>
                  <a:gd name="T6" fmla="*/ 59 w 151"/>
                  <a:gd name="T7" fmla="*/ 78 h 85"/>
                  <a:gd name="T8" fmla="*/ 61 w 151"/>
                  <a:gd name="T9" fmla="*/ 70 h 85"/>
                  <a:gd name="T10" fmla="*/ 65 w 151"/>
                  <a:gd name="T11" fmla="*/ 67 h 85"/>
                  <a:gd name="T12" fmla="*/ 69 w 151"/>
                  <a:gd name="T13" fmla="*/ 70 h 85"/>
                  <a:gd name="T14" fmla="*/ 70 w 151"/>
                  <a:gd name="T15" fmla="*/ 80 h 85"/>
                  <a:gd name="T16" fmla="*/ 77 w 151"/>
                  <a:gd name="T17" fmla="*/ 29 h 85"/>
                  <a:gd name="T18" fmla="*/ 81 w 151"/>
                  <a:gd name="T19" fmla="*/ 26 h 85"/>
                  <a:gd name="T20" fmla="*/ 84 w 151"/>
                  <a:gd name="T21" fmla="*/ 29 h 85"/>
                  <a:gd name="T22" fmla="*/ 91 w 151"/>
                  <a:gd name="T23" fmla="*/ 64 h 85"/>
                  <a:gd name="T24" fmla="*/ 95 w 151"/>
                  <a:gd name="T25" fmla="*/ 53 h 85"/>
                  <a:gd name="T26" fmla="*/ 98 w 151"/>
                  <a:gd name="T27" fmla="*/ 50 h 85"/>
                  <a:gd name="T28" fmla="*/ 102 w 151"/>
                  <a:gd name="T29" fmla="*/ 53 h 85"/>
                  <a:gd name="T30" fmla="*/ 107 w 151"/>
                  <a:gd name="T31" fmla="*/ 70 h 85"/>
                  <a:gd name="T32" fmla="*/ 109 w 151"/>
                  <a:gd name="T33" fmla="*/ 61 h 85"/>
                  <a:gd name="T34" fmla="*/ 112 w 151"/>
                  <a:gd name="T35" fmla="*/ 58 h 85"/>
                  <a:gd name="T36" fmla="*/ 112 w 151"/>
                  <a:gd name="T37" fmla="*/ 58 h 85"/>
                  <a:gd name="T38" fmla="*/ 116 w 151"/>
                  <a:gd name="T39" fmla="*/ 60 h 85"/>
                  <a:gd name="T40" fmla="*/ 120 w 151"/>
                  <a:gd name="T41" fmla="*/ 73 h 85"/>
                  <a:gd name="T42" fmla="*/ 138 w 151"/>
                  <a:gd name="T43" fmla="*/ 73 h 85"/>
                  <a:gd name="T44" fmla="*/ 135 w 151"/>
                  <a:gd name="T45" fmla="*/ 17 h 85"/>
                  <a:gd name="T46" fmla="*/ 76 w 151"/>
                  <a:gd name="T47" fmla="*/ 17 h 85"/>
                  <a:gd name="T48" fmla="*/ 16 w 151"/>
                  <a:gd name="T49" fmla="*/ 17 h 85"/>
                  <a:gd name="T50" fmla="*/ 16 w 151"/>
                  <a:gd name="T51" fmla="*/ 76 h 85"/>
                  <a:gd name="T52" fmla="*/ 25 w 151"/>
                  <a:gd name="T53" fmla="*/ 85 h 85"/>
                  <a:gd name="T54" fmla="*/ 40 w 151"/>
                  <a:gd name="T55" fmla="*/ 85 h 85"/>
                  <a:gd name="T56" fmla="*/ 46 w 151"/>
                  <a:gd name="T57" fmla="*/ 6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85">
                    <a:moveTo>
                      <a:pt x="46" y="63"/>
                    </a:moveTo>
                    <a:cubicBezTo>
                      <a:pt x="47" y="61"/>
                      <a:pt x="48" y="60"/>
                      <a:pt x="50" y="60"/>
                    </a:cubicBezTo>
                    <a:cubicBezTo>
                      <a:pt x="51" y="60"/>
                      <a:pt x="53" y="61"/>
                      <a:pt x="53" y="63"/>
                    </a:cubicBezTo>
                    <a:cubicBezTo>
                      <a:pt x="59" y="78"/>
                      <a:pt x="59" y="78"/>
                      <a:pt x="59" y="78"/>
                    </a:cubicBezTo>
                    <a:cubicBezTo>
                      <a:pt x="61" y="70"/>
                      <a:pt x="61" y="70"/>
                      <a:pt x="61" y="70"/>
                    </a:cubicBezTo>
                    <a:cubicBezTo>
                      <a:pt x="62" y="68"/>
                      <a:pt x="63" y="67"/>
                      <a:pt x="65" y="67"/>
                    </a:cubicBezTo>
                    <a:cubicBezTo>
                      <a:pt x="67" y="67"/>
                      <a:pt x="68" y="69"/>
                      <a:pt x="69" y="70"/>
                    </a:cubicBezTo>
                    <a:cubicBezTo>
                      <a:pt x="70" y="80"/>
                      <a:pt x="70" y="80"/>
                      <a:pt x="70" y="80"/>
                    </a:cubicBezTo>
                    <a:cubicBezTo>
                      <a:pt x="77" y="29"/>
                      <a:pt x="77" y="29"/>
                      <a:pt x="77" y="29"/>
                    </a:cubicBezTo>
                    <a:cubicBezTo>
                      <a:pt x="77" y="27"/>
                      <a:pt x="79" y="26"/>
                      <a:pt x="81" y="26"/>
                    </a:cubicBezTo>
                    <a:cubicBezTo>
                      <a:pt x="83" y="26"/>
                      <a:pt x="84" y="27"/>
                      <a:pt x="84" y="29"/>
                    </a:cubicBezTo>
                    <a:cubicBezTo>
                      <a:pt x="91" y="64"/>
                      <a:pt x="91" y="64"/>
                      <a:pt x="91" y="64"/>
                    </a:cubicBezTo>
                    <a:cubicBezTo>
                      <a:pt x="95" y="53"/>
                      <a:pt x="95" y="53"/>
                      <a:pt x="95" y="53"/>
                    </a:cubicBezTo>
                    <a:cubicBezTo>
                      <a:pt x="95" y="51"/>
                      <a:pt x="97" y="50"/>
                      <a:pt x="98" y="50"/>
                    </a:cubicBezTo>
                    <a:cubicBezTo>
                      <a:pt x="100" y="50"/>
                      <a:pt x="101" y="51"/>
                      <a:pt x="102" y="53"/>
                    </a:cubicBezTo>
                    <a:cubicBezTo>
                      <a:pt x="107" y="70"/>
                      <a:pt x="107" y="70"/>
                      <a:pt x="107" y="70"/>
                    </a:cubicBezTo>
                    <a:cubicBezTo>
                      <a:pt x="109" y="61"/>
                      <a:pt x="109" y="61"/>
                      <a:pt x="109" y="61"/>
                    </a:cubicBezTo>
                    <a:cubicBezTo>
                      <a:pt x="109" y="59"/>
                      <a:pt x="110" y="58"/>
                      <a:pt x="112" y="58"/>
                    </a:cubicBezTo>
                    <a:cubicBezTo>
                      <a:pt x="112" y="58"/>
                      <a:pt x="112" y="58"/>
                      <a:pt x="112" y="58"/>
                    </a:cubicBezTo>
                    <a:cubicBezTo>
                      <a:pt x="114" y="58"/>
                      <a:pt x="115" y="59"/>
                      <a:pt x="116" y="60"/>
                    </a:cubicBezTo>
                    <a:cubicBezTo>
                      <a:pt x="120" y="73"/>
                      <a:pt x="120" y="73"/>
                      <a:pt x="120" y="73"/>
                    </a:cubicBezTo>
                    <a:cubicBezTo>
                      <a:pt x="138" y="73"/>
                      <a:pt x="138" y="73"/>
                      <a:pt x="138" y="73"/>
                    </a:cubicBezTo>
                    <a:cubicBezTo>
                      <a:pt x="151" y="57"/>
                      <a:pt x="151" y="32"/>
                      <a:pt x="135" y="17"/>
                    </a:cubicBezTo>
                    <a:cubicBezTo>
                      <a:pt x="119" y="0"/>
                      <a:pt x="92" y="0"/>
                      <a:pt x="76" y="17"/>
                    </a:cubicBezTo>
                    <a:cubicBezTo>
                      <a:pt x="59" y="0"/>
                      <a:pt x="33" y="0"/>
                      <a:pt x="16" y="17"/>
                    </a:cubicBezTo>
                    <a:cubicBezTo>
                      <a:pt x="0" y="33"/>
                      <a:pt x="0" y="60"/>
                      <a:pt x="16" y="76"/>
                    </a:cubicBezTo>
                    <a:cubicBezTo>
                      <a:pt x="25" y="85"/>
                      <a:pt x="25" y="85"/>
                      <a:pt x="25" y="85"/>
                    </a:cubicBezTo>
                    <a:cubicBezTo>
                      <a:pt x="40" y="85"/>
                      <a:pt x="40" y="85"/>
                      <a:pt x="40" y="85"/>
                    </a:cubicBezTo>
                    <a:lnTo>
                      <a:pt x="46" y="63"/>
                    </a:lnTo>
                    <a:close/>
                  </a:path>
                </a:pathLst>
              </a:custGeom>
              <a:solidFill>
                <a:schemeClr val="accent6">
                  <a:lumMod val="60000"/>
                  <a:lumOff val="40000"/>
                </a:schemeClr>
              </a:solid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grpSp>
        <p:sp>
          <p:nvSpPr>
            <p:cNvPr id="159" name="TextBox 158">
              <a:extLst>
                <a:ext uri="{FF2B5EF4-FFF2-40B4-BE49-F238E27FC236}"/>
              </a:extLst>
            </p:cNvPr>
            <p:cNvSpPr txBox="1"/>
            <p:nvPr/>
          </p:nvSpPr>
          <p:spPr bwMode="gray">
            <a:xfrm>
              <a:off x="8539616" y="2534798"/>
              <a:ext cx="129240" cy="66716"/>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Education</a:t>
              </a:r>
            </a:p>
          </p:txBody>
        </p:sp>
        <p:sp>
          <p:nvSpPr>
            <p:cNvPr id="164" name="Freeform 19">
              <a:extLst>
                <a:ext uri="{FF2B5EF4-FFF2-40B4-BE49-F238E27FC236}"/>
              </a:extLst>
            </p:cNvPr>
            <p:cNvSpPr>
              <a:spLocks noEditPoints="1"/>
            </p:cNvSpPr>
            <p:nvPr/>
          </p:nvSpPr>
          <p:spPr bwMode="gray">
            <a:xfrm>
              <a:off x="8523661" y="2461728"/>
              <a:ext cx="89350" cy="66716"/>
            </a:xfrm>
            <a:custGeom>
              <a:avLst/>
              <a:gdLst>
                <a:gd name="T0" fmla="*/ 98 w 748"/>
                <a:gd name="T1" fmla="*/ 338 h 573"/>
                <a:gd name="T2" fmla="*/ 98 w 748"/>
                <a:gd name="T3" fmla="*/ 389 h 573"/>
                <a:gd name="T4" fmla="*/ 109 w 748"/>
                <a:gd name="T5" fmla="*/ 363 h 573"/>
                <a:gd name="T6" fmla="*/ 592 w 748"/>
                <a:gd name="T7" fmla="*/ 288 h 573"/>
                <a:gd name="T8" fmla="*/ 61 w 748"/>
                <a:gd name="T9" fmla="*/ 333 h 573"/>
                <a:gd name="T10" fmla="*/ 101 w 748"/>
                <a:gd name="T11" fmla="*/ 439 h 573"/>
                <a:gd name="T12" fmla="*/ 262 w 748"/>
                <a:gd name="T13" fmla="*/ 543 h 573"/>
                <a:gd name="T14" fmla="*/ 328 w 748"/>
                <a:gd name="T15" fmla="*/ 573 h 573"/>
                <a:gd name="T16" fmla="*/ 385 w 748"/>
                <a:gd name="T17" fmla="*/ 573 h 573"/>
                <a:gd name="T18" fmla="*/ 451 w 748"/>
                <a:gd name="T19" fmla="*/ 543 h 573"/>
                <a:gd name="T20" fmla="*/ 591 w 748"/>
                <a:gd name="T21" fmla="*/ 439 h 573"/>
                <a:gd name="T22" fmla="*/ 592 w 748"/>
                <a:gd name="T23" fmla="*/ 288 h 573"/>
                <a:gd name="T24" fmla="*/ 101 w 748"/>
                <a:gd name="T25" fmla="*/ 419 h 573"/>
                <a:gd name="T26" fmla="*/ 102 w 748"/>
                <a:gd name="T27" fmla="*/ 308 h 573"/>
                <a:gd name="T28" fmla="*/ 126 w 748"/>
                <a:gd name="T29" fmla="*/ 363 h 573"/>
                <a:gd name="T30" fmla="*/ 314 w 748"/>
                <a:gd name="T31" fmla="*/ 419 h 573"/>
                <a:gd name="T32" fmla="*/ 146 w 748"/>
                <a:gd name="T33" fmla="*/ 364 h 573"/>
                <a:gd name="T34" fmla="*/ 314 w 748"/>
                <a:gd name="T35" fmla="*/ 308 h 573"/>
                <a:gd name="T36" fmla="*/ 314 w 748"/>
                <a:gd name="T37" fmla="*/ 419 h 573"/>
                <a:gd name="T38" fmla="*/ 405 w 748"/>
                <a:gd name="T39" fmla="*/ 419 h 573"/>
                <a:gd name="T40" fmla="*/ 405 w 748"/>
                <a:gd name="T41" fmla="*/ 308 h 573"/>
                <a:gd name="T42" fmla="*/ 616 w 748"/>
                <a:gd name="T43" fmla="*/ 363 h 573"/>
                <a:gd name="T44" fmla="*/ 748 w 748"/>
                <a:gd name="T45" fmla="*/ 360 h 573"/>
                <a:gd name="T46" fmla="*/ 734 w 748"/>
                <a:gd name="T47" fmla="*/ 279 h 573"/>
                <a:gd name="T48" fmla="*/ 719 w 748"/>
                <a:gd name="T49" fmla="*/ 220 h 573"/>
                <a:gd name="T50" fmla="*/ 715 w 748"/>
                <a:gd name="T51" fmla="*/ 128 h 573"/>
                <a:gd name="T52" fmla="*/ 580 w 748"/>
                <a:gd name="T53" fmla="*/ 66 h 573"/>
                <a:gd name="T54" fmla="*/ 358 w 748"/>
                <a:gd name="T55" fmla="*/ 0 h 573"/>
                <a:gd name="T56" fmla="*/ 136 w 748"/>
                <a:gd name="T57" fmla="*/ 66 h 573"/>
                <a:gd name="T58" fmla="*/ 0 w 748"/>
                <a:gd name="T59" fmla="*/ 128 h 573"/>
                <a:gd name="T60" fmla="*/ 153 w 748"/>
                <a:gd name="T61" fmla="*/ 174 h 573"/>
                <a:gd name="T62" fmla="*/ 171 w 748"/>
                <a:gd name="T63" fmla="*/ 250 h 573"/>
                <a:gd name="T64" fmla="*/ 544 w 748"/>
                <a:gd name="T65" fmla="*/ 179 h 573"/>
                <a:gd name="T66" fmla="*/ 580 w 748"/>
                <a:gd name="T67" fmla="*/ 169 h 573"/>
                <a:gd name="T68" fmla="*/ 690 w 748"/>
                <a:gd name="T69" fmla="*/ 223 h 573"/>
                <a:gd name="T70" fmla="*/ 683 w 748"/>
                <a:gd name="T71" fmla="*/ 280 h 573"/>
                <a:gd name="T72" fmla="*/ 667 w 748"/>
                <a:gd name="T73" fmla="*/ 36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8" h="573">
                  <a:moveTo>
                    <a:pt x="98" y="338"/>
                  </a:moveTo>
                  <a:cubicBezTo>
                    <a:pt x="98" y="338"/>
                    <a:pt x="98" y="338"/>
                    <a:pt x="98" y="338"/>
                  </a:cubicBezTo>
                  <a:cubicBezTo>
                    <a:pt x="92" y="338"/>
                    <a:pt x="87" y="349"/>
                    <a:pt x="87" y="363"/>
                  </a:cubicBezTo>
                  <a:cubicBezTo>
                    <a:pt x="87" y="377"/>
                    <a:pt x="92" y="388"/>
                    <a:pt x="98" y="389"/>
                  </a:cubicBezTo>
                  <a:cubicBezTo>
                    <a:pt x="98" y="389"/>
                    <a:pt x="98" y="389"/>
                    <a:pt x="98" y="389"/>
                  </a:cubicBezTo>
                  <a:cubicBezTo>
                    <a:pt x="104" y="389"/>
                    <a:pt x="109" y="377"/>
                    <a:pt x="109" y="363"/>
                  </a:cubicBezTo>
                  <a:cubicBezTo>
                    <a:pt x="109" y="349"/>
                    <a:pt x="104" y="338"/>
                    <a:pt x="98" y="338"/>
                  </a:cubicBezTo>
                  <a:close/>
                  <a:moveTo>
                    <a:pt x="592" y="288"/>
                  </a:moveTo>
                  <a:cubicBezTo>
                    <a:pt x="102" y="288"/>
                    <a:pt x="102" y="288"/>
                    <a:pt x="102" y="288"/>
                  </a:cubicBezTo>
                  <a:cubicBezTo>
                    <a:pt x="82" y="288"/>
                    <a:pt x="67" y="305"/>
                    <a:pt x="61" y="333"/>
                  </a:cubicBezTo>
                  <a:cubicBezTo>
                    <a:pt x="59" y="342"/>
                    <a:pt x="57" y="352"/>
                    <a:pt x="57" y="363"/>
                  </a:cubicBezTo>
                  <a:cubicBezTo>
                    <a:pt x="57" y="407"/>
                    <a:pt x="75" y="438"/>
                    <a:pt x="101" y="439"/>
                  </a:cubicBezTo>
                  <a:cubicBezTo>
                    <a:pt x="310" y="439"/>
                    <a:pt x="310" y="439"/>
                    <a:pt x="310" y="439"/>
                  </a:cubicBezTo>
                  <a:cubicBezTo>
                    <a:pt x="262" y="543"/>
                    <a:pt x="262" y="543"/>
                    <a:pt x="262" y="543"/>
                  </a:cubicBezTo>
                  <a:cubicBezTo>
                    <a:pt x="305" y="539"/>
                    <a:pt x="305" y="539"/>
                    <a:pt x="305" y="539"/>
                  </a:cubicBezTo>
                  <a:cubicBezTo>
                    <a:pt x="328" y="573"/>
                    <a:pt x="328" y="573"/>
                    <a:pt x="328" y="573"/>
                  </a:cubicBezTo>
                  <a:cubicBezTo>
                    <a:pt x="357" y="511"/>
                    <a:pt x="357" y="511"/>
                    <a:pt x="357" y="511"/>
                  </a:cubicBezTo>
                  <a:cubicBezTo>
                    <a:pt x="385" y="573"/>
                    <a:pt x="385" y="573"/>
                    <a:pt x="385" y="573"/>
                  </a:cubicBezTo>
                  <a:cubicBezTo>
                    <a:pt x="408" y="539"/>
                    <a:pt x="408" y="539"/>
                    <a:pt x="408" y="539"/>
                  </a:cubicBezTo>
                  <a:cubicBezTo>
                    <a:pt x="451" y="543"/>
                    <a:pt x="451" y="543"/>
                    <a:pt x="451" y="543"/>
                  </a:cubicBezTo>
                  <a:cubicBezTo>
                    <a:pt x="403" y="439"/>
                    <a:pt x="403" y="439"/>
                    <a:pt x="403" y="439"/>
                  </a:cubicBezTo>
                  <a:cubicBezTo>
                    <a:pt x="591" y="439"/>
                    <a:pt x="591" y="439"/>
                    <a:pt x="591" y="439"/>
                  </a:cubicBezTo>
                  <a:cubicBezTo>
                    <a:pt x="617" y="439"/>
                    <a:pt x="636" y="408"/>
                    <a:pt x="636" y="364"/>
                  </a:cubicBezTo>
                  <a:cubicBezTo>
                    <a:pt x="636" y="319"/>
                    <a:pt x="618" y="288"/>
                    <a:pt x="592" y="288"/>
                  </a:cubicBezTo>
                  <a:close/>
                  <a:moveTo>
                    <a:pt x="101" y="419"/>
                  </a:moveTo>
                  <a:cubicBezTo>
                    <a:pt x="101" y="419"/>
                    <a:pt x="101" y="419"/>
                    <a:pt x="101" y="419"/>
                  </a:cubicBezTo>
                  <a:cubicBezTo>
                    <a:pt x="88" y="419"/>
                    <a:pt x="77" y="394"/>
                    <a:pt x="77" y="363"/>
                  </a:cubicBezTo>
                  <a:cubicBezTo>
                    <a:pt x="77" y="332"/>
                    <a:pt x="88" y="308"/>
                    <a:pt x="102" y="308"/>
                  </a:cubicBezTo>
                  <a:cubicBezTo>
                    <a:pt x="102" y="308"/>
                    <a:pt x="102" y="308"/>
                    <a:pt x="102" y="308"/>
                  </a:cubicBezTo>
                  <a:cubicBezTo>
                    <a:pt x="115" y="308"/>
                    <a:pt x="126" y="333"/>
                    <a:pt x="126" y="363"/>
                  </a:cubicBezTo>
                  <a:cubicBezTo>
                    <a:pt x="126" y="394"/>
                    <a:pt x="115" y="419"/>
                    <a:pt x="101" y="419"/>
                  </a:cubicBezTo>
                  <a:close/>
                  <a:moveTo>
                    <a:pt x="314" y="419"/>
                  </a:moveTo>
                  <a:cubicBezTo>
                    <a:pt x="132" y="419"/>
                    <a:pt x="132" y="419"/>
                    <a:pt x="132" y="419"/>
                  </a:cubicBezTo>
                  <a:cubicBezTo>
                    <a:pt x="141" y="406"/>
                    <a:pt x="146" y="386"/>
                    <a:pt x="146" y="364"/>
                  </a:cubicBezTo>
                  <a:cubicBezTo>
                    <a:pt x="146" y="340"/>
                    <a:pt x="141" y="321"/>
                    <a:pt x="133" y="308"/>
                  </a:cubicBezTo>
                  <a:cubicBezTo>
                    <a:pt x="314" y="308"/>
                    <a:pt x="314" y="308"/>
                    <a:pt x="314" y="308"/>
                  </a:cubicBezTo>
                  <a:cubicBezTo>
                    <a:pt x="323" y="319"/>
                    <a:pt x="328" y="340"/>
                    <a:pt x="328" y="364"/>
                  </a:cubicBezTo>
                  <a:cubicBezTo>
                    <a:pt x="328" y="387"/>
                    <a:pt x="322" y="408"/>
                    <a:pt x="314" y="419"/>
                  </a:cubicBezTo>
                  <a:close/>
                  <a:moveTo>
                    <a:pt x="592" y="419"/>
                  </a:moveTo>
                  <a:cubicBezTo>
                    <a:pt x="405" y="419"/>
                    <a:pt x="405" y="419"/>
                    <a:pt x="405" y="419"/>
                  </a:cubicBezTo>
                  <a:cubicBezTo>
                    <a:pt x="413" y="408"/>
                    <a:pt x="419" y="387"/>
                    <a:pt x="419" y="364"/>
                  </a:cubicBezTo>
                  <a:cubicBezTo>
                    <a:pt x="419" y="340"/>
                    <a:pt x="414" y="319"/>
                    <a:pt x="405" y="308"/>
                  </a:cubicBezTo>
                  <a:cubicBezTo>
                    <a:pt x="592" y="308"/>
                    <a:pt x="592" y="308"/>
                    <a:pt x="592" y="308"/>
                  </a:cubicBezTo>
                  <a:cubicBezTo>
                    <a:pt x="605" y="308"/>
                    <a:pt x="616" y="333"/>
                    <a:pt x="616" y="363"/>
                  </a:cubicBezTo>
                  <a:cubicBezTo>
                    <a:pt x="616" y="394"/>
                    <a:pt x="605" y="419"/>
                    <a:pt x="592" y="419"/>
                  </a:cubicBezTo>
                  <a:close/>
                  <a:moveTo>
                    <a:pt x="748" y="360"/>
                  </a:moveTo>
                  <a:cubicBezTo>
                    <a:pt x="728" y="283"/>
                    <a:pt x="728" y="283"/>
                    <a:pt x="728" y="283"/>
                  </a:cubicBezTo>
                  <a:cubicBezTo>
                    <a:pt x="730" y="282"/>
                    <a:pt x="732" y="280"/>
                    <a:pt x="734" y="279"/>
                  </a:cubicBezTo>
                  <a:cubicBezTo>
                    <a:pt x="747" y="264"/>
                    <a:pt x="747" y="242"/>
                    <a:pt x="732" y="228"/>
                  </a:cubicBezTo>
                  <a:cubicBezTo>
                    <a:pt x="728" y="224"/>
                    <a:pt x="724" y="222"/>
                    <a:pt x="719" y="220"/>
                  </a:cubicBezTo>
                  <a:cubicBezTo>
                    <a:pt x="715" y="196"/>
                    <a:pt x="706" y="162"/>
                    <a:pt x="688" y="136"/>
                  </a:cubicBezTo>
                  <a:cubicBezTo>
                    <a:pt x="715" y="128"/>
                    <a:pt x="715" y="128"/>
                    <a:pt x="715" y="128"/>
                  </a:cubicBezTo>
                  <a:cubicBezTo>
                    <a:pt x="715" y="106"/>
                    <a:pt x="715" y="106"/>
                    <a:pt x="715" y="106"/>
                  </a:cubicBezTo>
                  <a:cubicBezTo>
                    <a:pt x="580" y="66"/>
                    <a:pt x="580" y="66"/>
                    <a:pt x="580" y="66"/>
                  </a:cubicBezTo>
                  <a:cubicBezTo>
                    <a:pt x="519" y="48"/>
                    <a:pt x="519" y="48"/>
                    <a:pt x="519" y="48"/>
                  </a:cubicBezTo>
                  <a:cubicBezTo>
                    <a:pt x="358" y="0"/>
                    <a:pt x="358" y="0"/>
                    <a:pt x="358" y="0"/>
                  </a:cubicBezTo>
                  <a:cubicBezTo>
                    <a:pt x="196" y="48"/>
                    <a:pt x="196" y="48"/>
                    <a:pt x="196" y="48"/>
                  </a:cubicBezTo>
                  <a:cubicBezTo>
                    <a:pt x="136" y="66"/>
                    <a:pt x="136" y="66"/>
                    <a:pt x="136" y="66"/>
                  </a:cubicBezTo>
                  <a:cubicBezTo>
                    <a:pt x="0" y="106"/>
                    <a:pt x="0" y="106"/>
                    <a:pt x="0" y="106"/>
                  </a:cubicBezTo>
                  <a:cubicBezTo>
                    <a:pt x="0" y="128"/>
                    <a:pt x="0" y="128"/>
                    <a:pt x="0" y="128"/>
                  </a:cubicBezTo>
                  <a:cubicBezTo>
                    <a:pt x="136" y="169"/>
                    <a:pt x="136" y="169"/>
                    <a:pt x="136" y="169"/>
                  </a:cubicBezTo>
                  <a:cubicBezTo>
                    <a:pt x="153" y="174"/>
                    <a:pt x="153" y="174"/>
                    <a:pt x="153" y="174"/>
                  </a:cubicBezTo>
                  <a:cubicBezTo>
                    <a:pt x="171" y="179"/>
                    <a:pt x="171" y="179"/>
                    <a:pt x="171" y="179"/>
                  </a:cubicBezTo>
                  <a:cubicBezTo>
                    <a:pt x="171" y="250"/>
                    <a:pt x="171" y="250"/>
                    <a:pt x="171" y="250"/>
                  </a:cubicBezTo>
                  <a:cubicBezTo>
                    <a:pt x="544" y="250"/>
                    <a:pt x="544" y="250"/>
                    <a:pt x="544" y="250"/>
                  </a:cubicBezTo>
                  <a:cubicBezTo>
                    <a:pt x="544" y="179"/>
                    <a:pt x="544" y="179"/>
                    <a:pt x="544" y="179"/>
                  </a:cubicBezTo>
                  <a:cubicBezTo>
                    <a:pt x="562" y="174"/>
                    <a:pt x="562" y="174"/>
                    <a:pt x="562" y="174"/>
                  </a:cubicBezTo>
                  <a:cubicBezTo>
                    <a:pt x="580" y="169"/>
                    <a:pt x="580" y="169"/>
                    <a:pt x="580" y="169"/>
                  </a:cubicBezTo>
                  <a:cubicBezTo>
                    <a:pt x="659" y="145"/>
                    <a:pt x="659" y="145"/>
                    <a:pt x="659" y="145"/>
                  </a:cubicBezTo>
                  <a:cubicBezTo>
                    <a:pt x="678" y="166"/>
                    <a:pt x="686" y="199"/>
                    <a:pt x="690" y="223"/>
                  </a:cubicBezTo>
                  <a:cubicBezTo>
                    <a:pt x="687" y="225"/>
                    <a:pt x="684" y="227"/>
                    <a:pt x="682" y="229"/>
                  </a:cubicBezTo>
                  <a:cubicBezTo>
                    <a:pt x="668" y="244"/>
                    <a:pt x="669" y="266"/>
                    <a:pt x="683" y="280"/>
                  </a:cubicBezTo>
                  <a:cubicBezTo>
                    <a:pt x="684" y="281"/>
                    <a:pt x="686" y="282"/>
                    <a:pt x="687" y="283"/>
                  </a:cubicBezTo>
                  <a:cubicBezTo>
                    <a:pt x="667" y="360"/>
                    <a:pt x="667" y="360"/>
                    <a:pt x="667" y="360"/>
                  </a:cubicBezTo>
                  <a:lnTo>
                    <a:pt x="748" y="360"/>
                  </a:lnTo>
                  <a:close/>
                </a:path>
              </a:pathLst>
            </a:custGeom>
            <a:solidFill>
              <a:schemeClr val="accent6">
                <a:lumMod val="60000"/>
                <a:lumOff val="40000"/>
              </a:schemeClr>
            </a:solidFill>
            <a:ln>
              <a:noFill/>
            </a:ln>
            <a:extLst/>
          </p:spPr>
          <p:txBody>
            <a:bodyPr anchor="ctr"/>
            <a:lstStyle/>
            <a:p>
              <a:pPr>
                <a:defRPr/>
              </a:pPr>
              <a:endParaRPr lang="de-DE" sz="200">
                <a:latin typeface="+mn-lt"/>
                <a:cs typeface="+mn-cs"/>
              </a:endParaRPr>
            </a:p>
          </p:txBody>
        </p:sp>
        <p:sp>
          <p:nvSpPr>
            <p:cNvPr id="21549" name="TextBox 164"/>
            <p:cNvSpPr txBox="1">
              <a:spLocks noChangeArrowheads="1"/>
            </p:cNvSpPr>
            <p:nvPr/>
          </p:nvSpPr>
          <p:spPr bwMode="gray">
            <a:xfrm>
              <a:off x="8364258" y="2695391"/>
              <a:ext cx="240474" cy="67088"/>
            </a:xfrm>
            <a:prstGeom prst="rect">
              <a:avLst/>
            </a:prstGeom>
            <a:noFill/>
            <a:ln w="9525">
              <a:noFill/>
              <a:miter lim="800000"/>
              <a:headEnd/>
              <a:tailEnd/>
            </a:ln>
          </p:spPr>
          <p:txBody>
            <a:bodyPr lIns="0" tIns="0" rIns="0" bIns="0" anchor="ctr">
              <a:spAutoFit/>
            </a:bodyPr>
            <a:lstStyle/>
            <a:p>
              <a:pPr algn="ctr" defTabSz="895350">
                <a:buClr>
                  <a:schemeClr val="tx2"/>
                </a:buClr>
                <a:buSzPct val="100000"/>
              </a:pPr>
              <a:r>
                <a:rPr lang="en-US" sz="200" b="1">
                  <a:solidFill>
                    <a:schemeClr val="bg1"/>
                  </a:solidFill>
                </a:rPr>
                <a:t>Labour force participation</a:t>
              </a:r>
            </a:p>
          </p:txBody>
        </p:sp>
        <p:grpSp>
          <p:nvGrpSpPr>
            <p:cNvPr id="13" name="Group 165">
              <a:extLst>
                <a:ext uri="{FF2B5EF4-FFF2-40B4-BE49-F238E27FC236}"/>
              </a:extLst>
            </p:cNvPr>
            <p:cNvGrpSpPr/>
            <p:nvPr/>
          </p:nvGrpSpPr>
          <p:grpSpPr bwMode="gray">
            <a:xfrm>
              <a:off x="8453849" y="2633437"/>
              <a:ext cx="61294" cy="62545"/>
              <a:chOff x="-7816851" y="1463676"/>
              <a:chExt cx="1020763" cy="1073150"/>
            </a:xfrm>
            <a:solidFill>
              <a:schemeClr val="bg1"/>
            </a:solidFill>
          </p:grpSpPr>
          <p:sp>
            <p:nvSpPr>
              <p:cNvPr id="167" name="Freeform 7026">
                <a:extLst>
                  <a:ext uri="{FF2B5EF4-FFF2-40B4-BE49-F238E27FC236}"/>
                </a:extLst>
              </p:cNvPr>
              <p:cNvSpPr>
                <a:spLocks noEditPoints="1"/>
              </p:cNvSpPr>
              <p:nvPr/>
            </p:nvSpPr>
            <p:spPr bwMode="gray">
              <a:xfrm>
                <a:off x="-7816851" y="1463676"/>
                <a:ext cx="873125" cy="1073150"/>
              </a:xfrm>
              <a:custGeom>
                <a:avLst/>
                <a:gdLst>
                  <a:gd name="T0" fmla="*/ 81 w 1063"/>
                  <a:gd name="T1" fmla="*/ 237 h 1305"/>
                  <a:gd name="T2" fmla="*/ 237 w 1063"/>
                  <a:gd name="T3" fmla="*/ 237 h 1305"/>
                  <a:gd name="T4" fmla="*/ 237 w 1063"/>
                  <a:gd name="T5" fmla="*/ 81 h 1305"/>
                  <a:gd name="T6" fmla="*/ 81 w 1063"/>
                  <a:gd name="T7" fmla="*/ 237 h 1305"/>
                  <a:gd name="T8" fmla="*/ 81 w 1063"/>
                  <a:gd name="T9" fmla="*/ 237 h 1305"/>
                  <a:gd name="T10" fmla="*/ 260 w 1063"/>
                  <a:gd name="T11" fmla="*/ 284 h 1305"/>
                  <a:gd name="T12" fmla="*/ 47 w 1063"/>
                  <a:gd name="T13" fmla="*/ 284 h 1305"/>
                  <a:gd name="T14" fmla="*/ 47 w 1063"/>
                  <a:gd name="T15" fmla="*/ 1257 h 1305"/>
                  <a:gd name="T16" fmla="*/ 1016 w 1063"/>
                  <a:gd name="T17" fmla="*/ 1257 h 1305"/>
                  <a:gd name="T18" fmla="*/ 1016 w 1063"/>
                  <a:gd name="T19" fmla="*/ 1184 h 1305"/>
                  <a:gd name="T20" fmla="*/ 1063 w 1063"/>
                  <a:gd name="T21" fmla="*/ 1180 h 1305"/>
                  <a:gd name="T22" fmla="*/ 1063 w 1063"/>
                  <a:gd name="T23" fmla="*/ 1281 h 1305"/>
                  <a:gd name="T24" fmla="*/ 1039 w 1063"/>
                  <a:gd name="T25" fmla="*/ 1305 h 1305"/>
                  <a:gd name="T26" fmla="*/ 24 w 1063"/>
                  <a:gd name="T27" fmla="*/ 1305 h 1305"/>
                  <a:gd name="T28" fmla="*/ 0 w 1063"/>
                  <a:gd name="T29" fmla="*/ 1281 h 1305"/>
                  <a:gd name="T30" fmla="*/ 0 w 1063"/>
                  <a:gd name="T31" fmla="*/ 260 h 1305"/>
                  <a:gd name="T32" fmla="*/ 7 w 1063"/>
                  <a:gd name="T33" fmla="*/ 244 h 1305"/>
                  <a:gd name="T34" fmla="*/ 244 w 1063"/>
                  <a:gd name="T35" fmla="*/ 7 h 1305"/>
                  <a:gd name="T36" fmla="*/ 260 w 1063"/>
                  <a:gd name="T37" fmla="*/ 0 h 1305"/>
                  <a:gd name="T38" fmla="*/ 1039 w 1063"/>
                  <a:gd name="T39" fmla="*/ 0 h 1305"/>
                  <a:gd name="T40" fmla="*/ 1063 w 1063"/>
                  <a:gd name="T41" fmla="*/ 24 h 1305"/>
                  <a:gd name="T42" fmla="*/ 1063 w 1063"/>
                  <a:gd name="T43" fmla="*/ 943 h 1305"/>
                  <a:gd name="T44" fmla="*/ 1016 w 1063"/>
                  <a:gd name="T45" fmla="*/ 947 h 1305"/>
                  <a:gd name="T46" fmla="*/ 1016 w 1063"/>
                  <a:gd name="T47" fmla="*/ 47 h 1305"/>
                  <a:gd name="T48" fmla="*/ 284 w 1063"/>
                  <a:gd name="T49" fmla="*/ 47 h 1305"/>
                  <a:gd name="T50" fmla="*/ 284 w 1063"/>
                  <a:gd name="T51" fmla="*/ 260 h 1305"/>
                  <a:gd name="T52" fmla="*/ 260 w 1063"/>
                  <a:gd name="T53" fmla="*/ 284 h 1305"/>
                  <a:gd name="T54" fmla="*/ 260 w 1063"/>
                  <a:gd name="T55" fmla="*/ 284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3" h="1305">
                    <a:moveTo>
                      <a:pt x="81" y="237"/>
                    </a:moveTo>
                    <a:lnTo>
                      <a:pt x="237" y="237"/>
                    </a:lnTo>
                    <a:lnTo>
                      <a:pt x="237" y="81"/>
                    </a:lnTo>
                    <a:lnTo>
                      <a:pt x="81" y="237"/>
                    </a:lnTo>
                    <a:lnTo>
                      <a:pt x="81" y="237"/>
                    </a:lnTo>
                    <a:close/>
                    <a:moveTo>
                      <a:pt x="260" y="284"/>
                    </a:moveTo>
                    <a:lnTo>
                      <a:pt x="47" y="284"/>
                    </a:lnTo>
                    <a:lnTo>
                      <a:pt x="47" y="1257"/>
                    </a:lnTo>
                    <a:lnTo>
                      <a:pt x="1016" y="1257"/>
                    </a:lnTo>
                    <a:lnTo>
                      <a:pt x="1016" y="1184"/>
                    </a:lnTo>
                    <a:lnTo>
                      <a:pt x="1063" y="1180"/>
                    </a:lnTo>
                    <a:lnTo>
                      <a:pt x="1063" y="1281"/>
                    </a:lnTo>
                    <a:cubicBezTo>
                      <a:pt x="1063" y="1294"/>
                      <a:pt x="1052" y="1305"/>
                      <a:pt x="1039" y="1305"/>
                    </a:cubicBezTo>
                    <a:lnTo>
                      <a:pt x="24" y="1305"/>
                    </a:lnTo>
                    <a:cubicBezTo>
                      <a:pt x="11" y="1305"/>
                      <a:pt x="0" y="1294"/>
                      <a:pt x="0" y="1281"/>
                    </a:cubicBezTo>
                    <a:lnTo>
                      <a:pt x="0" y="260"/>
                    </a:lnTo>
                    <a:cubicBezTo>
                      <a:pt x="0" y="254"/>
                      <a:pt x="3" y="248"/>
                      <a:pt x="7" y="244"/>
                    </a:cubicBezTo>
                    <a:lnTo>
                      <a:pt x="244" y="7"/>
                    </a:lnTo>
                    <a:lnTo>
                      <a:pt x="260" y="0"/>
                    </a:lnTo>
                    <a:lnTo>
                      <a:pt x="1039" y="0"/>
                    </a:lnTo>
                    <a:cubicBezTo>
                      <a:pt x="1052" y="0"/>
                      <a:pt x="1063" y="11"/>
                      <a:pt x="1063" y="24"/>
                    </a:cubicBezTo>
                    <a:lnTo>
                      <a:pt x="1063" y="943"/>
                    </a:lnTo>
                    <a:lnTo>
                      <a:pt x="1016" y="947"/>
                    </a:lnTo>
                    <a:lnTo>
                      <a:pt x="1016" y="47"/>
                    </a:lnTo>
                    <a:lnTo>
                      <a:pt x="284" y="47"/>
                    </a:lnTo>
                    <a:lnTo>
                      <a:pt x="284" y="260"/>
                    </a:lnTo>
                    <a:cubicBezTo>
                      <a:pt x="284" y="273"/>
                      <a:pt x="273" y="284"/>
                      <a:pt x="260" y="284"/>
                    </a:cubicBezTo>
                    <a:lnTo>
                      <a:pt x="260" y="284"/>
                    </a:lnTo>
                  </a:path>
                </a:pathLst>
              </a:custGeom>
              <a:grpFill/>
              <a:ln>
                <a:noFill/>
              </a:ln>
              <a:extLst>
                <a:ext uri="{91240B29-F687-4F45-9708-019B960494DF}"/>
              </a:extLst>
            </p:spPr>
            <p:txBody>
              <a:bodyPr anchor="ctr"/>
              <a:lstStyle/>
              <a:p>
                <a:pPr>
                  <a:defRPr/>
                </a:pPr>
                <a:endParaRPr lang="en-US" sz="200" dirty="0">
                  <a:latin typeface="+mn-lt"/>
                  <a:cs typeface="+mn-cs"/>
                </a:endParaRPr>
              </a:p>
            </p:txBody>
          </p:sp>
          <p:sp>
            <p:nvSpPr>
              <p:cNvPr id="168" name="Freeform 7027">
                <a:extLst>
                  <a:ext uri="{FF2B5EF4-FFF2-40B4-BE49-F238E27FC236}"/>
                </a:extLst>
              </p:cNvPr>
              <p:cNvSpPr>
                <a:spLocks/>
              </p:cNvSpPr>
              <p:nvPr/>
            </p:nvSpPr>
            <p:spPr bwMode="gray">
              <a:xfrm>
                <a:off x="-7712076" y="2087563"/>
                <a:ext cx="661988" cy="38100"/>
              </a:xfrm>
              <a:custGeom>
                <a:avLst/>
                <a:gdLst>
                  <a:gd name="T0" fmla="*/ 24 w 807"/>
                  <a:gd name="T1" fmla="*/ 47 h 47"/>
                  <a:gd name="T2" fmla="*/ 0 w 807"/>
                  <a:gd name="T3" fmla="*/ 24 h 47"/>
                  <a:gd name="T4" fmla="*/ 24 w 807"/>
                  <a:gd name="T5" fmla="*/ 0 h 47"/>
                  <a:gd name="T6" fmla="*/ 783 w 807"/>
                  <a:gd name="T7" fmla="*/ 0 h 47"/>
                  <a:gd name="T8" fmla="*/ 807 w 807"/>
                  <a:gd name="T9" fmla="*/ 24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7"/>
                      <a:pt x="0" y="24"/>
                    </a:cubicBezTo>
                    <a:cubicBezTo>
                      <a:pt x="0" y="11"/>
                      <a:pt x="10" y="0"/>
                      <a:pt x="24" y="0"/>
                    </a:cubicBezTo>
                    <a:lnTo>
                      <a:pt x="783" y="0"/>
                    </a:lnTo>
                    <a:cubicBezTo>
                      <a:pt x="796" y="0"/>
                      <a:pt x="807" y="11"/>
                      <a:pt x="807" y="24"/>
                    </a:cubicBezTo>
                    <a:cubicBezTo>
                      <a:pt x="807" y="37"/>
                      <a:pt x="796" y="47"/>
                      <a:pt x="783" y="47"/>
                    </a:cubicBezTo>
                    <a:lnTo>
                      <a:pt x="24" y="47"/>
                    </a:lnTo>
                    <a:lnTo>
                      <a:pt x="24" y="47"/>
                    </a:lnTo>
                  </a:path>
                </a:pathLst>
              </a:custGeom>
              <a:grpFill/>
              <a:ln>
                <a:noFill/>
              </a:ln>
              <a:extLst>
                <a:ext uri="{91240B29-F687-4F45-9708-019B960494DF}"/>
              </a:extLst>
            </p:spPr>
            <p:txBody>
              <a:bodyPr anchor="ctr"/>
              <a:lstStyle/>
              <a:p>
                <a:pPr>
                  <a:defRPr/>
                </a:pPr>
                <a:endParaRPr lang="en-US" sz="200" dirty="0">
                  <a:latin typeface="+mn-lt"/>
                  <a:cs typeface="+mn-cs"/>
                </a:endParaRPr>
              </a:p>
            </p:txBody>
          </p:sp>
          <p:sp>
            <p:nvSpPr>
              <p:cNvPr id="169" name="Freeform 7028">
                <a:extLst>
                  <a:ext uri="{FF2B5EF4-FFF2-40B4-BE49-F238E27FC236}"/>
                </a:extLst>
              </p:cNvPr>
              <p:cNvSpPr>
                <a:spLocks/>
              </p:cNvSpPr>
              <p:nvPr/>
            </p:nvSpPr>
            <p:spPr bwMode="gray">
              <a:xfrm>
                <a:off x="-7712076" y="2178051"/>
                <a:ext cx="661988" cy="38100"/>
              </a:xfrm>
              <a:custGeom>
                <a:avLst/>
                <a:gdLst>
                  <a:gd name="T0" fmla="*/ 24 w 807"/>
                  <a:gd name="T1" fmla="*/ 47 h 47"/>
                  <a:gd name="T2" fmla="*/ 0 w 807"/>
                  <a:gd name="T3" fmla="*/ 23 h 47"/>
                  <a:gd name="T4" fmla="*/ 24 w 807"/>
                  <a:gd name="T5" fmla="*/ 0 h 47"/>
                  <a:gd name="T6" fmla="*/ 783 w 807"/>
                  <a:gd name="T7" fmla="*/ 0 h 47"/>
                  <a:gd name="T8" fmla="*/ 807 w 807"/>
                  <a:gd name="T9" fmla="*/ 23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6"/>
                      <a:pt x="0" y="23"/>
                    </a:cubicBezTo>
                    <a:cubicBezTo>
                      <a:pt x="0" y="10"/>
                      <a:pt x="10" y="0"/>
                      <a:pt x="24" y="0"/>
                    </a:cubicBezTo>
                    <a:lnTo>
                      <a:pt x="783" y="0"/>
                    </a:lnTo>
                    <a:cubicBezTo>
                      <a:pt x="796" y="0"/>
                      <a:pt x="807" y="10"/>
                      <a:pt x="807" y="23"/>
                    </a:cubicBezTo>
                    <a:cubicBezTo>
                      <a:pt x="807" y="36"/>
                      <a:pt x="796" y="47"/>
                      <a:pt x="783" y="47"/>
                    </a:cubicBezTo>
                    <a:lnTo>
                      <a:pt x="24" y="47"/>
                    </a:lnTo>
                    <a:lnTo>
                      <a:pt x="24" y="47"/>
                    </a:lnTo>
                  </a:path>
                </a:pathLst>
              </a:custGeom>
              <a:grpFill/>
              <a:ln>
                <a:noFill/>
              </a:ln>
              <a:extLst>
                <a:ext uri="{91240B29-F687-4F45-9708-019B960494DF}"/>
              </a:extLst>
            </p:spPr>
            <p:txBody>
              <a:bodyPr anchor="ctr"/>
              <a:lstStyle/>
              <a:p>
                <a:pPr>
                  <a:defRPr/>
                </a:pPr>
                <a:endParaRPr lang="en-US" sz="200" dirty="0">
                  <a:latin typeface="+mn-lt"/>
                  <a:cs typeface="+mn-cs"/>
                </a:endParaRPr>
              </a:p>
            </p:txBody>
          </p:sp>
          <p:sp>
            <p:nvSpPr>
              <p:cNvPr id="170" name="Freeform 7029">
                <a:extLst>
                  <a:ext uri="{FF2B5EF4-FFF2-40B4-BE49-F238E27FC236}"/>
                </a:extLst>
              </p:cNvPr>
              <p:cNvSpPr>
                <a:spLocks noEditPoints="1"/>
              </p:cNvSpPr>
              <p:nvPr/>
            </p:nvSpPr>
            <p:spPr bwMode="gray">
              <a:xfrm>
                <a:off x="-7526338" y="2266951"/>
                <a:ext cx="730250" cy="168275"/>
              </a:xfrm>
              <a:custGeom>
                <a:avLst/>
                <a:gdLst>
                  <a:gd name="T0" fmla="*/ 827 w 890"/>
                  <a:gd name="T1" fmla="*/ 21 h 204"/>
                  <a:gd name="T2" fmla="*/ 845 w 890"/>
                  <a:gd name="T3" fmla="*/ 36 h 204"/>
                  <a:gd name="T4" fmla="*/ 830 w 890"/>
                  <a:gd name="T5" fmla="*/ 53 h 204"/>
                  <a:gd name="T6" fmla="*/ 813 w 890"/>
                  <a:gd name="T7" fmla="*/ 39 h 204"/>
                  <a:gd name="T8" fmla="*/ 827 w 890"/>
                  <a:gd name="T9" fmla="*/ 21 h 204"/>
                  <a:gd name="T10" fmla="*/ 827 w 890"/>
                  <a:gd name="T11" fmla="*/ 21 h 204"/>
                  <a:gd name="T12" fmla="*/ 724 w 890"/>
                  <a:gd name="T13" fmla="*/ 11 h 204"/>
                  <a:gd name="T14" fmla="*/ 810 w 890"/>
                  <a:gd name="T15" fmla="*/ 3 h 204"/>
                  <a:gd name="T16" fmla="*/ 886 w 890"/>
                  <a:gd name="T17" fmla="*/ 68 h 204"/>
                  <a:gd name="T18" fmla="*/ 822 w 890"/>
                  <a:gd name="T19" fmla="*/ 144 h 204"/>
                  <a:gd name="T20" fmla="*/ 737 w 890"/>
                  <a:gd name="T21" fmla="*/ 152 h 204"/>
                  <a:gd name="T22" fmla="*/ 724 w 890"/>
                  <a:gd name="T23" fmla="*/ 11 h 204"/>
                  <a:gd name="T24" fmla="*/ 724 w 890"/>
                  <a:gd name="T25" fmla="*/ 11 h 204"/>
                  <a:gd name="T26" fmla="*/ 134 w 890"/>
                  <a:gd name="T27" fmla="*/ 204 h 204"/>
                  <a:gd name="T28" fmla="*/ 6 w 890"/>
                  <a:gd name="T29" fmla="*/ 153 h 204"/>
                  <a:gd name="T30" fmla="*/ 0 w 890"/>
                  <a:gd name="T31" fmla="*/ 145 h 204"/>
                  <a:gd name="T32" fmla="*/ 4 w 890"/>
                  <a:gd name="T33" fmla="*/ 136 h 204"/>
                  <a:gd name="T34" fmla="*/ 121 w 890"/>
                  <a:gd name="T35" fmla="*/ 65 h 204"/>
                  <a:gd name="T36" fmla="*/ 126 w 890"/>
                  <a:gd name="T37" fmla="*/ 63 h 204"/>
                  <a:gd name="T38" fmla="*/ 712 w 890"/>
                  <a:gd name="T39" fmla="*/ 12 h 204"/>
                  <a:gd name="T40" fmla="*/ 715 w 890"/>
                  <a:gd name="T41" fmla="*/ 39 h 204"/>
                  <a:gd name="T42" fmla="*/ 153 w 890"/>
                  <a:gd name="T43" fmla="*/ 89 h 204"/>
                  <a:gd name="T44" fmla="*/ 148 w 890"/>
                  <a:gd name="T45" fmla="*/ 94 h 204"/>
                  <a:gd name="T46" fmla="*/ 149 w 890"/>
                  <a:gd name="T47" fmla="*/ 96 h 204"/>
                  <a:gd name="T48" fmla="*/ 154 w 890"/>
                  <a:gd name="T49" fmla="*/ 101 h 204"/>
                  <a:gd name="T50" fmla="*/ 716 w 890"/>
                  <a:gd name="T51" fmla="*/ 51 h 204"/>
                  <a:gd name="T52" fmla="*/ 725 w 890"/>
                  <a:gd name="T53" fmla="*/ 153 h 204"/>
                  <a:gd name="T54" fmla="*/ 138 w 890"/>
                  <a:gd name="T55" fmla="*/ 204 h 204"/>
                  <a:gd name="T56" fmla="*/ 134 w 890"/>
                  <a:gd name="T57" fmla="*/ 204 h 204"/>
                  <a:gd name="T58" fmla="*/ 134 w 890"/>
                  <a:gd name="T5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0" h="204">
                    <a:moveTo>
                      <a:pt x="827" y="21"/>
                    </a:moveTo>
                    <a:cubicBezTo>
                      <a:pt x="836" y="21"/>
                      <a:pt x="844" y="27"/>
                      <a:pt x="845" y="36"/>
                    </a:cubicBezTo>
                    <a:cubicBezTo>
                      <a:pt x="845" y="45"/>
                      <a:pt x="839" y="52"/>
                      <a:pt x="830" y="53"/>
                    </a:cubicBezTo>
                    <a:cubicBezTo>
                      <a:pt x="821" y="54"/>
                      <a:pt x="814" y="47"/>
                      <a:pt x="813" y="39"/>
                    </a:cubicBezTo>
                    <a:cubicBezTo>
                      <a:pt x="812" y="30"/>
                      <a:pt x="818" y="22"/>
                      <a:pt x="827" y="21"/>
                    </a:cubicBezTo>
                    <a:lnTo>
                      <a:pt x="827" y="21"/>
                    </a:lnTo>
                    <a:close/>
                    <a:moveTo>
                      <a:pt x="724" y="11"/>
                    </a:moveTo>
                    <a:lnTo>
                      <a:pt x="810" y="3"/>
                    </a:lnTo>
                    <a:cubicBezTo>
                      <a:pt x="849" y="0"/>
                      <a:pt x="883" y="29"/>
                      <a:pt x="886" y="68"/>
                    </a:cubicBezTo>
                    <a:cubicBezTo>
                      <a:pt x="890" y="107"/>
                      <a:pt x="861" y="141"/>
                      <a:pt x="822" y="144"/>
                    </a:cubicBezTo>
                    <a:lnTo>
                      <a:pt x="737" y="152"/>
                    </a:lnTo>
                    <a:lnTo>
                      <a:pt x="724" y="11"/>
                    </a:lnTo>
                    <a:lnTo>
                      <a:pt x="724" y="11"/>
                    </a:lnTo>
                    <a:close/>
                    <a:moveTo>
                      <a:pt x="134" y="204"/>
                    </a:moveTo>
                    <a:lnTo>
                      <a:pt x="6" y="153"/>
                    </a:lnTo>
                    <a:cubicBezTo>
                      <a:pt x="2" y="152"/>
                      <a:pt x="0" y="149"/>
                      <a:pt x="0" y="145"/>
                    </a:cubicBezTo>
                    <a:cubicBezTo>
                      <a:pt x="0" y="142"/>
                      <a:pt x="1" y="138"/>
                      <a:pt x="4" y="136"/>
                    </a:cubicBezTo>
                    <a:lnTo>
                      <a:pt x="121" y="65"/>
                    </a:lnTo>
                    <a:cubicBezTo>
                      <a:pt x="123" y="64"/>
                      <a:pt x="124" y="63"/>
                      <a:pt x="126" y="63"/>
                    </a:cubicBezTo>
                    <a:lnTo>
                      <a:pt x="712" y="12"/>
                    </a:lnTo>
                    <a:lnTo>
                      <a:pt x="715" y="39"/>
                    </a:lnTo>
                    <a:lnTo>
                      <a:pt x="153" y="89"/>
                    </a:lnTo>
                    <a:cubicBezTo>
                      <a:pt x="150" y="89"/>
                      <a:pt x="148" y="91"/>
                      <a:pt x="148" y="94"/>
                    </a:cubicBezTo>
                    <a:lnTo>
                      <a:pt x="149" y="96"/>
                    </a:lnTo>
                    <a:cubicBezTo>
                      <a:pt x="149" y="99"/>
                      <a:pt x="151" y="101"/>
                      <a:pt x="154" y="101"/>
                    </a:cubicBezTo>
                    <a:lnTo>
                      <a:pt x="716" y="51"/>
                    </a:lnTo>
                    <a:lnTo>
                      <a:pt x="725" y="153"/>
                    </a:lnTo>
                    <a:lnTo>
                      <a:pt x="138" y="204"/>
                    </a:lnTo>
                    <a:cubicBezTo>
                      <a:pt x="136" y="204"/>
                      <a:pt x="135" y="204"/>
                      <a:pt x="134" y="204"/>
                    </a:cubicBezTo>
                    <a:lnTo>
                      <a:pt x="134" y="204"/>
                    </a:lnTo>
                  </a:path>
                </a:pathLst>
              </a:custGeom>
              <a:grpFill/>
              <a:ln>
                <a:noFill/>
              </a:ln>
              <a:extLst>
                <a:ext uri="{91240B29-F687-4F45-9708-019B960494DF}"/>
              </a:extLst>
            </p:spPr>
            <p:txBody>
              <a:bodyPr anchor="ctr"/>
              <a:lstStyle/>
              <a:p>
                <a:pPr>
                  <a:defRPr/>
                </a:pPr>
                <a:endParaRPr lang="en-US" sz="200" dirty="0">
                  <a:latin typeface="+mn-lt"/>
                  <a:cs typeface="+mn-cs"/>
                </a:endParaRPr>
              </a:p>
            </p:txBody>
          </p:sp>
          <p:sp>
            <p:nvSpPr>
              <p:cNvPr id="171" name="Freeform 7030">
                <a:extLst>
                  <a:ext uri="{FF2B5EF4-FFF2-40B4-BE49-F238E27FC236}"/>
                </a:extLst>
              </p:cNvPr>
              <p:cNvSpPr>
                <a:spLocks noEditPoints="1"/>
              </p:cNvSpPr>
              <p:nvPr/>
            </p:nvSpPr>
            <p:spPr bwMode="gray">
              <a:xfrm>
                <a:off x="-7510463" y="1612901"/>
                <a:ext cx="258763" cy="381000"/>
              </a:xfrm>
              <a:custGeom>
                <a:avLst/>
                <a:gdLst>
                  <a:gd name="T0" fmla="*/ 157 w 315"/>
                  <a:gd name="T1" fmla="*/ 0 h 464"/>
                  <a:gd name="T2" fmla="*/ 57 w 315"/>
                  <a:gd name="T3" fmla="*/ 100 h 464"/>
                  <a:gd name="T4" fmla="*/ 157 w 315"/>
                  <a:gd name="T5" fmla="*/ 200 h 464"/>
                  <a:gd name="T6" fmla="*/ 258 w 315"/>
                  <a:gd name="T7" fmla="*/ 100 h 464"/>
                  <a:gd name="T8" fmla="*/ 157 w 315"/>
                  <a:gd name="T9" fmla="*/ 0 h 464"/>
                  <a:gd name="T10" fmla="*/ 157 w 315"/>
                  <a:gd name="T11" fmla="*/ 0 h 464"/>
                  <a:gd name="T12" fmla="*/ 281 w 315"/>
                  <a:gd name="T13" fmla="*/ 298 h 464"/>
                  <a:gd name="T14" fmla="*/ 315 w 315"/>
                  <a:gd name="T15" fmla="*/ 464 h 464"/>
                  <a:gd name="T16" fmla="*/ 0 w 315"/>
                  <a:gd name="T17" fmla="*/ 464 h 464"/>
                  <a:gd name="T18" fmla="*/ 34 w 315"/>
                  <a:gd name="T19" fmla="*/ 298 h 464"/>
                  <a:gd name="T20" fmla="*/ 157 w 315"/>
                  <a:gd name="T21" fmla="*/ 222 h 464"/>
                  <a:gd name="T22" fmla="*/ 281 w 315"/>
                  <a:gd name="T23" fmla="*/ 298 h 464"/>
                  <a:gd name="T24" fmla="*/ 281 w 315"/>
                  <a:gd name="T25" fmla="*/ 29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464">
                    <a:moveTo>
                      <a:pt x="157" y="0"/>
                    </a:moveTo>
                    <a:cubicBezTo>
                      <a:pt x="102" y="0"/>
                      <a:pt x="57" y="45"/>
                      <a:pt x="57" y="100"/>
                    </a:cubicBezTo>
                    <a:cubicBezTo>
                      <a:pt x="57" y="155"/>
                      <a:pt x="102" y="200"/>
                      <a:pt x="157" y="200"/>
                    </a:cubicBezTo>
                    <a:cubicBezTo>
                      <a:pt x="213" y="200"/>
                      <a:pt x="258" y="155"/>
                      <a:pt x="258" y="100"/>
                    </a:cubicBezTo>
                    <a:cubicBezTo>
                      <a:pt x="258" y="45"/>
                      <a:pt x="213" y="0"/>
                      <a:pt x="157" y="0"/>
                    </a:cubicBezTo>
                    <a:lnTo>
                      <a:pt x="157" y="0"/>
                    </a:lnTo>
                    <a:close/>
                    <a:moveTo>
                      <a:pt x="281" y="298"/>
                    </a:moveTo>
                    <a:lnTo>
                      <a:pt x="315" y="464"/>
                    </a:lnTo>
                    <a:lnTo>
                      <a:pt x="0" y="464"/>
                    </a:lnTo>
                    <a:lnTo>
                      <a:pt x="34" y="298"/>
                    </a:lnTo>
                    <a:cubicBezTo>
                      <a:pt x="45" y="245"/>
                      <a:pt x="109" y="222"/>
                      <a:pt x="157" y="222"/>
                    </a:cubicBezTo>
                    <a:cubicBezTo>
                      <a:pt x="206" y="222"/>
                      <a:pt x="270" y="245"/>
                      <a:pt x="281" y="298"/>
                    </a:cubicBezTo>
                    <a:lnTo>
                      <a:pt x="281" y="298"/>
                    </a:lnTo>
                  </a:path>
                </a:pathLst>
              </a:custGeom>
              <a:grpFill/>
              <a:ln>
                <a:noFill/>
              </a:ln>
              <a:extLst>
                <a:ext uri="{91240B29-F687-4F45-9708-019B960494DF}"/>
              </a:extLst>
            </p:spPr>
            <p:txBody>
              <a:bodyPr anchor="ctr"/>
              <a:lstStyle/>
              <a:p>
                <a:pPr>
                  <a:defRPr/>
                </a:pPr>
                <a:endParaRPr lang="en-US" sz="200" dirty="0">
                  <a:latin typeface="+mn-lt"/>
                  <a:cs typeface="+mn-cs"/>
                </a:endParaRPr>
              </a:p>
            </p:txBody>
          </p:sp>
        </p:grpSp>
      </p:grpSp>
      <p:sp>
        <p:nvSpPr>
          <p:cNvPr id="93" name="Rectangle 92">
            <a:extLst>
              <a:ext uri="{FF2B5EF4-FFF2-40B4-BE49-F238E27FC236}"/>
            </a:extLst>
          </p:cNvPr>
          <p:cNvSpPr>
            <a:spLocks/>
          </p:cNvSpPr>
          <p:nvPr/>
        </p:nvSpPr>
        <p:spPr>
          <a:xfrm>
            <a:off x="173038" y="1944688"/>
            <a:ext cx="8653462" cy="382587"/>
          </a:xfrm>
          <a:prstGeom prst="rect">
            <a:avLst/>
          </a:prstGeom>
          <a:solidFill>
            <a:schemeClr val="accent5">
              <a:lumMod val="60000"/>
              <a:lumOff val="40000"/>
            </a:schemeClr>
          </a:solidFill>
          <a:ln w="9525">
            <a:noFill/>
            <a:miter lim="800000"/>
            <a:headEnd/>
            <a:tailEnd/>
          </a:ln>
        </p:spPr>
        <p:txBody>
          <a:bodyPr wrap="none" lIns="0" tIns="0" rIns="0" bIns="0" anchor="ctr"/>
          <a:lstStyle/>
          <a:p>
            <a:pPr algn="ctr">
              <a:buClr>
                <a:schemeClr val="bg1"/>
              </a:buClr>
              <a:defRPr/>
            </a:pPr>
            <a:r>
              <a:rPr lang="en-US" sz="1100" b="1" dirty="0">
                <a:solidFill>
                  <a:schemeClr val="tx2"/>
                </a:solidFill>
                <a:latin typeface="+mn-lt"/>
                <a:cs typeface="+mn-cs"/>
              </a:rPr>
              <a:t>State-Led Service Delivery Transformation</a:t>
            </a:r>
          </a:p>
        </p:txBody>
      </p:sp>
      <p:sp>
        <p:nvSpPr>
          <p:cNvPr id="127" name="Rectangle 126">
            <a:extLst>
              <a:ext uri="{FF2B5EF4-FFF2-40B4-BE49-F238E27FC236}"/>
            </a:extLst>
          </p:cNvPr>
          <p:cNvSpPr>
            <a:spLocks/>
          </p:cNvSpPr>
          <p:nvPr/>
        </p:nvSpPr>
        <p:spPr>
          <a:xfrm>
            <a:off x="1020763" y="1941513"/>
            <a:ext cx="7805737" cy="3608387"/>
          </a:xfrm>
          <a:prstGeom prst="rect">
            <a:avLst/>
          </a:prstGeom>
          <a:noFill/>
          <a:ln w="19050">
            <a:solidFill>
              <a:schemeClr val="accent5"/>
            </a:solidFill>
            <a:miter lim="800000"/>
            <a:headEnd/>
            <a:tailEnd/>
          </a:ln>
        </p:spPr>
        <p:txBody>
          <a:bodyPr wrap="none" lIns="0" tIns="0" rIns="0" bIns="0" anchor="ctr"/>
          <a:lstStyle/>
          <a:p>
            <a:pPr algn="ctr">
              <a:buClr>
                <a:schemeClr val="bg1"/>
              </a:buClr>
              <a:defRPr/>
            </a:pPr>
            <a:endParaRPr lang="en-US" sz="1100" b="1" dirty="0">
              <a:solidFill>
                <a:schemeClr val="bg1"/>
              </a:solidFill>
              <a:latin typeface="+mn-lt"/>
              <a:cs typeface="+mn-cs"/>
            </a:endParaRPr>
          </a:p>
        </p:txBody>
      </p:sp>
      <p:sp>
        <p:nvSpPr>
          <p:cNvPr id="94" name="4. Footnote">
            <a:extLst>
              <a:ext uri="{FF2B5EF4-FFF2-40B4-BE49-F238E27FC236}"/>
            </a:extLst>
          </p:cNvPr>
          <p:cNvSpPr txBox="1">
            <a:spLocks noChangeArrowheads="1"/>
          </p:cNvSpPr>
          <p:nvPr/>
        </p:nvSpPr>
        <p:spPr bwMode="gray">
          <a:xfrm>
            <a:off x="119063" y="6546850"/>
            <a:ext cx="8618537" cy="107950"/>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700" dirty="0">
                <a:solidFill>
                  <a:schemeClr val="accent6"/>
                </a:solidFill>
                <a:latin typeface="+mn-lt"/>
                <a:cs typeface="+mn-cs"/>
              </a:rPr>
              <a:t>1 Detailed description of analysis in back-up</a:t>
            </a:r>
          </a:p>
        </p:txBody>
      </p:sp>
      <p:sp>
        <p:nvSpPr>
          <p:cNvPr id="21541" name="Title 6"/>
          <p:cNvSpPr>
            <a:spLocks noGrp="1"/>
          </p:cNvSpPr>
          <p:nvPr>
            <p:ph type="title"/>
          </p:nvPr>
        </p:nvSpPr>
        <p:spPr/>
        <p:txBody>
          <a:bodyPr/>
          <a:lstStyle/>
          <a:p>
            <a:r>
              <a:rPr lang="en-ZA" smtClean="0"/>
              <a:t>Nigeria’s vision to accelerate Human Capital Development by 2030</a:t>
            </a:r>
          </a:p>
        </p:txBody>
      </p:sp>
    </p:spTree>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142"/>
          <p:cNvGraphicFramePr>
            <a:graphicFrameLocks noChangeAspect="1"/>
          </p:cNvGraphicFramePr>
          <p:nvPr/>
        </p:nvGraphicFramePr>
        <p:xfrm>
          <a:off x="1588" y="1588"/>
          <a:ext cx="1587" cy="1587"/>
        </p:xfrm>
        <a:graphic>
          <a:graphicData uri="http://schemas.openxmlformats.org/presentationml/2006/ole">
            <p:oleObj spid="_x0000_s22530" name="think-cell Slide" r:id="rId37" imgW="360" imgH="360" progId="">
              <p:embed/>
            </p:oleObj>
          </a:graphicData>
        </a:graphic>
      </p:graphicFrame>
      <p:sp>
        <p:nvSpPr>
          <p:cNvPr id="17" name="Rectangle 16" hidden="1">
            <a:extLst>
              <a:ext uri="{FF2B5EF4-FFF2-40B4-BE49-F238E27FC236}"/>
            </a:extLst>
          </p:cNvPr>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grpSp>
        <p:nvGrpSpPr>
          <p:cNvPr id="22532" name="Group 114"/>
          <p:cNvGrpSpPr>
            <a:grpSpLocks/>
          </p:cNvGrpSpPr>
          <p:nvPr/>
        </p:nvGrpSpPr>
        <p:grpSpPr bwMode="auto">
          <a:xfrm>
            <a:off x="-1588" y="1101725"/>
            <a:ext cx="8961438" cy="485775"/>
            <a:chOff x="-794" y="1298519"/>
            <a:chExt cx="8961437" cy="485775"/>
          </a:xfrm>
        </p:grpSpPr>
        <p:sp>
          <p:nvSpPr>
            <p:cNvPr id="22637" name="Rectangle 115"/>
            <p:cNvSpPr>
              <a:spLocks/>
            </p:cNvSpPr>
            <p:nvPr/>
          </p:nvSpPr>
          <p:spPr bwMode="auto">
            <a:xfrm>
              <a:off x="-794" y="1298519"/>
              <a:ext cx="8961437" cy="485775"/>
            </a:xfrm>
            <a:prstGeom prst="rect">
              <a:avLst/>
            </a:prstGeom>
            <a:gradFill rotWithShape="1">
              <a:gsLst>
                <a:gs pos="0">
                  <a:srgbClr val="EEEEEE"/>
                </a:gs>
                <a:gs pos="100000">
                  <a:srgbClr val="FFFFFF"/>
                </a:gs>
              </a:gsLst>
              <a:lin ang="5400000" scaled="1"/>
            </a:gradFill>
            <a:ln w="9525">
              <a:noFill/>
              <a:miter lim="800000"/>
              <a:headEnd/>
              <a:tailEnd/>
            </a:ln>
          </p:spPr>
          <p:txBody>
            <a:bodyPr wrap="none" anchor="ctr"/>
            <a:lstStyle/>
            <a:p>
              <a:pPr algn="ctr"/>
              <a:endParaRPr lang="en-US" sz="1100"/>
            </a:p>
          </p:txBody>
        </p:sp>
        <p:cxnSp>
          <p:nvCxnSpPr>
            <p:cNvPr id="117" name="Straight Connector 116">
              <a:extLst>
                <a:ext uri="{FF2B5EF4-FFF2-40B4-BE49-F238E27FC236}"/>
              </a:extLst>
            </p:cNvPr>
            <p:cNvCxnSpPr>
              <a:cxnSpLocks/>
            </p:cNvCxnSpPr>
            <p:nvPr/>
          </p:nvCxnSpPr>
          <p:spPr>
            <a:xfrm>
              <a:off x="-794" y="1298519"/>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2533" name="Title 1"/>
          <p:cNvSpPr>
            <a:spLocks noGrp="1"/>
          </p:cNvSpPr>
          <p:nvPr>
            <p:ph type="title"/>
          </p:nvPr>
        </p:nvSpPr>
        <p:spPr>
          <a:xfrm>
            <a:off x="63500" y="23813"/>
            <a:ext cx="8674100" cy="615950"/>
          </a:xfrm>
        </p:spPr>
        <p:txBody>
          <a:bodyPr/>
          <a:lstStyle/>
          <a:p>
            <a:pPr>
              <a:tabLst>
                <a:tab pos="84138" algn="l"/>
              </a:tabLst>
            </a:pPr>
            <a:r>
              <a:rPr lang="en-US" smtClean="0"/>
              <a:t>A preliminary list of interventions has been identified across HCD </a:t>
            </a:r>
            <a:br>
              <a:rPr lang="en-US" smtClean="0"/>
            </a:br>
            <a:r>
              <a:rPr lang="en-US" smtClean="0"/>
              <a:t>thematic areas for States to accelerate…</a:t>
            </a:r>
          </a:p>
        </p:txBody>
      </p:sp>
      <p:sp>
        <p:nvSpPr>
          <p:cNvPr id="82" name="5. Source">
            <a:extLst>
              <a:ext uri="{FF2B5EF4-FFF2-40B4-BE49-F238E27FC236}"/>
            </a:extLst>
          </p:cNvPr>
          <p:cNvSpPr>
            <a:spLocks noChangeArrowheads="1"/>
          </p:cNvSpPr>
          <p:nvPr/>
        </p:nvSpPr>
        <p:spPr bwMode="gray">
          <a:xfrm>
            <a:off x="119063" y="6584950"/>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Intervention </a:t>
            </a:r>
            <a:r>
              <a:rPr lang="en-GB" sz="800" dirty="0">
                <a:solidFill>
                  <a:schemeClr val="accent6"/>
                </a:solidFill>
                <a:latin typeface="+mn-lt"/>
                <a:cs typeface="+mn-cs"/>
              </a:rPr>
              <a:t>prioritisation</a:t>
            </a:r>
            <a:r>
              <a:rPr lang="en-US" sz="800" dirty="0">
                <a:solidFill>
                  <a:schemeClr val="accent6"/>
                </a:solidFill>
                <a:latin typeface="+mn-lt"/>
                <a:cs typeface="+mn-cs"/>
              </a:rPr>
              <a:t> workshops </a:t>
            </a:r>
          </a:p>
        </p:txBody>
      </p:sp>
      <p:pic>
        <p:nvPicPr>
          <p:cNvPr id="22535" name="Picture 60"/>
          <p:cNvPicPr>
            <a:picLocks noChangeAspect="1"/>
          </p:cNvPicPr>
          <p:nvPr/>
        </p:nvPicPr>
        <p:blipFill>
          <a:blip r:embed="rId38"/>
          <a:srcRect/>
          <a:stretch>
            <a:fillRect/>
          </a:stretch>
        </p:blipFill>
        <p:spPr bwMode="auto">
          <a:xfrm>
            <a:off x="0" y="631825"/>
            <a:ext cx="8961438" cy="473075"/>
          </a:xfrm>
          <a:prstGeom prst="rect">
            <a:avLst/>
          </a:prstGeom>
          <a:noFill/>
          <a:ln w="9525">
            <a:noFill/>
            <a:miter lim="800000"/>
            <a:headEnd/>
            <a:tailEnd/>
          </a:ln>
        </p:spPr>
      </p:pic>
      <p:sp>
        <p:nvSpPr>
          <p:cNvPr id="119" name="Rectangle 118">
            <a:extLst>
              <a:ext uri="{FF2B5EF4-FFF2-40B4-BE49-F238E27FC236}"/>
            </a:extLst>
          </p:cNvPr>
          <p:cNvSpPr>
            <a:spLocks/>
          </p:cNvSpPr>
          <p:nvPr/>
        </p:nvSpPr>
        <p:spPr>
          <a:xfrm>
            <a:off x="1588" y="625475"/>
            <a:ext cx="8961437" cy="476250"/>
          </a:xfrm>
          <a:prstGeom prst="rect">
            <a:avLst/>
          </a:prstGeom>
          <a:solidFill>
            <a:schemeClr val="accent3">
              <a:alpha val="6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dirty="0">
              <a:solidFill>
                <a:schemeClr val="tx1"/>
              </a:solidFill>
            </a:endParaRPr>
          </a:p>
        </p:txBody>
      </p:sp>
      <p:cxnSp>
        <p:nvCxnSpPr>
          <p:cNvPr id="7" name="Straight Connector 6">
            <a:extLst>
              <a:ext uri="{FF2B5EF4-FFF2-40B4-BE49-F238E27FC236}"/>
            </a:extLst>
          </p:cNvPr>
          <p:cNvCxnSpPr>
            <a:cxnSpLocks/>
          </p:cNvCxnSpPr>
          <p:nvPr/>
        </p:nvCxnSpPr>
        <p:spPr>
          <a:xfrm>
            <a:off x="2476500" y="1073150"/>
            <a:ext cx="0" cy="5418138"/>
          </a:xfrm>
          <a:prstGeom prst="line">
            <a:avLst/>
          </a:prstGeom>
          <a:ln w="3175" cap="rnd">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extLst>
          </p:cNvPr>
          <p:cNvCxnSpPr>
            <a:cxnSpLocks/>
          </p:cNvCxnSpPr>
          <p:nvPr/>
        </p:nvCxnSpPr>
        <p:spPr>
          <a:xfrm>
            <a:off x="5929313" y="1116013"/>
            <a:ext cx="0" cy="5310187"/>
          </a:xfrm>
          <a:prstGeom prst="line">
            <a:avLst/>
          </a:prstGeom>
          <a:ln w="3175" cap="rnd">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517" name="ACET">
            <a:extLst>
              <a:ext uri="{FF2B5EF4-FFF2-40B4-BE49-F238E27FC236}"/>
            </a:extLst>
          </p:cNvPr>
          <p:cNvSpPr>
            <a:spLocks noChangeArrowheads="1"/>
          </p:cNvSpPr>
          <p:nvPr/>
        </p:nvSpPr>
        <p:spPr bwMode="gray">
          <a:xfrm>
            <a:off x="2554288" y="771525"/>
            <a:ext cx="3098800" cy="18415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0" anchor="ctr"/>
          <a:lstStyle/>
          <a:p>
            <a:pPr>
              <a:buClr>
                <a:schemeClr val="bg1"/>
              </a:buClr>
              <a:defRPr/>
            </a:pPr>
            <a:r>
              <a:rPr lang="en-US" sz="1800" b="1" dirty="0">
                <a:solidFill>
                  <a:schemeClr val="bg1"/>
                </a:solidFill>
                <a:latin typeface="+mn-lt"/>
                <a:cs typeface="+mn-cs"/>
              </a:rPr>
              <a:t>Education </a:t>
            </a:r>
          </a:p>
        </p:txBody>
      </p:sp>
      <p:sp>
        <p:nvSpPr>
          <p:cNvPr id="559" name="ACET">
            <a:extLst>
              <a:ext uri="{FF2B5EF4-FFF2-40B4-BE49-F238E27FC236}"/>
            </a:extLst>
          </p:cNvPr>
          <p:cNvSpPr>
            <a:spLocks noChangeArrowheads="1"/>
          </p:cNvSpPr>
          <p:nvPr/>
        </p:nvSpPr>
        <p:spPr bwMode="gray">
          <a:xfrm>
            <a:off x="50800" y="771525"/>
            <a:ext cx="822325" cy="18415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0" anchor="ctr"/>
          <a:lstStyle/>
          <a:p>
            <a:pPr>
              <a:buClr>
                <a:schemeClr val="bg1"/>
              </a:buClr>
              <a:defRPr/>
            </a:pPr>
            <a:r>
              <a:rPr lang="en-US" sz="1800" b="1" dirty="0">
                <a:solidFill>
                  <a:schemeClr val="bg1"/>
                </a:solidFill>
                <a:latin typeface="+mn-lt"/>
                <a:cs typeface="+mn-cs"/>
              </a:rPr>
              <a:t>Health</a:t>
            </a:r>
          </a:p>
        </p:txBody>
      </p:sp>
      <p:sp>
        <p:nvSpPr>
          <p:cNvPr id="562" name="ACET">
            <a:extLst>
              <a:ext uri="{FF2B5EF4-FFF2-40B4-BE49-F238E27FC236}"/>
            </a:extLst>
          </p:cNvPr>
          <p:cNvSpPr>
            <a:spLocks noChangeArrowheads="1"/>
          </p:cNvSpPr>
          <p:nvPr/>
        </p:nvSpPr>
        <p:spPr bwMode="gray">
          <a:xfrm>
            <a:off x="6007100" y="771525"/>
            <a:ext cx="2814638" cy="184150"/>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0" anchor="ctr"/>
          <a:lstStyle/>
          <a:p>
            <a:pPr>
              <a:buClr>
                <a:schemeClr val="bg1"/>
              </a:buClr>
              <a:defRPr/>
            </a:pPr>
            <a:r>
              <a:rPr lang="en-US" sz="1800" b="1" dirty="0">
                <a:solidFill>
                  <a:schemeClr val="bg1"/>
                </a:solidFill>
                <a:latin typeface="+mn-lt"/>
                <a:cs typeface="+mn-cs"/>
              </a:rPr>
              <a:t>Labour force </a:t>
            </a:r>
          </a:p>
        </p:txBody>
      </p:sp>
      <p:grpSp>
        <p:nvGrpSpPr>
          <p:cNvPr id="22542" name="Group 14"/>
          <p:cNvGrpSpPr>
            <a:grpSpLocks/>
          </p:cNvGrpSpPr>
          <p:nvPr/>
        </p:nvGrpSpPr>
        <p:grpSpPr bwMode="auto">
          <a:xfrm>
            <a:off x="1976438" y="676275"/>
            <a:ext cx="422275" cy="368300"/>
            <a:chOff x="762618" y="1027396"/>
            <a:chExt cx="421866" cy="367877"/>
          </a:xfrm>
        </p:grpSpPr>
        <p:sp>
          <p:nvSpPr>
            <p:cNvPr id="67" name="Freeform 6">
              <a:extLst>
                <a:ext uri="{FF2B5EF4-FFF2-40B4-BE49-F238E27FC236}"/>
              </a:extLst>
            </p:cNvPr>
            <p:cNvSpPr>
              <a:spLocks/>
            </p:cNvSpPr>
            <p:nvPr/>
          </p:nvSpPr>
          <p:spPr bwMode="auto">
            <a:xfrm>
              <a:off x="762618" y="1270005"/>
              <a:ext cx="420280" cy="125268"/>
            </a:xfrm>
            <a:custGeom>
              <a:avLst/>
              <a:gdLst>
                <a:gd name="T0" fmla="*/ 0 w 2963"/>
                <a:gd name="T1" fmla="*/ 0 h 879"/>
                <a:gd name="T2" fmla="*/ 2963 w 2963"/>
                <a:gd name="T3" fmla="*/ 0 h 879"/>
                <a:gd name="T4" fmla="*/ 2479 w 2963"/>
                <a:gd name="T5" fmla="*/ 879 h 879"/>
                <a:gd name="T6" fmla="*/ 508 w 2963"/>
                <a:gd name="T7" fmla="*/ 879 h 879"/>
                <a:gd name="T8" fmla="*/ 0 w 2963"/>
                <a:gd name="T9" fmla="*/ 0 h 879"/>
              </a:gdLst>
              <a:ahLst/>
              <a:cxnLst>
                <a:cxn ang="0">
                  <a:pos x="T0" y="T1"/>
                </a:cxn>
                <a:cxn ang="0">
                  <a:pos x="T2" y="T3"/>
                </a:cxn>
                <a:cxn ang="0">
                  <a:pos x="T4" y="T5"/>
                </a:cxn>
                <a:cxn ang="0">
                  <a:pos x="T6" y="T7"/>
                </a:cxn>
                <a:cxn ang="0">
                  <a:pos x="T8" y="T9"/>
                </a:cxn>
              </a:cxnLst>
              <a:rect l="0" t="0" r="r" b="b"/>
              <a:pathLst>
                <a:path w="2963" h="879">
                  <a:moveTo>
                    <a:pt x="0" y="0"/>
                  </a:moveTo>
                  <a:lnTo>
                    <a:pt x="2963" y="0"/>
                  </a:lnTo>
                  <a:lnTo>
                    <a:pt x="2479" y="879"/>
                  </a:lnTo>
                  <a:lnTo>
                    <a:pt x="508" y="879"/>
                  </a:lnTo>
                  <a:lnTo>
                    <a:pt x="0" y="0"/>
                  </a:lnTo>
                  <a:close/>
                </a:path>
              </a:pathLst>
            </a:custGeom>
            <a:solidFill>
              <a:schemeClr val="accent6">
                <a:lumMod val="20000"/>
                <a:lumOff val="80000"/>
              </a:schemeClr>
            </a:solidFill>
            <a:ln w="38100">
              <a:noFill/>
              <a:prstDash val="solid"/>
              <a:round/>
              <a:headEnd/>
              <a:tailEnd/>
            </a:ln>
          </p:spPr>
          <p:txBody>
            <a:bodyPr anchor="ctr"/>
            <a:lstStyle/>
            <a:p>
              <a:pPr>
                <a:defRPr/>
              </a:pPr>
              <a:endParaRPr lang="en-US" sz="200" dirty="0">
                <a:latin typeface="+mn-lt"/>
                <a:cs typeface="+mn-cs"/>
              </a:endParaRPr>
            </a:p>
          </p:txBody>
        </p:sp>
        <p:sp>
          <p:nvSpPr>
            <p:cNvPr id="71" name="Freeform 7">
              <a:extLst>
                <a:ext uri="{FF2B5EF4-FFF2-40B4-BE49-F238E27FC236}"/>
              </a:extLst>
            </p:cNvPr>
            <p:cNvSpPr>
              <a:spLocks/>
            </p:cNvSpPr>
            <p:nvPr/>
          </p:nvSpPr>
          <p:spPr bwMode="auto">
            <a:xfrm>
              <a:off x="762618" y="1027396"/>
              <a:ext cx="283887" cy="367877"/>
            </a:xfrm>
            <a:custGeom>
              <a:avLst/>
              <a:gdLst>
                <a:gd name="T0" fmla="*/ 983 w 1994"/>
                <a:gd name="T1" fmla="*/ 0 h 2580"/>
                <a:gd name="T2" fmla="*/ 0 w 1994"/>
                <a:gd name="T3" fmla="*/ 1701 h 2580"/>
                <a:gd name="T4" fmla="*/ 508 w 1994"/>
                <a:gd name="T5" fmla="*/ 2580 h 2580"/>
                <a:gd name="T6" fmla="*/ 1994 w 1994"/>
                <a:gd name="T7" fmla="*/ 0 h 2580"/>
                <a:gd name="T8" fmla="*/ 983 w 1994"/>
                <a:gd name="T9" fmla="*/ 0 h 2580"/>
              </a:gdLst>
              <a:ahLst/>
              <a:cxnLst>
                <a:cxn ang="0">
                  <a:pos x="T0" y="T1"/>
                </a:cxn>
                <a:cxn ang="0">
                  <a:pos x="T2" y="T3"/>
                </a:cxn>
                <a:cxn ang="0">
                  <a:pos x="T4" y="T5"/>
                </a:cxn>
                <a:cxn ang="0">
                  <a:pos x="T6" y="T7"/>
                </a:cxn>
                <a:cxn ang="0">
                  <a:pos x="T8" y="T9"/>
                </a:cxn>
              </a:cxnLst>
              <a:rect l="0" t="0" r="r" b="b"/>
              <a:pathLst>
                <a:path w="1994" h="2580">
                  <a:moveTo>
                    <a:pt x="983" y="0"/>
                  </a:moveTo>
                  <a:lnTo>
                    <a:pt x="0" y="1701"/>
                  </a:lnTo>
                  <a:lnTo>
                    <a:pt x="508" y="2580"/>
                  </a:lnTo>
                  <a:lnTo>
                    <a:pt x="1994" y="0"/>
                  </a:lnTo>
                  <a:lnTo>
                    <a:pt x="983" y="0"/>
                  </a:lnTo>
                  <a:close/>
                </a:path>
              </a:pathLst>
            </a:custGeom>
            <a:solidFill>
              <a:schemeClr val="accent4"/>
            </a:solidFill>
            <a:ln w="38100">
              <a:noFill/>
              <a:prstDash val="solid"/>
              <a:round/>
              <a:headEnd/>
              <a:tailEnd/>
            </a:ln>
          </p:spPr>
          <p:txBody>
            <a:bodyPr anchor="ctr"/>
            <a:lstStyle/>
            <a:p>
              <a:pPr>
                <a:defRPr/>
              </a:pPr>
              <a:endParaRPr lang="en-US" sz="200" dirty="0">
                <a:latin typeface="+mn-lt"/>
                <a:cs typeface="+mn-cs"/>
              </a:endParaRPr>
            </a:p>
          </p:txBody>
        </p:sp>
        <p:sp>
          <p:nvSpPr>
            <p:cNvPr id="72" name="Freeform 8">
              <a:extLst>
                <a:ext uri="{FF2B5EF4-FFF2-40B4-BE49-F238E27FC236}"/>
              </a:extLst>
            </p:cNvPr>
            <p:cNvSpPr>
              <a:spLocks/>
            </p:cNvSpPr>
            <p:nvPr/>
          </p:nvSpPr>
          <p:spPr bwMode="auto">
            <a:xfrm>
              <a:off x="903768" y="1027396"/>
              <a:ext cx="280716" cy="367877"/>
            </a:xfrm>
            <a:custGeom>
              <a:avLst/>
              <a:gdLst>
                <a:gd name="T0" fmla="*/ 0 w 1980"/>
                <a:gd name="T1" fmla="*/ 0 h 2580"/>
                <a:gd name="T2" fmla="*/ 1496 w 1980"/>
                <a:gd name="T3" fmla="*/ 2580 h 2580"/>
                <a:gd name="T4" fmla="*/ 1980 w 1980"/>
                <a:gd name="T5" fmla="*/ 1701 h 2580"/>
                <a:gd name="T6" fmla="*/ 1011 w 1980"/>
                <a:gd name="T7" fmla="*/ 0 h 2580"/>
                <a:gd name="T8" fmla="*/ 0 w 1980"/>
                <a:gd name="T9" fmla="*/ 0 h 2580"/>
              </a:gdLst>
              <a:ahLst/>
              <a:cxnLst>
                <a:cxn ang="0">
                  <a:pos x="T0" y="T1"/>
                </a:cxn>
                <a:cxn ang="0">
                  <a:pos x="T2" y="T3"/>
                </a:cxn>
                <a:cxn ang="0">
                  <a:pos x="T4" y="T5"/>
                </a:cxn>
                <a:cxn ang="0">
                  <a:pos x="T6" y="T7"/>
                </a:cxn>
                <a:cxn ang="0">
                  <a:pos x="T8" y="T9"/>
                </a:cxn>
              </a:cxnLst>
              <a:rect l="0" t="0" r="r" b="b"/>
              <a:pathLst>
                <a:path w="1980" h="2580">
                  <a:moveTo>
                    <a:pt x="0" y="0"/>
                  </a:moveTo>
                  <a:lnTo>
                    <a:pt x="1496" y="2580"/>
                  </a:lnTo>
                  <a:lnTo>
                    <a:pt x="1980" y="1701"/>
                  </a:lnTo>
                  <a:lnTo>
                    <a:pt x="1011" y="0"/>
                  </a:lnTo>
                  <a:lnTo>
                    <a:pt x="0" y="0"/>
                  </a:lnTo>
                  <a:close/>
                </a:path>
              </a:pathLst>
            </a:custGeom>
            <a:solidFill>
              <a:schemeClr val="accent6">
                <a:lumMod val="20000"/>
                <a:lumOff val="80000"/>
              </a:schemeClr>
            </a:solidFill>
            <a:ln w="19050">
              <a:noFill/>
              <a:prstDash val="solid"/>
              <a:round/>
              <a:headEnd/>
              <a:tailEnd/>
            </a:ln>
          </p:spPr>
          <p:txBody>
            <a:bodyPr anchor="ctr"/>
            <a:lstStyle/>
            <a:p>
              <a:pPr>
                <a:defRPr/>
              </a:pPr>
              <a:endParaRPr lang="en-US" sz="200" dirty="0">
                <a:latin typeface="+mn-lt"/>
                <a:cs typeface="+mn-cs"/>
              </a:endParaRPr>
            </a:p>
          </p:txBody>
        </p:sp>
        <p:sp>
          <p:nvSpPr>
            <p:cNvPr id="22631" name="TextBox 72"/>
            <p:cNvSpPr txBox="1">
              <a:spLocks noChangeArrowheads="1"/>
            </p:cNvSpPr>
            <p:nvPr/>
          </p:nvSpPr>
          <p:spPr bwMode="gray">
            <a:xfrm>
              <a:off x="805144" y="1170339"/>
              <a:ext cx="104340" cy="92333"/>
            </a:xfrm>
            <a:prstGeom prst="rect">
              <a:avLst/>
            </a:prstGeom>
            <a:noFill/>
            <a:ln w="9525">
              <a:noFill/>
              <a:miter lim="800000"/>
              <a:headEnd/>
              <a:tailEnd/>
            </a:ln>
          </p:spPr>
          <p:txBody>
            <a:bodyPr lIns="0" tIns="0" rIns="0" bIns="0" anchor="ctr">
              <a:spAutoFit/>
            </a:bodyPr>
            <a:lstStyle/>
            <a:p>
              <a:pPr algn="ctr" defTabSz="895350">
                <a:buClr>
                  <a:schemeClr val="tx2"/>
                </a:buClr>
                <a:buSzPct val="100000"/>
              </a:pPr>
              <a:r>
                <a:rPr lang="en-US" sz="200" b="1">
                  <a:solidFill>
                    <a:schemeClr val="bg1"/>
                  </a:solidFill>
                </a:rPr>
                <a:t>Health and nutrition</a:t>
              </a:r>
            </a:p>
          </p:txBody>
        </p:sp>
        <p:grpSp>
          <p:nvGrpSpPr>
            <p:cNvPr id="5" name="Group 73">
              <a:extLst>
                <a:ext uri="{FF2B5EF4-FFF2-40B4-BE49-F238E27FC236}"/>
              </a:extLst>
            </p:cNvPr>
            <p:cNvGrpSpPr/>
            <p:nvPr/>
          </p:nvGrpSpPr>
          <p:grpSpPr bwMode="gray">
            <a:xfrm>
              <a:off x="866426" y="1120885"/>
              <a:ext cx="66238" cy="57763"/>
              <a:chOff x="5045076" y="776288"/>
              <a:chExt cx="566737" cy="506412"/>
            </a:xfrm>
            <a:solidFill>
              <a:schemeClr val="bg1"/>
            </a:solidFill>
          </p:grpSpPr>
          <p:sp>
            <p:nvSpPr>
              <p:cNvPr id="90" name="Freeform 16">
                <a:extLst>
                  <a:ext uri="{FF2B5EF4-FFF2-40B4-BE49-F238E27FC236}"/>
                </a:extLst>
              </p:cNvPr>
              <p:cNvSpPr>
                <a:spLocks/>
              </p:cNvSpPr>
              <p:nvPr/>
            </p:nvSpPr>
            <p:spPr bwMode="gray">
              <a:xfrm>
                <a:off x="5168900" y="977900"/>
                <a:ext cx="368300" cy="304800"/>
              </a:xfrm>
              <a:custGeom>
                <a:avLst/>
                <a:gdLst>
                  <a:gd name="T0" fmla="*/ 81 w 98"/>
                  <a:gd name="T1" fmla="*/ 24 h 81"/>
                  <a:gd name="T2" fmla="*/ 81 w 98"/>
                  <a:gd name="T3" fmla="*/ 23 h 81"/>
                  <a:gd name="T4" fmla="*/ 79 w 98"/>
                  <a:gd name="T5" fmla="*/ 33 h 81"/>
                  <a:gd name="T6" fmla="*/ 75 w 98"/>
                  <a:gd name="T7" fmla="*/ 36 h 81"/>
                  <a:gd name="T8" fmla="*/ 75 w 98"/>
                  <a:gd name="T9" fmla="*/ 36 h 81"/>
                  <a:gd name="T10" fmla="*/ 72 w 98"/>
                  <a:gd name="T11" fmla="*/ 34 h 81"/>
                  <a:gd name="T12" fmla="*/ 65 w 98"/>
                  <a:gd name="T13" fmla="*/ 12 h 81"/>
                  <a:gd name="T14" fmla="*/ 60 w 98"/>
                  <a:gd name="T15" fmla="*/ 26 h 81"/>
                  <a:gd name="T16" fmla="*/ 56 w 98"/>
                  <a:gd name="T17" fmla="*/ 28 h 81"/>
                  <a:gd name="T18" fmla="*/ 53 w 98"/>
                  <a:gd name="T19" fmla="*/ 25 h 81"/>
                  <a:gd name="T20" fmla="*/ 48 w 98"/>
                  <a:gd name="T21" fmla="*/ 0 h 81"/>
                  <a:gd name="T22" fmla="*/ 41 w 98"/>
                  <a:gd name="T23" fmla="*/ 51 h 81"/>
                  <a:gd name="T24" fmla="*/ 38 w 98"/>
                  <a:gd name="T25" fmla="*/ 55 h 81"/>
                  <a:gd name="T26" fmla="*/ 38 w 98"/>
                  <a:gd name="T27" fmla="*/ 55 h 81"/>
                  <a:gd name="T28" fmla="*/ 38 w 98"/>
                  <a:gd name="T29" fmla="*/ 55 h 81"/>
                  <a:gd name="T30" fmla="*/ 34 w 98"/>
                  <a:gd name="T31" fmla="*/ 51 h 81"/>
                  <a:gd name="T32" fmla="*/ 31 w 98"/>
                  <a:gd name="T33" fmla="*/ 33 h 81"/>
                  <a:gd name="T34" fmla="*/ 30 w 98"/>
                  <a:gd name="T35" fmla="*/ 37 h 81"/>
                  <a:gd name="T36" fmla="*/ 26 w 98"/>
                  <a:gd name="T37" fmla="*/ 39 h 81"/>
                  <a:gd name="T38" fmla="*/ 26 w 98"/>
                  <a:gd name="T39" fmla="*/ 39 h 81"/>
                  <a:gd name="T40" fmla="*/ 23 w 98"/>
                  <a:gd name="T41" fmla="*/ 37 h 81"/>
                  <a:gd name="T42" fmla="*/ 17 w 98"/>
                  <a:gd name="T43" fmla="*/ 22 h 81"/>
                  <a:gd name="T44" fmla="*/ 13 w 98"/>
                  <a:gd name="T45" fmla="*/ 36 h 81"/>
                  <a:gd name="T46" fmla="*/ 9 w 98"/>
                  <a:gd name="T47" fmla="*/ 39 h 81"/>
                  <a:gd name="T48" fmla="*/ 0 w 98"/>
                  <a:gd name="T49" fmla="*/ 39 h 81"/>
                  <a:gd name="T50" fmla="*/ 43 w 98"/>
                  <a:gd name="T51" fmla="*/ 81 h 81"/>
                  <a:gd name="T52" fmla="*/ 98 w 98"/>
                  <a:gd name="T53" fmla="*/ 26 h 81"/>
                  <a:gd name="T54" fmla="*/ 84 w 98"/>
                  <a:gd name="T55" fmla="*/ 26 h 81"/>
                  <a:gd name="T56" fmla="*/ 81 w 98"/>
                  <a:gd name="T57"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81">
                    <a:moveTo>
                      <a:pt x="81" y="24"/>
                    </a:moveTo>
                    <a:cubicBezTo>
                      <a:pt x="81" y="23"/>
                      <a:pt x="81" y="23"/>
                      <a:pt x="81" y="23"/>
                    </a:cubicBezTo>
                    <a:cubicBezTo>
                      <a:pt x="79" y="33"/>
                      <a:pt x="79" y="33"/>
                      <a:pt x="79" y="33"/>
                    </a:cubicBezTo>
                    <a:cubicBezTo>
                      <a:pt x="79" y="35"/>
                      <a:pt x="77" y="36"/>
                      <a:pt x="75" y="36"/>
                    </a:cubicBezTo>
                    <a:cubicBezTo>
                      <a:pt x="75" y="36"/>
                      <a:pt x="75" y="36"/>
                      <a:pt x="75" y="36"/>
                    </a:cubicBezTo>
                    <a:cubicBezTo>
                      <a:pt x="74" y="36"/>
                      <a:pt x="72" y="35"/>
                      <a:pt x="72" y="34"/>
                    </a:cubicBezTo>
                    <a:cubicBezTo>
                      <a:pt x="65" y="12"/>
                      <a:pt x="65" y="12"/>
                      <a:pt x="65" y="12"/>
                    </a:cubicBezTo>
                    <a:cubicBezTo>
                      <a:pt x="60" y="26"/>
                      <a:pt x="60" y="26"/>
                      <a:pt x="60" y="26"/>
                    </a:cubicBezTo>
                    <a:cubicBezTo>
                      <a:pt x="59" y="27"/>
                      <a:pt x="58" y="28"/>
                      <a:pt x="56" y="28"/>
                    </a:cubicBezTo>
                    <a:cubicBezTo>
                      <a:pt x="54" y="28"/>
                      <a:pt x="53" y="27"/>
                      <a:pt x="53" y="25"/>
                    </a:cubicBezTo>
                    <a:cubicBezTo>
                      <a:pt x="48" y="0"/>
                      <a:pt x="48" y="0"/>
                      <a:pt x="48" y="0"/>
                    </a:cubicBezTo>
                    <a:cubicBezTo>
                      <a:pt x="41" y="51"/>
                      <a:pt x="41" y="51"/>
                      <a:pt x="41" y="51"/>
                    </a:cubicBezTo>
                    <a:cubicBezTo>
                      <a:pt x="41" y="53"/>
                      <a:pt x="39" y="55"/>
                      <a:pt x="38" y="55"/>
                    </a:cubicBezTo>
                    <a:cubicBezTo>
                      <a:pt x="38" y="55"/>
                      <a:pt x="38" y="55"/>
                      <a:pt x="38" y="55"/>
                    </a:cubicBezTo>
                    <a:cubicBezTo>
                      <a:pt x="38" y="55"/>
                      <a:pt x="38" y="55"/>
                      <a:pt x="38" y="55"/>
                    </a:cubicBezTo>
                    <a:cubicBezTo>
                      <a:pt x="36" y="55"/>
                      <a:pt x="34" y="53"/>
                      <a:pt x="34" y="51"/>
                    </a:cubicBezTo>
                    <a:cubicBezTo>
                      <a:pt x="31" y="33"/>
                      <a:pt x="31" y="33"/>
                      <a:pt x="31" y="33"/>
                    </a:cubicBezTo>
                    <a:cubicBezTo>
                      <a:pt x="30" y="37"/>
                      <a:pt x="30" y="37"/>
                      <a:pt x="30" y="37"/>
                    </a:cubicBezTo>
                    <a:cubicBezTo>
                      <a:pt x="29" y="38"/>
                      <a:pt x="28" y="39"/>
                      <a:pt x="26" y="39"/>
                    </a:cubicBezTo>
                    <a:cubicBezTo>
                      <a:pt x="26" y="39"/>
                      <a:pt x="26" y="39"/>
                      <a:pt x="26" y="39"/>
                    </a:cubicBezTo>
                    <a:cubicBezTo>
                      <a:pt x="25" y="39"/>
                      <a:pt x="23" y="38"/>
                      <a:pt x="23" y="37"/>
                    </a:cubicBezTo>
                    <a:cubicBezTo>
                      <a:pt x="17" y="22"/>
                      <a:pt x="17" y="22"/>
                      <a:pt x="17" y="22"/>
                    </a:cubicBezTo>
                    <a:cubicBezTo>
                      <a:pt x="13" y="36"/>
                      <a:pt x="13" y="36"/>
                      <a:pt x="13" y="36"/>
                    </a:cubicBezTo>
                    <a:cubicBezTo>
                      <a:pt x="13" y="37"/>
                      <a:pt x="11" y="39"/>
                      <a:pt x="9" y="39"/>
                    </a:cubicBezTo>
                    <a:cubicBezTo>
                      <a:pt x="0" y="39"/>
                      <a:pt x="0" y="39"/>
                      <a:pt x="0" y="39"/>
                    </a:cubicBezTo>
                    <a:cubicBezTo>
                      <a:pt x="43" y="81"/>
                      <a:pt x="43" y="81"/>
                      <a:pt x="43" y="81"/>
                    </a:cubicBezTo>
                    <a:cubicBezTo>
                      <a:pt x="98" y="26"/>
                      <a:pt x="98" y="26"/>
                      <a:pt x="98" y="26"/>
                    </a:cubicBezTo>
                    <a:cubicBezTo>
                      <a:pt x="84" y="26"/>
                      <a:pt x="84" y="26"/>
                      <a:pt x="84" y="26"/>
                    </a:cubicBezTo>
                    <a:cubicBezTo>
                      <a:pt x="83" y="26"/>
                      <a:pt x="81" y="25"/>
                      <a:pt x="81" y="24"/>
                    </a:cubicBezTo>
                    <a:close/>
                  </a:path>
                </a:pathLst>
              </a:custGeom>
              <a:grp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sp>
            <p:nvSpPr>
              <p:cNvPr id="91" name="Freeform 17">
                <a:extLst>
                  <a:ext uri="{FF2B5EF4-FFF2-40B4-BE49-F238E27FC236}"/>
                </a:extLst>
              </p:cNvPr>
              <p:cNvSpPr>
                <a:spLocks/>
              </p:cNvSpPr>
              <p:nvPr/>
            </p:nvSpPr>
            <p:spPr bwMode="gray">
              <a:xfrm>
                <a:off x="5045076" y="776288"/>
                <a:ext cx="566737" cy="319088"/>
              </a:xfrm>
              <a:custGeom>
                <a:avLst/>
                <a:gdLst>
                  <a:gd name="T0" fmla="*/ 46 w 151"/>
                  <a:gd name="T1" fmla="*/ 63 h 85"/>
                  <a:gd name="T2" fmla="*/ 50 w 151"/>
                  <a:gd name="T3" fmla="*/ 60 h 85"/>
                  <a:gd name="T4" fmla="*/ 53 w 151"/>
                  <a:gd name="T5" fmla="*/ 63 h 85"/>
                  <a:gd name="T6" fmla="*/ 59 w 151"/>
                  <a:gd name="T7" fmla="*/ 78 h 85"/>
                  <a:gd name="T8" fmla="*/ 61 w 151"/>
                  <a:gd name="T9" fmla="*/ 70 h 85"/>
                  <a:gd name="T10" fmla="*/ 65 w 151"/>
                  <a:gd name="T11" fmla="*/ 67 h 85"/>
                  <a:gd name="T12" fmla="*/ 69 w 151"/>
                  <a:gd name="T13" fmla="*/ 70 h 85"/>
                  <a:gd name="T14" fmla="*/ 70 w 151"/>
                  <a:gd name="T15" fmla="*/ 80 h 85"/>
                  <a:gd name="T16" fmla="*/ 77 w 151"/>
                  <a:gd name="T17" fmla="*/ 29 h 85"/>
                  <a:gd name="T18" fmla="*/ 81 w 151"/>
                  <a:gd name="T19" fmla="*/ 26 h 85"/>
                  <a:gd name="T20" fmla="*/ 84 w 151"/>
                  <a:gd name="T21" fmla="*/ 29 h 85"/>
                  <a:gd name="T22" fmla="*/ 91 w 151"/>
                  <a:gd name="T23" fmla="*/ 64 h 85"/>
                  <a:gd name="T24" fmla="*/ 95 w 151"/>
                  <a:gd name="T25" fmla="*/ 53 h 85"/>
                  <a:gd name="T26" fmla="*/ 98 w 151"/>
                  <a:gd name="T27" fmla="*/ 50 h 85"/>
                  <a:gd name="T28" fmla="*/ 102 w 151"/>
                  <a:gd name="T29" fmla="*/ 53 h 85"/>
                  <a:gd name="T30" fmla="*/ 107 w 151"/>
                  <a:gd name="T31" fmla="*/ 70 h 85"/>
                  <a:gd name="T32" fmla="*/ 109 w 151"/>
                  <a:gd name="T33" fmla="*/ 61 h 85"/>
                  <a:gd name="T34" fmla="*/ 112 w 151"/>
                  <a:gd name="T35" fmla="*/ 58 h 85"/>
                  <a:gd name="T36" fmla="*/ 112 w 151"/>
                  <a:gd name="T37" fmla="*/ 58 h 85"/>
                  <a:gd name="T38" fmla="*/ 116 w 151"/>
                  <a:gd name="T39" fmla="*/ 60 h 85"/>
                  <a:gd name="T40" fmla="*/ 120 w 151"/>
                  <a:gd name="T41" fmla="*/ 73 h 85"/>
                  <a:gd name="T42" fmla="*/ 138 w 151"/>
                  <a:gd name="T43" fmla="*/ 73 h 85"/>
                  <a:gd name="T44" fmla="*/ 135 w 151"/>
                  <a:gd name="T45" fmla="*/ 17 h 85"/>
                  <a:gd name="T46" fmla="*/ 76 w 151"/>
                  <a:gd name="T47" fmla="*/ 17 h 85"/>
                  <a:gd name="T48" fmla="*/ 16 w 151"/>
                  <a:gd name="T49" fmla="*/ 17 h 85"/>
                  <a:gd name="T50" fmla="*/ 16 w 151"/>
                  <a:gd name="T51" fmla="*/ 76 h 85"/>
                  <a:gd name="T52" fmla="*/ 25 w 151"/>
                  <a:gd name="T53" fmla="*/ 85 h 85"/>
                  <a:gd name="T54" fmla="*/ 40 w 151"/>
                  <a:gd name="T55" fmla="*/ 85 h 85"/>
                  <a:gd name="T56" fmla="*/ 46 w 151"/>
                  <a:gd name="T57" fmla="*/ 6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85">
                    <a:moveTo>
                      <a:pt x="46" y="63"/>
                    </a:moveTo>
                    <a:cubicBezTo>
                      <a:pt x="47" y="61"/>
                      <a:pt x="48" y="60"/>
                      <a:pt x="50" y="60"/>
                    </a:cubicBezTo>
                    <a:cubicBezTo>
                      <a:pt x="51" y="60"/>
                      <a:pt x="53" y="61"/>
                      <a:pt x="53" y="63"/>
                    </a:cubicBezTo>
                    <a:cubicBezTo>
                      <a:pt x="59" y="78"/>
                      <a:pt x="59" y="78"/>
                      <a:pt x="59" y="78"/>
                    </a:cubicBezTo>
                    <a:cubicBezTo>
                      <a:pt x="61" y="70"/>
                      <a:pt x="61" y="70"/>
                      <a:pt x="61" y="70"/>
                    </a:cubicBezTo>
                    <a:cubicBezTo>
                      <a:pt x="62" y="68"/>
                      <a:pt x="63" y="67"/>
                      <a:pt x="65" y="67"/>
                    </a:cubicBezTo>
                    <a:cubicBezTo>
                      <a:pt x="67" y="67"/>
                      <a:pt x="68" y="69"/>
                      <a:pt x="69" y="70"/>
                    </a:cubicBezTo>
                    <a:cubicBezTo>
                      <a:pt x="70" y="80"/>
                      <a:pt x="70" y="80"/>
                      <a:pt x="70" y="80"/>
                    </a:cubicBezTo>
                    <a:cubicBezTo>
                      <a:pt x="77" y="29"/>
                      <a:pt x="77" y="29"/>
                      <a:pt x="77" y="29"/>
                    </a:cubicBezTo>
                    <a:cubicBezTo>
                      <a:pt x="77" y="27"/>
                      <a:pt x="79" y="26"/>
                      <a:pt x="81" y="26"/>
                    </a:cubicBezTo>
                    <a:cubicBezTo>
                      <a:pt x="83" y="26"/>
                      <a:pt x="84" y="27"/>
                      <a:pt x="84" y="29"/>
                    </a:cubicBezTo>
                    <a:cubicBezTo>
                      <a:pt x="91" y="64"/>
                      <a:pt x="91" y="64"/>
                      <a:pt x="91" y="64"/>
                    </a:cubicBezTo>
                    <a:cubicBezTo>
                      <a:pt x="95" y="53"/>
                      <a:pt x="95" y="53"/>
                      <a:pt x="95" y="53"/>
                    </a:cubicBezTo>
                    <a:cubicBezTo>
                      <a:pt x="95" y="51"/>
                      <a:pt x="97" y="50"/>
                      <a:pt x="98" y="50"/>
                    </a:cubicBezTo>
                    <a:cubicBezTo>
                      <a:pt x="100" y="50"/>
                      <a:pt x="101" y="51"/>
                      <a:pt x="102" y="53"/>
                    </a:cubicBezTo>
                    <a:cubicBezTo>
                      <a:pt x="107" y="70"/>
                      <a:pt x="107" y="70"/>
                      <a:pt x="107" y="70"/>
                    </a:cubicBezTo>
                    <a:cubicBezTo>
                      <a:pt x="109" y="61"/>
                      <a:pt x="109" y="61"/>
                      <a:pt x="109" y="61"/>
                    </a:cubicBezTo>
                    <a:cubicBezTo>
                      <a:pt x="109" y="59"/>
                      <a:pt x="110" y="58"/>
                      <a:pt x="112" y="58"/>
                    </a:cubicBezTo>
                    <a:cubicBezTo>
                      <a:pt x="112" y="58"/>
                      <a:pt x="112" y="58"/>
                      <a:pt x="112" y="58"/>
                    </a:cubicBezTo>
                    <a:cubicBezTo>
                      <a:pt x="114" y="58"/>
                      <a:pt x="115" y="59"/>
                      <a:pt x="116" y="60"/>
                    </a:cubicBezTo>
                    <a:cubicBezTo>
                      <a:pt x="120" y="73"/>
                      <a:pt x="120" y="73"/>
                      <a:pt x="120" y="73"/>
                    </a:cubicBezTo>
                    <a:cubicBezTo>
                      <a:pt x="138" y="73"/>
                      <a:pt x="138" y="73"/>
                      <a:pt x="138" y="73"/>
                    </a:cubicBezTo>
                    <a:cubicBezTo>
                      <a:pt x="151" y="57"/>
                      <a:pt x="151" y="32"/>
                      <a:pt x="135" y="17"/>
                    </a:cubicBezTo>
                    <a:cubicBezTo>
                      <a:pt x="119" y="0"/>
                      <a:pt x="92" y="0"/>
                      <a:pt x="76" y="17"/>
                    </a:cubicBezTo>
                    <a:cubicBezTo>
                      <a:pt x="59" y="0"/>
                      <a:pt x="33" y="0"/>
                      <a:pt x="16" y="17"/>
                    </a:cubicBezTo>
                    <a:cubicBezTo>
                      <a:pt x="0" y="33"/>
                      <a:pt x="0" y="60"/>
                      <a:pt x="16" y="76"/>
                    </a:cubicBezTo>
                    <a:cubicBezTo>
                      <a:pt x="25" y="85"/>
                      <a:pt x="25" y="85"/>
                      <a:pt x="25" y="85"/>
                    </a:cubicBezTo>
                    <a:cubicBezTo>
                      <a:pt x="40" y="85"/>
                      <a:pt x="40" y="85"/>
                      <a:pt x="40" y="85"/>
                    </a:cubicBezTo>
                    <a:lnTo>
                      <a:pt x="46" y="63"/>
                    </a:lnTo>
                    <a:close/>
                  </a:path>
                </a:pathLst>
              </a:custGeom>
              <a:grp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grpSp>
        <p:sp>
          <p:nvSpPr>
            <p:cNvPr id="75" name="TextBox 74">
              <a:extLst>
                <a:ext uri="{FF2B5EF4-FFF2-40B4-BE49-F238E27FC236}"/>
              </a:extLst>
            </p:cNvPr>
            <p:cNvSpPr txBox="1">
              <a:spLocks/>
            </p:cNvSpPr>
            <p:nvPr/>
          </p:nvSpPr>
          <p:spPr bwMode="gray">
            <a:xfrm>
              <a:off x="1021129" y="1201820"/>
              <a:ext cx="123705" cy="30128"/>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Education</a:t>
              </a:r>
            </a:p>
          </p:txBody>
        </p:sp>
        <p:sp>
          <p:nvSpPr>
            <p:cNvPr id="81" name="Freeform 19">
              <a:extLst>
                <a:ext uri="{FF2B5EF4-FFF2-40B4-BE49-F238E27FC236}"/>
              </a:extLst>
            </p:cNvPr>
            <p:cNvSpPr>
              <a:spLocks noEditPoints="1"/>
            </p:cNvSpPr>
            <p:nvPr/>
          </p:nvSpPr>
          <p:spPr bwMode="gray">
            <a:xfrm>
              <a:off x="1013200" y="1119365"/>
              <a:ext cx="77712" cy="60256"/>
            </a:xfrm>
            <a:custGeom>
              <a:avLst/>
              <a:gdLst>
                <a:gd name="T0" fmla="*/ 98 w 748"/>
                <a:gd name="T1" fmla="*/ 338 h 573"/>
                <a:gd name="T2" fmla="*/ 98 w 748"/>
                <a:gd name="T3" fmla="*/ 389 h 573"/>
                <a:gd name="T4" fmla="*/ 109 w 748"/>
                <a:gd name="T5" fmla="*/ 363 h 573"/>
                <a:gd name="T6" fmla="*/ 592 w 748"/>
                <a:gd name="T7" fmla="*/ 288 h 573"/>
                <a:gd name="T8" fmla="*/ 61 w 748"/>
                <a:gd name="T9" fmla="*/ 333 h 573"/>
                <a:gd name="T10" fmla="*/ 101 w 748"/>
                <a:gd name="T11" fmla="*/ 439 h 573"/>
                <a:gd name="T12" fmla="*/ 262 w 748"/>
                <a:gd name="T13" fmla="*/ 543 h 573"/>
                <a:gd name="T14" fmla="*/ 328 w 748"/>
                <a:gd name="T15" fmla="*/ 573 h 573"/>
                <a:gd name="T16" fmla="*/ 385 w 748"/>
                <a:gd name="T17" fmla="*/ 573 h 573"/>
                <a:gd name="T18" fmla="*/ 451 w 748"/>
                <a:gd name="T19" fmla="*/ 543 h 573"/>
                <a:gd name="T20" fmla="*/ 591 w 748"/>
                <a:gd name="T21" fmla="*/ 439 h 573"/>
                <a:gd name="T22" fmla="*/ 592 w 748"/>
                <a:gd name="T23" fmla="*/ 288 h 573"/>
                <a:gd name="T24" fmla="*/ 101 w 748"/>
                <a:gd name="T25" fmla="*/ 419 h 573"/>
                <a:gd name="T26" fmla="*/ 102 w 748"/>
                <a:gd name="T27" fmla="*/ 308 h 573"/>
                <a:gd name="T28" fmla="*/ 126 w 748"/>
                <a:gd name="T29" fmla="*/ 363 h 573"/>
                <a:gd name="T30" fmla="*/ 314 w 748"/>
                <a:gd name="T31" fmla="*/ 419 h 573"/>
                <a:gd name="T32" fmla="*/ 146 w 748"/>
                <a:gd name="T33" fmla="*/ 364 h 573"/>
                <a:gd name="T34" fmla="*/ 314 w 748"/>
                <a:gd name="T35" fmla="*/ 308 h 573"/>
                <a:gd name="T36" fmla="*/ 314 w 748"/>
                <a:gd name="T37" fmla="*/ 419 h 573"/>
                <a:gd name="T38" fmla="*/ 405 w 748"/>
                <a:gd name="T39" fmla="*/ 419 h 573"/>
                <a:gd name="T40" fmla="*/ 405 w 748"/>
                <a:gd name="T41" fmla="*/ 308 h 573"/>
                <a:gd name="T42" fmla="*/ 616 w 748"/>
                <a:gd name="T43" fmla="*/ 363 h 573"/>
                <a:gd name="T44" fmla="*/ 748 w 748"/>
                <a:gd name="T45" fmla="*/ 360 h 573"/>
                <a:gd name="T46" fmla="*/ 734 w 748"/>
                <a:gd name="T47" fmla="*/ 279 h 573"/>
                <a:gd name="T48" fmla="*/ 719 w 748"/>
                <a:gd name="T49" fmla="*/ 220 h 573"/>
                <a:gd name="T50" fmla="*/ 715 w 748"/>
                <a:gd name="T51" fmla="*/ 128 h 573"/>
                <a:gd name="T52" fmla="*/ 580 w 748"/>
                <a:gd name="T53" fmla="*/ 66 h 573"/>
                <a:gd name="T54" fmla="*/ 358 w 748"/>
                <a:gd name="T55" fmla="*/ 0 h 573"/>
                <a:gd name="T56" fmla="*/ 136 w 748"/>
                <a:gd name="T57" fmla="*/ 66 h 573"/>
                <a:gd name="T58" fmla="*/ 0 w 748"/>
                <a:gd name="T59" fmla="*/ 128 h 573"/>
                <a:gd name="T60" fmla="*/ 153 w 748"/>
                <a:gd name="T61" fmla="*/ 174 h 573"/>
                <a:gd name="T62" fmla="*/ 171 w 748"/>
                <a:gd name="T63" fmla="*/ 250 h 573"/>
                <a:gd name="T64" fmla="*/ 544 w 748"/>
                <a:gd name="T65" fmla="*/ 179 h 573"/>
                <a:gd name="T66" fmla="*/ 580 w 748"/>
                <a:gd name="T67" fmla="*/ 169 h 573"/>
                <a:gd name="T68" fmla="*/ 690 w 748"/>
                <a:gd name="T69" fmla="*/ 223 h 573"/>
                <a:gd name="T70" fmla="*/ 683 w 748"/>
                <a:gd name="T71" fmla="*/ 280 h 573"/>
                <a:gd name="T72" fmla="*/ 667 w 748"/>
                <a:gd name="T73" fmla="*/ 36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8" h="573">
                  <a:moveTo>
                    <a:pt x="98" y="338"/>
                  </a:moveTo>
                  <a:cubicBezTo>
                    <a:pt x="98" y="338"/>
                    <a:pt x="98" y="338"/>
                    <a:pt x="98" y="338"/>
                  </a:cubicBezTo>
                  <a:cubicBezTo>
                    <a:pt x="92" y="338"/>
                    <a:pt x="87" y="349"/>
                    <a:pt x="87" y="363"/>
                  </a:cubicBezTo>
                  <a:cubicBezTo>
                    <a:pt x="87" y="377"/>
                    <a:pt x="92" y="388"/>
                    <a:pt x="98" y="389"/>
                  </a:cubicBezTo>
                  <a:cubicBezTo>
                    <a:pt x="98" y="389"/>
                    <a:pt x="98" y="389"/>
                    <a:pt x="98" y="389"/>
                  </a:cubicBezTo>
                  <a:cubicBezTo>
                    <a:pt x="104" y="389"/>
                    <a:pt x="109" y="377"/>
                    <a:pt x="109" y="363"/>
                  </a:cubicBezTo>
                  <a:cubicBezTo>
                    <a:pt x="109" y="349"/>
                    <a:pt x="104" y="338"/>
                    <a:pt x="98" y="338"/>
                  </a:cubicBezTo>
                  <a:close/>
                  <a:moveTo>
                    <a:pt x="592" y="288"/>
                  </a:moveTo>
                  <a:cubicBezTo>
                    <a:pt x="102" y="288"/>
                    <a:pt x="102" y="288"/>
                    <a:pt x="102" y="288"/>
                  </a:cubicBezTo>
                  <a:cubicBezTo>
                    <a:pt x="82" y="288"/>
                    <a:pt x="67" y="305"/>
                    <a:pt x="61" y="333"/>
                  </a:cubicBezTo>
                  <a:cubicBezTo>
                    <a:pt x="59" y="342"/>
                    <a:pt x="57" y="352"/>
                    <a:pt x="57" y="363"/>
                  </a:cubicBezTo>
                  <a:cubicBezTo>
                    <a:pt x="57" y="407"/>
                    <a:pt x="75" y="438"/>
                    <a:pt x="101" y="439"/>
                  </a:cubicBezTo>
                  <a:cubicBezTo>
                    <a:pt x="310" y="439"/>
                    <a:pt x="310" y="439"/>
                    <a:pt x="310" y="439"/>
                  </a:cubicBezTo>
                  <a:cubicBezTo>
                    <a:pt x="262" y="543"/>
                    <a:pt x="262" y="543"/>
                    <a:pt x="262" y="543"/>
                  </a:cubicBezTo>
                  <a:cubicBezTo>
                    <a:pt x="305" y="539"/>
                    <a:pt x="305" y="539"/>
                    <a:pt x="305" y="539"/>
                  </a:cubicBezTo>
                  <a:cubicBezTo>
                    <a:pt x="328" y="573"/>
                    <a:pt x="328" y="573"/>
                    <a:pt x="328" y="573"/>
                  </a:cubicBezTo>
                  <a:cubicBezTo>
                    <a:pt x="357" y="511"/>
                    <a:pt x="357" y="511"/>
                    <a:pt x="357" y="511"/>
                  </a:cubicBezTo>
                  <a:cubicBezTo>
                    <a:pt x="385" y="573"/>
                    <a:pt x="385" y="573"/>
                    <a:pt x="385" y="573"/>
                  </a:cubicBezTo>
                  <a:cubicBezTo>
                    <a:pt x="408" y="539"/>
                    <a:pt x="408" y="539"/>
                    <a:pt x="408" y="539"/>
                  </a:cubicBezTo>
                  <a:cubicBezTo>
                    <a:pt x="451" y="543"/>
                    <a:pt x="451" y="543"/>
                    <a:pt x="451" y="543"/>
                  </a:cubicBezTo>
                  <a:cubicBezTo>
                    <a:pt x="403" y="439"/>
                    <a:pt x="403" y="439"/>
                    <a:pt x="403" y="439"/>
                  </a:cubicBezTo>
                  <a:cubicBezTo>
                    <a:pt x="591" y="439"/>
                    <a:pt x="591" y="439"/>
                    <a:pt x="591" y="439"/>
                  </a:cubicBezTo>
                  <a:cubicBezTo>
                    <a:pt x="617" y="439"/>
                    <a:pt x="636" y="408"/>
                    <a:pt x="636" y="364"/>
                  </a:cubicBezTo>
                  <a:cubicBezTo>
                    <a:pt x="636" y="319"/>
                    <a:pt x="618" y="288"/>
                    <a:pt x="592" y="288"/>
                  </a:cubicBezTo>
                  <a:close/>
                  <a:moveTo>
                    <a:pt x="101" y="419"/>
                  </a:moveTo>
                  <a:cubicBezTo>
                    <a:pt x="101" y="419"/>
                    <a:pt x="101" y="419"/>
                    <a:pt x="101" y="419"/>
                  </a:cubicBezTo>
                  <a:cubicBezTo>
                    <a:pt x="88" y="419"/>
                    <a:pt x="77" y="394"/>
                    <a:pt x="77" y="363"/>
                  </a:cubicBezTo>
                  <a:cubicBezTo>
                    <a:pt x="77" y="332"/>
                    <a:pt x="88" y="308"/>
                    <a:pt x="102" y="308"/>
                  </a:cubicBezTo>
                  <a:cubicBezTo>
                    <a:pt x="102" y="308"/>
                    <a:pt x="102" y="308"/>
                    <a:pt x="102" y="308"/>
                  </a:cubicBezTo>
                  <a:cubicBezTo>
                    <a:pt x="115" y="308"/>
                    <a:pt x="126" y="333"/>
                    <a:pt x="126" y="363"/>
                  </a:cubicBezTo>
                  <a:cubicBezTo>
                    <a:pt x="126" y="394"/>
                    <a:pt x="115" y="419"/>
                    <a:pt x="101" y="419"/>
                  </a:cubicBezTo>
                  <a:close/>
                  <a:moveTo>
                    <a:pt x="314" y="419"/>
                  </a:moveTo>
                  <a:cubicBezTo>
                    <a:pt x="132" y="419"/>
                    <a:pt x="132" y="419"/>
                    <a:pt x="132" y="419"/>
                  </a:cubicBezTo>
                  <a:cubicBezTo>
                    <a:pt x="141" y="406"/>
                    <a:pt x="146" y="386"/>
                    <a:pt x="146" y="364"/>
                  </a:cubicBezTo>
                  <a:cubicBezTo>
                    <a:pt x="146" y="340"/>
                    <a:pt x="141" y="321"/>
                    <a:pt x="133" y="308"/>
                  </a:cubicBezTo>
                  <a:cubicBezTo>
                    <a:pt x="314" y="308"/>
                    <a:pt x="314" y="308"/>
                    <a:pt x="314" y="308"/>
                  </a:cubicBezTo>
                  <a:cubicBezTo>
                    <a:pt x="323" y="319"/>
                    <a:pt x="328" y="340"/>
                    <a:pt x="328" y="364"/>
                  </a:cubicBezTo>
                  <a:cubicBezTo>
                    <a:pt x="328" y="387"/>
                    <a:pt x="322" y="408"/>
                    <a:pt x="314" y="419"/>
                  </a:cubicBezTo>
                  <a:close/>
                  <a:moveTo>
                    <a:pt x="592" y="419"/>
                  </a:moveTo>
                  <a:cubicBezTo>
                    <a:pt x="405" y="419"/>
                    <a:pt x="405" y="419"/>
                    <a:pt x="405" y="419"/>
                  </a:cubicBezTo>
                  <a:cubicBezTo>
                    <a:pt x="413" y="408"/>
                    <a:pt x="419" y="387"/>
                    <a:pt x="419" y="364"/>
                  </a:cubicBezTo>
                  <a:cubicBezTo>
                    <a:pt x="419" y="340"/>
                    <a:pt x="414" y="319"/>
                    <a:pt x="405" y="308"/>
                  </a:cubicBezTo>
                  <a:cubicBezTo>
                    <a:pt x="592" y="308"/>
                    <a:pt x="592" y="308"/>
                    <a:pt x="592" y="308"/>
                  </a:cubicBezTo>
                  <a:cubicBezTo>
                    <a:pt x="605" y="308"/>
                    <a:pt x="616" y="333"/>
                    <a:pt x="616" y="363"/>
                  </a:cubicBezTo>
                  <a:cubicBezTo>
                    <a:pt x="616" y="394"/>
                    <a:pt x="605" y="419"/>
                    <a:pt x="592" y="419"/>
                  </a:cubicBezTo>
                  <a:close/>
                  <a:moveTo>
                    <a:pt x="748" y="360"/>
                  </a:moveTo>
                  <a:cubicBezTo>
                    <a:pt x="728" y="283"/>
                    <a:pt x="728" y="283"/>
                    <a:pt x="728" y="283"/>
                  </a:cubicBezTo>
                  <a:cubicBezTo>
                    <a:pt x="730" y="282"/>
                    <a:pt x="732" y="280"/>
                    <a:pt x="734" y="279"/>
                  </a:cubicBezTo>
                  <a:cubicBezTo>
                    <a:pt x="747" y="264"/>
                    <a:pt x="747" y="242"/>
                    <a:pt x="732" y="228"/>
                  </a:cubicBezTo>
                  <a:cubicBezTo>
                    <a:pt x="728" y="224"/>
                    <a:pt x="724" y="222"/>
                    <a:pt x="719" y="220"/>
                  </a:cubicBezTo>
                  <a:cubicBezTo>
                    <a:pt x="715" y="196"/>
                    <a:pt x="706" y="162"/>
                    <a:pt x="688" y="136"/>
                  </a:cubicBezTo>
                  <a:cubicBezTo>
                    <a:pt x="715" y="128"/>
                    <a:pt x="715" y="128"/>
                    <a:pt x="715" y="128"/>
                  </a:cubicBezTo>
                  <a:cubicBezTo>
                    <a:pt x="715" y="106"/>
                    <a:pt x="715" y="106"/>
                    <a:pt x="715" y="106"/>
                  </a:cubicBezTo>
                  <a:cubicBezTo>
                    <a:pt x="580" y="66"/>
                    <a:pt x="580" y="66"/>
                    <a:pt x="580" y="66"/>
                  </a:cubicBezTo>
                  <a:cubicBezTo>
                    <a:pt x="519" y="48"/>
                    <a:pt x="519" y="48"/>
                    <a:pt x="519" y="48"/>
                  </a:cubicBezTo>
                  <a:cubicBezTo>
                    <a:pt x="358" y="0"/>
                    <a:pt x="358" y="0"/>
                    <a:pt x="358" y="0"/>
                  </a:cubicBezTo>
                  <a:cubicBezTo>
                    <a:pt x="196" y="48"/>
                    <a:pt x="196" y="48"/>
                    <a:pt x="196" y="48"/>
                  </a:cubicBezTo>
                  <a:cubicBezTo>
                    <a:pt x="136" y="66"/>
                    <a:pt x="136" y="66"/>
                    <a:pt x="136" y="66"/>
                  </a:cubicBezTo>
                  <a:cubicBezTo>
                    <a:pt x="0" y="106"/>
                    <a:pt x="0" y="106"/>
                    <a:pt x="0" y="106"/>
                  </a:cubicBezTo>
                  <a:cubicBezTo>
                    <a:pt x="0" y="128"/>
                    <a:pt x="0" y="128"/>
                    <a:pt x="0" y="128"/>
                  </a:cubicBezTo>
                  <a:cubicBezTo>
                    <a:pt x="136" y="169"/>
                    <a:pt x="136" y="169"/>
                    <a:pt x="136" y="169"/>
                  </a:cubicBezTo>
                  <a:cubicBezTo>
                    <a:pt x="153" y="174"/>
                    <a:pt x="153" y="174"/>
                    <a:pt x="153" y="174"/>
                  </a:cubicBezTo>
                  <a:cubicBezTo>
                    <a:pt x="171" y="179"/>
                    <a:pt x="171" y="179"/>
                    <a:pt x="171" y="179"/>
                  </a:cubicBezTo>
                  <a:cubicBezTo>
                    <a:pt x="171" y="250"/>
                    <a:pt x="171" y="250"/>
                    <a:pt x="171" y="250"/>
                  </a:cubicBezTo>
                  <a:cubicBezTo>
                    <a:pt x="544" y="250"/>
                    <a:pt x="544" y="250"/>
                    <a:pt x="544" y="250"/>
                  </a:cubicBezTo>
                  <a:cubicBezTo>
                    <a:pt x="544" y="179"/>
                    <a:pt x="544" y="179"/>
                    <a:pt x="544" y="179"/>
                  </a:cubicBezTo>
                  <a:cubicBezTo>
                    <a:pt x="562" y="174"/>
                    <a:pt x="562" y="174"/>
                    <a:pt x="562" y="174"/>
                  </a:cubicBezTo>
                  <a:cubicBezTo>
                    <a:pt x="580" y="169"/>
                    <a:pt x="580" y="169"/>
                    <a:pt x="580" y="169"/>
                  </a:cubicBezTo>
                  <a:cubicBezTo>
                    <a:pt x="659" y="145"/>
                    <a:pt x="659" y="145"/>
                    <a:pt x="659" y="145"/>
                  </a:cubicBezTo>
                  <a:cubicBezTo>
                    <a:pt x="678" y="166"/>
                    <a:pt x="686" y="199"/>
                    <a:pt x="690" y="223"/>
                  </a:cubicBezTo>
                  <a:cubicBezTo>
                    <a:pt x="687" y="225"/>
                    <a:pt x="684" y="227"/>
                    <a:pt x="682" y="229"/>
                  </a:cubicBezTo>
                  <a:cubicBezTo>
                    <a:pt x="668" y="244"/>
                    <a:pt x="669" y="266"/>
                    <a:pt x="683" y="280"/>
                  </a:cubicBezTo>
                  <a:cubicBezTo>
                    <a:pt x="684" y="281"/>
                    <a:pt x="686" y="282"/>
                    <a:pt x="687" y="283"/>
                  </a:cubicBezTo>
                  <a:cubicBezTo>
                    <a:pt x="667" y="360"/>
                    <a:pt x="667" y="360"/>
                    <a:pt x="667" y="360"/>
                  </a:cubicBezTo>
                  <a:lnTo>
                    <a:pt x="748" y="360"/>
                  </a:lnTo>
                  <a:close/>
                </a:path>
              </a:pathLst>
            </a:custGeom>
            <a:solidFill>
              <a:schemeClr val="accent6">
                <a:lumMod val="60000"/>
                <a:lumOff val="40000"/>
              </a:schemeClr>
            </a:solidFill>
            <a:ln>
              <a:noFill/>
            </a:ln>
            <a:extLst/>
          </p:spPr>
          <p:txBody>
            <a:bodyPr anchor="ctr"/>
            <a:lstStyle/>
            <a:p>
              <a:pPr>
                <a:defRPr/>
              </a:pPr>
              <a:endParaRPr lang="de-DE" sz="200">
                <a:latin typeface="+mn-lt"/>
                <a:cs typeface="+mn-cs"/>
              </a:endParaRPr>
            </a:p>
          </p:txBody>
        </p:sp>
        <p:sp>
          <p:nvSpPr>
            <p:cNvPr id="83" name="TextBox 82">
              <a:extLst>
                <a:ext uri="{FF2B5EF4-FFF2-40B4-BE49-F238E27FC236}"/>
              </a:extLst>
            </p:cNvPr>
            <p:cNvSpPr txBox="1"/>
            <p:nvPr/>
          </p:nvSpPr>
          <p:spPr bwMode="gray">
            <a:xfrm>
              <a:off x="872049" y="1331846"/>
              <a:ext cx="210933" cy="61842"/>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Labour force participation</a:t>
              </a:r>
            </a:p>
          </p:txBody>
        </p:sp>
        <p:grpSp>
          <p:nvGrpSpPr>
            <p:cNvPr id="6" name="Group 83">
              <a:extLst>
                <a:ext uri="{FF2B5EF4-FFF2-40B4-BE49-F238E27FC236}"/>
              </a:extLst>
            </p:cNvPr>
            <p:cNvGrpSpPr/>
            <p:nvPr/>
          </p:nvGrpSpPr>
          <p:grpSpPr bwMode="gray">
            <a:xfrm>
              <a:off x="950770" y="1275671"/>
              <a:ext cx="53842" cy="56803"/>
              <a:chOff x="-7816851" y="1463676"/>
              <a:chExt cx="1020763" cy="1073150"/>
            </a:xfrm>
            <a:solidFill>
              <a:schemeClr val="bg1"/>
            </a:solidFill>
          </p:grpSpPr>
          <p:sp>
            <p:nvSpPr>
              <p:cNvPr id="85" name="Freeform 7026">
                <a:extLst>
                  <a:ext uri="{FF2B5EF4-FFF2-40B4-BE49-F238E27FC236}"/>
                </a:extLst>
              </p:cNvPr>
              <p:cNvSpPr>
                <a:spLocks noEditPoints="1"/>
              </p:cNvSpPr>
              <p:nvPr/>
            </p:nvSpPr>
            <p:spPr bwMode="gray">
              <a:xfrm>
                <a:off x="-7816851" y="1463676"/>
                <a:ext cx="873125" cy="1073150"/>
              </a:xfrm>
              <a:custGeom>
                <a:avLst/>
                <a:gdLst>
                  <a:gd name="T0" fmla="*/ 81 w 1063"/>
                  <a:gd name="T1" fmla="*/ 237 h 1305"/>
                  <a:gd name="T2" fmla="*/ 237 w 1063"/>
                  <a:gd name="T3" fmla="*/ 237 h 1305"/>
                  <a:gd name="T4" fmla="*/ 237 w 1063"/>
                  <a:gd name="T5" fmla="*/ 81 h 1305"/>
                  <a:gd name="T6" fmla="*/ 81 w 1063"/>
                  <a:gd name="T7" fmla="*/ 237 h 1305"/>
                  <a:gd name="T8" fmla="*/ 81 w 1063"/>
                  <a:gd name="T9" fmla="*/ 237 h 1305"/>
                  <a:gd name="T10" fmla="*/ 260 w 1063"/>
                  <a:gd name="T11" fmla="*/ 284 h 1305"/>
                  <a:gd name="T12" fmla="*/ 47 w 1063"/>
                  <a:gd name="T13" fmla="*/ 284 h 1305"/>
                  <a:gd name="T14" fmla="*/ 47 w 1063"/>
                  <a:gd name="T15" fmla="*/ 1257 h 1305"/>
                  <a:gd name="T16" fmla="*/ 1016 w 1063"/>
                  <a:gd name="T17" fmla="*/ 1257 h 1305"/>
                  <a:gd name="T18" fmla="*/ 1016 w 1063"/>
                  <a:gd name="T19" fmla="*/ 1184 h 1305"/>
                  <a:gd name="T20" fmla="*/ 1063 w 1063"/>
                  <a:gd name="T21" fmla="*/ 1180 h 1305"/>
                  <a:gd name="T22" fmla="*/ 1063 w 1063"/>
                  <a:gd name="T23" fmla="*/ 1281 h 1305"/>
                  <a:gd name="T24" fmla="*/ 1039 w 1063"/>
                  <a:gd name="T25" fmla="*/ 1305 h 1305"/>
                  <a:gd name="T26" fmla="*/ 24 w 1063"/>
                  <a:gd name="T27" fmla="*/ 1305 h 1305"/>
                  <a:gd name="T28" fmla="*/ 0 w 1063"/>
                  <a:gd name="T29" fmla="*/ 1281 h 1305"/>
                  <a:gd name="T30" fmla="*/ 0 w 1063"/>
                  <a:gd name="T31" fmla="*/ 260 h 1305"/>
                  <a:gd name="T32" fmla="*/ 7 w 1063"/>
                  <a:gd name="T33" fmla="*/ 244 h 1305"/>
                  <a:gd name="T34" fmla="*/ 244 w 1063"/>
                  <a:gd name="T35" fmla="*/ 7 h 1305"/>
                  <a:gd name="T36" fmla="*/ 260 w 1063"/>
                  <a:gd name="T37" fmla="*/ 0 h 1305"/>
                  <a:gd name="T38" fmla="*/ 1039 w 1063"/>
                  <a:gd name="T39" fmla="*/ 0 h 1305"/>
                  <a:gd name="T40" fmla="*/ 1063 w 1063"/>
                  <a:gd name="T41" fmla="*/ 24 h 1305"/>
                  <a:gd name="T42" fmla="*/ 1063 w 1063"/>
                  <a:gd name="T43" fmla="*/ 943 h 1305"/>
                  <a:gd name="T44" fmla="*/ 1016 w 1063"/>
                  <a:gd name="T45" fmla="*/ 947 h 1305"/>
                  <a:gd name="T46" fmla="*/ 1016 w 1063"/>
                  <a:gd name="T47" fmla="*/ 47 h 1305"/>
                  <a:gd name="T48" fmla="*/ 284 w 1063"/>
                  <a:gd name="T49" fmla="*/ 47 h 1305"/>
                  <a:gd name="T50" fmla="*/ 284 w 1063"/>
                  <a:gd name="T51" fmla="*/ 260 h 1305"/>
                  <a:gd name="T52" fmla="*/ 260 w 1063"/>
                  <a:gd name="T53" fmla="*/ 284 h 1305"/>
                  <a:gd name="T54" fmla="*/ 260 w 1063"/>
                  <a:gd name="T55" fmla="*/ 284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3" h="1305">
                    <a:moveTo>
                      <a:pt x="81" y="237"/>
                    </a:moveTo>
                    <a:lnTo>
                      <a:pt x="237" y="237"/>
                    </a:lnTo>
                    <a:lnTo>
                      <a:pt x="237" y="81"/>
                    </a:lnTo>
                    <a:lnTo>
                      <a:pt x="81" y="237"/>
                    </a:lnTo>
                    <a:lnTo>
                      <a:pt x="81" y="237"/>
                    </a:lnTo>
                    <a:close/>
                    <a:moveTo>
                      <a:pt x="260" y="284"/>
                    </a:moveTo>
                    <a:lnTo>
                      <a:pt x="47" y="284"/>
                    </a:lnTo>
                    <a:lnTo>
                      <a:pt x="47" y="1257"/>
                    </a:lnTo>
                    <a:lnTo>
                      <a:pt x="1016" y="1257"/>
                    </a:lnTo>
                    <a:lnTo>
                      <a:pt x="1016" y="1184"/>
                    </a:lnTo>
                    <a:lnTo>
                      <a:pt x="1063" y="1180"/>
                    </a:lnTo>
                    <a:lnTo>
                      <a:pt x="1063" y="1281"/>
                    </a:lnTo>
                    <a:cubicBezTo>
                      <a:pt x="1063" y="1294"/>
                      <a:pt x="1052" y="1305"/>
                      <a:pt x="1039" y="1305"/>
                    </a:cubicBezTo>
                    <a:lnTo>
                      <a:pt x="24" y="1305"/>
                    </a:lnTo>
                    <a:cubicBezTo>
                      <a:pt x="11" y="1305"/>
                      <a:pt x="0" y="1294"/>
                      <a:pt x="0" y="1281"/>
                    </a:cubicBezTo>
                    <a:lnTo>
                      <a:pt x="0" y="260"/>
                    </a:lnTo>
                    <a:cubicBezTo>
                      <a:pt x="0" y="254"/>
                      <a:pt x="3" y="248"/>
                      <a:pt x="7" y="244"/>
                    </a:cubicBezTo>
                    <a:lnTo>
                      <a:pt x="244" y="7"/>
                    </a:lnTo>
                    <a:lnTo>
                      <a:pt x="260" y="0"/>
                    </a:lnTo>
                    <a:lnTo>
                      <a:pt x="1039" y="0"/>
                    </a:lnTo>
                    <a:cubicBezTo>
                      <a:pt x="1052" y="0"/>
                      <a:pt x="1063" y="11"/>
                      <a:pt x="1063" y="24"/>
                    </a:cubicBezTo>
                    <a:lnTo>
                      <a:pt x="1063" y="943"/>
                    </a:lnTo>
                    <a:lnTo>
                      <a:pt x="1016" y="947"/>
                    </a:lnTo>
                    <a:lnTo>
                      <a:pt x="1016" y="47"/>
                    </a:lnTo>
                    <a:lnTo>
                      <a:pt x="284" y="47"/>
                    </a:lnTo>
                    <a:lnTo>
                      <a:pt x="284" y="260"/>
                    </a:lnTo>
                    <a:cubicBezTo>
                      <a:pt x="284" y="273"/>
                      <a:pt x="273" y="284"/>
                      <a:pt x="260" y="284"/>
                    </a:cubicBezTo>
                    <a:lnTo>
                      <a:pt x="260" y="284"/>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86" name="Freeform 7027">
                <a:extLst>
                  <a:ext uri="{FF2B5EF4-FFF2-40B4-BE49-F238E27FC236}"/>
                </a:extLst>
              </p:cNvPr>
              <p:cNvSpPr>
                <a:spLocks/>
              </p:cNvSpPr>
              <p:nvPr/>
            </p:nvSpPr>
            <p:spPr bwMode="gray">
              <a:xfrm>
                <a:off x="-7712076" y="2087563"/>
                <a:ext cx="661988" cy="38100"/>
              </a:xfrm>
              <a:custGeom>
                <a:avLst/>
                <a:gdLst>
                  <a:gd name="T0" fmla="*/ 24 w 807"/>
                  <a:gd name="T1" fmla="*/ 47 h 47"/>
                  <a:gd name="T2" fmla="*/ 0 w 807"/>
                  <a:gd name="T3" fmla="*/ 24 h 47"/>
                  <a:gd name="T4" fmla="*/ 24 w 807"/>
                  <a:gd name="T5" fmla="*/ 0 h 47"/>
                  <a:gd name="T6" fmla="*/ 783 w 807"/>
                  <a:gd name="T7" fmla="*/ 0 h 47"/>
                  <a:gd name="T8" fmla="*/ 807 w 807"/>
                  <a:gd name="T9" fmla="*/ 24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7"/>
                      <a:pt x="0" y="24"/>
                    </a:cubicBezTo>
                    <a:cubicBezTo>
                      <a:pt x="0" y="11"/>
                      <a:pt x="10" y="0"/>
                      <a:pt x="24" y="0"/>
                    </a:cubicBezTo>
                    <a:lnTo>
                      <a:pt x="783" y="0"/>
                    </a:lnTo>
                    <a:cubicBezTo>
                      <a:pt x="796" y="0"/>
                      <a:pt x="807" y="11"/>
                      <a:pt x="807" y="24"/>
                    </a:cubicBezTo>
                    <a:cubicBezTo>
                      <a:pt x="807" y="37"/>
                      <a:pt x="796" y="47"/>
                      <a:pt x="783" y="47"/>
                    </a:cubicBezTo>
                    <a:lnTo>
                      <a:pt x="24" y="47"/>
                    </a:lnTo>
                    <a:lnTo>
                      <a:pt x="24" y="47"/>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87" name="Freeform 7028">
                <a:extLst>
                  <a:ext uri="{FF2B5EF4-FFF2-40B4-BE49-F238E27FC236}"/>
                </a:extLst>
              </p:cNvPr>
              <p:cNvSpPr>
                <a:spLocks/>
              </p:cNvSpPr>
              <p:nvPr/>
            </p:nvSpPr>
            <p:spPr bwMode="gray">
              <a:xfrm>
                <a:off x="-7712076" y="2178051"/>
                <a:ext cx="661988" cy="38100"/>
              </a:xfrm>
              <a:custGeom>
                <a:avLst/>
                <a:gdLst>
                  <a:gd name="T0" fmla="*/ 24 w 807"/>
                  <a:gd name="T1" fmla="*/ 47 h 47"/>
                  <a:gd name="T2" fmla="*/ 0 w 807"/>
                  <a:gd name="T3" fmla="*/ 23 h 47"/>
                  <a:gd name="T4" fmla="*/ 24 w 807"/>
                  <a:gd name="T5" fmla="*/ 0 h 47"/>
                  <a:gd name="T6" fmla="*/ 783 w 807"/>
                  <a:gd name="T7" fmla="*/ 0 h 47"/>
                  <a:gd name="T8" fmla="*/ 807 w 807"/>
                  <a:gd name="T9" fmla="*/ 23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6"/>
                      <a:pt x="0" y="23"/>
                    </a:cubicBezTo>
                    <a:cubicBezTo>
                      <a:pt x="0" y="10"/>
                      <a:pt x="10" y="0"/>
                      <a:pt x="24" y="0"/>
                    </a:cubicBezTo>
                    <a:lnTo>
                      <a:pt x="783" y="0"/>
                    </a:lnTo>
                    <a:cubicBezTo>
                      <a:pt x="796" y="0"/>
                      <a:pt x="807" y="10"/>
                      <a:pt x="807" y="23"/>
                    </a:cubicBezTo>
                    <a:cubicBezTo>
                      <a:pt x="807" y="36"/>
                      <a:pt x="796" y="47"/>
                      <a:pt x="783" y="47"/>
                    </a:cubicBezTo>
                    <a:lnTo>
                      <a:pt x="24" y="47"/>
                    </a:lnTo>
                    <a:lnTo>
                      <a:pt x="24" y="47"/>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88" name="Freeform 7029">
                <a:extLst>
                  <a:ext uri="{FF2B5EF4-FFF2-40B4-BE49-F238E27FC236}"/>
                </a:extLst>
              </p:cNvPr>
              <p:cNvSpPr>
                <a:spLocks noEditPoints="1"/>
              </p:cNvSpPr>
              <p:nvPr/>
            </p:nvSpPr>
            <p:spPr bwMode="gray">
              <a:xfrm>
                <a:off x="-7526338" y="2266951"/>
                <a:ext cx="730250" cy="168275"/>
              </a:xfrm>
              <a:custGeom>
                <a:avLst/>
                <a:gdLst>
                  <a:gd name="T0" fmla="*/ 827 w 890"/>
                  <a:gd name="T1" fmla="*/ 21 h 204"/>
                  <a:gd name="T2" fmla="*/ 845 w 890"/>
                  <a:gd name="T3" fmla="*/ 36 h 204"/>
                  <a:gd name="T4" fmla="*/ 830 w 890"/>
                  <a:gd name="T5" fmla="*/ 53 h 204"/>
                  <a:gd name="T6" fmla="*/ 813 w 890"/>
                  <a:gd name="T7" fmla="*/ 39 h 204"/>
                  <a:gd name="T8" fmla="*/ 827 w 890"/>
                  <a:gd name="T9" fmla="*/ 21 h 204"/>
                  <a:gd name="T10" fmla="*/ 827 w 890"/>
                  <a:gd name="T11" fmla="*/ 21 h 204"/>
                  <a:gd name="T12" fmla="*/ 724 w 890"/>
                  <a:gd name="T13" fmla="*/ 11 h 204"/>
                  <a:gd name="T14" fmla="*/ 810 w 890"/>
                  <a:gd name="T15" fmla="*/ 3 h 204"/>
                  <a:gd name="T16" fmla="*/ 886 w 890"/>
                  <a:gd name="T17" fmla="*/ 68 h 204"/>
                  <a:gd name="T18" fmla="*/ 822 w 890"/>
                  <a:gd name="T19" fmla="*/ 144 h 204"/>
                  <a:gd name="T20" fmla="*/ 737 w 890"/>
                  <a:gd name="T21" fmla="*/ 152 h 204"/>
                  <a:gd name="T22" fmla="*/ 724 w 890"/>
                  <a:gd name="T23" fmla="*/ 11 h 204"/>
                  <a:gd name="T24" fmla="*/ 724 w 890"/>
                  <a:gd name="T25" fmla="*/ 11 h 204"/>
                  <a:gd name="T26" fmla="*/ 134 w 890"/>
                  <a:gd name="T27" fmla="*/ 204 h 204"/>
                  <a:gd name="T28" fmla="*/ 6 w 890"/>
                  <a:gd name="T29" fmla="*/ 153 h 204"/>
                  <a:gd name="T30" fmla="*/ 0 w 890"/>
                  <a:gd name="T31" fmla="*/ 145 h 204"/>
                  <a:gd name="T32" fmla="*/ 4 w 890"/>
                  <a:gd name="T33" fmla="*/ 136 h 204"/>
                  <a:gd name="T34" fmla="*/ 121 w 890"/>
                  <a:gd name="T35" fmla="*/ 65 h 204"/>
                  <a:gd name="T36" fmla="*/ 126 w 890"/>
                  <a:gd name="T37" fmla="*/ 63 h 204"/>
                  <a:gd name="T38" fmla="*/ 712 w 890"/>
                  <a:gd name="T39" fmla="*/ 12 h 204"/>
                  <a:gd name="T40" fmla="*/ 715 w 890"/>
                  <a:gd name="T41" fmla="*/ 39 h 204"/>
                  <a:gd name="T42" fmla="*/ 153 w 890"/>
                  <a:gd name="T43" fmla="*/ 89 h 204"/>
                  <a:gd name="T44" fmla="*/ 148 w 890"/>
                  <a:gd name="T45" fmla="*/ 94 h 204"/>
                  <a:gd name="T46" fmla="*/ 149 w 890"/>
                  <a:gd name="T47" fmla="*/ 96 h 204"/>
                  <a:gd name="T48" fmla="*/ 154 w 890"/>
                  <a:gd name="T49" fmla="*/ 101 h 204"/>
                  <a:gd name="T50" fmla="*/ 716 w 890"/>
                  <a:gd name="T51" fmla="*/ 51 h 204"/>
                  <a:gd name="T52" fmla="*/ 725 w 890"/>
                  <a:gd name="T53" fmla="*/ 153 h 204"/>
                  <a:gd name="T54" fmla="*/ 138 w 890"/>
                  <a:gd name="T55" fmla="*/ 204 h 204"/>
                  <a:gd name="T56" fmla="*/ 134 w 890"/>
                  <a:gd name="T57" fmla="*/ 204 h 204"/>
                  <a:gd name="T58" fmla="*/ 134 w 890"/>
                  <a:gd name="T5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0" h="204">
                    <a:moveTo>
                      <a:pt x="827" y="21"/>
                    </a:moveTo>
                    <a:cubicBezTo>
                      <a:pt x="836" y="21"/>
                      <a:pt x="844" y="27"/>
                      <a:pt x="845" y="36"/>
                    </a:cubicBezTo>
                    <a:cubicBezTo>
                      <a:pt x="845" y="45"/>
                      <a:pt x="839" y="52"/>
                      <a:pt x="830" y="53"/>
                    </a:cubicBezTo>
                    <a:cubicBezTo>
                      <a:pt x="821" y="54"/>
                      <a:pt x="814" y="47"/>
                      <a:pt x="813" y="39"/>
                    </a:cubicBezTo>
                    <a:cubicBezTo>
                      <a:pt x="812" y="30"/>
                      <a:pt x="818" y="22"/>
                      <a:pt x="827" y="21"/>
                    </a:cubicBezTo>
                    <a:lnTo>
                      <a:pt x="827" y="21"/>
                    </a:lnTo>
                    <a:close/>
                    <a:moveTo>
                      <a:pt x="724" y="11"/>
                    </a:moveTo>
                    <a:lnTo>
                      <a:pt x="810" y="3"/>
                    </a:lnTo>
                    <a:cubicBezTo>
                      <a:pt x="849" y="0"/>
                      <a:pt x="883" y="29"/>
                      <a:pt x="886" y="68"/>
                    </a:cubicBezTo>
                    <a:cubicBezTo>
                      <a:pt x="890" y="107"/>
                      <a:pt x="861" y="141"/>
                      <a:pt x="822" y="144"/>
                    </a:cubicBezTo>
                    <a:lnTo>
                      <a:pt x="737" y="152"/>
                    </a:lnTo>
                    <a:lnTo>
                      <a:pt x="724" y="11"/>
                    </a:lnTo>
                    <a:lnTo>
                      <a:pt x="724" y="11"/>
                    </a:lnTo>
                    <a:close/>
                    <a:moveTo>
                      <a:pt x="134" y="204"/>
                    </a:moveTo>
                    <a:lnTo>
                      <a:pt x="6" y="153"/>
                    </a:lnTo>
                    <a:cubicBezTo>
                      <a:pt x="2" y="152"/>
                      <a:pt x="0" y="149"/>
                      <a:pt x="0" y="145"/>
                    </a:cubicBezTo>
                    <a:cubicBezTo>
                      <a:pt x="0" y="142"/>
                      <a:pt x="1" y="138"/>
                      <a:pt x="4" y="136"/>
                    </a:cubicBezTo>
                    <a:lnTo>
                      <a:pt x="121" y="65"/>
                    </a:lnTo>
                    <a:cubicBezTo>
                      <a:pt x="123" y="64"/>
                      <a:pt x="124" y="63"/>
                      <a:pt x="126" y="63"/>
                    </a:cubicBezTo>
                    <a:lnTo>
                      <a:pt x="712" y="12"/>
                    </a:lnTo>
                    <a:lnTo>
                      <a:pt x="715" y="39"/>
                    </a:lnTo>
                    <a:lnTo>
                      <a:pt x="153" y="89"/>
                    </a:lnTo>
                    <a:cubicBezTo>
                      <a:pt x="150" y="89"/>
                      <a:pt x="148" y="91"/>
                      <a:pt x="148" y="94"/>
                    </a:cubicBezTo>
                    <a:lnTo>
                      <a:pt x="149" y="96"/>
                    </a:lnTo>
                    <a:cubicBezTo>
                      <a:pt x="149" y="99"/>
                      <a:pt x="151" y="101"/>
                      <a:pt x="154" y="101"/>
                    </a:cubicBezTo>
                    <a:lnTo>
                      <a:pt x="716" y="51"/>
                    </a:lnTo>
                    <a:lnTo>
                      <a:pt x="725" y="153"/>
                    </a:lnTo>
                    <a:lnTo>
                      <a:pt x="138" y="204"/>
                    </a:lnTo>
                    <a:cubicBezTo>
                      <a:pt x="136" y="204"/>
                      <a:pt x="135" y="204"/>
                      <a:pt x="134" y="204"/>
                    </a:cubicBezTo>
                    <a:lnTo>
                      <a:pt x="134" y="204"/>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89" name="Freeform 7030">
                <a:extLst>
                  <a:ext uri="{FF2B5EF4-FFF2-40B4-BE49-F238E27FC236}"/>
                </a:extLst>
              </p:cNvPr>
              <p:cNvSpPr>
                <a:spLocks noEditPoints="1"/>
              </p:cNvSpPr>
              <p:nvPr/>
            </p:nvSpPr>
            <p:spPr bwMode="gray">
              <a:xfrm>
                <a:off x="-7510463" y="1612901"/>
                <a:ext cx="258763" cy="381000"/>
              </a:xfrm>
              <a:custGeom>
                <a:avLst/>
                <a:gdLst>
                  <a:gd name="T0" fmla="*/ 157 w 315"/>
                  <a:gd name="T1" fmla="*/ 0 h 464"/>
                  <a:gd name="T2" fmla="*/ 57 w 315"/>
                  <a:gd name="T3" fmla="*/ 100 h 464"/>
                  <a:gd name="T4" fmla="*/ 157 w 315"/>
                  <a:gd name="T5" fmla="*/ 200 h 464"/>
                  <a:gd name="T6" fmla="*/ 258 w 315"/>
                  <a:gd name="T7" fmla="*/ 100 h 464"/>
                  <a:gd name="T8" fmla="*/ 157 w 315"/>
                  <a:gd name="T9" fmla="*/ 0 h 464"/>
                  <a:gd name="T10" fmla="*/ 157 w 315"/>
                  <a:gd name="T11" fmla="*/ 0 h 464"/>
                  <a:gd name="T12" fmla="*/ 281 w 315"/>
                  <a:gd name="T13" fmla="*/ 298 h 464"/>
                  <a:gd name="T14" fmla="*/ 315 w 315"/>
                  <a:gd name="T15" fmla="*/ 464 h 464"/>
                  <a:gd name="T16" fmla="*/ 0 w 315"/>
                  <a:gd name="T17" fmla="*/ 464 h 464"/>
                  <a:gd name="T18" fmla="*/ 34 w 315"/>
                  <a:gd name="T19" fmla="*/ 298 h 464"/>
                  <a:gd name="T20" fmla="*/ 157 w 315"/>
                  <a:gd name="T21" fmla="*/ 222 h 464"/>
                  <a:gd name="T22" fmla="*/ 281 w 315"/>
                  <a:gd name="T23" fmla="*/ 298 h 464"/>
                  <a:gd name="T24" fmla="*/ 281 w 315"/>
                  <a:gd name="T25" fmla="*/ 29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464">
                    <a:moveTo>
                      <a:pt x="157" y="0"/>
                    </a:moveTo>
                    <a:cubicBezTo>
                      <a:pt x="102" y="0"/>
                      <a:pt x="57" y="45"/>
                      <a:pt x="57" y="100"/>
                    </a:cubicBezTo>
                    <a:cubicBezTo>
                      <a:pt x="57" y="155"/>
                      <a:pt x="102" y="200"/>
                      <a:pt x="157" y="200"/>
                    </a:cubicBezTo>
                    <a:cubicBezTo>
                      <a:pt x="213" y="200"/>
                      <a:pt x="258" y="155"/>
                      <a:pt x="258" y="100"/>
                    </a:cubicBezTo>
                    <a:cubicBezTo>
                      <a:pt x="258" y="45"/>
                      <a:pt x="213" y="0"/>
                      <a:pt x="157" y="0"/>
                    </a:cubicBezTo>
                    <a:lnTo>
                      <a:pt x="157" y="0"/>
                    </a:lnTo>
                    <a:close/>
                    <a:moveTo>
                      <a:pt x="281" y="298"/>
                    </a:moveTo>
                    <a:lnTo>
                      <a:pt x="315" y="464"/>
                    </a:lnTo>
                    <a:lnTo>
                      <a:pt x="0" y="464"/>
                    </a:lnTo>
                    <a:lnTo>
                      <a:pt x="34" y="298"/>
                    </a:lnTo>
                    <a:cubicBezTo>
                      <a:pt x="45" y="245"/>
                      <a:pt x="109" y="222"/>
                      <a:pt x="157" y="222"/>
                    </a:cubicBezTo>
                    <a:cubicBezTo>
                      <a:pt x="206" y="222"/>
                      <a:pt x="270" y="245"/>
                      <a:pt x="281" y="298"/>
                    </a:cubicBezTo>
                    <a:lnTo>
                      <a:pt x="281" y="298"/>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grpSp>
      </p:grpSp>
      <p:grpSp>
        <p:nvGrpSpPr>
          <p:cNvPr id="22543" name="Group 12"/>
          <p:cNvGrpSpPr>
            <a:grpSpLocks/>
          </p:cNvGrpSpPr>
          <p:nvPr/>
        </p:nvGrpSpPr>
        <p:grpSpPr bwMode="auto">
          <a:xfrm>
            <a:off x="5430838" y="676275"/>
            <a:ext cx="420687" cy="368300"/>
            <a:chOff x="3920825" y="1027396"/>
            <a:chExt cx="421866" cy="367877"/>
          </a:xfrm>
        </p:grpSpPr>
        <p:sp>
          <p:nvSpPr>
            <p:cNvPr id="162" name="Freeform 6">
              <a:extLst>
                <a:ext uri="{FF2B5EF4-FFF2-40B4-BE49-F238E27FC236}"/>
              </a:extLst>
            </p:cNvPr>
            <p:cNvSpPr>
              <a:spLocks/>
            </p:cNvSpPr>
            <p:nvPr/>
          </p:nvSpPr>
          <p:spPr bwMode="auto">
            <a:xfrm>
              <a:off x="3920825" y="1270005"/>
              <a:ext cx="420275" cy="125268"/>
            </a:xfrm>
            <a:custGeom>
              <a:avLst/>
              <a:gdLst>
                <a:gd name="T0" fmla="*/ 0 w 2963"/>
                <a:gd name="T1" fmla="*/ 0 h 879"/>
                <a:gd name="T2" fmla="*/ 2963 w 2963"/>
                <a:gd name="T3" fmla="*/ 0 h 879"/>
                <a:gd name="T4" fmla="*/ 2479 w 2963"/>
                <a:gd name="T5" fmla="*/ 879 h 879"/>
                <a:gd name="T6" fmla="*/ 508 w 2963"/>
                <a:gd name="T7" fmla="*/ 879 h 879"/>
                <a:gd name="T8" fmla="*/ 0 w 2963"/>
                <a:gd name="T9" fmla="*/ 0 h 879"/>
              </a:gdLst>
              <a:ahLst/>
              <a:cxnLst>
                <a:cxn ang="0">
                  <a:pos x="T0" y="T1"/>
                </a:cxn>
                <a:cxn ang="0">
                  <a:pos x="T2" y="T3"/>
                </a:cxn>
                <a:cxn ang="0">
                  <a:pos x="T4" y="T5"/>
                </a:cxn>
                <a:cxn ang="0">
                  <a:pos x="T6" y="T7"/>
                </a:cxn>
                <a:cxn ang="0">
                  <a:pos x="T8" y="T9"/>
                </a:cxn>
              </a:cxnLst>
              <a:rect l="0" t="0" r="r" b="b"/>
              <a:pathLst>
                <a:path w="2963" h="879">
                  <a:moveTo>
                    <a:pt x="0" y="0"/>
                  </a:moveTo>
                  <a:lnTo>
                    <a:pt x="2963" y="0"/>
                  </a:lnTo>
                  <a:lnTo>
                    <a:pt x="2479" y="879"/>
                  </a:lnTo>
                  <a:lnTo>
                    <a:pt x="508" y="879"/>
                  </a:lnTo>
                  <a:lnTo>
                    <a:pt x="0" y="0"/>
                  </a:lnTo>
                  <a:close/>
                </a:path>
              </a:pathLst>
            </a:custGeom>
            <a:solidFill>
              <a:schemeClr val="accent6">
                <a:lumMod val="20000"/>
                <a:lumOff val="80000"/>
              </a:schemeClr>
            </a:solidFill>
            <a:ln w="38100">
              <a:noFill/>
              <a:prstDash val="solid"/>
              <a:round/>
              <a:headEnd/>
              <a:tailEnd/>
            </a:ln>
          </p:spPr>
          <p:txBody>
            <a:bodyPr anchor="ctr"/>
            <a:lstStyle/>
            <a:p>
              <a:pPr>
                <a:defRPr/>
              </a:pPr>
              <a:endParaRPr lang="en-US" sz="200" dirty="0">
                <a:latin typeface="+mn-lt"/>
                <a:cs typeface="+mn-cs"/>
              </a:endParaRPr>
            </a:p>
          </p:txBody>
        </p:sp>
        <p:sp>
          <p:nvSpPr>
            <p:cNvPr id="163" name="Freeform 7">
              <a:extLst>
                <a:ext uri="{FF2B5EF4-FFF2-40B4-BE49-F238E27FC236}"/>
              </a:extLst>
            </p:cNvPr>
            <p:cNvSpPr>
              <a:spLocks/>
            </p:cNvSpPr>
            <p:nvPr/>
          </p:nvSpPr>
          <p:spPr bwMode="auto">
            <a:xfrm>
              <a:off x="3920825" y="1027396"/>
              <a:ext cx="283367" cy="367877"/>
            </a:xfrm>
            <a:custGeom>
              <a:avLst/>
              <a:gdLst>
                <a:gd name="T0" fmla="*/ 983 w 1994"/>
                <a:gd name="T1" fmla="*/ 0 h 2580"/>
                <a:gd name="T2" fmla="*/ 0 w 1994"/>
                <a:gd name="T3" fmla="*/ 1701 h 2580"/>
                <a:gd name="T4" fmla="*/ 508 w 1994"/>
                <a:gd name="T5" fmla="*/ 2580 h 2580"/>
                <a:gd name="T6" fmla="*/ 1994 w 1994"/>
                <a:gd name="T7" fmla="*/ 0 h 2580"/>
                <a:gd name="T8" fmla="*/ 983 w 1994"/>
                <a:gd name="T9" fmla="*/ 0 h 2580"/>
              </a:gdLst>
              <a:ahLst/>
              <a:cxnLst>
                <a:cxn ang="0">
                  <a:pos x="T0" y="T1"/>
                </a:cxn>
                <a:cxn ang="0">
                  <a:pos x="T2" y="T3"/>
                </a:cxn>
                <a:cxn ang="0">
                  <a:pos x="T4" y="T5"/>
                </a:cxn>
                <a:cxn ang="0">
                  <a:pos x="T6" y="T7"/>
                </a:cxn>
                <a:cxn ang="0">
                  <a:pos x="T8" y="T9"/>
                </a:cxn>
              </a:cxnLst>
              <a:rect l="0" t="0" r="r" b="b"/>
              <a:pathLst>
                <a:path w="1994" h="2580">
                  <a:moveTo>
                    <a:pt x="983" y="0"/>
                  </a:moveTo>
                  <a:lnTo>
                    <a:pt x="0" y="1701"/>
                  </a:lnTo>
                  <a:lnTo>
                    <a:pt x="508" y="2580"/>
                  </a:lnTo>
                  <a:lnTo>
                    <a:pt x="1994" y="0"/>
                  </a:lnTo>
                  <a:lnTo>
                    <a:pt x="983" y="0"/>
                  </a:lnTo>
                  <a:close/>
                </a:path>
              </a:pathLst>
            </a:custGeom>
            <a:solidFill>
              <a:schemeClr val="accent6">
                <a:lumMod val="20000"/>
                <a:lumOff val="80000"/>
              </a:schemeClr>
            </a:solidFill>
            <a:ln w="38100">
              <a:noFill/>
              <a:prstDash val="solid"/>
              <a:round/>
              <a:headEnd/>
              <a:tailEnd/>
            </a:ln>
          </p:spPr>
          <p:txBody>
            <a:bodyPr anchor="ctr"/>
            <a:lstStyle/>
            <a:p>
              <a:pPr>
                <a:defRPr/>
              </a:pPr>
              <a:endParaRPr lang="en-US" sz="200" dirty="0">
                <a:latin typeface="+mn-lt"/>
                <a:cs typeface="+mn-cs"/>
              </a:endParaRPr>
            </a:p>
          </p:txBody>
        </p:sp>
        <p:sp>
          <p:nvSpPr>
            <p:cNvPr id="164" name="Freeform 8">
              <a:extLst>
                <a:ext uri="{FF2B5EF4-FFF2-40B4-BE49-F238E27FC236}"/>
              </a:extLst>
            </p:cNvPr>
            <p:cNvSpPr>
              <a:spLocks/>
            </p:cNvSpPr>
            <p:nvPr/>
          </p:nvSpPr>
          <p:spPr bwMode="auto">
            <a:xfrm>
              <a:off x="4060917" y="1027396"/>
              <a:ext cx="281774" cy="367877"/>
            </a:xfrm>
            <a:custGeom>
              <a:avLst/>
              <a:gdLst>
                <a:gd name="T0" fmla="*/ 0 w 1980"/>
                <a:gd name="T1" fmla="*/ 0 h 2580"/>
                <a:gd name="T2" fmla="*/ 1496 w 1980"/>
                <a:gd name="T3" fmla="*/ 2580 h 2580"/>
                <a:gd name="T4" fmla="*/ 1980 w 1980"/>
                <a:gd name="T5" fmla="*/ 1701 h 2580"/>
                <a:gd name="T6" fmla="*/ 1011 w 1980"/>
                <a:gd name="T7" fmla="*/ 0 h 2580"/>
                <a:gd name="T8" fmla="*/ 0 w 1980"/>
                <a:gd name="T9" fmla="*/ 0 h 2580"/>
              </a:gdLst>
              <a:ahLst/>
              <a:cxnLst>
                <a:cxn ang="0">
                  <a:pos x="T0" y="T1"/>
                </a:cxn>
                <a:cxn ang="0">
                  <a:pos x="T2" y="T3"/>
                </a:cxn>
                <a:cxn ang="0">
                  <a:pos x="T4" y="T5"/>
                </a:cxn>
                <a:cxn ang="0">
                  <a:pos x="T6" y="T7"/>
                </a:cxn>
                <a:cxn ang="0">
                  <a:pos x="T8" y="T9"/>
                </a:cxn>
              </a:cxnLst>
              <a:rect l="0" t="0" r="r" b="b"/>
              <a:pathLst>
                <a:path w="1980" h="2580">
                  <a:moveTo>
                    <a:pt x="0" y="0"/>
                  </a:moveTo>
                  <a:lnTo>
                    <a:pt x="1496" y="2580"/>
                  </a:lnTo>
                  <a:lnTo>
                    <a:pt x="1980" y="1701"/>
                  </a:lnTo>
                  <a:lnTo>
                    <a:pt x="1011" y="0"/>
                  </a:lnTo>
                  <a:lnTo>
                    <a:pt x="0" y="0"/>
                  </a:lnTo>
                  <a:close/>
                </a:path>
              </a:pathLst>
            </a:custGeom>
            <a:solidFill>
              <a:schemeClr val="accent4"/>
            </a:solidFill>
            <a:ln w="19050">
              <a:noFill/>
              <a:prstDash val="solid"/>
              <a:round/>
              <a:headEnd/>
              <a:tailEnd/>
            </a:ln>
          </p:spPr>
          <p:txBody>
            <a:bodyPr anchor="ctr"/>
            <a:lstStyle/>
            <a:p>
              <a:pPr>
                <a:defRPr/>
              </a:pPr>
              <a:endParaRPr lang="en-US" sz="200" dirty="0">
                <a:latin typeface="+mn-lt"/>
                <a:cs typeface="+mn-cs"/>
              </a:endParaRPr>
            </a:p>
          </p:txBody>
        </p:sp>
        <p:sp>
          <p:nvSpPr>
            <p:cNvPr id="165" name="TextBox 164">
              <a:extLst>
                <a:ext uri="{FF2B5EF4-FFF2-40B4-BE49-F238E27FC236}"/>
              </a:extLst>
            </p:cNvPr>
            <p:cNvSpPr txBox="1"/>
            <p:nvPr/>
          </p:nvSpPr>
          <p:spPr bwMode="gray">
            <a:xfrm>
              <a:off x="3963807" y="1170107"/>
              <a:ext cx="103477" cy="91969"/>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Health and nutrition</a:t>
              </a:r>
            </a:p>
          </p:txBody>
        </p:sp>
        <p:grpSp>
          <p:nvGrpSpPr>
            <p:cNvPr id="9" name="Group 165">
              <a:extLst>
                <a:ext uri="{FF2B5EF4-FFF2-40B4-BE49-F238E27FC236}"/>
              </a:extLst>
            </p:cNvPr>
            <p:cNvGrpSpPr/>
            <p:nvPr/>
          </p:nvGrpSpPr>
          <p:grpSpPr bwMode="gray">
            <a:xfrm>
              <a:off x="4024633" y="1120885"/>
              <a:ext cx="66238" cy="57763"/>
              <a:chOff x="5045076" y="776288"/>
              <a:chExt cx="566737" cy="506412"/>
            </a:xfrm>
            <a:solidFill>
              <a:schemeClr val="bg1"/>
            </a:solidFill>
          </p:grpSpPr>
          <p:sp>
            <p:nvSpPr>
              <p:cNvPr id="176" name="Freeform 16">
                <a:extLst>
                  <a:ext uri="{FF2B5EF4-FFF2-40B4-BE49-F238E27FC236}"/>
                </a:extLst>
              </p:cNvPr>
              <p:cNvSpPr>
                <a:spLocks/>
              </p:cNvSpPr>
              <p:nvPr/>
            </p:nvSpPr>
            <p:spPr bwMode="gray">
              <a:xfrm>
                <a:off x="5168900" y="977900"/>
                <a:ext cx="368300" cy="304800"/>
              </a:xfrm>
              <a:custGeom>
                <a:avLst/>
                <a:gdLst>
                  <a:gd name="T0" fmla="*/ 81 w 98"/>
                  <a:gd name="T1" fmla="*/ 24 h 81"/>
                  <a:gd name="T2" fmla="*/ 81 w 98"/>
                  <a:gd name="T3" fmla="*/ 23 h 81"/>
                  <a:gd name="T4" fmla="*/ 79 w 98"/>
                  <a:gd name="T5" fmla="*/ 33 h 81"/>
                  <a:gd name="T6" fmla="*/ 75 w 98"/>
                  <a:gd name="T7" fmla="*/ 36 h 81"/>
                  <a:gd name="T8" fmla="*/ 75 w 98"/>
                  <a:gd name="T9" fmla="*/ 36 h 81"/>
                  <a:gd name="T10" fmla="*/ 72 w 98"/>
                  <a:gd name="T11" fmla="*/ 34 h 81"/>
                  <a:gd name="T12" fmla="*/ 65 w 98"/>
                  <a:gd name="T13" fmla="*/ 12 h 81"/>
                  <a:gd name="T14" fmla="*/ 60 w 98"/>
                  <a:gd name="T15" fmla="*/ 26 h 81"/>
                  <a:gd name="T16" fmla="*/ 56 w 98"/>
                  <a:gd name="T17" fmla="*/ 28 h 81"/>
                  <a:gd name="T18" fmla="*/ 53 w 98"/>
                  <a:gd name="T19" fmla="*/ 25 h 81"/>
                  <a:gd name="T20" fmla="*/ 48 w 98"/>
                  <a:gd name="T21" fmla="*/ 0 h 81"/>
                  <a:gd name="T22" fmla="*/ 41 w 98"/>
                  <a:gd name="T23" fmla="*/ 51 h 81"/>
                  <a:gd name="T24" fmla="*/ 38 w 98"/>
                  <a:gd name="T25" fmla="*/ 55 h 81"/>
                  <a:gd name="T26" fmla="*/ 38 w 98"/>
                  <a:gd name="T27" fmla="*/ 55 h 81"/>
                  <a:gd name="T28" fmla="*/ 38 w 98"/>
                  <a:gd name="T29" fmla="*/ 55 h 81"/>
                  <a:gd name="T30" fmla="*/ 34 w 98"/>
                  <a:gd name="T31" fmla="*/ 51 h 81"/>
                  <a:gd name="T32" fmla="*/ 31 w 98"/>
                  <a:gd name="T33" fmla="*/ 33 h 81"/>
                  <a:gd name="T34" fmla="*/ 30 w 98"/>
                  <a:gd name="T35" fmla="*/ 37 h 81"/>
                  <a:gd name="T36" fmla="*/ 26 w 98"/>
                  <a:gd name="T37" fmla="*/ 39 h 81"/>
                  <a:gd name="T38" fmla="*/ 26 w 98"/>
                  <a:gd name="T39" fmla="*/ 39 h 81"/>
                  <a:gd name="T40" fmla="*/ 23 w 98"/>
                  <a:gd name="T41" fmla="*/ 37 h 81"/>
                  <a:gd name="T42" fmla="*/ 17 w 98"/>
                  <a:gd name="T43" fmla="*/ 22 h 81"/>
                  <a:gd name="T44" fmla="*/ 13 w 98"/>
                  <a:gd name="T45" fmla="*/ 36 h 81"/>
                  <a:gd name="T46" fmla="*/ 9 w 98"/>
                  <a:gd name="T47" fmla="*/ 39 h 81"/>
                  <a:gd name="T48" fmla="*/ 0 w 98"/>
                  <a:gd name="T49" fmla="*/ 39 h 81"/>
                  <a:gd name="T50" fmla="*/ 43 w 98"/>
                  <a:gd name="T51" fmla="*/ 81 h 81"/>
                  <a:gd name="T52" fmla="*/ 98 w 98"/>
                  <a:gd name="T53" fmla="*/ 26 h 81"/>
                  <a:gd name="T54" fmla="*/ 84 w 98"/>
                  <a:gd name="T55" fmla="*/ 26 h 81"/>
                  <a:gd name="T56" fmla="*/ 81 w 98"/>
                  <a:gd name="T57"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81">
                    <a:moveTo>
                      <a:pt x="81" y="24"/>
                    </a:moveTo>
                    <a:cubicBezTo>
                      <a:pt x="81" y="23"/>
                      <a:pt x="81" y="23"/>
                      <a:pt x="81" y="23"/>
                    </a:cubicBezTo>
                    <a:cubicBezTo>
                      <a:pt x="79" y="33"/>
                      <a:pt x="79" y="33"/>
                      <a:pt x="79" y="33"/>
                    </a:cubicBezTo>
                    <a:cubicBezTo>
                      <a:pt x="79" y="35"/>
                      <a:pt x="77" y="36"/>
                      <a:pt x="75" y="36"/>
                    </a:cubicBezTo>
                    <a:cubicBezTo>
                      <a:pt x="75" y="36"/>
                      <a:pt x="75" y="36"/>
                      <a:pt x="75" y="36"/>
                    </a:cubicBezTo>
                    <a:cubicBezTo>
                      <a:pt x="74" y="36"/>
                      <a:pt x="72" y="35"/>
                      <a:pt x="72" y="34"/>
                    </a:cubicBezTo>
                    <a:cubicBezTo>
                      <a:pt x="65" y="12"/>
                      <a:pt x="65" y="12"/>
                      <a:pt x="65" y="12"/>
                    </a:cubicBezTo>
                    <a:cubicBezTo>
                      <a:pt x="60" y="26"/>
                      <a:pt x="60" y="26"/>
                      <a:pt x="60" y="26"/>
                    </a:cubicBezTo>
                    <a:cubicBezTo>
                      <a:pt x="59" y="27"/>
                      <a:pt x="58" y="28"/>
                      <a:pt x="56" y="28"/>
                    </a:cubicBezTo>
                    <a:cubicBezTo>
                      <a:pt x="54" y="28"/>
                      <a:pt x="53" y="27"/>
                      <a:pt x="53" y="25"/>
                    </a:cubicBezTo>
                    <a:cubicBezTo>
                      <a:pt x="48" y="0"/>
                      <a:pt x="48" y="0"/>
                      <a:pt x="48" y="0"/>
                    </a:cubicBezTo>
                    <a:cubicBezTo>
                      <a:pt x="41" y="51"/>
                      <a:pt x="41" y="51"/>
                      <a:pt x="41" y="51"/>
                    </a:cubicBezTo>
                    <a:cubicBezTo>
                      <a:pt x="41" y="53"/>
                      <a:pt x="39" y="55"/>
                      <a:pt x="38" y="55"/>
                    </a:cubicBezTo>
                    <a:cubicBezTo>
                      <a:pt x="38" y="55"/>
                      <a:pt x="38" y="55"/>
                      <a:pt x="38" y="55"/>
                    </a:cubicBezTo>
                    <a:cubicBezTo>
                      <a:pt x="38" y="55"/>
                      <a:pt x="38" y="55"/>
                      <a:pt x="38" y="55"/>
                    </a:cubicBezTo>
                    <a:cubicBezTo>
                      <a:pt x="36" y="55"/>
                      <a:pt x="34" y="53"/>
                      <a:pt x="34" y="51"/>
                    </a:cubicBezTo>
                    <a:cubicBezTo>
                      <a:pt x="31" y="33"/>
                      <a:pt x="31" y="33"/>
                      <a:pt x="31" y="33"/>
                    </a:cubicBezTo>
                    <a:cubicBezTo>
                      <a:pt x="30" y="37"/>
                      <a:pt x="30" y="37"/>
                      <a:pt x="30" y="37"/>
                    </a:cubicBezTo>
                    <a:cubicBezTo>
                      <a:pt x="29" y="38"/>
                      <a:pt x="28" y="39"/>
                      <a:pt x="26" y="39"/>
                    </a:cubicBezTo>
                    <a:cubicBezTo>
                      <a:pt x="26" y="39"/>
                      <a:pt x="26" y="39"/>
                      <a:pt x="26" y="39"/>
                    </a:cubicBezTo>
                    <a:cubicBezTo>
                      <a:pt x="25" y="39"/>
                      <a:pt x="23" y="38"/>
                      <a:pt x="23" y="37"/>
                    </a:cubicBezTo>
                    <a:cubicBezTo>
                      <a:pt x="17" y="22"/>
                      <a:pt x="17" y="22"/>
                      <a:pt x="17" y="22"/>
                    </a:cubicBezTo>
                    <a:cubicBezTo>
                      <a:pt x="13" y="36"/>
                      <a:pt x="13" y="36"/>
                      <a:pt x="13" y="36"/>
                    </a:cubicBezTo>
                    <a:cubicBezTo>
                      <a:pt x="13" y="37"/>
                      <a:pt x="11" y="39"/>
                      <a:pt x="9" y="39"/>
                    </a:cubicBezTo>
                    <a:cubicBezTo>
                      <a:pt x="0" y="39"/>
                      <a:pt x="0" y="39"/>
                      <a:pt x="0" y="39"/>
                    </a:cubicBezTo>
                    <a:cubicBezTo>
                      <a:pt x="43" y="81"/>
                      <a:pt x="43" y="81"/>
                      <a:pt x="43" y="81"/>
                    </a:cubicBezTo>
                    <a:cubicBezTo>
                      <a:pt x="98" y="26"/>
                      <a:pt x="98" y="26"/>
                      <a:pt x="98" y="26"/>
                    </a:cubicBezTo>
                    <a:cubicBezTo>
                      <a:pt x="84" y="26"/>
                      <a:pt x="84" y="26"/>
                      <a:pt x="84" y="26"/>
                    </a:cubicBezTo>
                    <a:cubicBezTo>
                      <a:pt x="83" y="26"/>
                      <a:pt x="81" y="25"/>
                      <a:pt x="81" y="24"/>
                    </a:cubicBezTo>
                    <a:close/>
                  </a:path>
                </a:pathLst>
              </a:custGeom>
              <a:solidFill>
                <a:schemeClr val="accent6">
                  <a:lumMod val="60000"/>
                  <a:lumOff val="40000"/>
                </a:schemeClr>
              </a:solid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sp>
            <p:nvSpPr>
              <p:cNvPr id="177" name="Freeform 17">
                <a:extLst>
                  <a:ext uri="{FF2B5EF4-FFF2-40B4-BE49-F238E27FC236}"/>
                </a:extLst>
              </p:cNvPr>
              <p:cNvSpPr>
                <a:spLocks/>
              </p:cNvSpPr>
              <p:nvPr/>
            </p:nvSpPr>
            <p:spPr bwMode="gray">
              <a:xfrm>
                <a:off x="5045076" y="776288"/>
                <a:ext cx="566737" cy="319088"/>
              </a:xfrm>
              <a:custGeom>
                <a:avLst/>
                <a:gdLst>
                  <a:gd name="T0" fmla="*/ 46 w 151"/>
                  <a:gd name="T1" fmla="*/ 63 h 85"/>
                  <a:gd name="T2" fmla="*/ 50 w 151"/>
                  <a:gd name="T3" fmla="*/ 60 h 85"/>
                  <a:gd name="T4" fmla="*/ 53 w 151"/>
                  <a:gd name="T5" fmla="*/ 63 h 85"/>
                  <a:gd name="T6" fmla="*/ 59 w 151"/>
                  <a:gd name="T7" fmla="*/ 78 h 85"/>
                  <a:gd name="T8" fmla="*/ 61 w 151"/>
                  <a:gd name="T9" fmla="*/ 70 h 85"/>
                  <a:gd name="T10" fmla="*/ 65 w 151"/>
                  <a:gd name="T11" fmla="*/ 67 h 85"/>
                  <a:gd name="T12" fmla="*/ 69 w 151"/>
                  <a:gd name="T13" fmla="*/ 70 h 85"/>
                  <a:gd name="T14" fmla="*/ 70 w 151"/>
                  <a:gd name="T15" fmla="*/ 80 h 85"/>
                  <a:gd name="T16" fmla="*/ 77 w 151"/>
                  <a:gd name="T17" fmla="*/ 29 h 85"/>
                  <a:gd name="T18" fmla="*/ 81 w 151"/>
                  <a:gd name="T19" fmla="*/ 26 h 85"/>
                  <a:gd name="T20" fmla="*/ 84 w 151"/>
                  <a:gd name="T21" fmla="*/ 29 h 85"/>
                  <a:gd name="T22" fmla="*/ 91 w 151"/>
                  <a:gd name="T23" fmla="*/ 64 h 85"/>
                  <a:gd name="T24" fmla="*/ 95 w 151"/>
                  <a:gd name="T25" fmla="*/ 53 h 85"/>
                  <a:gd name="T26" fmla="*/ 98 w 151"/>
                  <a:gd name="T27" fmla="*/ 50 h 85"/>
                  <a:gd name="T28" fmla="*/ 102 w 151"/>
                  <a:gd name="T29" fmla="*/ 53 h 85"/>
                  <a:gd name="T30" fmla="*/ 107 w 151"/>
                  <a:gd name="T31" fmla="*/ 70 h 85"/>
                  <a:gd name="T32" fmla="*/ 109 w 151"/>
                  <a:gd name="T33" fmla="*/ 61 h 85"/>
                  <a:gd name="T34" fmla="*/ 112 w 151"/>
                  <a:gd name="T35" fmla="*/ 58 h 85"/>
                  <a:gd name="T36" fmla="*/ 112 w 151"/>
                  <a:gd name="T37" fmla="*/ 58 h 85"/>
                  <a:gd name="T38" fmla="*/ 116 w 151"/>
                  <a:gd name="T39" fmla="*/ 60 h 85"/>
                  <a:gd name="T40" fmla="*/ 120 w 151"/>
                  <a:gd name="T41" fmla="*/ 73 h 85"/>
                  <a:gd name="T42" fmla="*/ 138 w 151"/>
                  <a:gd name="T43" fmla="*/ 73 h 85"/>
                  <a:gd name="T44" fmla="*/ 135 w 151"/>
                  <a:gd name="T45" fmla="*/ 17 h 85"/>
                  <a:gd name="T46" fmla="*/ 76 w 151"/>
                  <a:gd name="T47" fmla="*/ 17 h 85"/>
                  <a:gd name="T48" fmla="*/ 16 w 151"/>
                  <a:gd name="T49" fmla="*/ 17 h 85"/>
                  <a:gd name="T50" fmla="*/ 16 w 151"/>
                  <a:gd name="T51" fmla="*/ 76 h 85"/>
                  <a:gd name="T52" fmla="*/ 25 w 151"/>
                  <a:gd name="T53" fmla="*/ 85 h 85"/>
                  <a:gd name="T54" fmla="*/ 40 w 151"/>
                  <a:gd name="T55" fmla="*/ 85 h 85"/>
                  <a:gd name="T56" fmla="*/ 46 w 151"/>
                  <a:gd name="T57" fmla="*/ 6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85">
                    <a:moveTo>
                      <a:pt x="46" y="63"/>
                    </a:moveTo>
                    <a:cubicBezTo>
                      <a:pt x="47" y="61"/>
                      <a:pt x="48" y="60"/>
                      <a:pt x="50" y="60"/>
                    </a:cubicBezTo>
                    <a:cubicBezTo>
                      <a:pt x="51" y="60"/>
                      <a:pt x="53" y="61"/>
                      <a:pt x="53" y="63"/>
                    </a:cubicBezTo>
                    <a:cubicBezTo>
                      <a:pt x="59" y="78"/>
                      <a:pt x="59" y="78"/>
                      <a:pt x="59" y="78"/>
                    </a:cubicBezTo>
                    <a:cubicBezTo>
                      <a:pt x="61" y="70"/>
                      <a:pt x="61" y="70"/>
                      <a:pt x="61" y="70"/>
                    </a:cubicBezTo>
                    <a:cubicBezTo>
                      <a:pt x="62" y="68"/>
                      <a:pt x="63" y="67"/>
                      <a:pt x="65" y="67"/>
                    </a:cubicBezTo>
                    <a:cubicBezTo>
                      <a:pt x="67" y="67"/>
                      <a:pt x="68" y="69"/>
                      <a:pt x="69" y="70"/>
                    </a:cubicBezTo>
                    <a:cubicBezTo>
                      <a:pt x="70" y="80"/>
                      <a:pt x="70" y="80"/>
                      <a:pt x="70" y="80"/>
                    </a:cubicBezTo>
                    <a:cubicBezTo>
                      <a:pt x="77" y="29"/>
                      <a:pt x="77" y="29"/>
                      <a:pt x="77" y="29"/>
                    </a:cubicBezTo>
                    <a:cubicBezTo>
                      <a:pt x="77" y="27"/>
                      <a:pt x="79" y="26"/>
                      <a:pt x="81" y="26"/>
                    </a:cubicBezTo>
                    <a:cubicBezTo>
                      <a:pt x="83" y="26"/>
                      <a:pt x="84" y="27"/>
                      <a:pt x="84" y="29"/>
                    </a:cubicBezTo>
                    <a:cubicBezTo>
                      <a:pt x="91" y="64"/>
                      <a:pt x="91" y="64"/>
                      <a:pt x="91" y="64"/>
                    </a:cubicBezTo>
                    <a:cubicBezTo>
                      <a:pt x="95" y="53"/>
                      <a:pt x="95" y="53"/>
                      <a:pt x="95" y="53"/>
                    </a:cubicBezTo>
                    <a:cubicBezTo>
                      <a:pt x="95" y="51"/>
                      <a:pt x="97" y="50"/>
                      <a:pt x="98" y="50"/>
                    </a:cubicBezTo>
                    <a:cubicBezTo>
                      <a:pt x="100" y="50"/>
                      <a:pt x="101" y="51"/>
                      <a:pt x="102" y="53"/>
                    </a:cubicBezTo>
                    <a:cubicBezTo>
                      <a:pt x="107" y="70"/>
                      <a:pt x="107" y="70"/>
                      <a:pt x="107" y="70"/>
                    </a:cubicBezTo>
                    <a:cubicBezTo>
                      <a:pt x="109" y="61"/>
                      <a:pt x="109" y="61"/>
                      <a:pt x="109" y="61"/>
                    </a:cubicBezTo>
                    <a:cubicBezTo>
                      <a:pt x="109" y="59"/>
                      <a:pt x="110" y="58"/>
                      <a:pt x="112" y="58"/>
                    </a:cubicBezTo>
                    <a:cubicBezTo>
                      <a:pt x="112" y="58"/>
                      <a:pt x="112" y="58"/>
                      <a:pt x="112" y="58"/>
                    </a:cubicBezTo>
                    <a:cubicBezTo>
                      <a:pt x="114" y="58"/>
                      <a:pt x="115" y="59"/>
                      <a:pt x="116" y="60"/>
                    </a:cubicBezTo>
                    <a:cubicBezTo>
                      <a:pt x="120" y="73"/>
                      <a:pt x="120" y="73"/>
                      <a:pt x="120" y="73"/>
                    </a:cubicBezTo>
                    <a:cubicBezTo>
                      <a:pt x="138" y="73"/>
                      <a:pt x="138" y="73"/>
                      <a:pt x="138" y="73"/>
                    </a:cubicBezTo>
                    <a:cubicBezTo>
                      <a:pt x="151" y="57"/>
                      <a:pt x="151" y="32"/>
                      <a:pt x="135" y="17"/>
                    </a:cubicBezTo>
                    <a:cubicBezTo>
                      <a:pt x="119" y="0"/>
                      <a:pt x="92" y="0"/>
                      <a:pt x="76" y="17"/>
                    </a:cubicBezTo>
                    <a:cubicBezTo>
                      <a:pt x="59" y="0"/>
                      <a:pt x="33" y="0"/>
                      <a:pt x="16" y="17"/>
                    </a:cubicBezTo>
                    <a:cubicBezTo>
                      <a:pt x="0" y="33"/>
                      <a:pt x="0" y="60"/>
                      <a:pt x="16" y="76"/>
                    </a:cubicBezTo>
                    <a:cubicBezTo>
                      <a:pt x="25" y="85"/>
                      <a:pt x="25" y="85"/>
                      <a:pt x="25" y="85"/>
                    </a:cubicBezTo>
                    <a:cubicBezTo>
                      <a:pt x="40" y="85"/>
                      <a:pt x="40" y="85"/>
                      <a:pt x="40" y="85"/>
                    </a:cubicBezTo>
                    <a:lnTo>
                      <a:pt x="46" y="63"/>
                    </a:lnTo>
                    <a:close/>
                  </a:path>
                </a:pathLst>
              </a:custGeom>
              <a:solidFill>
                <a:schemeClr val="accent6">
                  <a:lumMod val="60000"/>
                  <a:lumOff val="40000"/>
                </a:schemeClr>
              </a:solid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grpSp>
        <p:sp>
          <p:nvSpPr>
            <p:cNvPr id="22624" name="TextBox 166"/>
            <p:cNvSpPr txBox="1">
              <a:spLocks/>
            </p:cNvSpPr>
            <p:nvPr/>
          </p:nvSpPr>
          <p:spPr bwMode="gray">
            <a:xfrm>
              <a:off x="4184726" y="1201119"/>
              <a:ext cx="124221" cy="30778"/>
            </a:xfrm>
            <a:prstGeom prst="rect">
              <a:avLst/>
            </a:prstGeom>
            <a:noFill/>
            <a:ln w="9525">
              <a:noFill/>
              <a:miter lim="800000"/>
              <a:headEnd/>
              <a:tailEnd/>
            </a:ln>
          </p:spPr>
          <p:txBody>
            <a:bodyPr lIns="0" tIns="0" rIns="0" bIns="0" anchor="ctr"/>
            <a:lstStyle/>
            <a:p>
              <a:pPr algn="ctr" defTabSz="895350">
                <a:buClr>
                  <a:schemeClr val="tx2"/>
                </a:buClr>
                <a:buSzPct val="100000"/>
              </a:pPr>
              <a:r>
                <a:rPr lang="en-US" sz="200" b="1">
                  <a:solidFill>
                    <a:schemeClr val="bg1"/>
                  </a:solidFill>
                </a:rPr>
                <a:t>Education</a:t>
              </a:r>
            </a:p>
          </p:txBody>
        </p:sp>
        <p:sp>
          <p:nvSpPr>
            <p:cNvPr id="168" name="Freeform 19">
              <a:extLst>
                <a:ext uri="{FF2B5EF4-FFF2-40B4-BE49-F238E27FC236}"/>
              </a:extLst>
            </p:cNvPr>
            <p:cNvSpPr>
              <a:spLocks noEditPoints="1"/>
            </p:cNvSpPr>
            <p:nvPr/>
          </p:nvSpPr>
          <p:spPr bwMode="gray">
            <a:xfrm>
              <a:off x="4170761" y="1119365"/>
              <a:ext cx="78006" cy="60256"/>
            </a:xfrm>
            <a:custGeom>
              <a:avLst/>
              <a:gdLst>
                <a:gd name="T0" fmla="*/ 98 w 748"/>
                <a:gd name="T1" fmla="*/ 338 h 573"/>
                <a:gd name="T2" fmla="*/ 98 w 748"/>
                <a:gd name="T3" fmla="*/ 389 h 573"/>
                <a:gd name="T4" fmla="*/ 109 w 748"/>
                <a:gd name="T5" fmla="*/ 363 h 573"/>
                <a:gd name="T6" fmla="*/ 592 w 748"/>
                <a:gd name="T7" fmla="*/ 288 h 573"/>
                <a:gd name="T8" fmla="*/ 61 w 748"/>
                <a:gd name="T9" fmla="*/ 333 h 573"/>
                <a:gd name="T10" fmla="*/ 101 w 748"/>
                <a:gd name="T11" fmla="*/ 439 h 573"/>
                <a:gd name="T12" fmla="*/ 262 w 748"/>
                <a:gd name="T13" fmla="*/ 543 h 573"/>
                <a:gd name="T14" fmla="*/ 328 w 748"/>
                <a:gd name="T15" fmla="*/ 573 h 573"/>
                <a:gd name="T16" fmla="*/ 385 w 748"/>
                <a:gd name="T17" fmla="*/ 573 h 573"/>
                <a:gd name="T18" fmla="*/ 451 w 748"/>
                <a:gd name="T19" fmla="*/ 543 h 573"/>
                <a:gd name="T20" fmla="*/ 591 w 748"/>
                <a:gd name="T21" fmla="*/ 439 h 573"/>
                <a:gd name="T22" fmla="*/ 592 w 748"/>
                <a:gd name="T23" fmla="*/ 288 h 573"/>
                <a:gd name="T24" fmla="*/ 101 w 748"/>
                <a:gd name="T25" fmla="*/ 419 h 573"/>
                <a:gd name="T26" fmla="*/ 102 w 748"/>
                <a:gd name="T27" fmla="*/ 308 h 573"/>
                <a:gd name="T28" fmla="*/ 126 w 748"/>
                <a:gd name="T29" fmla="*/ 363 h 573"/>
                <a:gd name="T30" fmla="*/ 314 w 748"/>
                <a:gd name="T31" fmla="*/ 419 h 573"/>
                <a:gd name="T32" fmla="*/ 146 w 748"/>
                <a:gd name="T33" fmla="*/ 364 h 573"/>
                <a:gd name="T34" fmla="*/ 314 w 748"/>
                <a:gd name="T35" fmla="*/ 308 h 573"/>
                <a:gd name="T36" fmla="*/ 314 w 748"/>
                <a:gd name="T37" fmla="*/ 419 h 573"/>
                <a:gd name="T38" fmla="*/ 405 w 748"/>
                <a:gd name="T39" fmla="*/ 419 h 573"/>
                <a:gd name="T40" fmla="*/ 405 w 748"/>
                <a:gd name="T41" fmla="*/ 308 h 573"/>
                <a:gd name="T42" fmla="*/ 616 w 748"/>
                <a:gd name="T43" fmla="*/ 363 h 573"/>
                <a:gd name="T44" fmla="*/ 748 w 748"/>
                <a:gd name="T45" fmla="*/ 360 h 573"/>
                <a:gd name="T46" fmla="*/ 734 w 748"/>
                <a:gd name="T47" fmla="*/ 279 h 573"/>
                <a:gd name="T48" fmla="*/ 719 w 748"/>
                <a:gd name="T49" fmla="*/ 220 h 573"/>
                <a:gd name="T50" fmla="*/ 715 w 748"/>
                <a:gd name="T51" fmla="*/ 128 h 573"/>
                <a:gd name="T52" fmla="*/ 580 w 748"/>
                <a:gd name="T53" fmla="*/ 66 h 573"/>
                <a:gd name="T54" fmla="*/ 358 w 748"/>
                <a:gd name="T55" fmla="*/ 0 h 573"/>
                <a:gd name="T56" fmla="*/ 136 w 748"/>
                <a:gd name="T57" fmla="*/ 66 h 573"/>
                <a:gd name="T58" fmla="*/ 0 w 748"/>
                <a:gd name="T59" fmla="*/ 128 h 573"/>
                <a:gd name="T60" fmla="*/ 153 w 748"/>
                <a:gd name="T61" fmla="*/ 174 h 573"/>
                <a:gd name="T62" fmla="*/ 171 w 748"/>
                <a:gd name="T63" fmla="*/ 250 h 573"/>
                <a:gd name="T64" fmla="*/ 544 w 748"/>
                <a:gd name="T65" fmla="*/ 179 h 573"/>
                <a:gd name="T66" fmla="*/ 580 w 748"/>
                <a:gd name="T67" fmla="*/ 169 h 573"/>
                <a:gd name="T68" fmla="*/ 690 w 748"/>
                <a:gd name="T69" fmla="*/ 223 h 573"/>
                <a:gd name="T70" fmla="*/ 683 w 748"/>
                <a:gd name="T71" fmla="*/ 280 h 573"/>
                <a:gd name="T72" fmla="*/ 667 w 748"/>
                <a:gd name="T73" fmla="*/ 36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8" h="573">
                  <a:moveTo>
                    <a:pt x="98" y="338"/>
                  </a:moveTo>
                  <a:cubicBezTo>
                    <a:pt x="98" y="338"/>
                    <a:pt x="98" y="338"/>
                    <a:pt x="98" y="338"/>
                  </a:cubicBezTo>
                  <a:cubicBezTo>
                    <a:pt x="92" y="338"/>
                    <a:pt x="87" y="349"/>
                    <a:pt x="87" y="363"/>
                  </a:cubicBezTo>
                  <a:cubicBezTo>
                    <a:pt x="87" y="377"/>
                    <a:pt x="92" y="388"/>
                    <a:pt x="98" y="389"/>
                  </a:cubicBezTo>
                  <a:cubicBezTo>
                    <a:pt x="98" y="389"/>
                    <a:pt x="98" y="389"/>
                    <a:pt x="98" y="389"/>
                  </a:cubicBezTo>
                  <a:cubicBezTo>
                    <a:pt x="104" y="389"/>
                    <a:pt x="109" y="377"/>
                    <a:pt x="109" y="363"/>
                  </a:cubicBezTo>
                  <a:cubicBezTo>
                    <a:pt x="109" y="349"/>
                    <a:pt x="104" y="338"/>
                    <a:pt x="98" y="338"/>
                  </a:cubicBezTo>
                  <a:close/>
                  <a:moveTo>
                    <a:pt x="592" y="288"/>
                  </a:moveTo>
                  <a:cubicBezTo>
                    <a:pt x="102" y="288"/>
                    <a:pt x="102" y="288"/>
                    <a:pt x="102" y="288"/>
                  </a:cubicBezTo>
                  <a:cubicBezTo>
                    <a:pt x="82" y="288"/>
                    <a:pt x="67" y="305"/>
                    <a:pt x="61" y="333"/>
                  </a:cubicBezTo>
                  <a:cubicBezTo>
                    <a:pt x="59" y="342"/>
                    <a:pt x="57" y="352"/>
                    <a:pt x="57" y="363"/>
                  </a:cubicBezTo>
                  <a:cubicBezTo>
                    <a:pt x="57" y="407"/>
                    <a:pt x="75" y="438"/>
                    <a:pt x="101" y="439"/>
                  </a:cubicBezTo>
                  <a:cubicBezTo>
                    <a:pt x="310" y="439"/>
                    <a:pt x="310" y="439"/>
                    <a:pt x="310" y="439"/>
                  </a:cubicBezTo>
                  <a:cubicBezTo>
                    <a:pt x="262" y="543"/>
                    <a:pt x="262" y="543"/>
                    <a:pt x="262" y="543"/>
                  </a:cubicBezTo>
                  <a:cubicBezTo>
                    <a:pt x="305" y="539"/>
                    <a:pt x="305" y="539"/>
                    <a:pt x="305" y="539"/>
                  </a:cubicBezTo>
                  <a:cubicBezTo>
                    <a:pt x="328" y="573"/>
                    <a:pt x="328" y="573"/>
                    <a:pt x="328" y="573"/>
                  </a:cubicBezTo>
                  <a:cubicBezTo>
                    <a:pt x="357" y="511"/>
                    <a:pt x="357" y="511"/>
                    <a:pt x="357" y="511"/>
                  </a:cubicBezTo>
                  <a:cubicBezTo>
                    <a:pt x="385" y="573"/>
                    <a:pt x="385" y="573"/>
                    <a:pt x="385" y="573"/>
                  </a:cubicBezTo>
                  <a:cubicBezTo>
                    <a:pt x="408" y="539"/>
                    <a:pt x="408" y="539"/>
                    <a:pt x="408" y="539"/>
                  </a:cubicBezTo>
                  <a:cubicBezTo>
                    <a:pt x="451" y="543"/>
                    <a:pt x="451" y="543"/>
                    <a:pt x="451" y="543"/>
                  </a:cubicBezTo>
                  <a:cubicBezTo>
                    <a:pt x="403" y="439"/>
                    <a:pt x="403" y="439"/>
                    <a:pt x="403" y="439"/>
                  </a:cubicBezTo>
                  <a:cubicBezTo>
                    <a:pt x="591" y="439"/>
                    <a:pt x="591" y="439"/>
                    <a:pt x="591" y="439"/>
                  </a:cubicBezTo>
                  <a:cubicBezTo>
                    <a:pt x="617" y="439"/>
                    <a:pt x="636" y="408"/>
                    <a:pt x="636" y="364"/>
                  </a:cubicBezTo>
                  <a:cubicBezTo>
                    <a:pt x="636" y="319"/>
                    <a:pt x="618" y="288"/>
                    <a:pt x="592" y="288"/>
                  </a:cubicBezTo>
                  <a:close/>
                  <a:moveTo>
                    <a:pt x="101" y="419"/>
                  </a:moveTo>
                  <a:cubicBezTo>
                    <a:pt x="101" y="419"/>
                    <a:pt x="101" y="419"/>
                    <a:pt x="101" y="419"/>
                  </a:cubicBezTo>
                  <a:cubicBezTo>
                    <a:pt x="88" y="419"/>
                    <a:pt x="77" y="394"/>
                    <a:pt x="77" y="363"/>
                  </a:cubicBezTo>
                  <a:cubicBezTo>
                    <a:pt x="77" y="332"/>
                    <a:pt x="88" y="308"/>
                    <a:pt x="102" y="308"/>
                  </a:cubicBezTo>
                  <a:cubicBezTo>
                    <a:pt x="102" y="308"/>
                    <a:pt x="102" y="308"/>
                    <a:pt x="102" y="308"/>
                  </a:cubicBezTo>
                  <a:cubicBezTo>
                    <a:pt x="115" y="308"/>
                    <a:pt x="126" y="333"/>
                    <a:pt x="126" y="363"/>
                  </a:cubicBezTo>
                  <a:cubicBezTo>
                    <a:pt x="126" y="394"/>
                    <a:pt x="115" y="419"/>
                    <a:pt x="101" y="419"/>
                  </a:cubicBezTo>
                  <a:close/>
                  <a:moveTo>
                    <a:pt x="314" y="419"/>
                  </a:moveTo>
                  <a:cubicBezTo>
                    <a:pt x="132" y="419"/>
                    <a:pt x="132" y="419"/>
                    <a:pt x="132" y="419"/>
                  </a:cubicBezTo>
                  <a:cubicBezTo>
                    <a:pt x="141" y="406"/>
                    <a:pt x="146" y="386"/>
                    <a:pt x="146" y="364"/>
                  </a:cubicBezTo>
                  <a:cubicBezTo>
                    <a:pt x="146" y="340"/>
                    <a:pt x="141" y="321"/>
                    <a:pt x="133" y="308"/>
                  </a:cubicBezTo>
                  <a:cubicBezTo>
                    <a:pt x="314" y="308"/>
                    <a:pt x="314" y="308"/>
                    <a:pt x="314" y="308"/>
                  </a:cubicBezTo>
                  <a:cubicBezTo>
                    <a:pt x="323" y="319"/>
                    <a:pt x="328" y="340"/>
                    <a:pt x="328" y="364"/>
                  </a:cubicBezTo>
                  <a:cubicBezTo>
                    <a:pt x="328" y="387"/>
                    <a:pt x="322" y="408"/>
                    <a:pt x="314" y="419"/>
                  </a:cubicBezTo>
                  <a:close/>
                  <a:moveTo>
                    <a:pt x="592" y="419"/>
                  </a:moveTo>
                  <a:cubicBezTo>
                    <a:pt x="405" y="419"/>
                    <a:pt x="405" y="419"/>
                    <a:pt x="405" y="419"/>
                  </a:cubicBezTo>
                  <a:cubicBezTo>
                    <a:pt x="413" y="408"/>
                    <a:pt x="419" y="387"/>
                    <a:pt x="419" y="364"/>
                  </a:cubicBezTo>
                  <a:cubicBezTo>
                    <a:pt x="419" y="340"/>
                    <a:pt x="414" y="319"/>
                    <a:pt x="405" y="308"/>
                  </a:cubicBezTo>
                  <a:cubicBezTo>
                    <a:pt x="592" y="308"/>
                    <a:pt x="592" y="308"/>
                    <a:pt x="592" y="308"/>
                  </a:cubicBezTo>
                  <a:cubicBezTo>
                    <a:pt x="605" y="308"/>
                    <a:pt x="616" y="333"/>
                    <a:pt x="616" y="363"/>
                  </a:cubicBezTo>
                  <a:cubicBezTo>
                    <a:pt x="616" y="394"/>
                    <a:pt x="605" y="419"/>
                    <a:pt x="592" y="419"/>
                  </a:cubicBezTo>
                  <a:close/>
                  <a:moveTo>
                    <a:pt x="748" y="360"/>
                  </a:moveTo>
                  <a:cubicBezTo>
                    <a:pt x="728" y="283"/>
                    <a:pt x="728" y="283"/>
                    <a:pt x="728" y="283"/>
                  </a:cubicBezTo>
                  <a:cubicBezTo>
                    <a:pt x="730" y="282"/>
                    <a:pt x="732" y="280"/>
                    <a:pt x="734" y="279"/>
                  </a:cubicBezTo>
                  <a:cubicBezTo>
                    <a:pt x="747" y="264"/>
                    <a:pt x="747" y="242"/>
                    <a:pt x="732" y="228"/>
                  </a:cubicBezTo>
                  <a:cubicBezTo>
                    <a:pt x="728" y="224"/>
                    <a:pt x="724" y="222"/>
                    <a:pt x="719" y="220"/>
                  </a:cubicBezTo>
                  <a:cubicBezTo>
                    <a:pt x="715" y="196"/>
                    <a:pt x="706" y="162"/>
                    <a:pt x="688" y="136"/>
                  </a:cubicBezTo>
                  <a:cubicBezTo>
                    <a:pt x="715" y="128"/>
                    <a:pt x="715" y="128"/>
                    <a:pt x="715" y="128"/>
                  </a:cubicBezTo>
                  <a:cubicBezTo>
                    <a:pt x="715" y="106"/>
                    <a:pt x="715" y="106"/>
                    <a:pt x="715" y="106"/>
                  </a:cubicBezTo>
                  <a:cubicBezTo>
                    <a:pt x="580" y="66"/>
                    <a:pt x="580" y="66"/>
                    <a:pt x="580" y="66"/>
                  </a:cubicBezTo>
                  <a:cubicBezTo>
                    <a:pt x="519" y="48"/>
                    <a:pt x="519" y="48"/>
                    <a:pt x="519" y="48"/>
                  </a:cubicBezTo>
                  <a:cubicBezTo>
                    <a:pt x="358" y="0"/>
                    <a:pt x="358" y="0"/>
                    <a:pt x="358" y="0"/>
                  </a:cubicBezTo>
                  <a:cubicBezTo>
                    <a:pt x="196" y="48"/>
                    <a:pt x="196" y="48"/>
                    <a:pt x="196" y="48"/>
                  </a:cubicBezTo>
                  <a:cubicBezTo>
                    <a:pt x="136" y="66"/>
                    <a:pt x="136" y="66"/>
                    <a:pt x="136" y="66"/>
                  </a:cubicBezTo>
                  <a:cubicBezTo>
                    <a:pt x="0" y="106"/>
                    <a:pt x="0" y="106"/>
                    <a:pt x="0" y="106"/>
                  </a:cubicBezTo>
                  <a:cubicBezTo>
                    <a:pt x="0" y="128"/>
                    <a:pt x="0" y="128"/>
                    <a:pt x="0" y="128"/>
                  </a:cubicBezTo>
                  <a:cubicBezTo>
                    <a:pt x="136" y="169"/>
                    <a:pt x="136" y="169"/>
                    <a:pt x="136" y="169"/>
                  </a:cubicBezTo>
                  <a:cubicBezTo>
                    <a:pt x="153" y="174"/>
                    <a:pt x="153" y="174"/>
                    <a:pt x="153" y="174"/>
                  </a:cubicBezTo>
                  <a:cubicBezTo>
                    <a:pt x="171" y="179"/>
                    <a:pt x="171" y="179"/>
                    <a:pt x="171" y="179"/>
                  </a:cubicBezTo>
                  <a:cubicBezTo>
                    <a:pt x="171" y="250"/>
                    <a:pt x="171" y="250"/>
                    <a:pt x="171" y="250"/>
                  </a:cubicBezTo>
                  <a:cubicBezTo>
                    <a:pt x="544" y="250"/>
                    <a:pt x="544" y="250"/>
                    <a:pt x="544" y="250"/>
                  </a:cubicBezTo>
                  <a:cubicBezTo>
                    <a:pt x="544" y="179"/>
                    <a:pt x="544" y="179"/>
                    <a:pt x="544" y="179"/>
                  </a:cubicBezTo>
                  <a:cubicBezTo>
                    <a:pt x="562" y="174"/>
                    <a:pt x="562" y="174"/>
                    <a:pt x="562" y="174"/>
                  </a:cubicBezTo>
                  <a:cubicBezTo>
                    <a:pt x="580" y="169"/>
                    <a:pt x="580" y="169"/>
                    <a:pt x="580" y="169"/>
                  </a:cubicBezTo>
                  <a:cubicBezTo>
                    <a:pt x="659" y="145"/>
                    <a:pt x="659" y="145"/>
                    <a:pt x="659" y="145"/>
                  </a:cubicBezTo>
                  <a:cubicBezTo>
                    <a:pt x="678" y="166"/>
                    <a:pt x="686" y="199"/>
                    <a:pt x="690" y="223"/>
                  </a:cubicBezTo>
                  <a:cubicBezTo>
                    <a:pt x="687" y="225"/>
                    <a:pt x="684" y="227"/>
                    <a:pt x="682" y="229"/>
                  </a:cubicBezTo>
                  <a:cubicBezTo>
                    <a:pt x="668" y="244"/>
                    <a:pt x="669" y="266"/>
                    <a:pt x="683" y="280"/>
                  </a:cubicBezTo>
                  <a:cubicBezTo>
                    <a:pt x="684" y="281"/>
                    <a:pt x="686" y="282"/>
                    <a:pt x="687" y="283"/>
                  </a:cubicBezTo>
                  <a:cubicBezTo>
                    <a:pt x="667" y="360"/>
                    <a:pt x="667" y="360"/>
                    <a:pt x="667" y="360"/>
                  </a:cubicBezTo>
                  <a:lnTo>
                    <a:pt x="748" y="360"/>
                  </a:lnTo>
                  <a:close/>
                </a:path>
              </a:pathLst>
            </a:custGeom>
            <a:solidFill>
              <a:schemeClr val="bg1"/>
            </a:solidFill>
            <a:ln>
              <a:noFill/>
            </a:ln>
            <a:extLst/>
          </p:spPr>
          <p:txBody>
            <a:bodyPr anchor="ctr"/>
            <a:lstStyle/>
            <a:p>
              <a:pPr>
                <a:defRPr/>
              </a:pPr>
              <a:endParaRPr lang="de-DE" sz="200">
                <a:latin typeface="+mn-lt"/>
                <a:cs typeface="+mn-cs"/>
              </a:endParaRPr>
            </a:p>
          </p:txBody>
        </p:sp>
        <p:sp>
          <p:nvSpPr>
            <p:cNvPr id="169" name="TextBox 168">
              <a:extLst>
                <a:ext uri="{FF2B5EF4-FFF2-40B4-BE49-F238E27FC236}"/>
              </a:extLst>
            </p:cNvPr>
            <p:cNvSpPr txBox="1"/>
            <p:nvPr/>
          </p:nvSpPr>
          <p:spPr bwMode="gray">
            <a:xfrm>
              <a:off x="4030669" y="1331846"/>
              <a:ext cx="210137" cy="61842"/>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Labour force participation</a:t>
              </a:r>
            </a:p>
          </p:txBody>
        </p:sp>
        <p:grpSp>
          <p:nvGrpSpPr>
            <p:cNvPr id="10" name="Group 169">
              <a:extLst>
                <a:ext uri="{FF2B5EF4-FFF2-40B4-BE49-F238E27FC236}"/>
              </a:extLst>
            </p:cNvPr>
            <p:cNvGrpSpPr/>
            <p:nvPr/>
          </p:nvGrpSpPr>
          <p:grpSpPr bwMode="gray">
            <a:xfrm>
              <a:off x="4108977" y="1275671"/>
              <a:ext cx="53842" cy="56803"/>
              <a:chOff x="-7816851" y="1463676"/>
              <a:chExt cx="1020763" cy="1073150"/>
            </a:xfrm>
            <a:solidFill>
              <a:schemeClr val="bg1"/>
            </a:solidFill>
          </p:grpSpPr>
          <p:sp>
            <p:nvSpPr>
              <p:cNvPr id="171" name="Freeform 7026">
                <a:extLst>
                  <a:ext uri="{FF2B5EF4-FFF2-40B4-BE49-F238E27FC236}"/>
                </a:extLst>
              </p:cNvPr>
              <p:cNvSpPr>
                <a:spLocks noEditPoints="1"/>
              </p:cNvSpPr>
              <p:nvPr/>
            </p:nvSpPr>
            <p:spPr bwMode="gray">
              <a:xfrm>
                <a:off x="-7816851" y="1463676"/>
                <a:ext cx="873125" cy="1073150"/>
              </a:xfrm>
              <a:custGeom>
                <a:avLst/>
                <a:gdLst>
                  <a:gd name="T0" fmla="*/ 81 w 1063"/>
                  <a:gd name="T1" fmla="*/ 237 h 1305"/>
                  <a:gd name="T2" fmla="*/ 237 w 1063"/>
                  <a:gd name="T3" fmla="*/ 237 h 1305"/>
                  <a:gd name="T4" fmla="*/ 237 w 1063"/>
                  <a:gd name="T5" fmla="*/ 81 h 1305"/>
                  <a:gd name="T6" fmla="*/ 81 w 1063"/>
                  <a:gd name="T7" fmla="*/ 237 h 1305"/>
                  <a:gd name="T8" fmla="*/ 81 w 1063"/>
                  <a:gd name="T9" fmla="*/ 237 h 1305"/>
                  <a:gd name="T10" fmla="*/ 260 w 1063"/>
                  <a:gd name="T11" fmla="*/ 284 h 1305"/>
                  <a:gd name="T12" fmla="*/ 47 w 1063"/>
                  <a:gd name="T13" fmla="*/ 284 h 1305"/>
                  <a:gd name="T14" fmla="*/ 47 w 1063"/>
                  <a:gd name="T15" fmla="*/ 1257 h 1305"/>
                  <a:gd name="T16" fmla="*/ 1016 w 1063"/>
                  <a:gd name="T17" fmla="*/ 1257 h 1305"/>
                  <a:gd name="T18" fmla="*/ 1016 w 1063"/>
                  <a:gd name="T19" fmla="*/ 1184 h 1305"/>
                  <a:gd name="T20" fmla="*/ 1063 w 1063"/>
                  <a:gd name="T21" fmla="*/ 1180 h 1305"/>
                  <a:gd name="T22" fmla="*/ 1063 w 1063"/>
                  <a:gd name="T23" fmla="*/ 1281 h 1305"/>
                  <a:gd name="T24" fmla="*/ 1039 w 1063"/>
                  <a:gd name="T25" fmla="*/ 1305 h 1305"/>
                  <a:gd name="T26" fmla="*/ 24 w 1063"/>
                  <a:gd name="T27" fmla="*/ 1305 h 1305"/>
                  <a:gd name="T28" fmla="*/ 0 w 1063"/>
                  <a:gd name="T29" fmla="*/ 1281 h 1305"/>
                  <a:gd name="T30" fmla="*/ 0 w 1063"/>
                  <a:gd name="T31" fmla="*/ 260 h 1305"/>
                  <a:gd name="T32" fmla="*/ 7 w 1063"/>
                  <a:gd name="T33" fmla="*/ 244 h 1305"/>
                  <a:gd name="T34" fmla="*/ 244 w 1063"/>
                  <a:gd name="T35" fmla="*/ 7 h 1305"/>
                  <a:gd name="T36" fmla="*/ 260 w 1063"/>
                  <a:gd name="T37" fmla="*/ 0 h 1305"/>
                  <a:gd name="T38" fmla="*/ 1039 w 1063"/>
                  <a:gd name="T39" fmla="*/ 0 h 1305"/>
                  <a:gd name="T40" fmla="*/ 1063 w 1063"/>
                  <a:gd name="T41" fmla="*/ 24 h 1305"/>
                  <a:gd name="T42" fmla="*/ 1063 w 1063"/>
                  <a:gd name="T43" fmla="*/ 943 h 1305"/>
                  <a:gd name="T44" fmla="*/ 1016 w 1063"/>
                  <a:gd name="T45" fmla="*/ 947 h 1305"/>
                  <a:gd name="T46" fmla="*/ 1016 w 1063"/>
                  <a:gd name="T47" fmla="*/ 47 h 1305"/>
                  <a:gd name="T48" fmla="*/ 284 w 1063"/>
                  <a:gd name="T49" fmla="*/ 47 h 1305"/>
                  <a:gd name="T50" fmla="*/ 284 w 1063"/>
                  <a:gd name="T51" fmla="*/ 260 h 1305"/>
                  <a:gd name="T52" fmla="*/ 260 w 1063"/>
                  <a:gd name="T53" fmla="*/ 284 h 1305"/>
                  <a:gd name="T54" fmla="*/ 260 w 1063"/>
                  <a:gd name="T55" fmla="*/ 284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3" h="1305">
                    <a:moveTo>
                      <a:pt x="81" y="237"/>
                    </a:moveTo>
                    <a:lnTo>
                      <a:pt x="237" y="237"/>
                    </a:lnTo>
                    <a:lnTo>
                      <a:pt x="237" y="81"/>
                    </a:lnTo>
                    <a:lnTo>
                      <a:pt x="81" y="237"/>
                    </a:lnTo>
                    <a:lnTo>
                      <a:pt x="81" y="237"/>
                    </a:lnTo>
                    <a:close/>
                    <a:moveTo>
                      <a:pt x="260" y="284"/>
                    </a:moveTo>
                    <a:lnTo>
                      <a:pt x="47" y="284"/>
                    </a:lnTo>
                    <a:lnTo>
                      <a:pt x="47" y="1257"/>
                    </a:lnTo>
                    <a:lnTo>
                      <a:pt x="1016" y="1257"/>
                    </a:lnTo>
                    <a:lnTo>
                      <a:pt x="1016" y="1184"/>
                    </a:lnTo>
                    <a:lnTo>
                      <a:pt x="1063" y="1180"/>
                    </a:lnTo>
                    <a:lnTo>
                      <a:pt x="1063" y="1281"/>
                    </a:lnTo>
                    <a:cubicBezTo>
                      <a:pt x="1063" y="1294"/>
                      <a:pt x="1052" y="1305"/>
                      <a:pt x="1039" y="1305"/>
                    </a:cubicBezTo>
                    <a:lnTo>
                      <a:pt x="24" y="1305"/>
                    </a:lnTo>
                    <a:cubicBezTo>
                      <a:pt x="11" y="1305"/>
                      <a:pt x="0" y="1294"/>
                      <a:pt x="0" y="1281"/>
                    </a:cubicBezTo>
                    <a:lnTo>
                      <a:pt x="0" y="260"/>
                    </a:lnTo>
                    <a:cubicBezTo>
                      <a:pt x="0" y="254"/>
                      <a:pt x="3" y="248"/>
                      <a:pt x="7" y="244"/>
                    </a:cubicBezTo>
                    <a:lnTo>
                      <a:pt x="244" y="7"/>
                    </a:lnTo>
                    <a:lnTo>
                      <a:pt x="260" y="0"/>
                    </a:lnTo>
                    <a:lnTo>
                      <a:pt x="1039" y="0"/>
                    </a:lnTo>
                    <a:cubicBezTo>
                      <a:pt x="1052" y="0"/>
                      <a:pt x="1063" y="11"/>
                      <a:pt x="1063" y="24"/>
                    </a:cubicBezTo>
                    <a:lnTo>
                      <a:pt x="1063" y="943"/>
                    </a:lnTo>
                    <a:lnTo>
                      <a:pt x="1016" y="947"/>
                    </a:lnTo>
                    <a:lnTo>
                      <a:pt x="1016" y="47"/>
                    </a:lnTo>
                    <a:lnTo>
                      <a:pt x="284" y="47"/>
                    </a:lnTo>
                    <a:lnTo>
                      <a:pt x="284" y="260"/>
                    </a:lnTo>
                    <a:cubicBezTo>
                      <a:pt x="284" y="273"/>
                      <a:pt x="273" y="284"/>
                      <a:pt x="260" y="284"/>
                    </a:cubicBezTo>
                    <a:lnTo>
                      <a:pt x="260" y="284"/>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72" name="Freeform 7027">
                <a:extLst>
                  <a:ext uri="{FF2B5EF4-FFF2-40B4-BE49-F238E27FC236}"/>
                </a:extLst>
              </p:cNvPr>
              <p:cNvSpPr>
                <a:spLocks/>
              </p:cNvSpPr>
              <p:nvPr/>
            </p:nvSpPr>
            <p:spPr bwMode="gray">
              <a:xfrm>
                <a:off x="-7712076" y="2087563"/>
                <a:ext cx="661988" cy="38100"/>
              </a:xfrm>
              <a:custGeom>
                <a:avLst/>
                <a:gdLst>
                  <a:gd name="T0" fmla="*/ 24 w 807"/>
                  <a:gd name="T1" fmla="*/ 47 h 47"/>
                  <a:gd name="T2" fmla="*/ 0 w 807"/>
                  <a:gd name="T3" fmla="*/ 24 h 47"/>
                  <a:gd name="T4" fmla="*/ 24 w 807"/>
                  <a:gd name="T5" fmla="*/ 0 h 47"/>
                  <a:gd name="T6" fmla="*/ 783 w 807"/>
                  <a:gd name="T7" fmla="*/ 0 h 47"/>
                  <a:gd name="T8" fmla="*/ 807 w 807"/>
                  <a:gd name="T9" fmla="*/ 24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7"/>
                      <a:pt x="0" y="24"/>
                    </a:cubicBezTo>
                    <a:cubicBezTo>
                      <a:pt x="0" y="11"/>
                      <a:pt x="10" y="0"/>
                      <a:pt x="24" y="0"/>
                    </a:cubicBezTo>
                    <a:lnTo>
                      <a:pt x="783" y="0"/>
                    </a:lnTo>
                    <a:cubicBezTo>
                      <a:pt x="796" y="0"/>
                      <a:pt x="807" y="11"/>
                      <a:pt x="807" y="24"/>
                    </a:cubicBezTo>
                    <a:cubicBezTo>
                      <a:pt x="807" y="37"/>
                      <a:pt x="796" y="47"/>
                      <a:pt x="783" y="47"/>
                    </a:cubicBezTo>
                    <a:lnTo>
                      <a:pt x="24" y="47"/>
                    </a:lnTo>
                    <a:lnTo>
                      <a:pt x="24" y="47"/>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73" name="Freeform 7028">
                <a:extLst>
                  <a:ext uri="{FF2B5EF4-FFF2-40B4-BE49-F238E27FC236}"/>
                </a:extLst>
              </p:cNvPr>
              <p:cNvSpPr>
                <a:spLocks/>
              </p:cNvSpPr>
              <p:nvPr/>
            </p:nvSpPr>
            <p:spPr bwMode="gray">
              <a:xfrm>
                <a:off x="-7712076" y="2178051"/>
                <a:ext cx="661988" cy="38100"/>
              </a:xfrm>
              <a:custGeom>
                <a:avLst/>
                <a:gdLst>
                  <a:gd name="T0" fmla="*/ 24 w 807"/>
                  <a:gd name="T1" fmla="*/ 47 h 47"/>
                  <a:gd name="T2" fmla="*/ 0 w 807"/>
                  <a:gd name="T3" fmla="*/ 23 h 47"/>
                  <a:gd name="T4" fmla="*/ 24 w 807"/>
                  <a:gd name="T5" fmla="*/ 0 h 47"/>
                  <a:gd name="T6" fmla="*/ 783 w 807"/>
                  <a:gd name="T7" fmla="*/ 0 h 47"/>
                  <a:gd name="T8" fmla="*/ 807 w 807"/>
                  <a:gd name="T9" fmla="*/ 23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6"/>
                      <a:pt x="0" y="23"/>
                    </a:cubicBezTo>
                    <a:cubicBezTo>
                      <a:pt x="0" y="10"/>
                      <a:pt x="10" y="0"/>
                      <a:pt x="24" y="0"/>
                    </a:cubicBezTo>
                    <a:lnTo>
                      <a:pt x="783" y="0"/>
                    </a:lnTo>
                    <a:cubicBezTo>
                      <a:pt x="796" y="0"/>
                      <a:pt x="807" y="10"/>
                      <a:pt x="807" y="23"/>
                    </a:cubicBezTo>
                    <a:cubicBezTo>
                      <a:pt x="807" y="36"/>
                      <a:pt x="796" y="47"/>
                      <a:pt x="783" y="47"/>
                    </a:cubicBezTo>
                    <a:lnTo>
                      <a:pt x="24" y="47"/>
                    </a:lnTo>
                    <a:lnTo>
                      <a:pt x="24" y="47"/>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74" name="Freeform 7029">
                <a:extLst>
                  <a:ext uri="{FF2B5EF4-FFF2-40B4-BE49-F238E27FC236}"/>
                </a:extLst>
              </p:cNvPr>
              <p:cNvSpPr>
                <a:spLocks noEditPoints="1"/>
              </p:cNvSpPr>
              <p:nvPr/>
            </p:nvSpPr>
            <p:spPr bwMode="gray">
              <a:xfrm>
                <a:off x="-7526338" y="2266951"/>
                <a:ext cx="730250" cy="168275"/>
              </a:xfrm>
              <a:custGeom>
                <a:avLst/>
                <a:gdLst>
                  <a:gd name="T0" fmla="*/ 827 w 890"/>
                  <a:gd name="T1" fmla="*/ 21 h 204"/>
                  <a:gd name="T2" fmla="*/ 845 w 890"/>
                  <a:gd name="T3" fmla="*/ 36 h 204"/>
                  <a:gd name="T4" fmla="*/ 830 w 890"/>
                  <a:gd name="T5" fmla="*/ 53 h 204"/>
                  <a:gd name="T6" fmla="*/ 813 w 890"/>
                  <a:gd name="T7" fmla="*/ 39 h 204"/>
                  <a:gd name="T8" fmla="*/ 827 w 890"/>
                  <a:gd name="T9" fmla="*/ 21 h 204"/>
                  <a:gd name="T10" fmla="*/ 827 w 890"/>
                  <a:gd name="T11" fmla="*/ 21 h 204"/>
                  <a:gd name="T12" fmla="*/ 724 w 890"/>
                  <a:gd name="T13" fmla="*/ 11 h 204"/>
                  <a:gd name="T14" fmla="*/ 810 w 890"/>
                  <a:gd name="T15" fmla="*/ 3 h 204"/>
                  <a:gd name="T16" fmla="*/ 886 w 890"/>
                  <a:gd name="T17" fmla="*/ 68 h 204"/>
                  <a:gd name="T18" fmla="*/ 822 w 890"/>
                  <a:gd name="T19" fmla="*/ 144 h 204"/>
                  <a:gd name="T20" fmla="*/ 737 w 890"/>
                  <a:gd name="T21" fmla="*/ 152 h 204"/>
                  <a:gd name="T22" fmla="*/ 724 w 890"/>
                  <a:gd name="T23" fmla="*/ 11 h 204"/>
                  <a:gd name="T24" fmla="*/ 724 w 890"/>
                  <a:gd name="T25" fmla="*/ 11 h 204"/>
                  <a:gd name="T26" fmla="*/ 134 w 890"/>
                  <a:gd name="T27" fmla="*/ 204 h 204"/>
                  <a:gd name="T28" fmla="*/ 6 w 890"/>
                  <a:gd name="T29" fmla="*/ 153 h 204"/>
                  <a:gd name="T30" fmla="*/ 0 w 890"/>
                  <a:gd name="T31" fmla="*/ 145 h 204"/>
                  <a:gd name="T32" fmla="*/ 4 w 890"/>
                  <a:gd name="T33" fmla="*/ 136 h 204"/>
                  <a:gd name="T34" fmla="*/ 121 w 890"/>
                  <a:gd name="T35" fmla="*/ 65 h 204"/>
                  <a:gd name="T36" fmla="*/ 126 w 890"/>
                  <a:gd name="T37" fmla="*/ 63 h 204"/>
                  <a:gd name="T38" fmla="*/ 712 w 890"/>
                  <a:gd name="T39" fmla="*/ 12 h 204"/>
                  <a:gd name="T40" fmla="*/ 715 w 890"/>
                  <a:gd name="T41" fmla="*/ 39 h 204"/>
                  <a:gd name="T42" fmla="*/ 153 w 890"/>
                  <a:gd name="T43" fmla="*/ 89 h 204"/>
                  <a:gd name="T44" fmla="*/ 148 w 890"/>
                  <a:gd name="T45" fmla="*/ 94 h 204"/>
                  <a:gd name="T46" fmla="*/ 149 w 890"/>
                  <a:gd name="T47" fmla="*/ 96 h 204"/>
                  <a:gd name="T48" fmla="*/ 154 w 890"/>
                  <a:gd name="T49" fmla="*/ 101 h 204"/>
                  <a:gd name="T50" fmla="*/ 716 w 890"/>
                  <a:gd name="T51" fmla="*/ 51 h 204"/>
                  <a:gd name="T52" fmla="*/ 725 w 890"/>
                  <a:gd name="T53" fmla="*/ 153 h 204"/>
                  <a:gd name="T54" fmla="*/ 138 w 890"/>
                  <a:gd name="T55" fmla="*/ 204 h 204"/>
                  <a:gd name="T56" fmla="*/ 134 w 890"/>
                  <a:gd name="T57" fmla="*/ 204 h 204"/>
                  <a:gd name="T58" fmla="*/ 134 w 890"/>
                  <a:gd name="T5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0" h="204">
                    <a:moveTo>
                      <a:pt x="827" y="21"/>
                    </a:moveTo>
                    <a:cubicBezTo>
                      <a:pt x="836" y="21"/>
                      <a:pt x="844" y="27"/>
                      <a:pt x="845" y="36"/>
                    </a:cubicBezTo>
                    <a:cubicBezTo>
                      <a:pt x="845" y="45"/>
                      <a:pt x="839" y="52"/>
                      <a:pt x="830" y="53"/>
                    </a:cubicBezTo>
                    <a:cubicBezTo>
                      <a:pt x="821" y="54"/>
                      <a:pt x="814" y="47"/>
                      <a:pt x="813" y="39"/>
                    </a:cubicBezTo>
                    <a:cubicBezTo>
                      <a:pt x="812" y="30"/>
                      <a:pt x="818" y="22"/>
                      <a:pt x="827" y="21"/>
                    </a:cubicBezTo>
                    <a:lnTo>
                      <a:pt x="827" y="21"/>
                    </a:lnTo>
                    <a:close/>
                    <a:moveTo>
                      <a:pt x="724" y="11"/>
                    </a:moveTo>
                    <a:lnTo>
                      <a:pt x="810" y="3"/>
                    </a:lnTo>
                    <a:cubicBezTo>
                      <a:pt x="849" y="0"/>
                      <a:pt x="883" y="29"/>
                      <a:pt x="886" y="68"/>
                    </a:cubicBezTo>
                    <a:cubicBezTo>
                      <a:pt x="890" y="107"/>
                      <a:pt x="861" y="141"/>
                      <a:pt x="822" y="144"/>
                    </a:cubicBezTo>
                    <a:lnTo>
                      <a:pt x="737" y="152"/>
                    </a:lnTo>
                    <a:lnTo>
                      <a:pt x="724" y="11"/>
                    </a:lnTo>
                    <a:lnTo>
                      <a:pt x="724" y="11"/>
                    </a:lnTo>
                    <a:close/>
                    <a:moveTo>
                      <a:pt x="134" y="204"/>
                    </a:moveTo>
                    <a:lnTo>
                      <a:pt x="6" y="153"/>
                    </a:lnTo>
                    <a:cubicBezTo>
                      <a:pt x="2" y="152"/>
                      <a:pt x="0" y="149"/>
                      <a:pt x="0" y="145"/>
                    </a:cubicBezTo>
                    <a:cubicBezTo>
                      <a:pt x="0" y="142"/>
                      <a:pt x="1" y="138"/>
                      <a:pt x="4" y="136"/>
                    </a:cubicBezTo>
                    <a:lnTo>
                      <a:pt x="121" y="65"/>
                    </a:lnTo>
                    <a:cubicBezTo>
                      <a:pt x="123" y="64"/>
                      <a:pt x="124" y="63"/>
                      <a:pt x="126" y="63"/>
                    </a:cubicBezTo>
                    <a:lnTo>
                      <a:pt x="712" y="12"/>
                    </a:lnTo>
                    <a:lnTo>
                      <a:pt x="715" y="39"/>
                    </a:lnTo>
                    <a:lnTo>
                      <a:pt x="153" y="89"/>
                    </a:lnTo>
                    <a:cubicBezTo>
                      <a:pt x="150" y="89"/>
                      <a:pt x="148" y="91"/>
                      <a:pt x="148" y="94"/>
                    </a:cubicBezTo>
                    <a:lnTo>
                      <a:pt x="149" y="96"/>
                    </a:lnTo>
                    <a:cubicBezTo>
                      <a:pt x="149" y="99"/>
                      <a:pt x="151" y="101"/>
                      <a:pt x="154" y="101"/>
                    </a:cubicBezTo>
                    <a:lnTo>
                      <a:pt x="716" y="51"/>
                    </a:lnTo>
                    <a:lnTo>
                      <a:pt x="725" y="153"/>
                    </a:lnTo>
                    <a:lnTo>
                      <a:pt x="138" y="204"/>
                    </a:lnTo>
                    <a:cubicBezTo>
                      <a:pt x="136" y="204"/>
                      <a:pt x="135" y="204"/>
                      <a:pt x="134" y="204"/>
                    </a:cubicBezTo>
                    <a:lnTo>
                      <a:pt x="134" y="204"/>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sp>
            <p:nvSpPr>
              <p:cNvPr id="175" name="Freeform 7030">
                <a:extLst>
                  <a:ext uri="{FF2B5EF4-FFF2-40B4-BE49-F238E27FC236}"/>
                </a:extLst>
              </p:cNvPr>
              <p:cNvSpPr>
                <a:spLocks noEditPoints="1"/>
              </p:cNvSpPr>
              <p:nvPr/>
            </p:nvSpPr>
            <p:spPr bwMode="gray">
              <a:xfrm>
                <a:off x="-7510463" y="1612901"/>
                <a:ext cx="258763" cy="381000"/>
              </a:xfrm>
              <a:custGeom>
                <a:avLst/>
                <a:gdLst>
                  <a:gd name="T0" fmla="*/ 157 w 315"/>
                  <a:gd name="T1" fmla="*/ 0 h 464"/>
                  <a:gd name="T2" fmla="*/ 57 w 315"/>
                  <a:gd name="T3" fmla="*/ 100 h 464"/>
                  <a:gd name="T4" fmla="*/ 157 w 315"/>
                  <a:gd name="T5" fmla="*/ 200 h 464"/>
                  <a:gd name="T6" fmla="*/ 258 w 315"/>
                  <a:gd name="T7" fmla="*/ 100 h 464"/>
                  <a:gd name="T8" fmla="*/ 157 w 315"/>
                  <a:gd name="T9" fmla="*/ 0 h 464"/>
                  <a:gd name="T10" fmla="*/ 157 w 315"/>
                  <a:gd name="T11" fmla="*/ 0 h 464"/>
                  <a:gd name="T12" fmla="*/ 281 w 315"/>
                  <a:gd name="T13" fmla="*/ 298 h 464"/>
                  <a:gd name="T14" fmla="*/ 315 w 315"/>
                  <a:gd name="T15" fmla="*/ 464 h 464"/>
                  <a:gd name="T16" fmla="*/ 0 w 315"/>
                  <a:gd name="T17" fmla="*/ 464 h 464"/>
                  <a:gd name="T18" fmla="*/ 34 w 315"/>
                  <a:gd name="T19" fmla="*/ 298 h 464"/>
                  <a:gd name="T20" fmla="*/ 157 w 315"/>
                  <a:gd name="T21" fmla="*/ 222 h 464"/>
                  <a:gd name="T22" fmla="*/ 281 w 315"/>
                  <a:gd name="T23" fmla="*/ 298 h 464"/>
                  <a:gd name="T24" fmla="*/ 281 w 315"/>
                  <a:gd name="T25" fmla="*/ 29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464">
                    <a:moveTo>
                      <a:pt x="157" y="0"/>
                    </a:moveTo>
                    <a:cubicBezTo>
                      <a:pt x="102" y="0"/>
                      <a:pt x="57" y="45"/>
                      <a:pt x="57" y="100"/>
                    </a:cubicBezTo>
                    <a:cubicBezTo>
                      <a:pt x="57" y="155"/>
                      <a:pt x="102" y="200"/>
                      <a:pt x="157" y="200"/>
                    </a:cubicBezTo>
                    <a:cubicBezTo>
                      <a:pt x="213" y="200"/>
                      <a:pt x="258" y="155"/>
                      <a:pt x="258" y="100"/>
                    </a:cubicBezTo>
                    <a:cubicBezTo>
                      <a:pt x="258" y="45"/>
                      <a:pt x="213" y="0"/>
                      <a:pt x="157" y="0"/>
                    </a:cubicBezTo>
                    <a:lnTo>
                      <a:pt x="157" y="0"/>
                    </a:lnTo>
                    <a:close/>
                    <a:moveTo>
                      <a:pt x="281" y="298"/>
                    </a:moveTo>
                    <a:lnTo>
                      <a:pt x="315" y="464"/>
                    </a:lnTo>
                    <a:lnTo>
                      <a:pt x="0" y="464"/>
                    </a:lnTo>
                    <a:lnTo>
                      <a:pt x="34" y="298"/>
                    </a:lnTo>
                    <a:cubicBezTo>
                      <a:pt x="45" y="245"/>
                      <a:pt x="109" y="222"/>
                      <a:pt x="157" y="222"/>
                    </a:cubicBezTo>
                    <a:cubicBezTo>
                      <a:pt x="206" y="222"/>
                      <a:pt x="270" y="245"/>
                      <a:pt x="281" y="298"/>
                    </a:cubicBezTo>
                    <a:lnTo>
                      <a:pt x="281" y="298"/>
                    </a:lnTo>
                  </a:path>
                </a:pathLst>
              </a:custGeom>
              <a:solidFill>
                <a:schemeClr val="accent6">
                  <a:lumMod val="60000"/>
                  <a:lumOff val="40000"/>
                </a:schemeClr>
              </a:solidFill>
              <a:ln>
                <a:noFill/>
              </a:ln>
              <a:extLst>
                <a:ext uri="{91240B29-F687-4F45-9708-019B960494DF}"/>
              </a:extLst>
            </p:spPr>
            <p:txBody>
              <a:bodyPr anchor="ctr"/>
              <a:lstStyle/>
              <a:p>
                <a:pPr>
                  <a:defRPr/>
                </a:pPr>
                <a:endParaRPr lang="en-US" sz="200" dirty="0">
                  <a:latin typeface="+mn-lt"/>
                  <a:cs typeface="+mn-cs"/>
                </a:endParaRPr>
              </a:p>
            </p:txBody>
          </p:sp>
        </p:grpSp>
      </p:grpSp>
      <p:grpSp>
        <p:nvGrpSpPr>
          <p:cNvPr id="22544" name="Group 5"/>
          <p:cNvGrpSpPr>
            <a:grpSpLocks/>
          </p:cNvGrpSpPr>
          <p:nvPr/>
        </p:nvGrpSpPr>
        <p:grpSpPr bwMode="auto">
          <a:xfrm>
            <a:off x="8110538" y="676275"/>
            <a:ext cx="422275" cy="368300"/>
            <a:chOff x="7636395" y="1027396"/>
            <a:chExt cx="421866" cy="367877"/>
          </a:xfrm>
        </p:grpSpPr>
        <p:sp>
          <p:nvSpPr>
            <p:cNvPr id="179" name="Freeform 6">
              <a:extLst>
                <a:ext uri="{FF2B5EF4-FFF2-40B4-BE49-F238E27FC236}"/>
              </a:extLst>
            </p:cNvPr>
            <p:cNvSpPr>
              <a:spLocks/>
            </p:cNvSpPr>
            <p:nvPr/>
          </p:nvSpPr>
          <p:spPr bwMode="auto">
            <a:xfrm>
              <a:off x="7636395" y="1270005"/>
              <a:ext cx="420280" cy="125268"/>
            </a:xfrm>
            <a:custGeom>
              <a:avLst/>
              <a:gdLst>
                <a:gd name="T0" fmla="*/ 0 w 2963"/>
                <a:gd name="T1" fmla="*/ 0 h 879"/>
                <a:gd name="T2" fmla="*/ 2963 w 2963"/>
                <a:gd name="T3" fmla="*/ 0 h 879"/>
                <a:gd name="T4" fmla="*/ 2479 w 2963"/>
                <a:gd name="T5" fmla="*/ 879 h 879"/>
                <a:gd name="T6" fmla="*/ 508 w 2963"/>
                <a:gd name="T7" fmla="*/ 879 h 879"/>
                <a:gd name="T8" fmla="*/ 0 w 2963"/>
                <a:gd name="T9" fmla="*/ 0 h 879"/>
              </a:gdLst>
              <a:ahLst/>
              <a:cxnLst>
                <a:cxn ang="0">
                  <a:pos x="T0" y="T1"/>
                </a:cxn>
                <a:cxn ang="0">
                  <a:pos x="T2" y="T3"/>
                </a:cxn>
                <a:cxn ang="0">
                  <a:pos x="T4" y="T5"/>
                </a:cxn>
                <a:cxn ang="0">
                  <a:pos x="T6" y="T7"/>
                </a:cxn>
                <a:cxn ang="0">
                  <a:pos x="T8" y="T9"/>
                </a:cxn>
              </a:cxnLst>
              <a:rect l="0" t="0" r="r" b="b"/>
              <a:pathLst>
                <a:path w="2963" h="879">
                  <a:moveTo>
                    <a:pt x="0" y="0"/>
                  </a:moveTo>
                  <a:lnTo>
                    <a:pt x="2963" y="0"/>
                  </a:lnTo>
                  <a:lnTo>
                    <a:pt x="2479" y="879"/>
                  </a:lnTo>
                  <a:lnTo>
                    <a:pt x="508" y="879"/>
                  </a:lnTo>
                  <a:lnTo>
                    <a:pt x="0" y="0"/>
                  </a:lnTo>
                  <a:close/>
                </a:path>
              </a:pathLst>
            </a:custGeom>
            <a:solidFill>
              <a:schemeClr val="accent4"/>
            </a:solidFill>
            <a:ln w="38100">
              <a:noFill/>
              <a:prstDash val="solid"/>
              <a:round/>
              <a:headEnd/>
              <a:tailEnd/>
            </a:ln>
          </p:spPr>
          <p:txBody>
            <a:bodyPr anchor="ctr"/>
            <a:lstStyle/>
            <a:p>
              <a:pPr>
                <a:defRPr/>
              </a:pPr>
              <a:endParaRPr lang="en-US" sz="200" dirty="0">
                <a:latin typeface="+mn-lt"/>
                <a:cs typeface="+mn-cs"/>
              </a:endParaRPr>
            </a:p>
          </p:txBody>
        </p:sp>
        <p:sp>
          <p:nvSpPr>
            <p:cNvPr id="180" name="Freeform 7">
              <a:extLst>
                <a:ext uri="{FF2B5EF4-FFF2-40B4-BE49-F238E27FC236}"/>
              </a:extLst>
            </p:cNvPr>
            <p:cNvSpPr>
              <a:spLocks/>
            </p:cNvSpPr>
            <p:nvPr/>
          </p:nvSpPr>
          <p:spPr bwMode="auto">
            <a:xfrm>
              <a:off x="7636395" y="1027396"/>
              <a:ext cx="283887" cy="367877"/>
            </a:xfrm>
            <a:custGeom>
              <a:avLst/>
              <a:gdLst>
                <a:gd name="T0" fmla="*/ 983 w 1994"/>
                <a:gd name="T1" fmla="*/ 0 h 2580"/>
                <a:gd name="T2" fmla="*/ 0 w 1994"/>
                <a:gd name="T3" fmla="*/ 1701 h 2580"/>
                <a:gd name="T4" fmla="*/ 508 w 1994"/>
                <a:gd name="T5" fmla="*/ 2580 h 2580"/>
                <a:gd name="T6" fmla="*/ 1994 w 1994"/>
                <a:gd name="T7" fmla="*/ 0 h 2580"/>
                <a:gd name="T8" fmla="*/ 983 w 1994"/>
                <a:gd name="T9" fmla="*/ 0 h 2580"/>
              </a:gdLst>
              <a:ahLst/>
              <a:cxnLst>
                <a:cxn ang="0">
                  <a:pos x="T0" y="T1"/>
                </a:cxn>
                <a:cxn ang="0">
                  <a:pos x="T2" y="T3"/>
                </a:cxn>
                <a:cxn ang="0">
                  <a:pos x="T4" y="T5"/>
                </a:cxn>
                <a:cxn ang="0">
                  <a:pos x="T6" y="T7"/>
                </a:cxn>
                <a:cxn ang="0">
                  <a:pos x="T8" y="T9"/>
                </a:cxn>
              </a:cxnLst>
              <a:rect l="0" t="0" r="r" b="b"/>
              <a:pathLst>
                <a:path w="1994" h="2580">
                  <a:moveTo>
                    <a:pt x="983" y="0"/>
                  </a:moveTo>
                  <a:lnTo>
                    <a:pt x="0" y="1701"/>
                  </a:lnTo>
                  <a:lnTo>
                    <a:pt x="508" y="2580"/>
                  </a:lnTo>
                  <a:lnTo>
                    <a:pt x="1994" y="0"/>
                  </a:lnTo>
                  <a:lnTo>
                    <a:pt x="983" y="0"/>
                  </a:lnTo>
                  <a:close/>
                </a:path>
              </a:pathLst>
            </a:custGeom>
            <a:solidFill>
              <a:schemeClr val="accent6">
                <a:lumMod val="20000"/>
                <a:lumOff val="80000"/>
              </a:schemeClr>
            </a:solidFill>
            <a:ln w="38100">
              <a:noFill/>
              <a:prstDash val="solid"/>
              <a:round/>
              <a:headEnd/>
              <a:tailEnd/>
            </a:ln>
          </p:spPr>
          <p:txBody>
            <a:bodyPr anchor="ctr"/>
            <a:lstStyle/>
            <a:p>
              <a:pPr>
                <a:defRPr/>
              </a:pPr>
              <a:endParaRPr lang="en-US" sz="200" dirty="0">
                <a:latin typeface="+mn-lt"/>
                <a:cs typeface="+mn-cs"/>
              </a:endParaRPr>
            </a:p>
          </p:txBody>
        </p:sp>
        <p:sp>
          <p:nvSpPr>
            <p:cNvPr id="183" name="Freeform 8">
              <a:extLst>
                <a:ext uri="{FF2B5EF4-FFF2-40B4-BE49-F238E27FC236}"/>
              </a:extLst>
            </p:cNvPr>
            <p:cNvSpPr>
              <a:spLocks/>
            </p:cNvSpPr>
            <p:nvPr/>
          </p:nvSpPr>
          <p:spPr bwMode="auto">
            <a:xfrm>
              <a:off x="7777545" y="1027396"/>
              <a:ext cx="280716" cy="367877"/>
            </a:xfrm>
            <a:custGeom>
              <a:avLst/>
              <a:gdLst>
                <a:gd name="T0" fmla="*/ 0 w 1980"/>
                <a:gd name="T1" fmla="*/ 0 h 2580"/>
                <a:gd name="T2" fmla="*/ 1496 w 1980"/>
                <a:gd name="T3" fmla="*/ 2580 h 2580"/>
                <a:gd name="T4" fmla="*/ 1980 w 1980"/>
                <a:gd name="T5" fmla="*/ 1701 h 2580"/>
                <a:gd name="T6" fmla="*/ 1011 w 1980"/>
                <a:gd name="T7" fmla="*/ 0 h 2580"/>
                <a:gd name="T8" fmla="*/ 0 w 1980"/>
                <a:gd name="T9" fmla="*/ 0 h 2580"/>
              </a:gdLst>
              <a:ahLst/>
              <a:cxnLst>
                <a:cxn ang="0">
                  <a:pos x="T0" y="T1"/>
                </a:cxn>
                <a:cxn ang="0">
                  <a:pos x="T2" y="T3"/>
                </a:cxn>
                <a:cxn ang="0">
                  <a:pos x="T4" y="T5"/>
                </a:cxn>
                <a:cxn ang="0">
                  <a:pos x="T6" y="T7"/>
                </a:cxn>
                <a:cxn ang="0">
                  <a:pos x="T8" y="T9"/>
                </a:cxn>
              </a:cxnLst>
              <a:rect l="0" t="0" r="r" b="b"/>
              <a:pathLst>
                <a:path w="1980" h="2580">
                  <a:moveTo>
                    <a:pt x="0" y="0"/>
                  </a:moveTo>
                  <a:lnTo>
                    <a:pt x="1496" y="2580"/>
                  </a:lnTo>
                  <a:lnTo>
                    <a:pt x="1980" y="1701"/>
                  </a:lnTo>
                  <a:lnTo>
                    <a:pt x="1011" y="0"/>
                  </a:lnTo>
                  <a:lnTo>
                    <a:pt x="0" y="0"/>
                  </a:lnTo>
                  <a:close/>
                </a:path>
              </a:pathLst>
            </a:custGeom>
            <a:solidFill>
              <a:schemeClr val="accent6">
                <a:lumMod val="20000"/>
                <a:lumOff val="80000"/>
              </a:schemeClr>
            </a:solidFill>
            <a:ln w="19050">
              <a:noFill/>
              <a:prstDash val="solid"/>
              <a:round/>
              <a:headEnd/>
              <a:tailEnd/>
            </a:ln>
          </p:spPr>
          <p:txBody>
            <a:bodyPr anchor="ctr"/>
            <a:lstStyle/>
            <a:p>
              <a:pPr>
                <a:defRPr/>
              </a:pPr>
              <a:endParaRPr lang="en-US" sz="200" dirty="0">
                <a:latin typeface="+mn-lt"/>
                <a:cs typeface="+mn-cs"/>
              </a:endParaRPr>
            </a:p>
          </p:txBody>
        </p:sp>
        <p:sp>
          <p:nvSpPr>
            <p:cNvPr id="184" name="TextBox 183">
              <a:extLst>
                <a:ext uri="{FF2B5EF4-FFF2-40B4-BE49-F238E27FC236}"/>
              </a:extLst>
            </p:cNvPr>
            <p:cNvSpPr txBox="1"/>
            <p:nvPr/>
          </p:nvSpPr>
          <p:spPr bwMode="gray">
            <a:xfrm>
              <a:off x="7679215" y="1170107"/>
              <a:ext cx="104674" cy="91969"/>
            </a:xfrm>
            <a:prstGeom prst="rect">
              <a:avLst/>
            </a:prstGeom>
          </p:spPr>
          <p:txBody>
            <a:bodyPr lIns="0" tIns="0" rIns="0" bIns="0" anchor="ctr">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Health and nutrition</a:t>
              </a:r>
            </a:p>
          </p:txBody>
        </p:sp>
        <p:grpSp>
          <p:nvGrpSpPr>
            <p:cNvPr id="12" name="Group 184">
              <a:extLst>
                <a:ext uri="{FF2B5EF4-FFF2-40B4-BE49-F238E27FC236}"/>
              </a:extLst>
            </p:cNvPr>
            <p:cNvGrpSpPr/>
            <p:nvPr/>
          </p:nvGrpSpPr>
          <p:grpSpPr bwMode="gray">
            <a:xfrm>
              <a:off x="7740203" y="1120885"/>
              <a:ext cx="66238" cy="57763"/>
              <a:chOff x="5045076" y="776288"/>
              <a:chExt cx="566737" cy="506412"/>
            </a:xfrm>
            <a:solidFill>
              <a:schemeClr val="bg1"/>
            </a:solidFill>
          </p:grpSpPr>
          <p:sp>
            <p:nvSpPr>
              <p:cNvPr id="201" name="Freeform 16">
                <a:extLst>
                  <a:ext uri="{FF2B5EF4-FFF2-40B4-BE49-F238E27FC236}"/>
                </a:extLst>
              </p:cNvPr>
              <p:cNvSpPr>
                <a:spLocks/>
              </p:cNvSpPr>
              <p:nvPr/>
            </p:nvSpPr>
            <p:spPr bwMode="gray">
              <a:xfrm>
                <a:off x="5168900" y="977900"/>
                <a:ext cx="368300" cy="304800"/>
              </a:xfrm>
              <a:custGeom>
                <a:avLst/>
                <a:gdLst>
                  <a:gd name="T0" fmla="*/ 81 w 98"/>
                  <a:gd name="T1" fmla="*/ 24 h 81"/>
                  <a:gd name="T2" fmla="*/ 81 w 98"/>
                  <a:gd name="T3" fmla="*/ 23 h 81"/>
                  <a:gd name="T4" fmla="*/ 79 w 98"/>
                  <a:gd name="T5" fmla="*/ 33 h 81"/>
                  <a:gd name="T6" fmla="*/ 75 w 98"/>
                  <a:gd name="T7" fmla="*/ 36 h 81"/>
                  <a:gd name="T8" fmla="*/ 75 w 98"/>
                  <a:gd name="T9" fmla="*/ 36 h 81"/>
                  <a:gd name="T10" fmla="*/ 72 w 98"/>
                  <a:gd name="T11" fmla="*/ 34 h 81"/>
                  <a:gd name="T12" fmla="*/ 65 w 98"/>
                  <a:gd name="T13" fmla="*/ 12 h 81"/>
                  <a:gd name="T14" fmla="*/ 60 w 98"/>
                  <a:gd name="T15" fmla="*/ 26 h 81"/>
                  <a:gd name="T16" fmla="*/ 56 w 98"/>
                  <a:gd name="T17" fmla="*/ 28 h 81"/>
                  <a:gd name="T18" fmla="*/ 53 w 98"/>
                  <a:gd name="T19" fmla="*/ 25 h 81"/>
                  <a:gd name="T20" fmla="*/ 48 w 98"/>
                  <a:gd name="T21" fmla="*/ 0 h 81"/>
                  <a:gd name="T22" fmla="*/ 41 w 98"/>
                  <a:gd name="T23" fmla="*/ 51 h 81"/>
                  <a:gd name="T24" fmla="*/ 38 w 98"/>
                  <a:gd name="T25" fmla="*/ 55 h 81"/>
                  <a:gd name="T26" fmla="*/ 38 w 98"/>
                  <a:gd name="T27" fmla="*/ 55 h 81"/>
                  <a:gd name="T28" fmla="*/ 38 w 98"/>
                  <a:gd name="T29" fmla="*/ 55 h 81"/>
                  <a:gd name="T30" fmla="*/ 34 w 98"/>
                  <a:gd name="T31" fmla="*/ 51 h 81"/>
                  <a:gd name="T32" fmla="*/ 31 w 98"/>
                  <a:gd name="T33" fmla="*/ 33 h 81"/>
                  <a:gd name="T34" fmla="*/ 30 w 98"/>
                  <a:gd name="T35" fmla="*/ 37 h 81"/>
                  <a:gd name="T36" fmla="*/ 26 w 98"/>
                  <a:gd name="T37" fmla="*/ 39 h 81"/>
                  <a:gd name="T38" fmla="*/ 26 w 98"/>
                  <a:gd name="T39" fmla="*/ 39 h 81"/>
                  <a:gd name="T40" fmla="*/ 23 w 98"/>
                  <a:gd name="T41" fmla="*/ 37 h 81"/>
                  <a:gd name="T42" fmla="*/ 17 w 98"/>
                  <a:gd name="T43" fmla="*/ 22 h 81"/>
                  <a:gd name="T44" fmla="*/ 13 w 98"/>
                  <a:gd name="T45" fmla="*/ 36 h 81"/>
                  <a:gd name="T46" fmla="*/ 9 w 98"/>
                  <a:gd name="T47" fmla="*/ 39 h 81"/>
                  <a:gd name="T48" fmla="*/ 0 w 98"/>
                  <a:gd name="T49" fmla="*/ 39 h 81"/>
                  <a:gd name="T50" fmla="*/ 43 w 98"/>
                  <a:gd name="T51" fmla="*/ 81 h 81"/>
                  <a:gd name="T52" fmla="*/ 98 w 98"/>
                  <a:gd name="T53" fmla="*/ 26 h 81"/>
                  <a:gd name="T54" fmla="*/ 84 w 98"/>
                  <a:gd name="T55" fmla="*/ 26 h 81"/>
                  <a:gd name="T56" fmla="*/ 81 w 98"/>
                  <a:gd name="T57"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81">
                    <a:moveTo>
                      <a:pt x="81" y="24"/>
                    </a:moveTo>
                    <a:cubicBezTo>
                      <a:pt x="81" y="23"/>
                      <a:pt x="81" y="23"/>
                      <a:pt x="81" y="23"/>
                    </a:cubicBezTo>
                    <a:cubicBezTo>
                      <a:pt x="79" y="33"/>
                      <a:pt x="79" y="33"/>
                      <a:pt x="79" y="33"/>
                    </a:cubicBezTo>
                    <a:cubicBezTo>
                      <a:pt x="79" y="35"/>
                      <a:pt x="77" y="36"/>
                      <a:pt x="75" y="36"/>
                    </a:cubicBezTo>
                    <a:cubicBezTo>
                      <a:pt x="75" y="36"/>
                      <a:pt x="75" y="36"/>
                      <a:pt x="75" y="36"/>
                    </a:cubicBezTo>
                    <a:cubicBezTo>
                      <a:pt x="74" y="36"/>
                      <a:pt x="72" y="35"/>
                      <a:pt x="72" y="34"/>
                    </a:cubicBezTo>
                    <a:cubicBezTo>
                      <a:pt x="65" y="12"/>
                      <a:pt x="65" y="12"/>
                      <a:pt x="65" y="12"/>
                    </a:cubicBezTo>
                    <a:cubicBezTo>
                      <a:pt x="60" y="26"/>
                      <a:pt x="60" y="26"/>
                      <a:pt x="60" y="26"/>
                    </a:cubicBezTo>
                    <a:cubicBezTo>
                      <a:pt x="59" y="27"/>
                      <a:pt x="58" y="28"/>
                      <a:pt x="56" y="28"/>
                    </a:cubicBezTo>
                    <a:cubicBezTo>
                      <a:pt x="54" y="28"/>
                      <a:pt x="53" y="27"/>
                      <a:pt x="53" y="25"/>
                    </a:cubicBezTo>
                    <a:cubicBezTo>
                      <a:pt x="48" y="0"/>
                      <a:pt x="48" y="0"/>
                      <a:pt x="48" y="0"/>
                    </a:cubicBezTo>
                    <a:cubicBezTo>
                      <a:pt x="41" y="51"/>
                      <a:pt x="41" y="51"/>
                      <a:pt x="41" y="51"/>
                    </a:cubicBezTo>
                    <a:cubicBezTo>
                      <a:pt x="41" y="53"/>
                      <a:pt x="39" y="55"/>
                      <a:pt x="38" y="55"/>
                    </a:cubicBezTo>
                    <a:cubicBezTo>
                      <a:pt x="38" y="55"/>
                      <a:pt x="38" y="55"/>
                      <a:pt x="38" y="55"/>
                    </a:cubicBezTo>
                    <a:cubicBezTo>
                      <a:pt x="38" y="55"/>
                      <a:pt x="38" y="55"/>
                      <a:pt x="38" y="55"/>
                    </a:cubicBezTo>
                    <a:cubicBezTo>
                      <a:pt x="36" y="55"/>
                      <a:pt x="34" y="53"/>
                      <a:pt x="34" y="51"/>
                    </a:cubicBezTo>
                    <a:cubicBezTo>
                      <a:pt x="31" y="33"/>
                      <a:pt x="31" y="33"/>
                      <a:pt x="31" y="33"/>
                    </a:cubicBezTo>
                    <a:cubicBezTo>
                      <a:pt x="30" y="37"/>
                      <a:pt x="30" y="37"/>
                      <a:pt x="30" y="37"/>
                    </a:cubicBezTo>
                    <a:cubicBezTo>
                      <a:pt x="29" y="38"/>
                      <a:pt x="28" y="39"/>
                      <a:pt x="26" y="39"/>
                    </a:cubicBezTo>
                    <a:cubicBezTo>
                      <a:pt x="26" y="39"/>
                      <a:pt x="26" y="39"/>
                      <a:pt x="26" y="39"/>
                    </a:cubicBezTo>
                    <a:cubicBezTo>
                      <a:pt x="25" y="39"/>
                      <a:pt x="23" y="38"/>
                      <a:pt x="23" y="37"/>
                    </a:cubicBezTo>
                    <a:cubicBezTo>
                      <a:pt x="17" y="22"/>
                      <a:pt x="17" y="22"/>
                      <a:pt x="17" y="22"/>
                    </a:cubicBezTo>
                    <a:cubicBezTo>
                      <a:pt x="13" y="36"/>
                      <a:pt x="13" y="36"/>
                      <a:pt x="13" y="36"/>
                    </a:cubicBezTo>
                    <a:cubicBezTo>
                      <a:pt x="13" y="37"/>
                      <a:pt x="11" y="39"/>
                      <a:pt x="9" y="39"/>
                    </a:cubicBezTo>
                    <a:cubicBezTo>
                      <a:pt x="0" y="39"/>
                      <a:pt x="0" y="39"/>
                      <a:pt x="0" y="39"/>
                    </a:cubicBezTo>
                    <a:cubicBezTo>
                      <a:pt x="43" y="81"/>
                      <a:pt x="43" y="81"/>
                      <a:pt x="43" y="81"/>
                    </a:cubicBezTo>
                    <a:cubicBezTo>
                      <a:pt x="98" y="26"/>
                      <a:pt x="98" y="26"/>
                      <a:pt x="98" y="26"/>
                    </a:cubicBezTo>
                    <a:cubicBezTo>
                      <a:pt x="84" y="26"/>
                      <a:pt x="84" y="26"/>
                      <a:pt x="84" y="26"/>
                    </a:cubicBezTo>
                    <a:cubicBezTo>
                      <a:pt x="83" y="26"/>
                      <a:pt x="81" y="25"/>
                      <a:pt x="81" y="24"/>
                    </a:cubicBezTo>
                    <a:close/>
                  </a:path>
                </a:pathLst>
              </a:custGeom>
              <a:solidFill>
                <a:schemeClr val="accent6">
                  <a:lumMod val="60000"/>
                  <a:lumOff val="40000"/>
                </a:schemeClr>
              </a:solid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sp>
            <p:nvSpPr>
              <p:cNvPr id="202" name="Freeform 17">
                <a:extLst>
                  <a:ext uri="{FF2B5EF4-FFF2-40B4-BE49-F238E27FC236}"/>
                </a:extLst>
              </p:cNvPr>
              <p:cNvSpPr>
                <a:spLocks/>
              </p:cNvSpPr>
              <p:nvPr/>
            </p:nvSpPr>
            <p:spPr bwMode="gray">
              <a:xfrm>
                <a:off x="5045076" y="776288"/>
                <a:ext cx="566737" cy="319088"/>
              </a:xfrm>
              <a:custGeom>
                <a:avLst/>
                <a:gdLst>
                  <a:gd name="T0" fmla="*/ 46 w 151"/>
                  <a:gd name="T1" fmla="*/ 63 h 85"/>
                  <a:gd name="T2" fmla="*/ 50 w 151"/>
                  <a:gd name="T3" fmla="*/ 60 h 85"/>
                  <a:gd name="T4" fmla="*/ 53 w 151"/>
                  <a:gd name="T5" fmla="*/ 63 h 85"/>
                  <a:gd name="T6" fmla="*/ 59 w 151"/>
                  <a:gd name="T7" fmla="*/ 78 h 85"/>
                  <a:gd name="T8" fmla="*/ 61 w 151"/>
                  <a:gd name="T9" fmla="*/ 70 h 85"/>
                  <a:gd name="T10" fmla="*/ 65 w 151"/>
                  <a:gd name="T11" fmla="*/ 67 h 85"/>
                  <a:gd name="T12" fmla="*/ 69 w 151"/>
                  <a:gd name="T13" fmla="*/ 70 h 85"/>
                  <a:gd name="T14" fmla="*/ 70 w 151"/>
                  <a:gd name="T15" fmla="*/ 80 h 85"/>
                  <a:gd name="T16" fmla="*/ 77 w 151"/>
                  <a:gd name="T17" fmla="*/ 29 h 85"/>
                  <a:gd name="T18" fmla="*/ 81 w 151"/>
                  <a:gd name="T19" fmla="*/ 26 h 85"/>
                  <a:gd name="T20" fmla="*/ 84 w 151"/>
                  <a:gd name="T21" fmla="*/ 29 h 85"/>
                  <a:gd name="T22" fmla="*/ 91 w 151"/>
                  <a:gd name="T23" fmla="*/ 64 h 85"/>
                  <a:gd name="T24" fmla="*/ 95 w 151"/>
                  <a:gd name="T25" fmla="*/ 53 h 85"/>
                  <a:gd name="T26" fmla="*/ 98 w 151"/>
                  <a:gd name="T27" fmla="*/ 50 h 85"/>
                  <a:gd name="T28" fmla="*/ 102 w 151"/>
                  <a:gd name="T29" fmla="*/ 53 h 85"/>
                  <a:gd name="T30" fmla="*/ 107 w 151"/>
                  <a:gd name="T31" fmla="*/ 70 h 85"/>
                  <a:gd name="T32" fmla="*/ 109 w 151"/>
                  <a:gd name="T33" fmla="*/ 61 h 85"/>
                  <a:gd name="T34" fmla="*/ 112 w 151"/>
                  <a:gd name="T35" fmla="*/ 58 h 85"/>
                  <a:gd name="T36" fmla="*/ 112 w 151"/>
                  <a:gd name="T37" fmla="*/ 58 h 85"/>
                  <a:gd name="T38" fmla="*/ 116 w 151"/>
                  <a:gd name="T39" fmla="*/ 60 h 85"/>
                  <a:gd name="T40" fmla="*/ 120 w 151"/>
                  <a:gd name="T41" fmla="*/ 73 h 85"/>
                  <a:gd name="T42" fmla="*/ 138 w 151"/>
                  <a:gd name="T43" fmla="*/ 73 h 85"/>
                  <a:gd name="T44" fmla="*/ 135 w 151"/>
                  <a:gd name="T45" fmla="*/ 17 h 85"/>
                  <a:gd name="T46" fmla="*/ 76 w 151"/>
                  <a:gd name="T47" fmla="*/ 17 h 85"/>
                  <a:gd name="T48" fmla="*/ 16 w 151"/>
                  <a:gd name="T49" fmla="*/ 17 h 85"/>
                  <a:gd name="T50" fmla="*/ 16 w 151"/>
                  <a:gd name="T51" fmla="*/ 76 h 85"/>
                  <a:gd name="T52" fmla="*/ 25 w 151"/>
                  <a:gd name="T53" fmla="*/ 85 h 85"/>
                  <a:gd name="T54" fmla="*/ 40 w 151"/>
                  <a:gd name="T55" fmla="*/ 85 h 85"/>
                  <a:gd name="T56" fmla="*/ 46 w 151"/>
                  <a:gd name="T57" fmla="*/ 6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85">
                    <a:moveTo>
                      <a:pt x="46" y="63"/>
                    </a:moveTo>
                    <a:cubicBezTo>
                      <a:pt x="47" y="61"/>
                      <a:pt x="48" y="60"/>
                      <a:pt x="50" y="60"/>
                    </a:cubicBezTo>
                    <a:cubicBezTo>
                      <a:pt x="51" y="60"/>
                      <a:pt x="53" y="61"/>
                      <a:pt x="53" y="63"/>
                    </a:cubicBezTo>
                    <a:cubicBezTo>
                      <a:pt x="59" y="78"/>
                      <a:pt x="59" y="78"/>
                      <a:pt x="59" y="78"/>
                    </a:cubicBezTo>
                    <a:cubicBezTo>
                      <a:pt x="61" y="70"/>
                      <a:pt x="61" y="70"/>
                      <a:pt x="61" y="70"/>
                    </a:cubicBezTo>
                    <a:cubicBezTo>
                      <a:pt x="62" y="68"/>
                      <a:pt x="63" y="67"/>
                      <a:pt x="65" y="67"/>
                    </a:cubicBezTo>
                    <a:cubicBezTo>
                      <a:pt x="67" y="67"/>
                      <a:pt x="68" y="69"/>
                      <a:pt x="69" y="70"/>
                    </a:cubicBezTo>
                    <a:cubicBezTo>
                      <a:pt x="70" y="80"/>
                      <a:pt x="70" y="80"/>
                      <a:pt x="70" y="80"/>
                    </a:cubicBezTo>
                    <a:cubicBezTo>
                      <a:pt x="77" y="29"/>
                      <a:pt x="77" y="29"/>
                      <a:pt x="77" y="29"/>
                    </a:cubicBezTo>
                    <a:cubicBezTo>
                      <a:pt x="77" y="27"/>
                      <a:pt x="79" y="26"/>
                      <a:pt x="81" y="26"/>
                    </a:cubicBezTo>
                    <a:cubicBezTo>
                      <a:pt x="83" y="26"/>
                      <a:pt x="84" y="27"/>
                      <a:pt x="84" y="29"/>
                    </a:cubicBezTo>
                    <a:cubicBezTo>
                      <a:pt x="91" y="64"/>
                      <a:pt x="91" y="64"/>
                      <a:pt x="91" y="64"/>
                    </a:cubicBezTo>
                    <a:cubicBezTo>
                      <a:pt x="95" y="53"/>
                      <a:pt x="95" y="53"/>
                      <a:pt x="95" y="53"/>
                    </a:cubicBezTo>
                    <a:cubicBezTo>
                      <a:pt x="95" y="51"/>
                      <a:pt x="97" y="50"/>
                      <a:pt x="98" y="50"/>
                    </a:cubicBezTo>
                    <a:cubicBezTo>
                      <a:pt x="100" y="50"/>
                      <a:pt x="101" y="51"/>
                      <a:pt x="102" y="53"/>
                    </a:cubicBezTo>
                    <a:cubicBezTo>
                      <a:pt x="107" y="70"/>
                      <a:pt x="107" y="70"/>
                      <a:pt x="107" y="70"/>
                    </a:cubicBezTo>
                    <a:cubicBezTo>
                      <a:pt x="109" y="61"/>
                      <a:pt x="109" y="61"/>
                      <a:pt x="109" y="61"/>
                    </a:cubicBezTo>
                    <a:cubicBezTo>
                      <a:pt x="109" y="59"/>
                      <a:pt x="110" y="58"/>
                      <a:pt x="112" y="58"/>
                    </a:cubicBezTo>
                    <a:cubicBezTo>
                      <a:pt x="112" y="58"/>
                      <a:pt x="112" y="58"/>
                      <a:pt x="112" y="58"/>
                    </a:cubicBezTo>
                    <a:cubicBezTo>
                      <a:pt x="114" y="58"/>
                      <a:pt x="115" y="59"/>
                      <a:pt x="116" y="60"/>
                    </a:cubicBezTo>
                    <a:cubicBezTo>
                      <a:pt x="120" y="73"/>
                      <a:pt x="120" y="73"/>
                      <a:pt x="120" y="73"/>
                    </a:cubicBezTo>
                    <a:cubicBezTo>
                      <a:pt x="138" y="73"/>
                      <a:pt x="138" y="73"/>
                      <a:pt x="138" y="73"/>
                    </a:cubicBezTo>
                    <a:cubicBezTo>
                      <a:pt x="151" y="57"/>
                      <a:pt x="151" y="32"/>
                      <a:pt x="135" y="17"/>
                    </a:cubicBezTo>
                    <a:cubicBezTo>
                      <a:pt x="119" y="0"/>
                      <a:pt x="92" y="0"/>
                      <a:pt x="76" y="17"/>
                    </a:cubicBezTo>
                    <a:cubicBezTo>
                      <a:pt x="59" y="0"/>
                      <a:pt x="33" y="0"/>
                      <a:pt x="16" y="17"/>
                    </a:cubicBezTo>
                    <a:cubicBezTo>
                      <a:pt x="0" y="33"/>
                      <a:pt x="0" y="60"/>
                      <a:pt x="16" y="76"/>
                    </a:cubicBezTo>
                    <a:cubicBezTo>
                      <a:pt x="25" y="85"/>
                      <a:pt x="25" y="85"/>
                      <a:pt x="25" y="85"/>
                    </a:cubicBezTo>
                    <a:cubicBezTo>
                      <a:pt x="40" y="85"/>
                      <a:pt x="40" y="85"/>
                      <a:pt x="40" y="85"/>
                    </a:cubicBezTo>
                    <a:lnTo>
                      <a:pt x="46" y="63"/>
                    </a:lnTo>
                    <a:close/>
                  </a:path>
                </a:pathLst>
              </a:custGeom>
              <a:solidFill>
                <a:schemeClr val="accent6">
                  <a:lumMod val="60000"/>
                  <a:lumOff val="40000"/>
                </a:schemeClr>
              </a:solidFill>
              <a:ln>
                <a:noFill/>
              </a:ln>
              <a:extLst>
                <a:ext uri="{91240B29-F687-4F45-9708-019B960494DF}"/>
              </a:extLst>
            </p:spPr>
            <p:txBody>
              <a:bodyPr lIns="68577" tIns="34288" rIns="68577" bIns="34288" anchor="ctr"/>
              <a:lstStyle/>
              <a:p>
                <a:pPr>
                  <a:defRPr/>
                </a:pPr>
                <a:endParaRPr lang="en-US" sz="200" b="1" dirty="0">
                  <a:solidFill>
                    <a:srgbClr val="000000"/>
                  </a:solidFill>
                  <a:latin typeface="+mn-lt"/>
                  <a:cs typeface="+mn-cs"/>
                </a:endParaRPr>
              </a:p>
            </p:txBody>
          </p:sp>
        </p:grpSp>
        <p:sp>
          <p:nvSpPr>
            <p:cNvPr id="192" name="TextBox 191">
              <a:extLst>
                <a:ext uri="{FF2B5EF4-FFF2-40B4-BE49-F238E27FC236}"/>
              </a:extLst>
            </p:cNvPr>
            <p:cNvSpPr txBox="1">
              <a:spLocks/>
            </p:cNvSpPr>
            <p:nvPr/>
          </p:nvSpPr>
          <p:spPr bwMode="gray">
            <a:xfrm>
              <a:off x="7899665" y="1201820"/>
              <a:ext cx="125291" cy="30128"/>
            </a:xfrm>
            <a:prstGeom prst="rect">
              <a:avLst/>
            </a:prstGeom>
          </p:spPr>
          <p:txBody>
            <a:bodyPr lIns="0" tIns="0" rIns="0" bIns="0" anchor="ct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200" b="1" dirty="0">
                  <a:solidFill>
                    <a:schemeClr val="accent6">
                      <a:lumMod val="60000"/>
                      <a:lumOff val="40000"/>
                    </a:schemeClr>
                  </a:solidFill>
                  <a:cs typeface="+mn-cs"/>
                </a:rPr>
                <a:t>Education</a:t>
              </a:r>
            </a:p>
          </p:txBody>
        </p:sp>
        <p:sp>
          <p:nvSpPr>
            <p:cNvPr id="193" name="Freeform 19">
              <a:extLst>
                <a:ext uri="{FF2B5EF4-FFF2-40B4-BE49-F238E27FC236}"/>
              </a:extLst>
            </p:cNvPr>
            <p:cNvSpPr>
              <a:spLocks noEditPoints="1"/>
            </p:cNvSpPr>
            <p:nvPr/>
          </p:nvSpPr>
          <p:spPr bwMode="gray">
            <a:xfrm>
              <a:off x="7886977" y="1119365"/>
              <a:ext cx="77712" cy="60256"/>
            </a:xfrm>
            <a:custGeom>
              <a:avLst/>
              <a:gdLst>
                <a:gd name="T0" fmla="*/ 98 w 748"/>
                <a:gd name="T1" fmla="*/ 338 h 573"/>
                <a:gd name="T2" fmla="*/ 98 w 748"/>
                <a:gd name="T3" fmla="*/ 389 h 573"/>
                <a:gd name="T4" fmla="*/ 109 w 748"/>
                <a:gd name="T5" fmla="*/ 363 h 573"/>
                <a:gd name="T6" fmla="*/ 592 w 748"/>
                <a:gd name="T7" fmla="*/ 288 h 573"/>
                <a:gd name="T8" fmla="*/ 61 w 748"/>
                <a:gd name="T9" fmla="*/ 333 h 573"/>
                <a:gd name="T10" fmla="*/ 101 w 748"/>
                <a:gd name="T11" fmla="*/ 439 h 573"/>
                <a:gd name="T12" fmla="*/ 262 w 748"/>
                <a:gd name="T13" fmla="*/ 543 h 573"/>
                <a:gd name="T14" fmla="*/ 328 w 748"/>
                <a:gd name="T15" fmla="*/ 573 h 573"/>
                <a:gd name="T16" fmla="*/ 385 w 748"/>
                <a:gd name="T17" fmla="*/ 573 h 573"/>
                <a:gd name="T18" fmla="*/ 451 w 748"/>
                <a:gd name="T19" fmla="*/ 543 h 573"/>
                <a:gd name="T20" fmla="*/ 591 w 748"/>
                <a:gd name="T21" fmla="*/ 439 h 573"/>
                <a:gd name="T22" fmla="*/ 592 w 748"/>
                <a:gd name="T23" fmla="*/ 288 h 573"/>
                <a:gd name="T24" fmla="*/ 101 w 748"/>
                <a:gd name="T25" fmla="*/ 419 h 573"/>
                <a:gd name="T26" fmla="*/ 102 w 748"/>
                <a:gd name="T27" fmla="*/ 308 h 573"/>
                <a:gd name="T28" fmla="*/ 126 w 748"/>
                <a:gd name="T29" fmla="*/ 363 h 573"/>
                <a:gd name="T30" fmla="*/ 314 w 748"/>
                <a:gd name="T31" fmla="*/ 419 h 573"/>
                <a:gd name="T32" fmla="*/ 146 w 748"/>
                <a:gd name="T33" fmla="*/ 364 h 573"/>
                <a:gd name="T34" fmla="*/ 314 w 748"/>
                <a:gd name="T35" fmla="*/ 308 h 573"/>
                <a:gd name="T36" fmla="*/ 314 w 748"/>
                <a:gd name="T37" fmla="*/ 419 h 573"/>
                <a:gd name="T38" fmla="*/ 405 w 748"/>
                <a:gd name="T39" fmla="*/ 419 h 573"/>
                <a:gd name="T40" fmla="*/ 405 w 748"/>
                <a:gd name="T41" fmla="*/ 308 h 573"/>
                <a:gd name="T42" fmla="*/ 616 w 748"/>
                <a:gd name="T43" fmla="*/ 363 h 573"/>
                <a:gd name="T44" fmla="*/ 748 w 748"/>
                <a:gd name="T45" fmla="*/ 360 h 573"/>
                <a:gd name="T46" fmla="*/ 734 w 748"/>
                <a:gd name="T47" fmla="*/ 279 h 573"/>
                <a:gd name="T48" fmla="*/ 719 w 748"/>
                <a:gd name="T49" fmla="*/ 220 h 573"/>
                <a:gd name="T50" fmla="*/ 715 w 748"/>
                <a:gd name="T51" fmla="*/ 128 h 573"/>
                <a:gd name="T52" fmla="*/ 580 w 748"/>
                <a:gd name="T53" fmla="*/ 66 h 573"/>
                <a:gd name="T54" fmla="*/ 358 w 748"/>
                <a:gd name="T55" fmla="*/ 0 h 573"/>
                <a:gd name="T56" fmla="*/ 136 w 748"/>
                <a:gd name="T57" fmla="*/ 66 h 573"/>
                <a:gd name="T58" fmla="*/ 0 w 748"/>
                <a:gd name="T59" fmla="*/ 128 h 573"/>
                <a:gd name="T60" fmla="*/ 153 w 748"/>
                <a:gd name="T61" fmla="*/ 174 h 573"/>
                <a:gd name="T62" fmla="*/ 171 w 748"/>
                <a:gd name="T63" fmla="*/ 250 h 573"/>
                <a:gd name="T64" fmla="*/ 544 w 748"/>
                <a:gd name="T65" fmla="*/ 179 h 573"/>
                <a:gd name="T66" fmla="*/ 580 w 748"/>
                <a:gd name="T67" fmla="*/ 169 h 573"/>
                <a:gd name="T68" fmla="*/ 690 w 748"/>
                <a:gd name="T69" fmla="*/ 223 h 573"/>
                <a:gd name="T70" fmla="*/ 683 w 748"/>
                <a:gd name="T71" fmla="*/ 280 h 573"/>
                <a:gd name="T72" fmla="*/ 667 w 748"/>
                <a:gd name="T73" fmla="*/ 36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8" h="573">
                  <a:moveTo>
                    <a:pt x="98" y="338"/>
                  </a:moveTo>
                  <a:cubicBezTo>
                    <a:pt x="98" y="338"/>
                    <a:pt x="98" y="338"/>
                    <a:pt x="98" y="338"/>
                  </a:cubicBezTo>
                  <a:cubicBezTo>
                    <a:pt x="92" y="338"/>
                    <a:pt x="87" y="349"/>
                    <a:pt x="87" y="363"/>
                  </a:cubicBezTo>
                  <a:cubicBezTo>
                    <a:pt x="87" y="377"/>
                    <a:pt x="92" y="388"/>
                    <a:pt x="98" y="389"/>
                  </a:cubicBezTo>
                  <a:cubicBezTo>
                    <a:pt x="98" y="389"/>
                    <a:pt x="98" y="389"/>
                    <a:pt x="98" y="389"/>
                  </a:cubicBezTo>
                  <a:cubicBezTo>
                    <a:pt x="104" y="389"/>
                    <a:pt x="109" y="377"/>
                    <a:pt x="109" y="363"/>
                  </a:cubicBezTo>
                  <a:cubicBezTo>
                    <a:pt x="109" y="349"/>
                    <a:pt x="104" y="338"/>
                    <a:pt x="98" y="338"/>
                  </a:cubicBezTo>
                  <a:close/>
                  <a:moveTo>
                    <a:pt x="592" y="288"/>
                  </a:moveTo>
                  <a:cubicBezTo>
                    <a:pt x="102" y="288"/>
                    <a:pt x="102" y="288"/>
                    <a:pt x="102" y="288"/>
                  </a:cubicBezTo>
                  <a:cubicBezTo>
                    <a:pt x="82" y="288"/>
                    <a:pt x="67" y="305"/>
                    <a:pt x="61" y="333"/>
                  </a:cubicBezTo>
                  <a:cubicBezTo>
                    <a:pt x="59" y="342"/>
                    <a:pt x="57" y="352"/>
                    <a:pt x="57" y="363"/>
                  </a:cubicBezTo>
                  <a:cubicBezTo>
                    <a:pt x="57" y="407"/>
                    <a:pt x="75" y="438"/>
                    <a:pt x="101" y="439"/>
                  </a:cubicBezTo>
                  <a:cubicBezTo>
                    <a:pt x="310" y="439"/>
                    <a:pt x="310" y="439"/>
                    <a:pt x="310" y="439"/>
                  </a:cubicBezTo>
                  <a:cubicBezTo>
                    <a:pt x="262" y="543"/>
                    <a:pt x="262" y="543"/>
                    <a:pt x="262" y="543"/>
                  </a:cubicBezTo>
                  <a:cubicBezTo>
                    <a:pt x="305" y="539"/>
                    <a:pt x="305" y="539"/>
                    <a:pt x="305" y="539"/>
                  </a:cubicBezTo>
                  <a:cubicBezTo>
                    <a:pt x="328" y="573"/>
                    <a:pt x="328" y="573"/>
                    <a:pt x="328" y="573"/>
                  </a:cubicBezTo>
                  <a:cubicBezTo>
                    <a:pt x="357" y="511"/>
                    <a:pt x="357" y="511"/>
                    <a:pt x="357" y="511"/>
                  </a:cubicBezTo>
                  <a:cubicBezTo>
                    <a:pt x="385" y="573"/>
                    <a:pt x="385" y="573"/>
                    <a:pt x="385" y="573"/>
                  </a:cubicBezTo>
                  <a:cubicBezTo>
                    <a:pt x="408" y="539"/>
                    <a:pt x="408" y="539"/>
                    <a:pt x="408" y="539"/>
                  </a:cubicBezTo>
                  <a:cubicBezTo>
                    <a:pt x="451" y="543"/>
                    <a:pt x="451" y="543"/>
                    <a:pt x="451" y="543"/>
                  </a:cubicBezTo>
                  <a:cubicBezTo>
                    <a:pt x="403" y="439"/>
                    <a:pt x="403" y="439"/>
                    <a:pt x="403" y="439"/>
                  </a:cubicBezTo>
                  <a:cubicBezTo>
                    <a:pt x="591" y="439"/>
                    <a:pt x="591" y="439"/>
                    <a:pt x="591" y="439"/>
                  </a:cubicBezTo>
                  <a:cubicBezTo>
                    <a:pt x="617" y="439"/>
                    <a:pt x="636" y="408"/>
                    <a:pt x="636" y="364"/>
                  </a:cubicBezTo>
                  <a:cubicBezTo>
                    <a:pt x="636" y="319"/>
                    <a:pt x="618" y="288"/>
                    <a:pt x="592" y="288"/>
                  </a:cubicBezTo>
                  <a:close/>
                  <a:moveTo>
                    <a:pt x="101" y="419"/>
                  </a:moveTo>
                  <a:cubicBezTo>
                    <a:pt x="101" y="419"/>
                    <a:pt x="101" y="419"/>
                    <a:pt x="101" y="419"/>
                  </a:cubicBezTo>
                  <a:cubicBezTo>
                    <a:pt x="88" y="419"/>
                    <a:pt x="77" y="394"/>
                    <a:pt x="77" y="363"/>
                  </a:cubicBezTo>
                  <a:cubicBezTo>
                    <a:pt x="77" y="332"/>
                    <a:pt x="88" y="308"/>
                    <a:pt x="102" y="308"/>
                  </a:cubicBezTo>
                  <a:cubicBezTo>
                    <a:pt x="102" y="308"/>
                    <a:pt x="102" y="308"/>
                    <a:pt x="102" y="308"/>
                  </a:cubicBezTo>
                  <a:cubicBezTo>
                    <a:pt x="115" y="308"/>
                    <a:pt x="126" y="333"/>
                    <a:pt x="126" y="363"/>
                  </a:cubicBezTo>
                  <a:cubicBezTo>
                    <a:pt x="126" y="394"/>
                    <a:pt x="115" y="419"/>
                    <a:pt x="101" y="419"/>
                  </a:cubicBezTo>
                  <a:close/>
                  <a:moveTo>
                    <a:pt x="314" y="419"/>
                  </a:moveTo>
                  <a:cubicBezTo>
                    <a:pt x="132" y="419"/>
                    <a:pt x="132" y="419"/>
                    <a:pt x="132" y="419"/>
                  </a:cubicBezTo>
                  <a:cubicBezTo>
                    <a:pt x="141" y="406"/>
                    <a:pt x="146" y="386"/>
                    <a:pt x="146" y="364"/>
                  </a:cubicBezTo>
                  <a:cubicBezTo>
                    <a:pt x="146" y="340"/>
                    <a:pt x="141" y="321"/>
                    <a:pt x="133" y="308"/>
                  </a:cubicBezTo>
                  <a:cubicBezTo>
                    <a:pt x="314" y="308"/>
                    <a:pt x="314" y="308"/>
                    <a:pt x="314" y="308"/>
                  </a:cubicBezTo>
                  <a:cubicBezTo>
                    <a:pt x="323" y="319"/>
                    <a:pt x="328" y="340"/>
                    <a:pt x="328" y="364"/>
                  </a:cubicBezTo>
                  <a:cubicBezTo>
                    <a:pt x="328" y="387"/>
                    <a:pt x="322" y="408"/>
                    <a:pt x="314" y="419"/>
                  </a:cubicBezTo>
                  <a:close/>
                  <a:moveTo>
                    <a:pt x="592" y="419"/>
                  </a:moveTo>
                  <a:cubicBezTo>
                    <a:pt x="405" y="419"/>
                    <a:pt x="405" y="419"/>
                    <a:pt x="405" y="419"/>
                  </a:cubicBezTo>
                  <a:cubicBezTo>
                    <a:pt x="413" y="408"/>
                    <a:pt x="419" y="387"/>
                    <a:pt x="419" y="364"/>
                  </a:cubicBezTo>
                  <a:cubicBezTo>
                    <a:pt x="419" y="340"/>
                    <a:pt x="414" y="319"/>
                    <a:pt x="405" y="308"/>
                  </a:cubicBezTo>
                  <a:cubicBezTo>
                    <a:pt x="592" y="308"/>
                    <a:pt x="592" y="308"/>
                    <a:pt x="592" y="308"/>
                  </a:cubicBezTo>
                  <a:cubicBezTo>
                    <a:pt x="605" y="308"/>
                    <a:pt x="616" y="333"/>
                    <a:pt x="616" y="363"/>
                  </a:cubicBezTo>
                  <a:cubicBezTo>
                    <a:pt x="616" y="394"/>
                    <a:pt x="605" y="419"/>
                    <a:pt x="592" y="419"/>
                  </a:cubicBezTo>
                  <a:close/>
                  <a:moveTo>
                    <a:pt x="748" y="360"/>
                  </a:moveTo>
                  <a:cubicBezTo>
                    <a:pt x="728" y="283"/>
                    <a:pt x="728" y="283"/>
                    <a:pt x="728" y="283"/>
                  </a:cubicBezTo>
                  <a:cubicBezTo>
                    <a:pt x="730" y="282"/>
                    <a:pt x="732" y="280"/>
                    <a:pt x="734" y="279"/>
                  </a:cubicBezTo>
                  <a:cubicBezTo>
                    <a:pt x="747" y="264"/>
                    <a:pt x="747" y="242"/>
                    <a:pt x="732" y="228"/>
                  </a:cubicBezTo>
                  <a:cubicBezTo>
                    <a:pt x="728" y="224"/>
                    <a:pt x="724" y="222"/>
                    <a:pt x="719" y="220"/>
                  </a:cubicBezTo>
                  <a:cubicBezTo>
                    <a:pt x="715" y="196"/>
                    <a:pt x="706" y="162"/>
                    <a:pt x="688" y="136"/>
                  </a:cubicBezTo>
                  <a:cubicBezTo>
                    <a:pt x="715" y="128"/>
                    <a:pt x="715" y="128"/>
                    <a:pt x="715" y="128"/>
                  </a:cubicBezTo>
                  <a:cubicBezTo>
                    <a:pt x="715" y="106"/>
                    <a:pt x="715" y="106"/>
                    <a:pt x="715" y="106"/>
                  </a:cubicBezTo>
                  <a:cubicBezTo>
                    <a:pt x="580" y="66"/>
                    <a:pt x="580" y="66"/>
                    <a:pt x="580" y="66"/>
                  </a:cubicBezTo>
                  <a:cubicBezTo>
                    <a:pt x="519" y="48"/>
                    <a:pt x="519" y="48"/>
                    <a:pt x="519" y="48"/>
                  </a:cubicBezTo>
                  <a:cubicBezTo>
                    <a:pt x="358" y="0"/>
                    <a:pt x="358" y="0"/>
                    <a:pt x="358" y="0"/>
                  </a:cubicBezTo>
                  <a:cubicBezTo>
                    <a:pt x="196" y="48"/>
                    <a:pt x="196" y="48"/>
                    <a:pt x="196" y="48"/>
                  </a:cubicBezTo>
                  <a:cubicBezTo>
                    <a:pt x="136" y="66"/>
                    <a:pt x="136" y="66"/>
                    <a:pt x="136" y="66"/>
                  </a:cubicBezTo>
                  <a:cubicBezTo>
                    <a:pt x="0" y="106"/>
                    <a:pt x="0" y="106"/>
                    <a:pt x="0" y="106"/>
                  </a:cubicBezTo>
                  <a:cubicBezTo>
                    <a:pt x="0" y="128"/>
                    <a:pt x="0" y="128"/>
                    <a:pt x="0" y="128"/>
                  </a:cubicBezTo>
                  <a:cubicBezTo>
                    <a:pt x="136" y="169"/>
                    <a:pt x="136" y="169"/>
                    <a:pt x="136" y="169"/>
                  </a:cubicBezTo>
                  <a:cubicBezTo>
                    <a:pt x="153" y="174"/>
                    <a:pt x="153" y="174"/>
                    <a:pt x="153" y="174"/>
                  </a:cubicBezTo>
                  <a:cubicBezTo>
                    <a:pt x="171" y="179"/>
                    <a:pt x="171" y="179"/>
                    <a:pt x="171" y="179"/>
                  </a:cubicBezTo>
                  <a:cubicBezTo>
                    <a:pt x="171" y="250"/>
                    <a:pt x="171" y="250"/>
                    <a:pt x="171" y="250"/>
                  </a:cubicBezTo>
                  <a:cubicBezTo>
                    <a:pt x="544" y="250"/>
                    <a:pt x="544" y="250"/>
                    <a:pt x="544" y="250"/>
                  </a:cubicBezTo>
                  <a:cubicBezTo>
                    <a:pt x="544" y="179"/>
                    <a:pt x="544" y="179"/>
                    <a:pt x="544" y="179"/>
                  </a:cubicBezTo>
                  <a:cubicBezTo>
                    <a:pt x="562" y="174"/>
                    <a:pt x="562" y="174"/>
                    <a:pt x="562" y="174"/>
                  </a:cubicBezTo>
                  <a:cubicBezTo>
                    <a:pt x="580" y="169"/>
                    <a:pt x="580" y="169"/>
                    <a:pt x="580" y="169"/>
                  </a:cubicBezTo>
                  <a:cubicBezTo>
                    <a:pt x="659" y="145"/>
                    <a:pt x="659" y="145"/>
                    <a:pt x="659" y="145"/>
                  </a:cubicBezTo>
                  <a:cubicBezTo>
                    <a:pt x="678" y="166"/>
                    <a:pt x="686" y="199"/>
                    <a:pt x="690" y="223"/>
                  </a:cubicBezTo>
                  <a:cubicBezTo>
                    <a:pt x="687" y="225"/>
                    <a:pt x="684" y="227"/>
                    <a:pt x="682" y="229"/>
                  </a:cubicBezTo>
                  <a:cubicBezTo>
                    <a:pt x="668" y="244"/>
                    <a:pt x="669" y="266"/>
                    <a:pt x="683" y="280"/>
                  </a:cubicBezTo>
                  <a:cubicBezTo>
                    <a:pt x="684" y="281"/>
                    <a:pt x="686" y="282"/>
                    <a:pt x="687" y="283"/>
                  </a:cubicBezTo>
                  <a:cubicBezTo>
                    <a:pt x="667" y="360"/>
                    <a:pt x="667" y="360"/>
                    <a:pt x="667" y="360"/>
                  </a:cubicBezTo>
                  <a:lnTo>
                    <a:pt x="748" y="360"/>
                  </a:lnTo>
                  <a:close/>
                </a:path>
              </a:pathLst>
            </a:custGeom>
            <a:solidFill>
              <a:schemeClr val="accent6">
                <a:lumMod val="60000"/>
                <a:lumOff val="40000"/>
              </a:schemeClr>
            </a:solidFill>
            <a:ln>
              <a:noFill/>
            </a:ln>
            <a:extLst/>
          </p:spPr>
          <p:txBody>
            <a:bodyPr anchor="ctr"/>
            <a:lstStyle/>
            <a:p>
              <a:pPr>
                <a:defRPr/>
              </a:pPr>
              <a:endParaRPr lang="de-DE" sz="200">
                <a:latin typeface="+mn-lt"/>
                <a:cs typeface="+mn-cs"/>
              </a:endParaRPr>
            </a:p>
          </p:txBody>
        </p:sp>
        <p:sp>
          <p:nvSpPr>
            <p:cNvPr id="22617" name="TextBox 193"/>
            <p:cNvSpPr txBox="1">
              <a:spLocks noChangeArrowheads="1"/>
            </p:cNvSpPr>
            <p:nvPr/>
          </p:nvSpPr>
          <p:spPr bwMode="gray">
            <a:xfrm>
              <a:off x="7745849" y="1331620"/>
              <a:ext cx="211235" cy="61555"/>
            </a:xfrm>
            <a:prstGeom prst="rect">
              <a:avLst/>
            </a:prstGeom>
            <a:noFill/>
            <a:ln w="9525">
              <a:noFill/>
              <a:miter lim="800000"/>
              <a:headEnd/>
              <a:tailEnd/>
            </a:ln>
          </p:spPr>
          <p:txBody>
            <a:bodyPr lIns="0" tIns="0" rIns="0" bIns="0" anchor="ctr">
              <a:spAutoFit/>
            </a:bodyPr>
            <a:lstStyle/>
            <a:p>
              <a:pPr algn="ctr" defTabSz="895350">
                <a:buClr>
                  <a:schemeClr val="tx2"/>
                </a:buClr>
                <a:buSzPct val="100000"/>
              </a:pPr>
              <a:r>
                <a:rPr lang="en-US" sz="200" b="1">
                  <a:solidFill>
                    <a:schemeClr val="bg1"/>
                  </a:solidFill>
                </a:rPr>
                <a:t>Labour force participation</a:t>
              </a:r>
            </a:p>
          </p:txBody>
        </p:sp>
        <p:grpSp>
          <p:nvGrpSpPr>
            <p:cNvPr id="13" name="Group 194">
              <a:extLst>
                <a:ext uri="{FF2B5EF4-FFF2-40B4-BE49-F238E27FC236}"/>
              </a:extLst>
            </p:cNvPr>
            <p:cNvGrpSpPr/>
            <p:nvPr/>
          </p:nvGrpSpPr>
          <p:grpSpPr bwMode="gray">
            <a:xfrm>
              <a:off x="7824547" y="1275671"/>
              <a:ext cx="53842" cy="56803"/>
              <a:chOff x="-7816851" y="1463676"/>
              <a:chExt cx="1020763" cy="1073150"/>
            </a:xfrm>
            <a:solidFill>
              <a:schemeClr val="bg1"/>
            </a:solidFill>
          </p:grpSpPr>
          <p:sp>
            <p:nvSpPr>
              <p:cNvPr id="196" name="Freeform 7026">
                <a:extLst>
                  <a:ext uri="{FF2B5EF4-FFF2-40B4-BE49-F238E27FC236}"/>
                </a:extLst>
              </p:cNvPr>
              <p:cNvSpPr>
                <a:spLocks noEditPoints="1"/>
              </p:cNvSpPr>
              <p:nvPr/>
            </p:nvSpPr>
            <p:spPr bwMode="gray">
              <a:xfrm>
                <a:off x="-7816851" y="1463676"/>
                <a:ext cx="873125" cy="1073150"/>
              </a:xfrm>
              <a:custGeom>
                <a:avLst/>
                <a:gdLst>
                  <a:gd name="T0" fmla="*/ 81 w 1063"/>
                  <a:gd name="T1" fmla="*/ 237 h 1305"/>
                  <a:gd name="T2" fmla="*/ 237 w 1063"/>
                  <a:gd name="T3" fmla="*/ 237 h 1305"/>
                  <a:gd name="T4" fmla="*/ 237 w 1063"/>
                  <a:gd name="T5" fmla="*/ 81 h 1305"/>
                  <a:gd name="T6" fmla="*/ 81 w 1063"/>
                  <a:gd name="T7" fmla="*/ 237 h 1305"/>
                  <a:gd name="T8" fmla="*/ 81 w 1063"/>
                  <a:gd name="T9" fmla="*/ 237 h 1305"/>
                  <a:gd name="T10" fmla="*/ 260 w 1063"/>
                  <a:gd name="T11" fmla="*/ 284 h 1305"/>
                  <a:gd name="T12" fmla="*/ 47 w 1063"/>
                  <a:gd name="T13" fmla="*/ 284 h 1305"/>
                  <a:gd name="T14" fmla="*/ 47 w 1063"/>
                  <a:gd name="T15" fmla="*/ 1257 h 1305"/>
                  <a:gd name="T16" fmla="*/ 1016 w 1063"/>
                  <a:gd name="T17" fmla="*/ 1257 h 1305"/>
                  <a:gd name="T18" fmla="*/ 1016 w 1063"/>
                  <a:gd name="T19" fmla="*/ 1184 h 1305"/>
                  <a:gd name="T20" fmla="*/ 1063 w 1063"/>
                  <a:gd name="T21" fmla="*/ 1180 h 1305"/>
                  <a:gd name="T22" fmla="*/ 1063 w 1063"/>
                  <a:gd name="T23" fmla="*/ 1281 h 1305"/>
                  <a:gd name="T24" fmla="*/ 1039 w 1063"/>
                  <a:gd name="T25" fmla="*/ 1305 h 1305"/>
                  <a:gd name="T26" fmla="*/ 24 w 1063"/>
                  <a:gd name="T27" fmla="*/ 1305 h 1305"/>
                  <a:gd name="T28" fmla="*/ 0 w 1063"/>
                  <a:gd name="T29" fmla="*/ 1281 h 1305"/>
                  <a:gd name="T30" fmla="*/ 0 w 1063"/>
                  <a:gd name="T31" fmla="*/ 260 h 1305"/>
                  <a:gd name="T32" fmla="*/ 7 w 1063"/>
                  <a:gd name="T33" fmla="*/ 244 h 1305"/>
                  <a:gd name="T34" fmla="*/ 244 w 1063"/>
                  <a:gd name="T35" fmla="*/ 7 h 1305"/>
                  <a:gd name="T36" fmla="*/ 260 w 1063"/>
                  <a:gd name="T37" fmla="*/ 0 h 1305"/>
                  <a:gd name="T38" fmla="*/ 1039 w 1063"/>
                  <a:gd name="T39" fmla="*/ 0 h 1305"/>
                  <a:gd name="T40" fmla="*/ 1063 w 1063"/>
                  <a:gd name="T41" fmla="*/ 24 h 1305"/>
                  <a:gd name="T42" fmla="*/ 1063 w 1063"/>
                  <a:gd name="T43" fmla="*/ 943 h 1305"/>
                  <a:gd name="T44" fmla="*/ 1016 w 1063"/>
                  <a:gd name="T45" fmla="*/ 947 h 1305"/>
                  <a:gd name="T46" fmla="*/ 1016 w 1063"/>
                  <a:gd name="T47" fmla="*/ 47 h 1305"/>
                  <a:gd name="T48" fmla="*/ 284 w 1063"/>
                  <a:gd name="T49" fmla="*/ 47 h 1305"/>
                  <a:gd name="T50" fmla="*/ 284 w 1063"/>
                  <a:gd name="T51" fmla="*/ 260 h 1305"/>
                  <a:gd name="T52" fmla="*/ 260 w 1063"/>
                  <a:gd name="T53" fmla="*/ 284 h 1305"/>
                  <a:gd name="T54" fmla="*/ 260 w 1063"/>
                  <a:gd name="T55" fmla="*/ 284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3" h="1305">
                    <a:moveTo>
                      <a:pt x="81" y="237"/>
                    </a:moveTo>
                    <a:lnTo>
                      <a:pt x="237" y="237"/>
                    </a:lnTo>
                    <a:lnTo>
                      <a:pt x="237" y="81"/>
                    </a:lnTo>
                    <a:lnTo>
                      <a:pt x="81" y="237"/>
                    </a:lnTo>
                    <a:lnTo>
                      <a:pt x="81" y="237"/>
                    </a:lnTo>
                    <a:close/>
                    <a:moveTo>
                      <a:pt x="260" y="284"/>
                    </a:moveTo>
                    <a:lnTo>
                      <a:pt x="47" y="284"/>
                    </a:lnTo>
                    <a:lnTo>
                      <a:pt x="47" y="1257"/>
                    </a:lnTo>
                    <a:lnTo>
                      <a:pt x="1016" y="1257"/>
                    </a:lnTo>
                    <a:lnTo>
                      <a:pt x="1016" y="1184"/>
                    </a:lnTo>
                    <a:lnTo>
                      <a:pt x="1063" y="1180"/>
                    </a:lnTo>
                    <a:lnTo>
                      <a:pt x="1063" y="1281"/>
                    </a:lnTo>
                    <a:cubicBezTo>
                      <a:pt x="1063" y="1294"/>
                      <a:pt x="1052" y="1305"/>
                      <a:pt x="1039" y="1305"/>
                    </a:cubicBezTo>
                    <a:lnTo>
                      <a:pt x="24" y="1305"/>
                    </a:lnTo>
                    <a:cubicBezTo>
                      <a:pt x="11" y="1305"/>
                      <a:pt x="0" y="1294"/>
                      <a:pt x="0" y="1281"/>
                    </a:cubicBezTo>
                    <a:lnTo>
                      <a:pt x="0" y="260"/>
                    </a:lnTo>
                    <a:cubicBezTo>
                      <a:pt x="0" y="254"/>
                      <a:pt x="3" y="248"/>
                      <a:pt x="7" y="244"/>
                    </a:cubicBezTo>
                    <a:lnTo>
                      <a:pt x="244" y="7"/>
                    </a:lnTo>
                    <a:lnTo>
                      <a:pt x="260" y="0"/>
                    </a:lnTo>
                    <a:lnTo>
                      <a:pt x="1039" y="0"/>
                    </a:lnTo>
                    <a:cubicBezTo>
                      <a:pt x="1052" y="0"/>
                      <a:pt x="1063" y="11"/>
                      <a:pt x="1063" y="24"/>
                    </a:cubicBezTo>
                    <a:lnTo>
                      <a:pt x="1063" y="943"/>
                    </a:lnTo>
                    <a:lnTo>
                      <a:pt x="1016" y="947"/>
                    </a:lnTo>
                    <a:lnTo>
                      <a:pt x="1016" y="47"/>
                    </a:lnTo>
                    <a:lnTo>
                      <a:pt x="284" y="47"/>
                    </a:lnTo>
                    <a:lnTo>
                      <a:pt x="284" y="260"/>
                    </a:lnTo>
                    <a:cubicBezTo>
                      <a:pt x="284" y="273"/>
                      <a:pt x="273" y="284"/>
                      <a:pt x="260" y="284"/>
                    </a:cubicBezTo>
                    <a:lnTo>
                      <a:pt x="260" y="284"/>
                    </a:lnTo>
                  </a:path>
                </a:pathLst>
              </a:custGeom>
              <a:grpFill/>
              <a:ln>
                <a:noFill/>
              </a:ln>
              <a:extLst>
                <a:ext uri="{91240B29-F687-4F45-9708-019B960494DF}"/>
              </a:extLst>
            </p:spPr>
            <p:txBody>
              <a:bodyPr anchor="ctr"/>
              <a:lstStyle/>
              <a:p>
                <a:pPr>
                  <a:defRPr/>
                </a:pPr>
                <a:endParaRPr lang="en-US" sz="200" dirty="0">
                  <a:latin typeface="+mn-lt"/>
                  <a:cs typeface="+mn-cs"/>
                </a:endParaRPr>
              </a:p>
            </p:txBody>
          </p:sp>
          <p:sp>
            <p:nvSpPr>
              <p:cNvPr id="197" name="Freeform 7027">
                <a:extLst>
                  <a:ext uri="{FF2B5EF4-FFF2-40B4-BE49-F238E27FC236}"/>
                </a:extLst>
              </p:cNvPr>
              <p:cNvSpPr>
                <a:spLocks/>
              </p:cNvSpPr>
              <p:nvPr/>
            </p:nvSpPr>
            <p:spPr bwMode="gray">
              <a:xfrm>
                <a:off x="-7712076" y="2087563"/>
                <a:ext cx="661988" cy="38100"/>
              </a:xfrm>
              <a:custGeom>
                <a:avLst/>
                <a:gdLst>
                  <a:gd name="T0" fmla="*/ 24 w 807"/>
                  <a:gd name="T1" fmla="*/ 47 h 47"/>
                  <a:gd name="T2" fmla="*/ 0 w 807"/>
                  <a:gd name="T3" fmla="*/ 24 h 47"/>
                  <a:gd name="T4" fmla="*/ 24 w 807"/>
                  <a:gd name="T5" fmla="*/ 0 h 47"/>
                  <a:gd name="T6" fmla="*/ 783 w 807"/>
                  <a:gd name="T7" fmla="*/ 0 h 47"/>
                  <a:gd name="T8" fmla="*/ 807 w 807"/>
                  <a:gd name="T9" fmla="*/ 24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7"/>
                      <a:pt x="0" y="24"/>
                    </a:cubicBezTo>
                    <a:cubicBezTo>
                      <a:pt x="0" y="11"/>
                      <a:pt x="10" y="0"/>
                      <a:pt x="24" y="0"/>
                    </a:cubicBezTo>
                    <a:lnTo>
                      <a:pt x="783" y="0"/>
                    </a:lnTo>
                    <a:cubicBezTo>
                      <a:pt x="796" y="0"/>
                      <a:pt x="807" y="11"/>
                      <a:pt x="807" y="24"/>
                    </a:cubicBezTo>
                    <a:cubicBezTo>
                      <a:pt x="807" y="37"/>
                      <a:pt x="796" y="47"/>
                      <a:pt x="783" y="47"/>
                    </a:cubicBezTo>
                    <a:lnTo>
                      <a:pt x="24" y="47"/>
                    </a:lnTo>
                    <a:lnTo>
                      <a:pt x="24" y="47"/>
                    </a:lnTo>
                  </a:path>
                </a:pathLst>
              </a:custGeom>
              <a:grpFill/>
              <a:ln>
                <a:noFill/>
              </a:ln>
              <a:extLst>
                <a:ext uri="{91240B29-F687-4F45-9708-019B960494DF}"/>
              </a:extLst>
            </p:spPr>
            <p:txBody>
              <a:bodyPr anchor="ctr"/>
              <a:lstStyle/>
              <a:p>
                <a:pPr>
                  <a:defRPr/>
                </a:pPr>
                <a:endParaRPr lang="en-US" sz="200" dirty="0">
                  <a:latin typeface="+mn-lt"/>
                  <a:cs typeface="+mn-cs"/>
                </a:endParaRPr>
              </a:p>
            </p:txBody>
          </p:sp>
          <p:sp>
            <p:nvSpPr>
              <p:cNvPr id="198" name="Freeform 7028">
                <a:extLst>
                  <a:ext uri="{FF2B5EF4-FFF2-40B4-BE49-F238E27FC236}"/>
                </a:extLst>
              </p:cNvPr>
              <p:cNvSpPr>
                <a:spLocks/>
              </p:cNvSpPr>
              <p:nvPr/>
            </p:nvSpPr>
            <p:spPr bwMode="gray">
              <a:xfrm>
                <a:off x="-7712076" y="2178051"/>
                <a:ext cx="661988" cy="38100"/>
              </a:xfrm>
              <a:custGeom>
                <a:avLst/>
                <a:gdLst>
                  <a:gd name="T0" fmla="*/ 24 w 807"/>
                  <a:gd name="T1" fmla="*/ 47 h 47"/>
                  <a:gd name="T2" fmla="*/ 0 w 807"/>
                  <a:gd name="T3" fmla="*/ 23 h 47"/>
                  <a:gd name="T4" fmla="*/ 24 w 807"/>
                  <a:gd name="T5" fmla="*/ 0 h 47"/>
                  <a:gd name="T6" fmla="*/ 783 w 807"/>
                  <a:gd name="T7" fmla="*/ 0 h 47"/>
                  <a:gd name="T8" fmla="*/ 807 w 807"/>
                  <a:gd name="T9" fmla="*/ 23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6"/>
                      <a:pt x="0" y="23"/>
                    </a:cubicBezTo>
                    <a:cubicBezTo>
                      <a:pt x="0" y="10"/>
                      <a:pt x="10" y="0"/>
                      <a:pt x="24" y="0"/>
                    </a:cubicBezTo>
                    <a:lnTo>
                      <a:pt x="783" y="0"/>
                    </a:lnTo>
                    <a:cubicBezTo>
                      <a:pt x="796" y="0"/>
                      <a:pt x="807" y="10"/>
                      <a:pt x="807" y="23"/>
                    </a:cubicBezTo>
                    <a:cubicBezTo>
                      <a:pt x="807" y="36"/>
                      <a:pt x="796" y="47"/>
                      <a:pt x="783" y="47"/>
                    </a:cubicBezTo>
                    <a:lnTo>
                      <a:pt x="24" y="47"/>
                    </a:lnTo>
                    <a:lnTo>
                      <a:pt x="24" y="47"/>
                    </a:lnTo>
                  </a:path>
                </a:pathLst>
              </a:custGeom>
              <a:grpFill/>
              <a:ln>
                <a:noFill/>
              </a:ln>
              <a:extLst>
                <a:ext uri="{91240B29-F687-4F45-9708-019B960494DF}"/>
              </a:extLst>
            </p:spPr>
            <p:txBody>
              <a:bodyPr anchor="ctr"/>
              <a:lstStyle/>
              <a:p>
                <a:pPr>
                  <a:defRPr/>
                </a:pPr>
                <a:endParaRPr lang="en-US" sz="200" dirty="0">
                  <a:latin typeface="+mn-lt"/>
                  <a:cs typeface="+mn-cs"/>
                </a:endParaRPr>
              </a:p>
            </p:txBody>
          </p:sp>
          <p:sp>
            <p:nvSpPr>
              <p:cNvPr id="199" name="Freeform 7029">
                <a:extLst>
                  <a:ext uri="{FF2B5EF4-FFF2-40B4-BE49-F238E27FC236}"/>
                </a:extLst>
              </p:cNvPr>
              <p:cNvSpPr>
                <a:spLocks noEditPoints="1"/>
              </p:cNvSpPr>
              <p:nvPr/>
            </p:nvSpPr>
            <p:spPr bwMode="gray">
              <a:xfrm>
                <a:off x="-7526338" y="2266951"/>
                <a:ext cx="730250" cy="168275"/>
              </a:xfrm>
              <a:custGeom>
                <a:avLst/>
                <a:gdLst>
                  <a:gd name="T0" fmla="*/ 827 w 890"/>
                  <a:gd name="T1" fmla="*/ 21 h 204"/>
                  <a:gd name="T2" fmla="*/ 845 w 890"/>
                  <a:gd name="T3" fmla="*/ 36 h 204"/>
                  <a:gd name="T4" fmla="*/ 830 w 890"/>
                  <a:gd name="T5" fmla="*/ 53 h 204"/>
                  <a:gd name="T6" fmla="*/ 813 w 890"/>
                  <a:gd name="T7" fmla="*/ 39 h 204"/>
                  <a:gd name="T8" fmla="*/ 827 w 890"/>
                  <a:gd name="T9" fmla="*/ 21 h 204"/>
                  <a:gd name="T10" fmla="*/ 827 w 890"/>
                  <a:gd name="T11" fmla="*/ 21 h 204"/>
                  <a:gd name="T12" fmla="*/ 724 w 890"/>
                  <a:gd name="T13" fmla="*/ 11 h 204"/>
                  <a:gd name="T14" fmla="*/ 810 w 890"/>
                  <a:gd name="T15" fmla="*/ 3 h 204"/>
                  <a:gd name="T16" fmla="*/ 886 w 890"/>
                  <a:gd name="T17" fmla="*/ 68 h 204"/>
                  <a:gd name="T18" fmla="*/ 822 w 890"/>
                  <a:gd name="T19" fmla="*/ 144 h 204"/>
                  <a:gd name="T20" fmla="*/ 737 w 890"/>
                  <a:gd name="T21" fmla="*/ 152 h 204"/>
                  <a:gd name="T22" fmla="*/ 724 w 890"/>
                  <a:gd name="T23" fmla="*/ 11 h 204"/>
                  <a:gd name="T24" fmla="*/ 724 w 890"/>
                  <a:gd name="T25" fmla="*/ 11 h 204"/>
                  <a:gd name="T26" fmla="*/ 134 w 890"/>
                  <a:gd name="T27" fmla="*/ 204 h 204"/>
                  <a:gd name="T28" fmla="*/ 6 w 890"/>
                  <a:gd name="T29" fmla="*/ 153 h 204"/>
                  <a:gd name="T30" fmla="*/ 0 w 890"/>
                  <a:gd name="T31" fmla="*/ 145 h 204"/>
                  <a:gd name="T32" fmla="*/ 4 w 890"/>
                  <a:gd name="T33" fmla="*/ 136 h 204"/>
                  <a:gd name="T34" fmla="*/ 121 w 890"/>
                  <a:gd name="T35" fmla="*/ 65 h 204"/>
                  <a:gd name="T36" fmla="*/ 126 w 890"/>
                  <a:gd name="T37" fmla="*/ 63 h 204"/>
                  <a:gd name="T38" fmla="*/ 712 w 890"/>
                  <a:gd name="T39" fmla="*/ 12 h 204"/>
                  <a:gd name="T40" fmla="*/ 715 w 890"/>
                  <a:gd name="T41" fmla="*/ 39 h 204"/>
                  <a:gd name="T42" fmla="*/ 153 w 890"/>
                  <a:gd name="T43" fmla="*/ 89 h 204"/>
                  <a:gd name="T44" fmla="*/ 148 w 890"/>
                  <a:gd name="T45" fmla="*/ 94 h 204"/>
                  <a:gd name="T46" fmla="*/ 149 w 890"/>
                  <a:gd name="T47" fmla="*/ 96 h 204"/>
                  <a:gd name="T48" fmla="*/ 154 w 890"/>
                  <a:gd name="T49" fmla="*/ 101 h 204"/>
                  <a:gd name="T50" fmla="*/ 716 w 890"/>
                  <a:gd name="T51" fmla="*/ 51 h 204"/>
                  <a:gd name="T52" fmla="*/ 725 w 890"/>
                  <a:gd name="T53" fmla="*/ 153 h 204"/>
                  <a:gd name="T54" fmla="*/ 138 w 890"/>
                  <a:gd name="T55" fmla="*/ 204 h 204"/>
                  <a:gd name="T56" fmla="*/ 134 w 890"/>
                  <a:gd name="T57" fmla="*/ 204 h 204"/>
                  <a:gd name="T58" fmla="*/ 134 w 890"/>
                  <a:gd name="T5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0" h="204">
                    <a:moveTo>
                      <a:pt x="827" y="21"/>
                    </a:moveTo>
                    <a:cubicBezTo>
                      <a:pt x="836" y="21"/>
                      <a:pt x="844" y="27"/>
                      <a:pt x="845" y="36"/>
                    </a:cubicBezTo>
                    <a:cubicBezTo>
                      <a:pt x="845" y="45"/>
                      <a:pt x="839" y="52"/>
                      <a:pt x="830" y="53"/>
                    </a:cubicBezTo>
                    <a:cubicBezTo>
                      <a:pt x="821" y="54"/>
                      <a:pt x="814" y="47"/>
                      <a:pt x="813" y="39"/>
                    </a:cubicBezTo>
                    <a:cubicBezTo>
                      <a:pt x="812" y="30"/>
                      <a:pt x="818" y="22"/>
                      <a:pt x="827" y="21"/>
                    </a:cubicBezTo>
                    <a:lnTo>
                      <a:pt x="827" y="21"/>
                    </a:lnTo>
                    <a:close/>
                    <a:moveTo>
                      <a:pt x="724" y="11"/>
                    </a:moveTo>
                    <a:lnTo>
                      <a:pt x="810" y="3"/>
                    </a:lnTo>
                    <a:cubicBezTo>
                      <a:pt x="849" y="0"/>
                      <a:pt x="883" y="29"/>
                      <a:pt x="886" y="68"/>
                    </a:cubicBezTo>
                    <a:cubicBezTo>
                      <a:pt x="890" y="107"/>
                      <a:pt x="861" y="141"/>
                      <a:pt x="822" y="144"/>
                    </a:cubicBezTo>
                    <a:lnTo>
                      <a:pt x="737" y="152"/>
                    </a:lnTo>
                    <a:lnTo>
                      <a:pt x="724" y="11"/>
                    </a:lnTo>
                    <a:lnTo>
                      <a:pt x="724" y="11"/>
                    </a:lnTo>
                    <a:close/>
                    <a:moveTo>
                      <a:pt x="134" y="204"/>
                    </a:moveTo>
                    <a:lnTo>
                      <a:pt x="6" y="153"/>
                    </a:lnTo>
                    <a:cubicBezTo>
                      <a:pt x="2" y="152"/>
                      <a:pt x="0" y="149"/>
                      <a:pt x="0" y="145"/>
                    </a:cubicBezTo>
                    <a:cubicBezTo>
                      <a:pt x="0" y="142"/>
                      <a:pt x="1" y="138"/>
                      <a:pt x="4" y="136"/>
                    </a:cubicBezTo>
                    <a:lnTo>
                      <a:pt x="121" y="65"/>
                    </a:lnTo>
                    <a:cubicBezTo>
                      <a:pt x="123" y="64"/>
                      <a:pt x="124" y="63"/>
                      <a:pt x="126" y="63"/>
                    </a:cubicBezTo>
                    <a:lnTo>
                      <a:pt x="712" y="12"/>
                    </a:lnTo>
                    <a:lnTo>
                      <a:pt x="715" y="39"/>
                    </a:lnTo>
                    <a:lnTo>
                      <a:pt x="153" y="89"/>
                    </a:lnTo>
                    <a:cubicBezTo>
                      <a:pt x="150" y="89"/>
                      <a:pt x="148" y="91"/>
                      <a:pt x="148" y="94"/>
                    </a:cubicBezTo>
                    <a:lnTo>
                      <a:pt x="149" y="96"/>
                    </a:lnTo>
                    <a:cubicBezTo>
                      <a:pt x="149" y="99"/>
                      <a:pt x="151" y="101"/>
                      <a:pt x="154" y="101"/>
                    </a:cubicBezTo>
                    <a:lnTo>
                      <a:pt x="716" y="51"/>
                    </a:lnTo>
                    <a:lnTo>
                      <a:pt x="725" y="153"/>
                    </a:lnTo>
                    <a:lnTo>
                      <a:pt x="138" y="204"/>
                    </a:lnTo>
                    <a:cubicBezTo>
                      <a:pt x="136" y="204"/>
                      <a:pt x="135" y="204"/>
                      <a:pt x="134" y="204"/>
                    </a:cubicBezTo>
                    <a:lnTo>
                      <a:pt x="134" y="204"/>
                    </a:lnTo>
                  </a:path>
                </a:pathLst>
              </a:custGeom>
              <a:grpFill/>
              <a:ln>
                <a:noFill/>
              </a:ln>
              <a:extLst>
                <a:ext uri="{91240B29-F687-4F45-9708-019B960494DF}"/>
              </a:extLst>
            </p:spPr>
            <p:txBody>
              <a:bodyPr anchor="ctr"/>
              <a:lstStyle/>
              <a:p>
                <a:pPr>
                  <a:defRPr/>
                </a:pPr>
                <a:endParaRPr lang="en-US" sz="200" dirty="0">
                  <a:latin typeface="+mn-lt"/>
                  <a:cs typeface="+mn-cs"/>
                </a:endParaRPr>
              </a:p>
            </p:txBody>
          </p:sp>
          <p:sp>
            <p:nvSpPr>
              <p:cNvPr id="200" name="Freeform 7030">
                <a:extLst>
                  <a:ext uri="{FF2B5EF4-FFF2-40B4-BE49-F238E27FC236}"/>
                </a:extLst>
              </p:cNvPr>
              <p:cNvSpPr>
                <a:spLocks noEditPoints="1"/>
              </p:cNvSpPr>
              <p:nvPr/>
            </p:nvSpPr>
            <p:spPr bwMode="gray">
              <a:xfrm>
                <a:off x="-7510463" y="1612901"/>
                <a:ext cx="258763" cy="381000"/>
              </a:xfrm>
              <a:custGeom>
                <a:avLst/>
                <a:gdLst>
                  <a:gd name="T0" fmla="*/ 157 w 315"/>
                  <a:gd name="T1" fmla="*/ 0 h 464"/>
                  <a:gd name="T2" fmla="*/ 57 w 315"/>
                  <a:gd name="T3" fmla="*/ 100 h 464"/>
                  <a:gd name="T4" fmla="*/ 157 w 315"/>
                  <a:gd name="T5" fmla="*/ 200 h 464"/>
                  <a:gd name="T6" fmla="*/ 258 w 315"/>
                  <a:gd name="T7" fmla="*/ 100 h 464"/>
                  <a:gd name="T8" fmla="*/ 157 w 315"/>
                  <a:gd name="T9" fmla="*/ 0 h 464"/>
                  <a:gd name="T10" fmla="*/ 157 w 315"/>
                  <a:gd name="T11" fmla="*/ 0 h 464"/>
                  <a:gd name="T12" fmla="*/ 281 w 315"/>
                  <a:gd name="T13" fmla="*/ 298 h 464"/>
                  <a:gd name="T14" fmla="*/ 315 w 315"/>
                  <a:gd name="T15" fmla="*/ 464 h 464"/>
                  <a:gd name="T16" fmla="*/ 0 w 315"/>
                  <a:gd name="T17" fmla="*/ 464 h 464"/>
                  <a:gd name="T18" fmla="*/ 34 w 315"/>
                  <a:gd name="T19" fmla="*/ 298 h 464"/>
                  <a:gd name="T20" fmla="*/ 157 w 315"/>
                  <a:gd name="T21" fmla="*/ 222 h 464"/>
                  <a:gd name="T22" fmla="*/ 281 w 315"/>
                  <a:gd name="T23" fmla="*/ 298 h 464"/>
                  <a:gd name="T24" fmla="*/ 281 w 315"/>
                  <a:gd name="T25" fmla="*/ 29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464">
                    <a:moveTo>
                      <a:pt x="157" y="0"/>
                    </a:moveTo>
                    <a:cubicBezTo>
                      <a:pt x="102" y="0"/>
                      <a:pt x="57" y="45"/>
                      <a:pt x="57" y="100"/>
                    </a:cubicBezTo>
                    <a:cubicBezTo>
                      <a:pt x="57" y="155"/>
                      <a:pt x="102" y="200"/>
                      <a:pt x="157" y="200"/>
                    </a:cubicBezTo>
                    <a:cubicBezTo>
                      <a:pt x="213" y="200"/>
                      <a:pt x="258" y="155"/>
                      <a:pt x="258" y="100"/>
                    </a:cubicBezTo>
                    <a:cubicBezTo>
                      <a:pt x="258" y="45"/>
                      <a:pt x="213" y="0"/>
                      <a:pt x="157" y="0"/>
                    </a:cubicBezTo>
                    <a:lnTo>
                      <a:pt x="157" y="0"/>
                    </a:lnTo>
                    <a:close/>
                    <a:moveTo>
                      <a:pt x="281" y="298"/>
                    </a:moveTo>
                    <a:lnTo>
                      <a:pt x="315" y="464"/>
                    </a:lnTo>
                    <a:lnTo>
                      <a:pt x="0" y="464"/>
                    </a:lnTo>
                    <a:lnTo>
                      <a:pt x="34" y="298"/>
                    </a:lnTo>
                    <a:cubicBezTo>
                      <a:pt x="45" y="245"/>
                      <a:pt x="109" y="222"/>
                      <a:pt x="157" y="222"/>
                    </a:cubicBezTo>
                    <a:cubicBezTo>
                      <a:pt x="206" y="222"/>
                      <a:pt x="270" y="245"/>
                      <a:pt x="281" y="298"/>
                    </a:cubicBezTo>
                    <a:lnTo>
                      <a:pt x="281" y="298"/>
                    </a:lnTo>
                  </a:path>
                </a:pathLst>
              </a:custGeom>
              <a:grpFill/>
              <a:ln>
                <a:noFill/>
              </a:ln>
              <a:extLst>
                <a:ext uri="{91240B29-F687-4F45-9708-019B960494DF}"/>
              </a:extLst>
            </p:spPr>
            <p:txBody>
              <a:bodyPr anchor="ctr"/>
              <a:lstStyle/>
              <a:p>
                <a:pPr>
                  <a:defRPr/>
                </a:pPr>
                <a:endParaRPr lang="en-US" sz="200" dirty="0">
                  <a:latin typeface="+mn-lt"/>
                  <a:cs typeface="+mn-cs"/>
                </a:endParaRPr>
              </a:p>
            </p:txBody>
          </p:sp>
        </p:grpSp>
      </p:grpSp>
      <p:sp>
        <p:nvSpPr>
          <p:cNvPr id="76" name="Rectangle 4">
            <a:extLst>
              <a:ext uri="{FF2B5EF4-FFF2-40B4-BE49-F238E27FC236}"/>
            </a:extLst>
          </p:cNvPr>
          <p:cNvSpPr>
            <a:spLocks noChangeArrowheads="1"/>
          </p:cNvSpPr>
          <p:nvPr/>
        </p:nvSpPr>
        <p:spPr bwMode="gray">
          <a:xfrm>
            <a:off x="2554288" y="2900363"/>
            <a:ext cx="822325" cy="338137"/>
          </a:xfrm>
          <a:prstGeom prst="rect">
            <a:avLst/>
          </a:prstGeom>
          <a:noFill/>
          <a:ln w="9525" algn="ctr">
            <a:noFill/>
            <a:miter lim="800000"/>
            <a:headEnd/>
            <a:tailEnd/>
          </a:ln>
          <a:effectLst/>
        </p:spPr>
        <p:txBody>
          <a:bodyPr lIns="0" tIns="0" rIns="0" bIns="0" anchor="ctr">
            <a:spAutoFit/>
          </a:bodyPr>
          <a:lstStyle/>
          <a:p>
            <a:pPr defTabSz="895255">
              <a:buClr>
                <a:schemeClr val="tx2"/>
              </a:buClr>
              <a:buSzPct val="125000"/>
              <a:defRPr/>
            </a:pPr>
            <a:r>
              <a:rPr lang="en-US" sz="1100" b="1" dirty="0">
                <a:solidFill>
                  <a:schemeClr val="tx2"/>
                </a:solidFill>
                <a:latin typeface="+mn-lt"/>
                <a:cs typeface="Arial" charset="0"/>
              </a:rPr>
              <a:t>Quality of learning</a:t>
            </a:r>
          </a:p>
        </p:txBody>
      </p:sp>
      <p:sp>
        <p:nvSpPr>
          <p:cNvPr id="78" name="Rectangle 4">
            <a:extLst>
              <a:ext uri="{FF2B5EF4-FFF2-40B4-BE49-F238E27FC236}"/>
            </a:extLst>
          </p:cNvPr>
          <p:cNvSpPr>
            <a:spLocks noChangeArrowheads="1"/>
          </p:cNvSpPr>
          <p:nvPr/>
        </p:nvSpPr>
        <p:spPr bwMode="gray">
          <a:xfrm>
            <a:off x="2554288" y="1163638"/>
            <a:ext cx="1079500" cy="1016000"/>
          </a:xfrm>
          <a:prstGeom prst="rect">
            <a:avLst/>
          </a:prstGeom>
          <a:noFill/>
          <a:ln w="9525" algn="ctr">
            <a:noFill/>
            <a:miter lim="800000"/>
            <a:headEnd/>
            <a:tailEnd/>
          </a:ln>
          <a:effectLst/>
        </p:spPr>
        <p:txBody>
          <a:bodyPr lIns="0" tIns="0" rIns="0" bIns="0"/>
          <a:lstStyle/>
          <a:p>
            <a:pPr defTabSz="895255">
              <a:buClr>
                <a:schemeClr val="tx2"/>
              </a:buClr>
              <a:buSzPct val="125000"/>
              <a:defRPr/>
            </a:pPr>
            <a:r>
              <a:rPr lang="en-US" sz="1100" b="1" dirty="0">
                <a:solidFill>
                  <a:schemeClr val="tx2"/>
                </a:solidFill>
                <a:latin typeface="+mn-lt"/>
                <a:cs typeface="Arial" charset="0"/>
              </a:rPr>
              <a:t>Expected years of school (enrollment and completion)</a:t>
            </a:r>
          </a:p>
        </p:txBody>
      </p:sp>
      <p:cxnSp>
        <p:nvCxnSpPr>
          <p:cNvPr id="70" name="Straight Connector 69">
            <a:extLst>
              <a:ext uri="{FF2B5EF4-FFF2-40B4-BE49-F238E27FC236}"/>
            </a:extLst>
          </p:cNvPr>
          <p:cNvCxnSpPr>
            <a:cxnSpLocks/>
          </p:cNvCxnSpPr>
          <p:nvPr/>
        </p:nvCxnSpPr>
        <p:spPr>
          <a:xfrm>
            <a:off x="96838" y="5356225"/>
            <a:ext cx="2319337"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extLst>
          </p:cNvPr>
          <p:cNvCxnSpPr>
            <a:cxnSpLocks/>
          </p:cNvCxnSpPr>
          <p:nvPr/>
        </p:nvCxnSpPr>
        <p:spPr>
          <a:xfrm>
            <a:off x="79375" y="2635250"/>
            <a:ext cx="231933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extLst>
          </p:cNvPr>
          <p:cNvCxnSpPr>
            <a:cxnSpLocks/>
          </p:cNvCxnSpPr>
          <p:nvPr/>
        </p:nvCxnSpPr>
        <p:spPr>
          <a:xfrm>
            <a:off x="79375" y="3995738"/>
            <a:ext cx="231933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extLst>
          </p:cNvPr>
          <p:cNvCxnSpPr>
            <a:cxnSpLocks/>
          </p:cNvCxnSpPr>
          <p:nvPr/>
        </p:nvCxnSpPr>
        <p:spPr>
          <a:xfrm>
            <a:off x="2554288" y="2851150"/>
            <a:ext cx="3425825"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extLst>
          </p:cNvPr>
          <p:cNvCxnSpPr>
            <a:cxnSpLocks/>
          </p:cNvCxnSpPr>
          <p:nvPr/>
        </p:nvCxnSpPr>
        <p:spPr>
          <a:xfrm>
            <a:off x="3608388" y="1889125"/>
            <a:ext cx="2251075"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extLst>
          </p:cNvPr>
          <p:cNvCxnSpPr>
            <a:cxnSpLocks/>
          </p:cNvCxnSpPr>
          <p:nvPr/>
        </p:nvCxnSpPr>
        <p:spPr>
          <a:xfrm>
            <a:off x="2476500" y="676275"/>
            <a:ext cx="0" cy="373063"/>
          </a:xfrm>
          <a:prstGeom prst="line">
            <a:avLst/>
          </a:prstGeom>
          <a:ln w="3175" cap="rnd">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extLst>
          </p:cNvPr>
          <p:cNvCxnSpPr>
            <a:cxnSpLocks/>
          </p:cNvCxnSpPr>
          <p:nvPr/>
        </p:nvCxnSpPr>
        <p:spPr>
          <a:xfrm>
            <a:off x="5929313" y="676275"/>
            <a:ext cx="0" cy="373063"/>
          </a:xfrm>
          <a:prstGeom prst="line">
            <a:avLst/>
          </a:prstGeom>
          <a:ln w="3175" cap="rnd">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52" name="Rectangle 4">
            <a:extLst>
              <a:ext uri="{FF2B5EF4-FFF2-40B4-BE49-F238E27FC236}"/>
            </a:extLst>
          </p:cNvPr>
          <p:cNvSpPr>
            <a:spLocks noChangeArrowheads="1"/>
          </p:cNvSpPr>
          <p:nvPr/>
        </p:nvSpPr>
        <p:spPr bwMode="gray">
          <a:xfrm>
            <a:off x="50800" y="1163638"/>
            <a:ext cx="822325" cy="677862"/>
          </a:xfrm>
          <a:prstGeom prst="rect">
            <a:avLst/>
          </a:prstGeom>
          <a:noFill/>
          <a:ln w="9525" algn="ctr">
            <a:noFill/>
            <a:miter lim="800000"/>
            <a:headEnd/>
            <a:tailEnd/>
          </a:ln>
          <a:effectLst/>
        </p:spPr>
        <p:txBody>
          <a:bodyPr lIns="0" tIns="0" rIns="0" bIns="0"/>
          <a:lstStyle/>
          <a:p>
            <a:pPr defTabSz="895255">
              <a:buClr>
                <a:schemeClr val="tx2"/>
              </a:buClr>
              <a:buSzPct val="125000"/>
              <a:defRPr/>
            </a:pPr>
            <a:r>
              <a:rPr lang="en-US" sz="1100" b="1" dirty="0">
                <a:solidFill>
                  <a:schemeClr val="tx2"/>
                </a:solidFill>
                <a:latin typeface="+mn-lt"/>
                <a:cs typeface="Arial" charset="0"/>
              </a:rPr>
              <a:t>Basic Healthcare Provision Fund </a:t>
            </a:r>
          </a:p>
        </p:txBody>
      </p:sp>
      <p:grpSp>
        <p:nvGrpSpPr>
          <p:cNvPr id="22555" name="Group 3"/>
          <p:cNvGrpSpPr>
            <a:grpSpLocks/>
          </p:cNvGrpSpPr>
          <p:nvPr/>
        </p:nvGrpSpPr>
        <p:grpSpPr bwMode="auto">
          <a:xfrm>
            <a:off x="806450" y="1163638"/>
            <a:ext cx="1606550" cy="1354137"/>
            <a:chOff x="884971" y="1509607"/>
            <a:chExt cx="1606302" cy="1354217"/>
          </a:xfrm>
        </p:grpSpPr>
        <p:sp>
          <p:nvSpPr>
            <p:cNvPr id="22608" name="TextBox 42"/>
            <p:cNvSpPr txBox="1">
              <a:spLocks/>
            </p:cNvSpPr>
            <p:nvPr>
              <p:custDataLst>
                <p:tags r:id="rId33"/>
              </p:custDataLst>
            </p:nvPr>
          </p:nvSpPr>
          <p:spPr bwMode="auto">
            <a:xfrm>
              <a:off x="920831" y="1509607"/>
              <a:ext cx="1570442" cy="1354217"/>
            </a:xfrm>
            <a:prstGeom prst="rect">
              <a:avLst/>
            </a:prstGeom>
            <a:noFill/>
            <a:ln w="9525">
              <a:noFill/>
              <a:miter lim="800000"/>
              <a:headEnd/>
              <a:tailEnd/>
            </a:ln>
          </p:spPr>
          <p:txBody>
            <a:bodyPr lIns="0" tIns="0" rIns="0" bIns="0">
              <a:spAutoFit/>
            </a:bodyPr>
            <a:lstStyle/>
            <a:p>
              <a:pPr marL="193675" lvl="1" indent="-192088" defTabSz="895350">
                <a:spcBef>
                  <a:spcPct val="15000"/>
                </a:spcBef>
                <a:buClr>
                  <a:schemeClr val="tx2"/>
                </a:buClr>
                <a:buSzPct val="125000"/>
                <a:buFont typeface="Arial" pitchFamily="34" charset="0"/>
                <a:buChar char="▪"/>
              </a:pPr>
              <a:r>
                <a:rPr lang="en-US" sz="1100"/>
                <a:t>Operationalization of the </a:t>
              </a:r>
              <a:r>
                <a:rPr lang="en-US" sz="1100" b="1">
                  <a:solidFill>
                    <a:schemeClr val="tx2"/>
                  </a:solidFill>
                </a:rPr>
                <a:t>Basic Healthcare Provision Fund (BHCPF) </a:t>
              </a:r>
              <a:r>
                <a:rPr lang="en-US" sz="1100"/>
                <a:t>and</a:t>
              </a:r>
              <a:r>
                <a:rPr lang="en-US" sz="1100" b="1">
                  <a:solidFill>
                    <a:schemeClr val="tx2"/>
                  </a:solidFill>
                </a:rPr>
                <a:t> i</a:t>
              </a:r>
              <a:r>
                <a:rPr lang="en-US" sz="1100"/>
                <a:t>mplementation and ramp-up of </a:t>
              </a:r>
              <a:r>
                <a:rPr lang="en-US" sz="1100" b="1">
                  <a:solidFill>
                    <a:schemeClr val="tx2"/>
                  </a:solidFill>
                </a:rPr>
                <a:t>NHIS to reduce out-of- pocket spend </a:t>
              </a:r>
            </a:p>
          </p:txBody>
        </p:sp>
        <p:sp>
          <p:nvSpPr>
            <p:cNvPr id="97" name="Marvintrackercircle">
              <a:extLst>
                <a:ext uri="{FF2B5EF4-FFF2-40B4-BE49-F238E27FC236}"/>
              </a:extLst>
            </p:cNvPr>
            <p:cNvSpPr/>
            <p:nvPr>
              <p:custDataLst>
                <p:tags r:id="rId34"/>
              </p:custDataLst>
            </p:nvPr>
          </p:nvSpPr>
          <p:spPr>
            <a:xfrm>
              <a:off x="884971" y="1509607"/>
              <a:ext cx="211105" cy="211149"/>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1</a:t>
              </a:r>
            </a:p>
          </p:txBody>
        </p:sp>
      </p:grpSp>
      <p:sp>
        <p:nvSpPr>
          <p:cNvPr id="54" name="Rectangle 4">
            <a:extLst>
              <a:ext uri="{FF2B5EF4-FFF2-40B4-BE49-F238E27FC236}"/>
            </a:extLst>
          </p:cNvPr>
          <p:cNvSpPr>
            <a:spLocks noChangeArrowheads="1"/>
          </p:cNvSpPr>
          <p:nvPr/>
        </p:nvSpPr>
        <p:spPr bwMode="gray">
          <a:xfrm>
            <a:off x="50800" y="3429000"/>
            <a:ext cx="822325" cy="339725"/>
          </a:xfrm>
          <a:prstGeom prst="rect">
            <a:avLst/>
          </a:prstGeom>
          <a:noFill/>
          <a:ln w="9525" algn="ctr">
            <a:noFill/>
            <a:miter lim="800000"/>
            <a:headEnd/>
            <a:tailEnd/>
          </a:ln>
          <a:effectLst/>
        </p:spPr>
        <p:txBody>
          <a:bodyPr lIns="0" tIns="0" rIns="0" bIns="0"/>
          <a:lstStyle/>
          <a:p>
            <a:pPr defTabSz="895255">
              <a:buClr>
                <a:schemeClr val="tx2"/>
              </a:buClr>
              <a:buSzPct val="125000"/>
              <a:defRPr/>
            </a:pPr>
            <a:r>
              <a:rPr lang="en-US" sz="1100" b="1" dirty="0">
                <a:solidFill>
                  <a:schemeClr val="tx2"/>
                </a:solidFill>
                <a:latin typeface="+mn-lt"/>
                <a:cs typeface="Arial" charset="0"/>
              </a:rPr>
              <a:t>Funding </a:t>
            </a:r>
            <a:br>
              <a:rPr lang="en-US" sz="1100" b="1" dirty="0">
                <a:solidFill>
                  <a:schemeClr val="tx2"/>
                </a:solidFill>
                <a:latin typeface="+mn-lt"/>
                <a:cs typeface="Arial" charset="0"/>
              </a:rPr>
            </a:br>
            <a:r>
              <a:rPr lang="en-US" sz="1100" b="1" dirty="0">
                <a:solidFill>
                  <a:schemeClr val="tx2"/>
                </a:solidFill>
                <a:latin typeface="+mn-lt"/>
                <a:cs typeface="Arial" charset="0"/>
              </a:rPr>
              <a:t>in health </a:t>
            </a:r>
          </a:p>
        </p:txBody>
      </p:sp>
      <p:sp>
        <p:nvSpPr>
          <p:cNvPr id="22557" name="TextBox 38"/>
          <p:cNvSpPr txBox="1">
            <a:spLocks/>
          </p:cNvSpPr>
          <p:nvPr>
            <p:custDataLst>
              <p:tags r:id="rId3"/>
            </p:custDataLst>
          </p:nvPr>
        </p:nvSpPr>
        <p:spPr bwMode="auto">
          <a:xfrm>
            <a:off x="842963" y="3429000"/>
            <a:ext cx="1570037" cy="508000"/>
          </a:xfrm>
          <a:prstGeom prst="rect">
            <a:avLst/>
          </a:prstGeom>
          <a:noFill/>
          <a:ln w="9525">
            <a:noFill/>
            <a:miter lim="800000"/>
            <a:headEnd/>
            <a:tailEnd/>
          </a:ln>
        </p:spPr>
        <p:txBody>
          <a:bodyPr lIns="0" tIns="0" rIns="0" bIns="0">
            <a:spAutoFit/>
          </a:bodyPr>
          <a:lstStyle/>
          <a:p>
            <a:pPr marL="193675" lvl="1" indent="-192088" defTabSz="895350">
              <a:spcBef>
                <a:spcPct val="15000"/>
              </a:spcBef>
              <a:buClr>
                <a:schemeClr val="tx2"/>
              </a:buClr>
              <a:buSzPct val="125000"/>
              <a:buFont typeface="Arial" pitchFamily="34" charset="0"/>
              <a:buChar char="▪"/>
            </a:pPr>
            <a:r>
              <a:rPr lang="en-US" sz="1100" b="1">
                <a:solidFill>
                  <a:schemeClr val="tx2"/>
                </a:solidFill>
              </a:rPr>
              <a:t>Effective financing mechanisms </a:t>
            </a:r>
            <a:r>
              <a:rPr lang="en-US" sz="1100"/>
              <a:t>to drive desired outcomes</a:t>
            </a:r>
          </a:p>
        </p:txBody>
      </p:sp>
      <p:sp>
        <p:nvSpPr>
          <p:cNvPr id="187" name="Marvintrackercircle">
            <a:extLst>
              <a:ext uri="{FF2B5EF4-FFF2-40B4-BE49-F238E27FC236}"/>
            </a:extLst>
          </p:cNvPr>
          <p:cNvSpPr/>
          <p:nvPr>
            <p:custDataLst>
              <p:tags r:id="rId4"/>
            </p:custDataLst>
          </p:nvPr>
        </p:nvSpPr>
        <p:spPr>
          <a:xfrm>
            <a:off x="806450" y="3429000"/>
            <a:ext cx="211138" cy="211138"/>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4</a:t>
            </a:r>
          </a:p>
        </p:txBody>
      </p:sp>
      <p:sp>
        <p:nvSpPr>
          <p:cNvPr id="55" name="Rectangle 4">
            <a:extLst>
              <a:ext uri="{FF2B5EF4-FFF2-40B4-BE49-F238E27FC236}"/>
            </a:extLst>
          </p:cNvPr>
          <p:cNvSpPr>
            <a:spLocks noChangeArrowheads="1"/>
          </p:cNvSpPr>
          <p:nvPr/>
        </p:nvSpPr>
        <p:spPr bwMode="gray">
          <a:xfrm>
            <a:off x="50800" y="4054475"/>
            <a:ext cx="822325" cy="338138"/>
          </a:xfrm>
          <a:prstGeom prst="rect">
            <a:avLst/>
          </a:prstGeom>
          <a:noFill/>
          <a:ln w="9525" algn="ctr">
            <a:noFill/>
            <a:miter lim="800000"/>
            <a:headEnd/>
            <a:tailEnd/>
          </a:ln>
          <a:effectLst/>
        </p:spPr>
        <p:txBody>
          <a:bodyPr lIns="0" tIns="0" rIns="0" bIns="0"/>
          <a:lstStyle/>
          <a:p>
            <a:pPr defTabSz="895255">
              <a:buClr>
                <a:schemeClr val="tx2"/>
              </a:buClr>
              <a:buSzPct val="125000"/>
              <a:defRPr/>
            </a:pPr>
            <a:r>
              <a:rPr lang="en-US" sz="1100" b="1" dirty="0">
                <a:solidFill>
                  <a:schemeClr val="tx2"/>
                </a:solidFill>
                <a:latin typeface="+mn-lt"/>
                <a:cs typeface="Arial" charset="0"/>
              </a:rPr>
              <a:t>Human resources</a:t>
            </a:r>
          </a:p>
        </p:txBody>
      </p:sp>
      <p:grpSp>
        <p:nvGrpSpPr>
          <p:cNvPr id="22560" name="Group 20"/>
          <p:cNvGrpSpPr>
            <a:grpSpLocks/>
          </p:cNvGrpSpPr>
          <p:nvPr/>
        </p:nvGrpSpPr>
        <p:grpSpPr bwMode="auto">
          <a:xfrm>
            <a:off x="806450" y="4054475"/>
            <a:ext cx="1606550" cy="1184275"/>
            <a:chOff x="884971" y="4558678"/>
            <a:chExt cx="1606302" cy="1184940"/>
          </a:xfrm>
        </p:grpSpPr>
        <p:sp>
          <p:nvSpPr>
            <p:cNvPr id="22606" name="TextBox 35"/>
            <p:cNvSpPr txBox="1">
              <a:spLocks/>
            </p:cNvSpPr>
            <p:nvPr>
              <p:custDataLst>
                <p:tags r:id="rId31"/>
              </p:custDataLst>
            </p:nvPr>
          </p:nvSpPr>
          <p:spPr bwMode="auto">
            <a:xfrm>
              <a:off x="920831" y="4558678"/>
              <a:ext cx="1570442" cy="1184940"/>
            </a:xfrm>
            <a:prstGeom prst="rect">
              <a:avLst/>
            </a:prstGeom>
            <a:noFill/>
            <a:ln w="9525">
              <a:noFill/>
              <a:miter lim="800000"/>
              <a:headEnd/>
              <a:tailEnd/>
            </a:ln>
          </p:spPr>
          <p:txBody>
            <a:bodyPr lIns="0" tIns="0" rIns="0" bIns="0">
              <a:spAutoFit/>
            </a:bodyPr>
            <a:lstStyle/>
            <a:p>
              <a:pPr marL="193675" lvl="1" indent="-192088" defTabSz="895350">
                <a:spcBef>
                  <a:spcPct val="30000"/>
                </a:spcBef>
                <a:buClr>
                  <a:schemeClr val="tx2"/>
                </a:buClr>
                <a:buSzPct val="125000"/>
                <a:buFont typeface="Arial" pitchFamily="34" charset="0"/>
                <a:buChar char="▪"/>
              </a:pPr>
              <a:r>
                <a:rPr lang="en-US" sz="1100" b="1">
                  <a:solidFill>
                    <a:schemeClr val="tx2"/>
                  </a:solidFill>
                </a:rPr>
                <a:t>Recruitment and training </a:t>
              </a:r>
              <a:r>
                <a:rPr lang="en-US" sz="1100"/>
                <a:t>of health workers including CHEWs and Increased incentives for personnel going to underserved areas </a:t>
              </a:r>
            </a:p>
          </p:txBody>
        </p:sp>
        <p:sp>
          <p:nvSpPr>
            <p:cNvPr id="188" name="Marvintrackercircle">
              <a:extLst>
                <a:ext uri="{FF2B5EF4-FFF2-40B4-BE49-F238E27FC236}"/>
              </a:extLst>
            </p:cNvPr>
            <p:cNvSpPr/>
            <p:nvPr>
              <p:custDataLst>
                <p:tags r:id="rId32"/>
              </p:custDataLst>
            </p:nvPr>
          </p:nvSpPr>
          <p:spPr>
            <a:xfrm>
              <a:off x="884971" y="4558678"/>
              <a:ext cx="211105" cy="209668"/>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5</a:t>
              </a:r>
            </a:p>
          </p:txBody>
        </p:sp>
      </p:grpSp>
      <p:sp>
        <p:nvSpPr>
          <p:cNvPr id="107" name="Rectangle 106">
            <a:extLst>
              <a:ext uri="{FF2B5EF4-FFF2-40B4-BE49-F238E27FC236}"/>
            </a:extLst>
          </p:cNvPr>
          <p:cNvSpPr>
            <a:spLocks/>
          </p:cNvSpPr>
          <p:nvPr/>
        </p:nvSpPr>
        <p:spPr bwMode="auto">
          <a:xfrm>
            <a:off x="6007100" y="1163638"/>
            <a:ext cx="560388" cy="508000"/>
          </a:xfrm>
          <a:prstGeom prst="rect">
            <a:avLst/>
          </a:prstGeom>
          <a:noFill/>
          <a:ln w="9525" algn="ctr">
            <a:noFill/>
            <a:miter lim="800000"/>
            <a:headEnd/>
            <a:tailEnd/>
          </a:ln>
          <a:effectLst/>
          <a:extLst/>
        </p:spPr>
        <p:txBody>
          <a:bodyPr lIns="0" tIns="0" rIns="0" bIns="0"/>
          <a:lstStyle/>
          <a:p>
            <a:pPr defTabSz="895255">
              <a:buClr>
                <a:schemeClr val="tx2"/>
              </a:buClr>
              <a:buSzPct val="125000"/>
              <a:defRPr/>
            </a:pPr>
            <a:r>
              <a:rPr lang="en-GB" sz="1100" b="1" dirty="0">
                <a:solidFill>
                  <a:schemeClr val="tx2"/>
                </a:solidFill>
                <a:latin typeface="+mn-lt"/>
                <a:cs typeface="Arial" charset="0"/>
              </a:rPr>
              <a:t>Youth partici-pation</a:t>
            </a:r>
          </a:p>
        </p:txBody>
      </p:sp>
      <p:grpSp>
        <p:nvGrpSpPr>
          <p:cNvPr id="22562" name="Group 55"/>
          <p:cNvGrpSpPr>
            <a:grpSpLocks/>
          </p:cNvGrpSpPr>
          <p:nvPr/>
        </p:nvGrpSpPr>
        <p:grpSpPr bwMode="auto">
          <a:xfrm>
            <a:off x="6500813" y="1117600"/>
            <a:ext cx="2432050" cy="2200275"/>
            <a:chOff x="6659401" y="1463037"/>
            <a:chExt cx="2306179" cy="2200602"/>
          </a:xfrm>
        </p:grpSpPr>
        <p:sp>
          <p:nvSpPr>
            <p:cNvPr id="22604" name="TextBox 28"/>
            <p:cNvSpPr txBox="1">
              <a:spLocks/>
            </p:cNvSpPr>
            <p:nvPr>
              <p:custDataLst>
                <p:tags r:id="rId29"/>
              </p:custDataLst>
            </p:nvPr>
          </p:nvSpPr>
          <p:spPr bwMode="auto">
            <a:xfrm>
              <a:off x="6786122" y="1463037"/>
              <a:ext cx="2179458" cy="2200602"/>
            </a:xfrm>
            <a:prstGeom prst="rect">
              <a:avLst/>
            </a:prstGeom>
            <a:noFill/>
            <a:ln w="9525">
              <a:noFill/>
              <a:miter lim="800000"/>
              <a:headEnd/>
              <a:tailEnd/>
            </a:ln>
          </p:spPr>
          <p:txBody>
            <a:bodyPr lIns="0" tIns="0" rIns="0" bIns="0">
              <a:spAutoFit/>
            </a:bodyPr>
            <a:lstStyle/>
            <a:p>
              <a:pPr marL="193675" lvl="1" indent="-192088" defTabSz="895350">
                <a:spcBef>
                  <a:spcPct val="30000"/>
                </a:spcBef>
                <a:buClr>
                  <a:schemeClr val="tx2"/>
                </a:buClr>
                <a:buSzPct val="125000"/>
                <a:buFont typeface="Arial" pitchFamily="34" charset="0"/>
                <a:buChar char="▪"/>
              </a:pPr>
              <a:r>
                <a:rPr lang="en-GB" sz="1100" b="1">
                  <a:solidFill>
                    <a:schemeClr val="tx2"/>
                  </a:solidFill>
                </a:rPr>
                <a:t>Improve management and strategic focus of TVET </a:t>
              </a:r>
              <a:r>
                <a:rPr lang="en-GB" sz="1100"/>
                <a:t>e.g., upgrade centres to international standards, revise curricula, management partnerships with private sector, write a National Skills strategy plan based on emerging industry demand, add centres for soft skill acquisition for fresh  graduates and move idle youth from the street to stop gap jobs e.g. environmental sanitation</a:t>
              </a:r>
              <a:endParaRPr lang="en-US" sz="1100"/>
            </a:p>
          </p:txBody>
        </p:sp>
        <p:sp>
          <p:nvSpPr>
            <p:cNvPr id="210" name="Marvintrackercircle">
              <a:extLst>
                <a:ext uri="{FF2B5EF4-FFF2-40B4-BE49-F238E27FC236}"/>
              </a:extLst>
            </p:cNvPr>
            <p:cNvSpPr/>
            <p:nvPr>
              <p:custDataLst>
                <p:tags r:id="rId30"/>
              </p:custDataLst>
            </p:nvPr>
          </p:nvSpPr>
          <p:spPr>
            <a:xfrm>
              <a:off x="6659401" y="1509082"/>
              <a:ext cx="210747" cy="211168"/>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12</a:t>
              </a:r>
            </a:p>
          </p:txBody>
        </p:sp>
      </p:grpSp>
      <p:grpSp>
        <p:nvGrpSpPr>
          <p:cNvPr id="22563" name="Group 52"/>
          <p:cNvGrpSpPr>
            <a:grpSpLocks/>
          </p:cNvGrpSpPr>
          <p:nvPr/>
        </p:nvGrpSpPr>
        <p:grpSpPr bwMode="auto">
          <a:xfrm>
            <a:off x="6500813" y="3262313"/>
            <a:ext cx="2308225" cy="676275"/>
            <a:chOff x="6737458" y="2886966"/>
            <a:chExt cx="2193630" cy="677108"/>
          </a:xfrm>
        </p:grpSpPr>
        <p:sp>
          <p:nvSpPr>
            <p:cNvPr id="22602" name="TextBox 30"/>
            <p:cNvSpPr txBox="1">
              <a:spLocks/>
            </p:cNvSpPr>
            <p:nvPr>
              <p:custDataLst>
                <p:tags r:id="rId27"/>
              </p:custDataLst>
            </p:nvPr>
          </p:nvSpPr>
          <p:spPr bwMode="auto">
            <a:xfrm>
              <a:off x="6781800" y="2886966"/>
              <a:ext cx="2149288" cy="677108"/>
            </a:xfrm>
            <a:prstGeom prst="rect">
              <a:avLst/>
            </a:prstGeom>
            <a:noFill/>
            <a:ln w="9525">
              <a:noFill/>
              <a:miter lim="800000"/>
              <a:headEnd/>
              <a:tailEnd/>
            </a:ln>
          </p:spPr>
          <p:txBody>
            <a:bodyPr lIns="0" tIns="0" rIns="0" bIns="0"/>
            <a:lstStyle/>
            <a:p>
              <a:pPr marL="193675" lvl="1" indent="-192088" defTabSz="895350">
                <a:spcBef>
                  <a:spcPct val="30000"/>
                </a:spcBef>
                <a:buClr>
                  <a:schemeClr val="tx2"/>
                </a:buClr>
                <a:buSzPct val="125000"/>
                <a:buFont typeface="Arial" pitchFamily="34" charset="0"/>
                <a:buChar char="▪"/>
              </a:pPr>
              <a:r>
                <a:rPr lang="en-GB" sz="1100"/>
                <a:t>Improve </a:t>
              </a:r>
              <a:r>
                <a:rPr lang="en-GB" sz="1100" b="1">
                  <a:solidFill>
                    <a:schemeClr val="tx2"/>
                  </a:solidFill>
                </a:rPr>
                <a:t>access to job market information </a:t>
              </a:r>
              <a:r>
                <a:rPr lang="en-GB" sz="1100"/>
                <a:t>e.g., introduce community employment centres</a:t>
              </a:r>
              <a:r>
                <a:rPr lang="en-US" sz="1100"/>
                <a:t>   </a:t>
              </a:r>
            </a:p>
          </p:txBody>
        </p:sp>
        <p:sp>
          <p:nvSpPr>
            <p:cNvPr id="214" name="Marvintrackercircle">
              <a:extLst>
                <a:ext uri="{FF2B5EF4-FFF2-40B4-BE49-F238E27FC236}"/>
              </a:extLst>
            </p:cNvPr>
            <p:cNvSpPr/>
            <p:nvPr>
              <p:custDataLst>
                <p:tags r:id="rId28"/>
              </p:custDataLst>
            </p:nvPr>
          </p:nvSpPr>
          <p:spPr>
            <a:xfrm>
              <a:off x="6737458" y="2909218"/>
              <a:ext cx="209707" cy="209808"/>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13</a:t>
              </a:r>
            </a:p>
          </p:txBody>
        </p:sp>
      </p:grpSp>
      <p:grpSp>
        <p:nvGrpSpPr>
          <p:cNvPr id="22564" name="Group 49"/>
          <p:cNvGrpSpPr>
            <a:grpSpLocks/>
          </p:cNvGrpSpPr>
          <p:nvPr/>
        </p:nvGrpSpPr>
        <p:grpSpPr bwMode="auto">
          <a:xfrm>
            <a:off x="6515100" y="5302250"/>
            <a:ext cx="2271713" cy="847725"/>
            <a:chOff x="6637177" y="4555090"/>
            <a:chExt cx="2272939" cy="846386"/>
          </a:xfrm>
        </p:grpSpPr>
        <p:sp>
          <p:nvSpPr>
            <p:cNvPr id="22600" name="TextBox 124"/>
            <p:cNvSpPr txBox="1">
              <a:spLocks/>
            </p:cNvSpPr>
            <p:nvPr>
              <p:custDataLst>
                <p:tags r:id="rId25"/>
              </p:custDataLst>
            </p:nvPr>
          </p:nvSpPr>
          <p:spPr bwMode="auto">
            <a:xfrm>
              <a:off x="6670464" y="4555090"/>
              <a:ext cx="2239652" cy="846386"/>
            </a:xfrm>
            <a:prstGeom prst="rect">
              <a:avLst/>
            </a:prstGeom>
            <a:noFill/>
            <a:ln w="9525">
              <a:noFill/>
              <a:miter lim="800000"/>
              <a:headEnd/>
              <a:tailEnd/>
            </a:ln>
          </p:spPr>
          <p:txBody>
            <a:bodyPr lIns="0" tIns="0" rIns="0" bIns="0"/>
            <a:lstStyle/>
            <a:p>
              <a:pPr marL="193675" lvl="1" indent="-192088" defTabSz="895350">
                <a:spcBef>
                  <a:spcPct val="30000"/>
                </a:spcBef>
                <a:buClr>
                  <a:schemeClr val="tx2"/>
                </a:buClr>
                <a:buSzPct val="125000"/>
                <a:buFont typeface="Arial" pitchFamily="34" charset="0"/>
                <a:buChar char="▪"/>
              </a:pPr>
              <a:r>
                <a:rPr lang="en-GB" sz="1100" b="1">
                  <a:solidFill>
                    <a:schemeClr val="tx2"/>
                  </a:solidFill>
                </a:rPr>
                <a:t>Technically assist SMEs </a:t>
              </a:r>
              <a:r>
                <a:rPr lang="en-GB" sz="1100"/>
                <a:t>through strengthening supply chains, providing access to information e.g. via business information hubs, creating an enabling digital environment (e.g. free internet zones) and training</a:t>
              </a:r>
              <a:endParaRPr lang="en-US" sz="1100"/>
            </a:p>
          </p:txBody>
        </p:sp>
        <p:sp>
          <p:nvSpPr>
            <p:cNvPr id="127" name="Marvintrackercircle">
              <a:extLst>
                <a:ext uri="{FF2B5EF4-FFF2-40B4-BE49-F238E27FC236}"/>
              </a:extLst>
            </p:cNvPr>
            <p:cNvSpPr/>
            <p:nvPr>
              <p:custDataLst>
                <p:tags r:id="rId26"/>
              </p:custDataLst>
            </p:nvPr>
          </p:nvSpPr>
          <p:spPr>
            <a:xfrm>
              <a:off x="6637177" y="4555090"/>
              <a:ext cx="209663" cy="210805"/>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16</a:t>
              </a:r>
            </a:p>
          </p:txBody>
        </p:sp>
      </p:grpSp>
      <p:grpSp>
        <p:nvGrpSpPr>
          <p:cNvPr id="22565" name="Group 48"/>
          <p:cNvGrpSpPr>
            <a:grpSpLocks/>
          </p:cNvGrpSpPr>
          <p:nvPr/>
        </p:nvGrpSpPr>
        <p:grpSpPr bwMode="auto">
          <a:xfrm>
            <a:off x="6500813" y="4470400"/>
            <a:ext cx="2241550" cy="677863"/>
            <a:chOff x="6737458" y="3765632"/>
            <a:chExt cx="2128316" cy="677108"/>
          </a:xfrm>
        </p:grpSpPr>
        <p:sp>
          <p:nvSpPr>
            <p:cNvPr id="22598" name="TextBox 125"/>
            <p:cNvSpPr txBox="1">
              <a:spLocks/>
            </p:cNvSpPr>
            <p:nvPr>
              <p:custDataLst>
                <p:tags r:id="rId23"/>
              </p:custDataLst>
            </p:nvPr>
          </p:nvSpPr>
          <p:spPr bwMode="auto">
            <a:xfrm>
              <a:off x="6781800" y="3765632"/>
              <a:ext cx="2083974" cy="677108"/>
            </a:xfrm>
            <a:prstGeom prst="rect">
              <a:avLst/>
            </a:prstGeom>
            <a:noFill/>
            <a:ln w="9525">
              <a:noFill/>
              <a:miter lim="800000"/>
              <a:headEnd/>
              <a:tailEnd/>
            </a:ln>
          </p:spPr>
          <p:txBody>
            <a:bodyPr lIns="0" tIns="0" rIns="0" bIns="0"/>
            <a:lstStyle/>
            <a:p>
              <a:pPr marL="193675" lvl="1" indent="-192088" defTabSz="895350">
                <a:spcBef>
                  <a:spcPct val="30000"/>
                </a:spcBef>
                <a:buClr>
                  <a:schemeClr val="tx2"/>
                </a:buClr>
                <a:buSzPct val="125000"/>
                <a:buFont typeface="Arial" pitchFamily="34" charset="0"/>
                <a:buChar char="▪"/>
              </a:pPr>
              <a:r>
                <a:rPr lang="en-US" sz="1100" b="1">
                  <a:solidFill>
                    <a:schemeClr val="tx2"/>
                  </a:solidFill>
                </a:rPr>
                <a:t>Financially assist SMEs </a:t>
              </a:r>
              <a:r>
                <a:rPr lang="en-US" sz="1100">
                  <a:solidFill>
                    <a:srgbClr val="000000"/>
                  </a:solidFill>
                </a:rPr>
                <a:t>by providing credit systems that are of very low interest rates or interest and collateral free</a:t>
              </a:r>
              <a:endParaRPr lang="en-US" sz="1100"/>
            </a:p>
          </p:txBody>
        </p:sp>
        <p:sp>
          <p:nvSpPr>
            <p:cNvPr id="215" name="Marvintrackercircle">
              <a:extLst>
                <a:ext uri="{FF2B5EF4-FFF2-40B4-BE49-F238E27FC236}"/>
              </a:extLst>
            </p:cNvPr>
            <p:cNvSpPr/>
            <p:nvPr>
              <p:custDataLst>
                <p:tags r:id="rId24"/>
              </p:custDataLst>
            </p:nvPr>
          </p:nvSpPr>
          <p:spPr>
            <a:xfrm>
              <a:off x="6737458" y="3765632"/>
              <a:ext cx="211023" cy="210903"/>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15</a:t>
              </a:r>
            </a:p>
          </p:txBody>
        </p:sp>
      </p:grpSp>
      <p:cxnSp>
        <p:nvCxnSpPr>
          <p:cNvPr id="128" name="Straight Connector 127">
            <a:extLst>
              <a:ext uri="{FF2B5EF4-FFF2-40B4-BE49-F238E27FC236}"/>
            </a:extLst>
          </p:cNvPr>
          <p:cNvCxnSpPr>
            <a:cxnSpLocks/>
          </p:cNvCxnSpPr>
          <p:nvPr/>
        </p:nvCxnSpPr>
        <p:spPr>
          <a:xfrm>
            <a:off x="6610350" y="3195638"/>
            <a:ext cx="2132013"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extLst>
          </p:cNvPr>
          <p:cNvCxnSpPr>
            <a:cxnSpLocks/>
          </p:cNvCxnSpPr>
          <p:nvPr/>
        </p:nvCxnSpPr>
        <p:spPr>
          <a:xfrm>
            <a:off x="5994400" y="4416425"/>
            <a:ext cx="2770188"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extLst>
          </p:cNvPr>
          <p:cNvCxnSpPr>
            <a:cxnSpLocks/>
          </p:cNvCxnSpPr>
          <p:nvPr/>
        </p:nvCxnSpPr>
        <p:spPr>
          <a:xfrm>
            <a:off x="6692900" y="5226050"/>
            <a:ext cx="2132013"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2569" name="Group 26"/>
          <p:cNvGrpSpPr>
            <a:grpSpLocks/>
          </p:cNvGrpSpPr>
          <p:nvPr/>
        </p:nvGrpSpPr>
        <p:grpSpPr bwMode="auto">
          <a:xfrm>
            <a:off x="3608388" y="1938338"/>
            <a:ext cx="2251075" cy="865187"/>
            <a:chOff x="3479343" y="2274621"/>
            <a:chExt cx="2251457" cy="865116"/>
          </a:xfrm>
        </p:grpSpPr>
        <p:sp>
          <p:nvSpPr>
            <p:cNvPr id="22596" name="TextBox 18"/>
            <p:cNvSpPr txBox="1">
              <a:spLocks/>
            </p:cNvSpPr>
            <p:nvPr>
              <p:custDataLst>
                <p:tags r:id="rId21"/>
              </p:custDataLst>
            </p:nvPr>
          </p:nvSpPr>
          <p:spPr bwMode="auto">
            <a:xfrm>
              <a:off x="3559681" y="2293351"/>
              <a:ext cx="2171119" cy="846386"/>
            </a:xfrm>
            <a:prstGeom prst="rect">
              <a:avLst/>
            </a:prstGeom>
            <a:noFill/>
            <a:ln w="9525">
              <a:noFill/>
              <a:miter lim="800000"/>
              <a:headEnd/>
              <a:tailEnd/>
            </a:ln>
          </p:spPr>
          <p:txBody>
            <a:bodyPr lIns="0" tIns="0" rIns="0" bIns="0">
              <a:spAutoFit/>
            </a:bodyPr>
            <a:lstStyle/>
            <a:p>
              <a:pPr marL="193675" lvl="1" indent="-192088" defTabSz="895350">
                <a:spcBef>
                  <a:spcPct val="15000"/>
                </a:spcBef>
                <a:buClr>
                  <a:schemeClr val="tx2"/>
                </a:buClr>
                <a:buSzPct val="125000"/>
                <a:buFont typeface="Arial" pitchFamily="34" charset="0"/>
                <a:buChar char="▪"/>
              </a:pPr>
              <a:r>
                <a:rPr lang="en-US" sz="1100" b="1">
                  <a:solidFill>
                    <a:schemeClr val="tx2"/>
                  </a:solidFill>
                </a:rPr>
                <a:t>Roll out girls education initiatives </a:t>
              </a:r>
              <a:r>
                <a:rPr lang="en-US" sz="1100"/>
                <a:t>to boost girls completion of basic education e.g., CCTs, free education for girls in JSS</a:t>
              </a:r>
            </a:p>
          </p:txBody>
        </p:sp>
        <p:sp>
          <p:nvSpPr>
            <p:cNvPr id="209" name="Marvintrackercircle">
              <a:extLst>
                <a:ext uri="{FF2B5EF4-FFF2-40B4-BE49-F238E27FC236}"/>
              </a:extLst>
            </p:cNvPr>
            <p:cNvSpPr/>
            <p:nvPr>
              <p:custDataLst>
                <p:tags r:id="rId22"/>
              </p:custDataLst>
            </p:nvPr>
          </p:nvSpPr>
          <p:spPr>
            <a:xfrm>
              <a:off x="3479343" y="2274621"/>
              <a:ext cx="211173" cy="211120"/>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8</a:t>
              </a:r>
            </a:p>
          </p:txBody>
        </p:sp>
      </p:grpSp>
      <p:grpSp>
        <p:nvGrpSpPr>
          <p:cNvPr id="22570" name="Group 4"/>
          <p:cNvGrpSpPr>
            <a:grpSpLocks/>
          </p:cNvGrpSpPr>
          <p:nvPr/>
        </p:nvGrpSpPr>
        <p:grpSpPr bwMode="auto">
          <a:xfrm>
            <a:off x="806450" y="2693988"/>
            <a:ext cx="1606550" cy="508000"/>
            <a:chOff x="884971" y="3252803"/>
            <a:chExt cx="1606302" cy="507831"/>
          </a:xfrm>
        </p:grpSpPr>
        <p:sp>
          <p:nvSpPr>
            <p:cNvPr id="186" name="Marvintrackercircle">
              <a:extLst>
                <a:ext uri="{FF2B5EF4-FFF2-40B4-BE49-F238E27FC236}"/>
              </a:extLst>
            </p:cNvPr>
            <p:cNvSpPr/>
            <p:nvPr>
              <p:custDataLst>
                <p:tags r:id="rId19"/>
              </p:custDataLst>
            </p:nvPr>
          </p:nvSpPr>
          <p:spPr>
            <a:xfrm>
              <a:off x="884971" y="3252803"/>
              <a:ext cx="211105" cy="211067"/>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3</a:t>
              </a:r>
            </a:p>
          </p:txBody>
        </p:sp>
        <p:sp>
          <p:nvSpPr>
            <p:cNvPr id="22595" name="TextBox 131"/>
            <p:cNvSpPr txBox="1">
              <a:spLocks/>
            </p:cNvSpPr>
            <p:nvPr>
              <p:custDataLst>
                <p:tags r:id="rId20"/>
              </p:custDataLst>
            </p:nvPr>
          </p:nvSpPr>
          <p:spPr bwMode="auto">
            <a:xfrm>
              <a:off x="920831" y="3252803"/>
              <a:ext cx="1570442" cy="507831"/>
            </a:xfrm>
            <a:prstGeom prst="rect">
              <a:avLst/>
            </a:prstGeom>
            <a:noFill/>
            <a:ln w="9525">
              <a:noFill/>
              <a:miter lim="800000"/>
              <a:headEnd/>
              <a:tailEnd/>
            </a:ln>
          </p:spPr>
          <p:txBody>
            <a:bodyPr lIns="0" tIns="0" rIns="0" bIns="0">
              <a:spAutoFit/>
            </a:bodyPr>
            <a:lstStyle/>
            <a:p>
              <a:pPr marL="193675" lvl="1" indent="-192088" defTabSz="895350">
                <a:spcBef>
                  <a:spcPct val="10000"/>
                </a:spcBef>
                <a:buClr>
                  <a:schemeClr val="tx2"/>
                </a:buClr>
                <a:buSzPct val="125000"/>
                <a:buFont typeface="Arial" pitchFamily="34" charset="0"/>
                <a:buChar char="▪"/>
              </a:pPr>
              <a:r>
                <a:rPr lang="en-US" sz="1100" b="1">
                  <a:solidFill>
                    <a:schemeClr val="tx2"/>
                  </a:solidFill>
                </a:rPr>
                <a:t>Free family planning programs </a:t>
              </a:r>
              <a:r>
                <a:rPr lang="en-US" sz="1100"/>
                <a:t>and increased education</a:t>
              </a:r>
            </a:p>
          </p:txBody>
        </p:sp>
      </p:grpSp>
      <p:sp>
        <p:nvSpPr>
          <p:cNvPr id="133" name="Rectangle 4">
            <a:extLst>
              <a:ext uri="{FF2B5EF4-FFF2-40B4-BE49-F238E27FC236}"/>
            </a:extLst>
          </p:cNvPr>
          <p:cNvSpPr>
            <a:spLocks noChangeArrowheads="1"/>
          </p:cNvSpPr>
          <p:nvPr/>
        </p:nvSpPr>
        <p:spPr bwMode="gray">
          <a:xfrm>
            <a:off x="50800" y="2693988"/>
            <a:ext cx="822325" cy="169862"/>
          </a:xfrm>
          <a:prstGeom prst="rect">
            <a:avLst/>
          </a:prstGeom>
          <a:noFill/>
          <a:ln w="9525" algn="ctr">
            <a:noFill/>
            <a:miter lim="800000"/>
            <a:headEnd/>
            <a:tailEnd/>
          </a:ln>
          <a:effectLst/>
        </p:spPr>
        <p:txBody>
          <a:bodyPr lIns="0" tIns="0" rIns="0" bIns="0">
            <a:spAutoFit/>
          </a:bodyPr>
          <a:lstStyle/>
          <a:p>
            <a:pPr defTabSz="895255">
              <a:buClr>
                <a:schemeClr val="tx2"/>
              </a:buClr>
              <a:buSzPct val="125000"/>
              <a:defRPr/>
            </a:pPr>
            <a:r>
              <a:rPr lang="en-US" sz="1100" b="1" dirty="0">
                <a:solidFill>
                  <a:schemeClr val="tx2"/>
                </a:solidFill>
                <a:latin typeface="+mn-lt"/>
                <a:cs typeface="Arial" charset="0"/>
              </a:rPr>
              <a:t>Fertility </a:t>
            </a:r>
          </a:p>
        </p:txBody>
      </p:sp>
      <p:sp>
        <p:nvSpPr>
          <p:cNvPr id="22572" name="TextBox 134"/>
          <p:cNvSpPr txBox="1">
            <a:spLocks/>
          </p:cNvSpPr>
          <p:nvPr>
            <p:custDataLst>
              <p:tags r:id="rId5"/>
            </p:custDataLst>
          </p:nvPr>
        </p:nvSpPr>
        <p:spPr bwMode="auto">
          <a:xfrm>
            <a:off x="842963" y="5414963"/>
            <a:ext cx="1570037" cy="677862"/>
          </a:xfrm>
          <a:prstGeom prst="rect">
            <a:avLst/>
          </a:prstGeom>
          <a:noFill/>
          <a:ln w="9525">
            <a:noFill/>
            <a:miter lim="800000"/>
            <a:headEnd/>
            <a:tailEnd/>
          </a:ln>
        </p:spPr>
        <p:txBody>
          <a:bodyPr lIns="0" tIns="0" rIns="0" bIns="0">
            <a:spAutoFit/>
          </a:bodyPr>
          <a:lstStyle/>
          <a:p>
            <a:pPr marL="193675" lvl="1" indent="-192088" defTabSz="895350">
              <a:spcBef>
                <a:spcPct val="15000"/>
              </a:spcBef>
              <a:buClr>
                <a:schemeClr val="tx2"/>
              </a:buClr>
              <a:buSzPct val="125000"/>
              <a:buFont typeface="Arial" pitchFamily="34" charset="0"/>
              <a:buChar char="▪"/>
            </a:pPr>
            <a:r>
              <a:rPr lang="en-US" sz="1100" b="1">
                <a:solidFill>
                  <a:schemeClr val="tx2"/>
                </a:solidFill>
              </a:rPr>
              <a:t>Leveraging private sector capacity </a:t>
            </a:r>
            <a:r>
              <a:rPr lang="en-US" sz="1100"/>
              <a:t>to fill capacity gaps in service delivery </a:t>
            </a:r>
            <a:endParaRPr lang="en-US" sz="900"/>
          </a:p>
        </p:txBody>
      </p:sp>
      <p:sp>
        <p:nvSpPr>
          <p:cNvPr id="136" name="Rectangle 4">
            <a:extLst>
              <a:ext uri="{FF2B5EF4-FFF2-40B4-BE49-F238E27FC236}"/>
            </a:extLst>
          </p:cNvPr>
          <p:cNvSpPr>
            <a:spLocks noChangeArrowheads="1"/>
          </p:cNvSpPr>
          <p:nvPr/>
        </p:nvSpPr>
        <p:spPr bwMode="gray">
          <a:xfrm>
            <a:off x="50800" y="5414963"/>
            <a:ext cx="822325" cy="338137"/>
          </a:xfrm>
          <a:prstGeom prst="rect">
            <a:avLst/>
          </a:prstGeom>
          <a:noFill/>
          <a:ln w="9525" algn="ctr">
            <a:noFill/>
            <a:miter lim="800000"/>
            <a:headEnd/>
            <a:tailEnd/>
          </a:ln>
          <a:effectLst/>
        </p:spPr>
        <p:txBody>
          <a:bodyPr lIns="0" tIns="0" rIns="0" bIns="0"/>
          <a:lstStyle/>
          <a:p>
            <a:pPr defTabSz="895255">
              <a:buClr>
                <a:schemeClr val="tx2"/>
              </a:buClr>
              <a:buSzPct val="125000"/>
              <a:defRPr/>
            </a:pPr>
            <a:r>
              <a:rPr lang="en-US" sz="1100" b="1" dirty="0">
                <a:solidFill>
                  <a:schemeClr val="tx2"/>
                </a:solidFill>
                <a:latin typeface="+mn-lt"/>
                <a:cs typeface="Arial" charset="0"/>
              </a:rPr>
              <a:t>Private sector  </a:t>
            </a:r>
          </a:p>
        </p:txBody>
      </p:sp>
      <p:sp>
        <p:nvSpPr>
          <p:cNvPr id="137" name="Marvintrackercircle">
            <a:extLst>
              <a:ext uri="{FF2B5EF4-FFF2-40B4-BE49-F238E27FC236}"/>
            </a:extLst>
          </p:cNvPr>
          <p:cNvSpPr/>
          <p:nvPr>
            <p:custDataLst>
              <p:tags r:id="rId6"/>
            </p:custDataLst>
          </p:nvPr>
        </p:nvSpPr>
        <p:spPr>
          <a:xfrm>
            <a:off x="806450" y="5414963"/>
            <a:ext cx="211138" cy="211137"/>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6</a:t>
            </a:r>
          </a:p>
        </p:txBody>
      </p:sp>
      <p:sp>
        <p:nvSpPr>
          <p:cNvPr id="22575" name="TextBox 140"/>
          <p:cNvSpPr txBox="1">
            <a:spLocks noChangeArrowheads="1"/>
          </p:cNvSpPr>
          <p:nvPr>
            <p:custDataLst>
              <p:tags r:id="rId7"/>
            </p:custDataLst>
          </p:nvPr>
        </p:nvSpPr>
        <p:spPr bwMode="auto">
          <a:xfrm>
            <a:off x="3608388" y="2900363"/>
            <a:ext cx="2170112" cy="168275"/>
          </a:xfrm>
          <a:prstGeom prst="rect">
            <a:avLst/>
          </a:prstGeom>
          <a:noFill/>
          <a:ln w="9525">
            <a:noFill/>
            <a:miter lim="800000"/>
            <a:headEnd/>
            <a:tailEnd/>
          </a:ln>
        </p:spPr>
        <p:txBody>
          <a:bodyPr lIns="0" tIns="0" rIns="0" bIns="0">
            <a:spAutoFit/>
          </a:bodyPr>
          <a:lstStyle/>
          <a:p>
            <a:pPr defTabSz="895350">
              <a:spcBef>
                <a:spcPct val="100000"/>
              </a:spcBef>
              <a:buClr>
                <a:schemeClr val="tx2"/>
              </a:buClr>
              <a:buSzPct val="100000"/>
            </a:pPr>
            <a:r>
              <a:rPr lang="en-US" sz="1100" b="1">
                <a:solidFill>
                  <a:srgbClr val="006600"/>
                </a:solidFill>
              </a:rPr>
              <a:t>Teachers</a:t>
            </a:r>
            <a:endParaRPr lang="en-US" sz="1100"/>
          </a:p>
        </p:txBody>
      </p:sp>
      <p:sp>
        <p:nvSpPr>
          <p:cNvPr id="22576" name="TextBox 143"/>
          <p:cNvSpPr txBox="1">
            <a:spLocks noChangeArrowheads="1"/>
          </p:cNvSpPr>
          <p:nvPr>
            <p:custDataLst>
              <p:tags r:id="rId8"/>
            </p:custDataLst>
          </p:nvPr>
        </p:nvSpPr>
        <p:spPr bwMode="auto">
          <a:xfrm>
            <a:off x="3687763" y="5076825"/>
            <a:ext cx="2171700" cy="169863"/>
          </a:xfrm>
          <a:prstGeom prst="rect">
            <a:avLst/>
          </a:prstGeom>
          <a:noFill/>
          <a:ln w="9525">
            <a:noFill/>
            <a:miter lim="800000"/>
            <a:headEnd/>
            <a:tailEnd/>
          </a:ln>
        </p:spPr>
        <p:txBody>
          <a:bodyPr lIns="0" tIns="0" rIns="0" bIns="0">
            <a:spAutoFit/>
          </a:bodyPr>
          <a:lstStyle/>
          <a:p>
            <a:pPr marL="0" lvl="1" defTabSz="895350">
              <a:spcBef>
                <a:spcPct val="50000"/>
              </a:spcBef>
              <a:buClr>
                <a:schemeClr val="tx2"/>
              </a:buClr>
              <a:buSzPct val="125000"/>
              <a:buFont typeface="Arial" pitchFamily="34" charset="0"/>
              <a:buNone/>
            </a:pPr>
            <a:r>
              <a:rPr lang="en-US" sz="1100" b="1">
                <a:solidFill>
                  <a:srgbClr val="006600"/>
                </a:solidFill>
              </a:rPr>
              <a:t>Pedagogical interventions</a:t>
            </a:r>
            <a:endParaRPr lang="en-US" sz="1100"/>
          </a:p>
        </p:txBody>
      </p:sp>
      <p:grpSp>
        <p:nvGrpSpPr>
          <p:cNvPr id="22577" name="Group 32"/>
          <p:cNvGrpSpPr>
            <a:grpSpLocks/>
          </p:cNvGrpSpPr>
          <p:nvPr/>
        </p:nvGrpSpPr>
        <p:grpSpPr bwMode="auto">
          <a:xfrm>
            <a:off x="3608388" y="3117850"/>
            <a:ext cx="2251075" cy="508000"/>
            <a:chOff x="3775179" y="3268282"/>
            <a:chExt cx="2251457" cy="507831"/>
          </a:xfrm>
        </p:grpSpPr>
        <p:sp>
          <p:nvSpPr>
            <p:cNvPr id="22592" name="TextBox 141"/>
            <p:cNvSpPr txBox="1">
              <a:spLocks noChangeArrowheads="1"/>
            </p:cNvSpPr>
            <p:nvPr>
              <p:custDataLst>
                <p:tags r:id="rId17"/>
              </p:custDataLst>
            </p:nvPr>
          </p:nvSpPr>
          <p:spPr bwMode="auto">
            <a:xfrm>
              <a:off x="3855517" y="3268282"/>
              <a:ext cx="2171119" cy="507831"/>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lang="en-US" sz="1100" b="1">
                  <a:solidFill>
                    <a:srgbClr val="006600"/>
                  </a:solidFill>
                </a:rPr>
                <a:t>Revamp NCE </a:t>
              </a:r>
              <a:r>
                <a:rPr lang="en-ZA" sz="1100" b="1">
                  <a:solidFill>
                    <a:srgbClr val="006600"/>
                  </a:solidFill>
                </a:rPr>
                <a:t>and optimize the process for how teachers get certified</a:t>
              </a:r>
              <a:endParaRPr lang="en-US" sz="1100"/>
            </a:p>
          </p:txBody>
        </p:sp>
        <p:sp>
          <p:nvSpPr>
            <p:cNvPr id="189" name="Marvintrackercircle">
              <a:extLst>
                <a:ext uri="{FF2B5EF4-FFF2-40B4-BE49-F238E27FC236}"/>
              </a:extLst>
            </p:cNvPr>
            <p:cNvSpPr/>
            <p:nvPr>
              <p:custDataLst>
                <p:tags r:id="rId18"/>
              </p:custDataLst>
            </p:nvPr>
          </p:nvSpPr>
          <p:spPr>
            <a:xfrm>
              <a:off x="3775179" y="3268282"/>
              <a:ext cx="211173" cy="211068"/>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9</a:t>
              </a:r>
            </a:p>
          </p:txBody>
        </p:sp>
      </p:grpSp>
      <p:grpSp>
        <p:nvGrpSpPr>
          <p:cNvPr id="22578" name="Group 33"/>
          <p:cNvGrpSpPr>
            <a:grpSpLocks/>
          </p:cNvGrpSpPr>
          <p:nvPr/>
        </p:nvGrpSpPr>
        <p:grpSpPr bwMode="auto">
          <a:xfrm>
            <a:off x="3608388" y="3673475"/>
            <a:ext cx="2251075" cy="1354138"/>
            <a:chOff x="3775179" y="3776113"/>
            <a:chExt cx="2251457" cy="1354217"/>
          </a:xfrm>
        </p:grpSpPr>
        <p:sp>
          <p:nvSpPr>
            <p:cNvPr id="22590" name="TextBox 142"/>
            <p:cNvSpPr txBox="1">
              <a:spLocks noChangeArrowheads="1"/>
            </p:cNvSpPr>
            <p:nvPr>
              <p:custDataLst>
                <p:tags r:id="rId15"/>
              </p:custDataLst>
            </p:nvPr>
          </p:nvSpPr>
          <p:spPr bwMode="auto">
            <a:xfrm>
              <a:off x="3855517" y="3776113"/>
              <a:ext cx="2171119" cy="1354217"/>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lang="en-US" sz="1100">
                  <a:solidFill>
                    <a:srgbClr val="000000"/>
                  </a:solidFill>
                </a:rPr>
                <a:t>Improve professional development and </a:t>
              </a:r>
              <a:r>
                <a:rPr lang="en-US" sz="1100" b="1">
                  <a:solidFill>
                    <a:srgbClr val="006600"/>
                  </a:solidFill>
                </a:rPr>
                <a:t>performance management </a:t>
              </a:r>
              <a:r>
                <a:rPr lang="en-US" sz="1100">
                  <a:solidFill>
                    <a:srgbClr val="000000"/>
                  </a:solidFill>
                </a:rPr>
                <a:t>including </a:t>
              </a:r>
              <a:r>
                <a:rPr lang="en-US" sz="1100" b="1">
                  <a:solidFill>
                    <a:srgbClr val="006600"/>
                  </a:solidFill>
                </a:rPr>
                <a:t>learning assessments,</a:t>
              </a:r>
              <a:r>
                <a:rPr lang="en-US" sz="1100">
                  <a:solidFill>
                    <a:srgbClr val="000000"/>
                  </a:solidFill>
                </a:rPr>
                <a:t> providing motivation for low skills teachers and clear process for remedial actions to performance</a:t>
              </a:r>
              <a:endParaRPr lang="en-US" sz="1100"/>
            </a:p>
          </p:txBody>
        </p:sp>
        <p:sp>
          <p:nvSpPr>
            <p:cNvPr id="190" name="Marvintrackercircle">
              <a:extLst>
                <a:ext uri="{FF2B5EF4-FFF2-40B4-BE49-F238E27FC236}"/>
              </a:extLst>
            </p:cNvPr>
            <p:cNvSpPr/>
            <p:nvPr>
              <p:custDataLst>
                <p:tags r:id="rId16"/>
              </p:custDataLst>
            </p:nvPr>
          </p:nvSpPr>
          <p:spPr>
            <a:xfrm>
              <a:off x="3775179" y="3776113"/>
              <a:ext cx="211173" cy="211150"/>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10</a:t>
              </a:r>
            </a:p>
          </p:txBody>
        </p:sp>
      </p:grpSp>
      <p:grpSp>
        <p:nvGrpSpPr>
          <p:cNvPr id="22579" name="Group 34"/>
          <p:cNvGrpSpPr>
            <a:grpSpLocks/>
          </p:cNvGrpSpPr>
          <p:nvPr/>
        </p:nvGrpSpPr>
        <p:grpSpPr bwMode="auto">
          <a:xfrm>
            <a:off x="3608388" y="5294313"/>
            <a:ext cx="2251075" cy="846137"/>
            <a:chOff x="3775179" y="5640266"/>
            <a:chExt cx="2251457" cy="846386"/>
          </a:xfrm>
        </p:grpSpPr>
        <p:sp>
          <p:nvSpPr>
            <p:cNvPr id="22588" name="TextBox 144"/>
            <p:cNvSpPr txBox="1">
              <a:spLocks noChangeArrowheads="1"/>
            </p:cNvSpPr>
            <p:nvPr>
              <p:custDataLst>
                <p:tags r:id="rId13"/>
              </p:custDataLst>
            </p:nvPr>
          </p:nvSpPr>
          <p:spPr bwMode="auto">
            <a:xfrm>
              <a:off x="3855517" y="5640266"/>
              <a:ext cx="2171119" cy="846386"/>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lang="en-US" sz="1100">
                  <a:solidFill>
                    <a:srgbClr val="000000"/>
                  </a:solidFill>
                </a:rPr>
                <a:t>Revise curriculum </a:t>
              </a:r>
              <a:r>
                <a:rPr lang="en-US" sz="1100" b="1">
                  <a:solidFill>
                    <a:srgbClr val="006600"/>
                  </a:solidFill>
                </a:rPr>
                <a:t>of what is being taught, and methodology of teaching</a:t>
              </a:r>
              <a:r>
                <a:rPr lang="en-US" sz="1100">
                  <a:solidFill>
                    <a:srgbClr val="000000"/>
                  </a:solidFill>
                </a:rPr>
                <a:t> to a more directive style i.e. the use of lesson plans</a:t>
              </a:r>
              <a:endParaRPr lang="en-US" sz="1100"/>
            </a:p>
          </p:txBody>
        </p:sp>
        <p:sp>
          <p:nvSpPr>
            <p:cNvPr id="191" name="Marvintrackercircle">
              <a:extLst>
                <a:ext uri="{FF2B5EF4-FFF2-40B4-BE49-F238E27FC236}"/>
              </a:extLst>
            </p:cNvPr>
            <p:cNvSpPr/>
            <p:nvPr>
              <p:custDataLst>
                <p:tags r:id="rId14"/>
              </p:custDataLst>
            </p:nvPr>
          </p:nvSpPr>
          <p:spPr>
            <a:xfrm>
              <a:off x="3775179" y="5640266"/>
              <a:ext cx="211173" cy="211199"/>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11</a:t>
              </a:r>
            </a:p>
          </p:txBody>
        </p:sp>
      </p:grpSp>
      <p:grpSp>
        <p:nvGrpSpPr>
          <p:cNvPr id="22580" name="Group 31"/>
          <p:cNvGrpSpPr>
            <a:grpSpLocks/>
          </p:cNvGrpSpPr>
          <p:nvPr/>
        </p:nvGrpSpPr>
        <p:grpSpPr bwMode="auto">
          <a:xfrm>
            <a:off x="3608388" y="1135063"/>
            <a:ext cx="2251075" cy="706437"/>
            <a:chOff x="3775179" y="1481032"/>
            <a:chExt cx="2251457" cy="705683"/>
          </a:xfrm>
        </p:grpSpPr>
        <p:sp>
          <p:nvSpPr>
            <p:cNvPr id="26" name="TextBox 25">
              <a:extLst>
                <a:ext uri="{FF2B5EF4-FFF2-40B4-BE49-F238E27FC236}"/>
              </a:extLst>
            </p:cNvPr>
            <p:cNvSpPr txBox="1"/>
            <p:nvPr>
              <p:custDataLst>
                <p:tags r:id="rId11"/>
              </p:custDataLst>
            </p:nvPr>
          </p:nvSpPr>
          <p:spPr>
            <a:xfrm>
              <a:off x="3856155" y="1509577"/>
              <a:ext cx="2170481" cy="677138"/>
            </a:xfrm>
            <a:prstGeom prst="rect">
              <a:avLst/>
            </a:prstGeom>
          </p:spPr>
          <p:txBody>
            <a:bodyPr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15000"/>
                </a:spcBef>
                <a:defRPr/>
              </a:pPr>
              <a:r>
                <a:rPr lang="en-US" sz="1100" b="1" dirty="0">
                  <a:solidFill>
                    <a:schemeClr val="accent4"/>
                  </a:solidFill>
                  <a:cs typeface="+mn-cs"/>
                </a:rPr>
                <a:t>Roll out interventions for marginalized boys </a:t>
              </a:r>
              <a:r>
                <a:rPr lang="en-US" sz="1100" dirty="0">
                  <a:cs typeface="+mn-cs"/>
                </a:rPr>
                <a:t>e.g., merit based scholarships, advocacy from influential leaders </a:t>
              </a:r>
            </a:p>
          </p:txBody>
        </p:sp>
        <p:sp>
          <p:nvSpPr>
            <p:cNvPr id="207" name="Marvintrackercircle">
              <a:extLst>
                <a:ext uri="{FF2B5EF4-FFF2-40B4-BE49-F238E27FC236}"/>
              </a:extLst>
            </p:cNvPr>
            <p:cNvSpPr/>
            <p:nvPr>
              <p:custDataLst>
                <p:tags r:id="rId12"/>
              </p:custDataLst>
            </p:nvPr>
          </p:nvSpPr>
          <p:spPr>
            <a:xfrm>
              <a:off x="3775179" y="1481032"/>
              <a:ext cx="211173" cy="210912"/>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US" sz="1100" b="1" dirty="0"/>
                <a:t>7</a:t>
              </a:r>
            </a:p>
          </p:txBody>
        </p:sp>
      </p:grpSp>
      <p:cxnSp>
        <p:nvCxnSpPr>
          <p:cNvPr id="159" name="Straight Connector 158">
            <a:extLst>
              <a:ext uri="{FF2B5EF4-FFF2-40B4-BE49-F238E27FC236}"/>
            </a:extLst>
          </p:cNvPr>
          <p:cNvCxnSpPr>
            <a:cxnSpLocks/>
          </p:cNvCxnSpPr>
          <p:nvPr/>
        </p:nvCxnSpPr>
        <p:spPr>
          <a:xfrm>
            <a:off x="6610350" y="3979863"/>
            <a:ext cx="2132013"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2582" name="Group 56"/>
          <p:cNvGrpSpPr>
            <a:grpSpLocks/>
          </p:cNvGrpSpPr>
          <p:nvPr/>
        </p:nvGrpSpPr>
        <p:grpSpPr bwMode="auto">
          <a:xfrm>
            <a:off x="6500813" y="4033838"/>
            <a:ext cx="2462212" cy="292100"/>
            <a:chOff x="6648250" y="5490688"/>
            <a:chExt cx="2348807" cy="250070"/>
          </a:xfrm>
        </p:grpSpPr>
        <p:sp>
          <p:nvSpPr>
            <p:cNvPr id="22584" name="TextBox 154"/>
            <p:cNvSpPr txBox="1">
              <a:spLocks/>
            </p:cNvSpPr>
            <p:nvPr>
              <p:custDataLst>
                <p:tags r:id="rId9"/>
              </p:custDataLst>
            </p:nvPr>
          </p:nvSpPr>
          <p:spPr bwMode="auto">
            <a:xfrm>
              <a:off x="6712770" y="5490688"/>
              <a:ext cx="2284287" cy="250070"/>
            </a:xfrm>
            <a:prstGeom prst="rect">
              <a:avLst/>
            </a:prstGeom>
            <a:noFill/>
            <a:ln w="9525">
              <a:noFill/>
              <a:miter lim="800000"/>
              <a:headEnd/>
              <a:tailEnd/>
            </a:ln>
          </p:spPr>
          <p:txBody>
            <a:bodyPr lIns="0" tIns="0" rIns="0" bIns="0"/>
            <a:lstStyle/>
            <a:p>
              <a:pPr marL="193675" lvl="1" indent="-192088" defTabSz="895350">
                <a:spcBef>
                  <a:spcPct val="30000"/>
                </a:spcBef>
                <a:buClr>
                  <a:schemeClr val="tx2"/>
                </a:buClr>
                <a:buSzPct val="125000"/>
                <a:buFont typeface="Arial" pitchFamily="34" charset="0"/>
                <a:buChar char="▪"/>
              </a:pPr>
              <a:r>
                <a:rPr lang="en-GB" sz="1100"/>
                <a:t>Implement </a:t>
              </a:r>
              <a:r>
                <a:rPr lang="en-GB" sz="1100" b="1">
                  <a:solidFill>
                    <a:schemeClr val="tx2"/>
                  </a:solidFill>
                </a:rPr>
                <a:t>legislative action e.g. local content, to increase hiring</a:t>
              </a:r>
              <a:endParaRPr lang="en-US" sz="1100" b="1">
                <a:solidFill>
                  <a:schemeClr val="tx2"/>
                </a:solidFill>
              </a:endParaRPr>
            </a:p>
          </p:txBody>
        </p:sp>
        <p:sp>
          <p:nvSpPr>
            <p:cNvPr id="131" name="Marvintrackercircle">
              <a:extLst>
                <a:ext uri="{FF2B5EF4-FFF2-40B4-BE49-F238E27FC236}"/>
              </a:extLst>
            </p:cNvPr>
            <p:cNvSpPr/>
            <p:nvPr>
              <p:custDataLst>
                <p:tags r:id="rId10"/>
              </p:custDataLst>
            </p:nvPr>
          </p:nvSpPr>
          <p:spPr>
            <a:xfrm>
              <a:off x="6648250" y="5513792"/>
              <a:ext cx="210499" cy="210657"/>
            </a:xfrm>
            <a:prstGeom prst="ellipse">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buClr>
                  <a:schemeClr val="lt1"/>
                </a:buClr>
                <a:defRPr/>
              </a:pPr>
              <a:r>
                <a:rPr lang="en-GB" sz="1100" b="1" dirty="0"/>
                <a:t>14</a:t>
              </a:r>
            </a:p>
          </p:txBody>
        </p:sp>
      </p:grpSp>
      <p:sp>
        <p:nvSpPr>
          <p:cNvPr id="150" name="Rectangle 149">
            <a:extLst>
              <a:ext uri="{FF2B5EF4-FFF2-40B4-BE49-F238E27FC236}"/>
            </a:extLst>
          </p:cNvPr>
          <p:cNvSpPr>
            <a:spLocks/>
          </p:cNvSpPr>
          <p:nvPr/>
        </p:nvSpPr>
        <p:spPr bwMode="auto">
          <a:xfrm>
            <a:off x="6005513" y="4473575"/>
            <a:ext cx="822325" cy="338138"/>
          </a:xfrm>
          <a:prstGeom prst="rect">
            <a:avLst/>
          </a:prstGeom>
          <a:noFill/>
          <a:ln w="9525" algn="ctr">
            <a:noFill/>
            <a:miter lim="800000"/>
            <a:headEnd/>
            <a:tailEnd/>
          </a:ln>
          <a:effectLst/>
          <a:extLst/>
        </p:spPr>
        <p:txBody>
          <a:bodyPr lIns="0" tIns="0" rIns="0" bIns="0"/>
          <a:lstStyle/>
          <a:p>
            <a:pPr defTabSz="895255">
              <a:buClr>
                <a:schemeClr val="tx2"/>
              </a:buClr>
              <a:buSzPct val="125000"/>
              <a:defRPr/>
            </a:pPr>
            <a:r>
              <a:rPr lang="en-GB" sz="1100" b="1" dirty="0">
                <a:solidFill>
                  <a:schemeClr val="tx2"/>
                </a:solidFill>
                <a:latin typeface="+mn-lt"/>
                <a:cs typeface="Arial" charset="0"/>
              </a:rPr>
              <a:t>SME support</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135"/>
          <p:cNvGraphicFramePr>
            <a:graphicFrameLocks noChangeAspect="1"/>
          </p:cNvGraphicFramePr>
          <p:nvPr/>
        </p:nvGraphicFramePr>
        <p:xfrm>
          <a:off x="0" y="0"/>
          <a:ext cx="158750" cy="158750"/>
        </p:xfrm>
        <a:graphic>
          <a:graphicData uri="http://schemas.openxmlformats.org/presentationml/2006/ole">
            <p:oleObj spid="_x0000_s23554" name="think-cell Slide" r:id="rId24" imgW="360" imgH="360" progId="">
              <p:embed/>
            </p:oleObj>
          </a:graphicData>
        </a:graphic>
      </p:graphicFrame>
      <p:sp>
        <p:nvSpPr>
          <p:cNvPr id="3" name="Rectangle 2" hidden="1">
            <a:extLst>
              <a:ext uri="{FF2B5EF4-FFF2-40B4-BE49-F238E27FC236}"/>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sp>
        <p:nvSpPr>
          <p:cNvPr id="129" name="Freeform: Shape 128">
            <a:extLst>
              <a:ext uri="{FF2B5EF4-FFF2-40B4-BE49-F238E27FC236}"/>
            </a:extLst>
          </p:cNvPr>
          <p:cNvSpPr>
            <a:spLocks noChangeAspect="1"/>
          </p:cNvSpPr>
          <p:nvPr/>
        </p:nvSpPr>
        <p:spPr bwMode="gray">
          <a:xfrm flipV="1">
            <a:off x="6873875" y="3232150"/>
            <a:ext cx="1979613" cy="989013"/>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126" name="Freeform: Shape 125">
            <a:extLst>
              <a:ext uri="{FF2B5EF4-FFF2-40B4-BE49-F238E27FC236}"/>
            </a:extLst>
          </p:cNvPr>
          <p:cNvSpPr>
            <a:spLocks noChangeAspect="1"/>
          </p:cNvSpPr>
          <p:nvPr/>
        </p:nvSpPr>
        <p:spPr bwMode="gray">
          <a:xfrm>
            <a:off x="5191125" y="2241550"/>
            <a:ext cx="1979613" cy="990600"/>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123" name="Freeform: Shape 122">
            <a:extLst>
              <a:ext uri="{FF2B5EF4-FFF2-40B4-BE49-F238E27FC236}"/>
            </a:extLst>
          </p:cNvPr>
          <p:cNvSpPr>
            <a:spLocks noChangeAspect="1"/>
          </p:cNvSpPr>
          <p:nvPr/>
        </p:nvSpPr>
        <p:spPr bwMode="gray">
          <a:xfrm flipV="1">
            <a:off x="3503613" y="3232150"/>
            <a:ext cx="1979612" cy="989013"/>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572750" name="Rectangle 5"/>
          <p:cNvSpPr>
            <a:spLocks noGrp="1" noChangeArrowheads="1"/>
          </p:cNvSpPr>
          <p:nvPr>
            <p:ph type="title"/>
            <p:custDataLst>
              <p:tags r:id="rId4"/>
            </p:custDataLst>
          </p:nvPr>
        </p:nvSpPr>
        <p:spPr bwMode="gray">
          <a:extLst>
            <a:ext uri="{909E8E84-426E-40DD-AFC4-6F175D3DCCD1}"/>
            <a:ext uri="{91240B29-F687-4F45-9708-019B960494DF}"/>
            <a:ext uri="{AF507438-7753-43E0-B8FC-AC1667EBCBE1}"/>
          </a:extLst>
        </p:spPr>
        <p:txBody>
          <a:bodyPr/>
          <a:lstStyle/>
          <a:p>
            <a:pPr>
              <a:defRPr/>
            </a:pPr>
            <a:r>
              <a:rPr lang="en-US" spc="-10" dirty="0">
                <a:latin typeface="+mn-lt"/>
              </a:rPr>
              <a:t>… and recommended steps have been outlined for States to accelerate human capital service delivery</a:t>
            </a:r>
          </a:p>
        </p:txBody>
      </p:sp>
      <p:sp>
        <p:nvSpPr>
          <p:cNvPr id="46"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a:solidFill>
                  <a:schemeClr val="accent6"/>
                </a:solidFill>
                <a:latin typeface="+mn-lt"/>
                <a:cs typeface="+mn-cs"/>
              </a:rPr>
              <a:t>SOURCE: Core Working Group</a:t>
            </a:r>
            <a:endParaRPr lang="en-US" sz="800" dirty="0">
              <a:solidFill>
                <a:schemeClr val="accent6"/>
              </a:solidFill>
              <a:latin typeface="+mn-lt"/>
              <a:cs typeface="+mn-cs"/>
            </a:endParaRPr>
          </a:p>
        </p:txBody>
      </p:sp>
      <p:sp>
        <p:nvSpPr>
          <p:cNvPr id="23561" name="TextBox 75"/>
          <p:cNvSpPr txBox="1">
            <a:spLocks/>
          </p:cNvSpPr>
          <p:nvPr/>
        </p:nvSpPr>
        <p:spPr bwMode="gray">
          <a:xfrm>
            <a:off x="5426075" y="5014913"/>
            <a:ext cx="1511300" cy="692150"/>
          </a:xfrm>
          <a:prstGeom prst="rect">
            <a:avLst/>
          </a:prstGeom>
          <a:noFill/>
          <a:ln w="9525">
            <a:noFill/>
            <a:miter lim="800000"/>
            <a:headEnd/>
            <a:tailEnd/>
          </a:ln>
        </p:spPr>
        <p:txBody>
          <a:bodyPr lIns="0" tIns="0" rIns="0" bIns="0"/>
          <a:lstStyle/>
          <a:p>
            <a:pPr marL="0" lvl="1" defTabSz="895350">
              <a:buClr>
                <a:schemeClr val="tx2"/>
              </a:buClr>
              <a:buSzPct val="125000"/>
              <a:buFont typeface="Arial" pitchFamily="34" charset="0"/>
              <a:buNone/>
            </a:pPr>
            <a:r>
              <a:rPr lang="en-US"/>
              <a:t>Set-up delivery and operating model design</a:t>
            </a:r>
          </a:p>
        </p:txBody>
      </p:sp>
      <p:sp>
        <p:nvSpPr>
          <p:cNvPr id="23562" name="TextBox 86"/>
          <p:cNvSpPr txBox="1">
            <a:spLocks/>
          </p:cNvSpPr>
          <p:nvPr/>
        </p:nvSpPr>
        <p:spPr bwMode="gray">
          <a:xfrm>
            <a:off x="377825" y="5014913"/>
            <a:ext cx="1511300" cy="246062"/>
          </a:xfrm>
          <a:prstGeom prst="rect">
            <a:avLst/>
          </a:prstGeom>
          <a:noFill/>
          <a:ln w="9525">
            <a:noFill/>
            <a:miter lim="800000"/>
            <a:headEnd/>
            <a:tailEnd/>
          </a:ln>
        </p:spPr>
        <p:txBody>
          <a:bodyPr lIns="0" tIns="0" rIns="0" bIns="0"/>
          <a:lstStyle/>
          <a:p>
            <a:pPr marL="0" lvl="1" defTabSz="895350">
              <a:spcBef>
                <a:spcPct val="50000"/>
              </a:spcBef>
              <a:buClr>
                <a:schemeClr val="tx2"/>
              </a:buClr>
              <a:buSzPct val="125000"/>
              <a:buFont typeface="Arial" pitchFamily="34" charset="0"/>
              <a:buNone/>
            </a:pPr>
            <a:r>
              <a:rPr lang="en-US"/>
              <a:t>Commit to HCD</a:t>
            </a:r>
          </a:p>
        </p:txBody>
      </p:sp>
      <p:sp>
        <p:nvSpPr>
          <p:cNvPr id="23563" name="TextBox 87"/>
          <p:cNvSpPr txBox="1">
            <a:spLocks/>
          </p:cNvSpPr>
          <p:nvPr/>
        </p:nvSpPr>
        <p:spPr bwMode="gray">
          <a:xfrm>
            <a:off x="7107238" y="5014913"/>
            <a:ext cx="1512887" cy="738187"/>
          </a:xfrm>
          <a:prstGeom prst="rect">
            <a:avLst/>
          </a:prstGeom>
          <a:noFill/>
          <a:ln w="9525">
            <a:noFill/>
            <a:miter lim="800000"/>
            <a:headEnd/>
            <a:tailEnd/>
          </a:ln>
        </p:spPr>
        <p:txBody>
          <a:bodyPr lIns="0" tIns="0" rIns="0" bIns="0"/>
          <a:lstStyle/>
          <a:p>
            <a:pPr marL="0" lvl="1" defTabSz="895350">
              <a:spcBef>
                <a:spcPct val="50000"/>
              </a:spcBef>
              <a:buClr>
                <a:schemeClr val="tx2"/>
              </a:buClr>
              <a:buSzPct val="125000"/>
              <a:buFont typeface="Arial" pitchFamily="34" charset="0"/>
              <a:buNone/>
            </a:pPr>
            <a:r>
              <a:rPr lang="en-US"/>
              <a:t>Gradual scale-up of interventions</a:t>
            </a:r>
          </a:p>
        </p:txBody>
      </p:sp>
      <p:sp>
        <p:nvSpPr>
          <p:cNvPr id="23564" name="TextBox 88"/>
          <p:cNvSpPr txBox="1">
            <a:spLocks/>
          </p:cNvSpPr>
          <p:nvPr/>
        </p:nvSpPr>
        <p:spPr bwMode="gray">
          <a:xfrm>
            <a:off x="3743325" y="5014913"/>
            <a:ext cx="1511300" cy="738187"/>
          </a:xfrm>
          <a:prstGeom prst="rect">
            <a:avLst/>
          </a:prstGeom>
          <a:noFill/>
          <a:ln w="9525">
            <a:noFill/>
            <a:miter lim="800000"/>
            <a:headEnd/>
            <a:tailEnd/>
          </a:ln>
        </p:spPr>
        <p:txBody>
          <a:bodyPr lIns="0" tIns="0" rIns="0" bIns="0"/>
          <a:lstStyle/>
          <a:p>
            <a:pPr marL="0" lvl="1" defTabSz="895350">
              <a:spcBef>
                <a:spcPct val="50000"/>
              </a:spcBef>
              <a:buClr>
                <a:schemeClr val="tx2"/>
              </a:buClr>
              <a:buSzPct val="125000"/>
              <a:buFont typeface="Arial" pitchFamily="34" charset="0"/>
              <a:buNone/>
            </a:pPr>
            <a:r>
              <a:rPr lang="en-US"/>
              <a:t>Define HCD goals, targets and priority interventions</a:t>
            </a:r>
          </a:p>
        </p:txBody>
      </p:sp>
      <p:sp>
        <p:nvSpPr>
          <p:cNvPr id="90" name="Marvintrackercircle">
            <a:extLst>
              <a:ext uri="{FF2B5EF4-FFF2-40B4-BE49-F238E27FC236}"/>
            </a:extLst>
          </p:cNvPr>
          <p:cNvSpPr/>
          <p:nvPr>
            <p:custDataLst>
              <p:tags r:id="rId5"/>
            </p:custDataLst>
          </p:nvPr>
        </p:nvSpPr>
        <p:spPr bwMode="gray">
          <a:xfrm>
            <a:off x="923925" y="4422775"/>
            <a:ext cx="417513" cy="4079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US" sz="4000" b="1" dirty="0">
                <a:solidFill>
                  <a:schemeClr val="accent6"/>
                </a:solidFill>
              </a:rPr>
              <a:t>0</a:t>
            </a:r>
          </a:p>
        </p:txBody>
      </p:sp>
      <p:sp>
        <p:nvSpPr>
          <p:cNvPr id="91" name="Marvintrackercircle">
            <a:extLst>
              <a:ext uri="{FF2B5EF4-FFF2-40B4-BE49-F238E27FC236}"/>
            </a:extLst>
          </p:cNvPr>
          <p:cNvSpPr/>
          <p:nvPr>
            <p:custDataLst>
              <p:tags r:id="rId6"/>
            </p:custDataLst>
          </p:nvPr>
        </p:nvSpPr>
        <p:spPr bwMode="gray">
          <a:xfrm>
            <a:off x="2606675" y="4422775"/>
            <a:ext cx="417513" cy="4079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US" sz="4000" b="1" dirty="0">
                <a:solidFill>
                  <a:schemeClr val="accent2"/>
                </a:solidFill>
              </a:rPr>
              <a:t>1</a:t>
            </a:r>
          </a:p>
        </p:txBody>
      </p:sp>
      <p:sp>
        <p:nvSpPr>
          <p:cNvPr id="92" name="Marvintrackercircle">
            <a:extLst>
              <a:ext uri="{FF2B5EF4-FFF2-40B4-BE49-F238E27FC236}"/>
            </a:extLst>
          </p:cNvPr>
          <p:cNvSpPr/>
          <p:nvPr>
            <p:custDataLst>
              <p:tags r:id="rId7"/>
            </p:custDataLst>
          </p:nvPr>
        </p:nvSpPr>
        <p:spPr bwMode="gray">
          <a:xfrm>
            <a:off x="4289425" y="4422775"/>
            <a:ext cx="417513" cy="4079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US" sz="4000" b="1" dirty="0">
                <a:solidFill>
                  <a:schemeClr val="accent2"/>
                </a:solidFill>
              </a:rPr>
              <a:t>2</a:t>
            </a:r>
          </a:p>
        </p:txBody>
      </p:sp>
      <p:sp>
        <p:nvSpPr>
          <p:cNvPr id="93" name="Marvintrackercircle">
            <a:extLst>
              <a:ext uri="{FF2B5EF4-FFF2-40B4-BE49-F238E27FC236}"/>
            </a:extLst>
          </p:cNvPr>
          <p:cNvSpPr/>
          <p:nvPr>
            <p:custDataLst>
              <p:tags r:id="rId8"/>
            </p:custDataLst>
          </p:nvPr>
        </p:nvSpPr>
        <p:spPr bwMode="gray">
          <a:xfrm>
            <a:off x="5972175" y="4422775"/>
            <a:ext cx="417513" cy="4079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US" sz="4000" b="1" dirty="0">
                <a:solidFill>
                  <a:schemeClr val="accent2"/>
                </a:solidFill>
              </a:rPr>
              <a:t>3</a:t>
            </a:r>
          </a:p>
        </p:txBody>
      </p:sp>
      <p:sp>
        <p:nvSpPr>
          <p:cNvPr id="94" name="Marvintrackercircle">
            <a:extLst>
              <a:ext uri="{FF2B5EF4-FFF2-40B4-BE49-F238E27FC236}"/>
            </a:extLst>
          </p:cNvPr>
          <p:cNvSpPr/>
          <p:nvPr>
            <p:custDataLst>
              <p:tags r:id="rId9"/>
            </p:custDataLst>
          </p:nvPr>
        </p:nvSpPr>
        <p:spPr bwMode="gray">
          <a:xfrm>
            <a:off x="7654925" y="4422775"/>
            <a:ext cx="417513" cy="4079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US" sz="4000" b="1" dirty="0">
                <a:solidFill>
                  <a:schemeClr val="accent4"/>
                </a:solidFill>
              </a:rPr>
              <a:t>4</a:t>
            </a:r>
          </a:p>
        </p:txBody>
      </p:sp>
      <p:sp>
        <p:nvSpPr>
          <p:cNvPr id="23570" name="TextBox 97"/>
          <p:cNvSpPr txBox="1">
            <a:spLocks/>
          </p:cNvSpPr>
          <p:nvPr/>
        </p:nvSpPr>
        <p:spPr bwMode="gray">
          <a:xfrm>
            <a:off x="2060575" y="5014913"/>
            <a:ext cx="1511300" cy="492125"/>
          </a:xfrm>
          <a:prstGeom prst="rect">
            <a:avLst/>
          </a:prstGeom>
          <a:noFill/>
          <a:ln w="9525">
            <a:noFill/>
            <a:miter lim="800000"/>
            <a:headEnd/>
            <a:tailEnd/>
          </a:ln>
        </p:spPr>
        <p:txBody>
          <a:bodyPr lIns="0" tIns="0" rIns="0" bIns="0"/>
          <a:lstStyle/>
          <a:p>
            <a:pPr marL="0" lvl="1" defTabSz="895350">
              <a:buClr>
                <a:schemeClr val="tx2"/>
              </a:buClr>
              <a:buSzPct val="125000"/>
              <a:buFont typeface="Arial" pitchFamily="34" charset="0"/>
              <a:buNone/>
            </a:pPr>
            <a:r>
              <a:rPr lang="en-US">
                <a:solidFill>
                  <a:srgbClr val="000000"/>
                </a:solidFill>
              </a:rPr>
              <a:t>Understand State HCD baseline</a:t>
            </a:r>
          </a:p>
        </p:txBody>
      </p:sp>
      <p:grpSp>
        <p:nvGrpSpPr>
          <p:cNvPr id="23571" name="Group 13"/>
          <p:cNvGrpSpPr>
            <a:grpSpLocks/>
          </p:cNvGrpSpPr>
          <p:nvPr>
            <p:custDataLst>
              <p:tags r:id="rId10"/>
            </p:custDataLst>
          </p:nvPr>
        </p:nvGrpSpPr>
        <p:grpSpPr bwMode="auto">
          <a:xfrm>
            <a:off x="123825" y="1249363"/>
            <a:ext cx="6946900" cy="828675"/>
            <a:chOff x="14731" y="1248656"/>
            <a:chExt cx="6981771" cy="828702"/>
          </a:xfrm>
        </p:grpSpPr>
        <p:sp>
          <p:nvSpPr>
            <p:cNvPr id="100" name="Freeform 30">
              <a:extLst>
                <a:ext uri="{FF2B5EF4-FFF2-40B4-BE49-F238E27FC236}"/>
              </a:extLst>
            </p:cNvPr>
            <p:cNvSpPr/>
            <p:nvPr>
              <p:custDataLst>
                <p:tags r:id="rId20"/>
              </p:custDataLst>
            </p:nvPr>
          </p:nvSpPr>
          <p:spPr bwMode="gray">
            <a:xfrm>
              <a:off x="14731" y="1248656"/>
              <a:ext cx="6981771" cy="82870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536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5360 w 1828800"/>
                <a:gd name="connsiteY1" fmla="*/ 0 h 914400"/>
                <a:gd name="connsiteX2" fmla="*/ 1828800 w 1828800"/>
                <a:gd name="connsiteY2" fmla="*/ 457200 h 914400"/>
                <a:gd name="connsiteX3" fmla="*/ 181536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5360 w 1828800"/>
                <a:gd name="connsiteY1" fmla="*/ 0 h 914400"/>
                <a:gd name="connsiteX2" fmla="*/ 1828800 w 1828800"/>
                <a:gd name="connsiteY2" fmla="*/ 457200 h 914400"/>
                <a:gd name="connsiteX3" fmla="*/ 1815360 w 1828800"/>
                <a:gd name="connsiteY3" fmla="*/ 914400 h 914400"/>
                <a:gd name="connsiteX4" fmla="*/ 0 w 1828800"/>
                <a:gd name="connsiteY4" fmla="*/ 914400 h 914400"/>
                <a:gd name="connsiteX5" fmla="*/ 12049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5360 w 1828800"/>
                <a:gd name="connsiteY3" fmla="*/ 914400 h 914400"/>
                <a:gd name="connsiteX4" fmla="*/ 0 w 1828800"/>
                <a:gd name="connsiteY4" fmla="*/ 914400 h 914400"/>
                <a:gd name="connsiteX5" fmla="*/ 12049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12049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0987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0987 w 1828800"/>
                <a:gd name="connsiteY1" fmla="*/ 0 h 914400"/>
                <a:gd name="connsiteX2" fmla="*/ 1828800 w 1828800"/>
                <a:gd name="connsiteY2" fmla="*/ 457200 h 914400"/>
                <a:gd name="connsiteX3" fmla="*/ 182098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0987 w 1828800"/>
                <a:gd name="connsiteY1" fmla="*/ 0 h 914400"/>
                <a:gd name="connsiteX2" fmla="*/ 1828800 w 1828800"/>
                <a:gd name="connsiteY2" fmla="*/ 457200 h 914400"/>
                <a:gd name="connsiteX3" fmla="*/ 182098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2098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9066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9066 w 1828800"/>
                <a:gd name="connsiteY1" fmla="*/ 0 h 914400"/>
                <a:gd name="connsiteX2" fmla="*/ 1828800 w 1828800"/>
                <a:gd name="connsiteY2" fmla="*/ 457200 h 914400"/>
                <a:gd name="connsiteX3" fmla="*/ 179906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9066 w 1828800"/>
                <a:gd name="connsiteY1" fmla="*/ 0 h 914400"/>
                <a:gd name="connsiteX2" fmla="*/ 1828800 w 1828800"/>
                <a:gd name="connsiteY2" fmla="*/ 457200 h 914400"/>
                <a:gd name="connsiteX3" fmla="*/ 1799066 w 1828800"/>
                <a:gd name="connsiteY3" fmla="*/ 914400 h 914400"/>
                <a:gd name="connsiteX4" fmla="*/ 0 w 1828800"/>
                <a:gd name="connsiteY4" fmla="*/ 914400 h 914400"/>
                <a:gd name="connsiteX5" fmla="*/ 29735 w 1828800"/>
                <a:gd name="connsiteY5" fmla="*/ 457202 h 914400"/>
                <a:gd name="connsiteX0" fmla="*/ 0 w 1828800"/>
                <a:gd name="connsiteY0" fmla="*/ 0 h 914400"/>
                <a:gd name="connsiteX1" fmla="*/ 1799066 w 1828800"/>
                <a:gd name="connsiteY1" fmla="*/ 0 h 914400"/>
                <a:gd name="connsiteX2" fmla="*/ 1828800 w 1828800"/>
                <a:gd name="connsiteY2" fmla="*/ 457200 h 914400"/>
                <a:gd name="connsiteX3" fmla="*/ 1799066 w 1828800"/>
                <a:gd name="connsiteY3" fmla="*/ 914400 h 914400"/>
                <a:gd name="connsiteX4" fmla="*/ 0 w 1828800"/>
                <a:gd name="connsiteY4" fmla="*/ 914400 h 914400"/>
                <a:gd name="connsiteX5" fmla="*/ 29735 w 1828800"/>
                <a:gd name="connsiteY5" fmla="*/ 457202 h 914400"/>
                <a:gd name="connsiteX0" fmla="*/ 0 w 1828800"/>
                <a:gd name="connsiteY0" fmla="*/ 0 h 914400"/>
                <a:gd name="connsiteX1" fmla="*/ 1799066 w 1828800"/>
                <a:gd name="connsiteY1" fmla="*/ 0 h 914400"/>
                <a:gd name="connsiteX2" fmla="*/ 1828800 w 1828800"/>
                <a:gd name="connsiteY2" fmla="*/ 457200 h 914400"/>
                <a:gd name="connsiteX3" fmla="*/ 1799066 w 1828800"/>
                <a:gd name="connsiteY3" fmla="*/ 914400 h 914400"/>
                <a:gd name="connsiteX4" fmla="*/ 0 w 1828800"/>
                <a:gd name="connsiteY4" fmla="*/ 914400 h 914400"/>
                <a:gd name="connsiteX5" fmla="*/ 29735 w 1828800"/>
                <a:gd name="connsiteY5" fmla="*/ 457202 h 914400"/>
                <a:gd name="connsiteX0" fmla="*/ 0 w 1828800"/>
                <a:gd name="connsiteY0" fmla="*/ 0 h 914400"/>
                <a:gd name="connsiteX1" fmla="*/ 1799066 w 1828800"/>
                <a:gd name="connsiteY1" fmla="*/ 0 h 914400"/>
                <a:gd name="connsiteX2" fmla="*/ 1828800 w 1828800"/>
                <a:gd name="connsiteY2" fmla="*/ 457200 h 914400"/>
                <a:gd name="connsiteX3" fmla="*/ 179906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9066 w 1828800"/>
                <a:gd name="connsiteY1" fmla="*/ 0 h 914400"/>
                <a:gd name="connsiteX2" fmla="*/ 1828800 w 1828800"/>
                <a:gd name="connsiteY2" fmla="*/ 457200 h 914400"/>
                <a:gd name="connsiteX3" fmla="*/ 179906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9066 w 1828800"/>
                <a:gd name="connsiteY1" fmla="*/ 0 h 914400"/>
                <a:gd name="connsiteX2" fmla="*/ 1828800 w 1828800"/>
                <a:gd name="connsiteY2" fmla="*/ 457200 h 914400"/>
                <a:gd name="connsiteX3" fmla="*/ 179906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99066 w 1828800"/>
                <a:gd name="connsiteY1" fmla="*/ 0 h 914400"/>
                <a:gd name="connsiteX2" fmla="*/ 1828800 w 1828800"/>
                <a:gd name="connsiteY2" fmla="*/ 457200 h 914400"/>
                <a:gd name="connsiteX3" fmla="*/ 1799066 w 1828800"/>
                <a:gd name="connsiteY3" fmla="*/ 914400 h 914400"/>
                <a:gd name="connsiteX4" fmla="*/ 0 w 1828800"/>
                <a:gd name="connsiteY4" fmla="*/ 914400 h 914400"/>
                <a:gd name="connsiteX5" fmla="*/ 26604 w 1828800"/>
                <a:gd name="connsiteY5" fmla="*/ 457202 h 914400"/>
                <a:gd name="connsiteX0" fmla="*/ 0 w 1828800"/>
                <a:gd name="connsiteY0" fmla="*/ 0 h 914400"/>
                <a:gd name="connsiteX1" fmla="*/ 1802196 w 1828800"/>
                <a:gd name="connsiteY1" fmla="*/ 0 h 914400"/>
                <a:gd name="connsiteX2" fmla="*/ 1828800 w 1828800"/>
                <a:gd name="connsiteY2" fmla="*/ 457200 h 914400"/>
                <a:gd name="connsiteX3" fmla="*/ 1799066 w 1828800"/>
                <a:gd name="connsiteY3" fmla="*/ 914400 h 914400"/>
                <a:gd name="connsiteX4" fmla="*/ 0 w 1828800"/>
                <a:gd name="connsiteY4" fmla="*/ 914400 h 914400"/>
                <a:gd name="connsiteX5" fmla="*/ 26604 w 1828800"/>
                <a:gd name="connsiteY5" fmla="*/ 457202 h 914400"/>
                <a:gd name="connsiteX0" fmla="*/ 0 w 1828800"/>
                <a:gd name="connsiteY0" fmla="*/ 0 h 914400"/>
                <a:gd name="connsiteX1" fmla="*/ 1802196 w 1828800"/>
                <a:gd name="connsiteY1" fmla="*/ 0 h 914400"/>
                <a:gd name="connsiteX2" fmla="*/ 1828800 w 1828800"/>
                <a:gd name="connsiteY2" fmla="*/ 457200 h 914400"/>
                <a:gd name="connsiteX3" fmla="*/ 1802196 w 1828800"/>
                <a:gd name="connsiteY3" fmla="*/ 914400 h 914400"/>
                <a:gd name="connsiteX4" fmla="*/ 0 w 1828800"/>
                <a:gd name="connsiteY4" fmla="*/ 914400 h 914400"/>
                <a:gd name="connsiteX5" fmla="*/ 26604 w 1828800"/>
                <a:gd name="connsiteY5" fmla="*/ 457202 h 914400"/>
                <a:gd name="connsiteX0" fmla="*/ 0 w 1828800"/>
                <a:gd name="connsiteY0" fmla="*/ 0 h 914400"/>
                <a:gd name="connsiteX1" fmla="*/ 1802196 w 1828800"/>
                <a:gd name="connsiteY1" fmla="*/ 0 h 914400"/>
                <a:gd name="connsiteX2" fmla="*/ 1828800 w 1828800"/>
                <a:gd name="connsiteY2" fmla="*/ 457200 h 914400"/>
                <a:gd name="connsiteX3" fmla="*/ 180219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02196 w 1828800"/>
                <a:gd name="connsiteY1" fmla="*/ 0 h 914400"/>
                <a:gd name="connsiteX2" fmla="*/ 1828800 w 1828800"/>
                <a:gd name="connsiteY2" fmla="*/ 457200 h 914400"/>
                <a:gd name="connsiteX3" fmla="*/ 180219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02196 w 1828800"/>
                <a:gd name="connsiteY1" fmla="*/ 0 h 914400"/>
                <a:gd name="connsiteX2" fmla="*/ 1828800 w 1828800"/>
                <a:gd name="connsiteY2" fmla="*/ 457200 h 914400"/>
                <a:gd name="connsiteX3" fmla="*/ 180219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02196 w 1828800"/>
                <a:gd name="connsiteY1" fmla="*/ 0 h 914400"/>
                <a:gd name="connsiteX2" fmla="*/ 1828800 w 1828800"/>
                <a:gd name="connsiteY2" fmla="*/ 457200 h 914400"/>
                <a:gd name="connsiteX3" fmla="*/ 180219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9728 w 1828800"/>
                <a:gd name="connsiteY1" fmla="*/ 0 h 914400"/>
                <a:gd name="connsiteX2" fmla="*/ 1828800 w 1828800"/>
                <a:gd name="connsiteY2" fmla="*/ 457200 h 914400"/>
                <a:gd name="connsiteX3" fmla="*/ 180219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9728 w 1828800"/>
                <a:gd name="connsiteY1" fmla="*/ 0 h 914400"/>
                <a:gd name="connsiteX2" fmla="*/ 1828800 w 1828800"/>
                <a:gd name="connsiteY2" fmla="*/ 457200 h 914400"/>
                <a:gd name="connsiteX3" fmla="*/ 1789728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89728" y="0"/>
                  </a:lnTo>
                  <a:lnTo>
                    <a:pt x="1828800" y="457200"/>
                  </a:lnTo>
                  <a:lnTo>
                    <a:pt x="1789728" y="914400"/>
                  </a:lnTo>
                  <a:lnTo>
                    <a:pt x="0" y="914400"/>
                  </a:lnTo>
                  <a:lnTo>
                    <a:pt x="0" y="457202"/>
                  </a:lnTo>
                  <a:close/>
                </a:path>
              </a:pathLst>
            </a:custGeom>
            <a:solidFill>
              <a:schemeClr val="accent2"/>
            </a:solidFill>
            <a:ln w="9525" cap="flat" cmpd="sng" algn="ctr">
              <a:solidFill>
                <a:schemeClr val="bg1"/>
              </a:solidFill>
              <a:prstDash val="solid"/>
              <a:round/>
              <a:headEnd type="none" w="med" len="med"/>
              <a:tailEnd type="none" w="med" len="med"/>
            </a:ln>
            <a:effectLst/>
            <a:extLst>
              <a:ext uri="{AF507438-7753-43E0-B8FC-AC1667EBCBE1}"/>
            </a:extLst>
          </p:spPr>
          <p:txBody>
            <a:bodyPr anchor="ctr"/>
            <a:lstStyle/>
            <a:p>
              <a:pPr>
                <a:defRPr/>
              </a:pPr>
              <a:endParaRPr lang="en-US" i="1" dirty="0">
                <a:solidFill>
                  <a:schemeClr val="bg1"/>
                </a:solidFill>
                <a:latin typeface="+mn-lt"/>
                <a:cs typeface="+mn-cs"/>
              </a:endParaRPr>
            </a:p>
          </p:txBody>
        </p:sp>
        <p:sp>
          <p:nvSpPr>
            <p:cNvPr id="23591" name="TextBox 100"/>
            <p:cNvSpPr txBox="1">
              <a:spLocks noChangeArrowheads="1"/>
            </p:cNvSpPr>
            <p:nvPr>
              <p:custDataLst>
                <p:tags r:id="rId21"/>
              </p:custDataLst>
            </p:nvPr>
          </p:nvSpPr>
          <p:spPr bwMode="gray">
            <a:xfrm>
              <a:off x="78231" y="1306206"/>
              <a:ext cx="6769105" cy="713602"/>
            </a:xfrm>
            <a:prstGeom prst="rect">
              <a:avLst/>
            </a:prstGeom>
            <a:solidFill>
              <a:schemeClr val="accent2"/>
            </a:solidFill>
            <a:ln w="9525">
              <a:noFill/>
              <a:miter lim="800000"/>
              <a:headEnd/>
              <a:tailEnd/>
            </a:ln>
          </p:spPr>
          <p:txBody>
            <a:bodyPr lIns="0" tIns="0" rIns="0" bIns="0" anchor="ctr"/>
            <a:lstStyle/>
            <a:p>
              <a:pPr defTabSz="895350">
                <a:buClr>
                  <a:schemeClr val="tx2"/>
                </a:buClr>
              </a:pPr>
              <a:r>
                <a:rPr lang="en-US" b="1">
                  <a:solidFill>
                    <a:schemeClr val="bg1"/>
                  </a:solidFill>
                </a:rPr>
                <a:t>Prepare for State led service delivery transformation</a:t>
              </a:r>
            </a:p>
          </p:txBody>
        </p:sp>
      </p:grpSp>
      <p:grpSp>
        <p:nvGrpSpPr>
          <p:cNvPr id="23572" name="Group 14"/>
          <p:cNvGrpSpPr>
            <a:grpSpLocks/>
          </p:cNvGrpSpPr>
          <p:nvPr>
            <p:custDataLst>
              <p:tags r:id="rId11"/>
            </p:custDataLst>
          </p:nvPr>
        </p:nvGrpSpPr>
        <p:grpSpPr bwMode="auto">
          <a:xfrm>
            <a:off x="6937375" y="1249363"/>
            <a:ext cx="1941513" cy="828675"/>
            <a:chOff x="6937308" y="1248656"/>
            <a:chExt cx="1941520" cy="828702"/>
          </a:xfrm>
        </p:grpSpPr>
        <p:sp>
          <p:nvSpPr>
            <p:cNvPr id="103" name="Freeform 30">
              <a:extLst>
                <a:ext uri="{FF2B5EF4-FFF2-40B4-BE49-F238E27FC236}"/>
              </a:extLst>
            </p:cNvPr>
            <p:cNvSpPr/>
            <p:nvPr>
              <p:custDataLst>
                <p:tags r:id="rId18"/>
              </p:custDataLst>
            </p:nvPr>
          </p:nvSpPr>
          <p:spPr bwMode="gray">
            <a:xfrm>
              <a:off x="6937308" y="1248656"/>
              <a:ext cx="1941520" cy="82870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536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5360 w 1828800"/>
                <a:gd name="connsiteY1" fmla="*/ 0 h 914400"/>
                <a:gd name="connsiteX2" fmla="*/ 1828800 w 1828800"/>
                <a:gd name="connsiteY2" fmla="*/ 457200 h 914400"/>
                <a:gd name="connsiteX3" fmla="*/ 181536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5360 w 1828800"/>
                <a:gd name="connsiteY1" fmla="*/ 0 h 914400"/>
                <a:gd name="connsiteX2" fmla="*/ 1828800 w 1828800"/>
                <a:gd name="connsiteY2" fmla="*/ 457200 h 914400"/>
                <a:gd name="connsiteX3" fmla="*/ 1815360 w 1828800"/>
                <a:gd name="connsiteY3" fmla="*/ 914400 h 914400"/>
                <a:gd name="connsiteX4" fmla="*/ 0 w 1828800"/>
                <a:gd name="connsiteY4" fmla="*/ 914400 h 914400"/>
                <a:gd name="connsiteX5" fmla="*/ 12049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5360 w 1828800"/>
                <a:gd name="connsiteY3" fmla="*/ 914400 h 914400"/>
                <a:gd name="connsiteX4" fmla="*/ 0 w 1828800"/>
                <a:gd name="connsiteY4" fmla="*/ 914400 h 914400"/>
                <a:gd name="connsiteX5" fmla="*/ 12049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12049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16751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0987 w 1828800"/>
                <a:gd name="connsiteY1" fmla="*/ 0 h 914400"/>
                <a:gd name="connsiteX2" fmla="*/ 1828800 w 1828800"/>
                <a:gd name="connsiteY2" fmla="*/ 457200 h 914400"/>
                <a:gd name="connsiteX3" fmla="*/ 181675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0987 w 1828800"/>
                <a:gd name="connsiteY1" fmla="*/ 0 h 914400"/>
                <a:gd name="connsiteX2" fmla="*/ 1828800 w 1828800"/>
                <a:gd name="connsiteY2" fmla="*/ 457200 h 914400"/>
                <a:gd name="connsiteX3" fmla="*/ 182098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0987 w 1828800"/>
                <a:gd name="connsiteY1" fmla="*/ 0 h 914400"/>
                <a:gd name="connsiteX2" fmla="*/ 1828800 w 1828800"/>
                <a:gd name="connsiteY2" fmla="*/ 457200 h 914400"/>
                <a:gd name="connsiteX3" fmla="*/ 182098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2098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11025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17775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8177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44086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44086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44086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44086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44086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44086 w 1828800"/>
                <a:gd name="connsiteY5" fmla="*/ 457202 h 914400"/>
                <a:gd name="connsiteX0" fmla="*/ 0 w 1828800"/>
                <a:gd name="connsiteY0" fmla="*/ 0 h 914400"/>
                <a:gd name="connsiteX1" fmla="*/ 178471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55936 w 1828800"/>
                <a:gd name="connsiteY5" fmla="*/ 457202 h 914400"/>
                <a:gd name="connsiteX0" fmla="*/ 0 w 1828800"/>
                <a:gd name="connsiteY0" fmla="*/ 0 h 914400"/>
                <a:gd name="connsiteX1" fmla="*/ 1772864 w 1828800"/>
                <a:gd name="connsiteY1" fmla="*/ 0 h 914400"/>
                <a:gd name="connsiteX2" fmla="*/ 1828800 w 1828800"/>
                <a:gd name="connsiteY2" fmla="*/ 457200 h 914400"/>
                <a:gd name="connsiteX3" fmla="*/ 1784714 w 1828800"/>
                <a:gd name="connsiteY3" fmla="*/ 914400 h 914400"/>
                <a:gd name="connsiteX4" fmla="*/ 0 w 1828800"/>
                <a:gd name="connsiteY4" fmla="*/ 914400 h 914400"/>
                <a:gd name="connsiteX5" fmla="*/ 55936 w 1828800"/>
                <a:gd name="connsiteY5" fmla="*/ 457202 h 914400"/>
                <a:gd name="connsiteX0" fmla="*/ 0 w 1828800"/>
                <a:gd name="connsiteY0" fmla="*/ 0 h 914400"/>
                <a:gd name="connsiteX1" fmla="*/ 1772864 w 1828800"/>
                <a:gd name="connsiteY1" fmla="*/ 0 h 914400"/>
                <a:gd name="connsiteX2" fmla="*/ 1828800 w 1828800"/>
                <a:gd name="connsiteY2" fmla="*/ 457200 h 914400"/>
                <a:gd name="connsiteX3" fmla="*/ 1772864 w 1828800"/>
                <a:gd name="connsiteY3" fmla="*/ 914400 h 914400"/>
                <a:gd name="connsiteX4" fmla="*/ 0 w 1828800"/>
                <a:gd name="connsiteY4" fmla="*/ 914400 h 914400"/>
                <a:gd name="connsiteX5" fmla="*/ 55936 w 1828800"/>
                <a:gd name="connsiteY5" fmla="*/ 457202 h 914400"/>
                <a:gd name="connsiteX0" fmla="*/ 0 w 1828800"/>
                <a:gd name="connsiteY0" fmla="*/ 0 h 914400"/>
                <a:gd name="connsiteX1" fmla="*/ 1772864 w 1828800"/>
                <a:gd name="connsiteY1" fmla="*/ 0 h 914400"/>
                <a:gd name="connsiteX2" fmla="*/ 1828800 w 1828800"/>
                <a:gd name="connsiteY2" fmla="*/ 457200 h 914400"/>
                <a:gd name="connsiteX3" fmla="*/ 1772864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2864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55323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55323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55323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55323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55323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55323 w 1828800"/>
                <a:gd name="connsiteY5" fmla="*/ 457202 h 914400"/>
                <a:gd name="connsiteX0" fmla="*/ 0 w 1828800"/>
                <a:gd name="connsiteY0" fmla="*/ 0 h 914400"/>
                <a:gd name="connsiteX1" fmla="*/ 1773477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140506 w 1828800"/>
                <a:gd name="connsiteY5" fmla="*/ 457202 h 914400"/>
                <a:gd name="connsiteX0" fmla="*/ 0 w 1828800"/>
                <a:gd name="connsiteY0" fmla="*/ 0 h 914400"/>
                <a:gd name="connsiteX1" fmla="*/ 1688295 w 1828800"/>
                <a:gd name="connsiteY1" fmla="*/ 0 h 914400"/>
                <a:gd name="connsiteX2" fmla="*/ 1828800 w 1828800"/>
                <a:gd name="connsiteY2" fmla="*/ 457200 h 914400"/>
                <a:gd name="connsiteX3" fmla="*/ 1773477 w 1828800"/>
                <a:gd name="connsiteY3" fmla="*/ 914400 h 914400"/>
                <a:gd name="connsiteX4" fmla="*/ 0 w 1828800"/>
                <a:gd name="connsiteY4" fmla="*/ 914400 h 914400"/>
                <a:gd name="connsiteX5" fmla="*/ 140506 w 1828800"/>
                <a:gd name="connsiteY5" fmla="*/ 457202 h 914400"/>
                <a:gd name="connsiteX0" fmla="*/ 0 w 1828800"/>
                <a:gd name="connsiteY0" fmla="*/ 0 h 914400"/>
                <a:gd name="connsiteX1" fmla="*/ 1688295 w 1828800"/>
                <a:gd name="connsiteY1" fmla="*/ 0 h 914400"/>
                <a:gd name="connsiteX2" fmla="*/ 1828800 w 1828800"/>
                <a:gd name="connsiteY2" fmla="*/ 457200 h 914400"/>
                <a:gd name="connsiteX3" fmla="*/ 1688295 w 1828800"/>
                <a:gd name="connsiteY3" fmla="*/ 914400 h 914400"/>
                <a:gd name="connsiteX4" fmla="*/ 0 w 1828800"/>
                <a:gd name="connsiteY4" fmla="*/ 914400 h 914400"/>
                <a:gd name="connsiteX5" fmla="*/ 140506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8295" y="0"/>
                  </a:lnTo>
                  <a:lnTo>
                    <a:pt x="1828800" y="457200"/>
                  </a:lnTo>
                  <a:lnTo>
                    <a:pt x="1688295" y="914400"/>
                  </a:lnTo>
                  <a:lnTo>
                    <a:pt x="0" y="914400"/>
                  </a:lnTo>
                  <a:lnTo>
                    <a:pt x="140506" y="457202"/>
                  </a:lnTo>
                  <a:close/>
                </a:path>
              </a:pathLst>
            </a:custGeom>
            <a:solidFill>
              <a:schemeClr val="accent4"/>
            </a:solidFill>
            <a:ln w="9525" cap="flat" cmpd="sng" algn="ctr">
              <a:solidFill>
                <a:schemeClr val="bg1"/>
              </a:solidFill>
              <a:prstDash val="solid"/>
              <a:round/>
              <a:headEnd type="none" w="med" len="med"/>
              <a:tailEnd type="none" w="med" len="med"/>
            </a:ln>
            <a:effectLst/>
            <a:extLst>
              <a:ext uri="{AF507438-7753-43E0-B8FC-AC1667EBCBE1}"/>
            </a:extLst>
          </p:spPr>
          <p:txBody>
            <a:bodyPr anchor="ctr"/>
            <a:lstStyle/>
            <a:p>
              <a:pPr>
                <a:defRPr/>
              </a:pPr>
              <a:endParaRPr lang="en-US" i="1" dirty="0">
                <a:solidFill>
                  <a:schemeClr val="bg1"/>
                </a:solidFill>
                <a:latin typeface="+mn-lt"/>
                <a:cs typeface="+mn-cs"/>
              </a:endParaRPr>
            </a:p>
          </p:txBody>
        </p:sp>
        <p:sp>
          <p:nvSpPr>
            <p:cNvPr id="23589" name="TextBox 103"/>
            <p:cNvSpPr txBox="1">
              <a:spLocks noChangeArrowheads="1"/>
            </p:cNvSpPr>
            <p:nvPr>
              <p:custDataLst>
                <p:tags r:id="rId19"/>
              </p:custDataLst>
            </p:nvPr>
          </p:nvSpPr>
          <p:spPr bwMode="gray">
            <a:xfrm>
              <a:off x="7137274" y="1306206"/>
              <a:ext cx="1592387" cy="713602"/>
            </a:xfrm>
            <a:prstGeom prst="rect">
              <a:avLst/>
            </a:prstGeom>
            <a:noFill/>
            <a:ln w="9525">
              <a:noFill/>
              <a:miter lim="800000"/>
              <a:headEnd/>
              <a:tailEnd/>
            </a:ln>
          </p:spPr>
          <p:txBody>
            <a:bodyPr lIns="0" tIns="0" rIns="0" bIns="0" anchor="ctr"/>
            <a:lstStyle/>
            <a:p>
              <a:pPr defTabSz="895350">
                <a:buClr>
                  <a:schemeClr val="tx2"/>
                </a:buClr>
              </a:pPr>
              <a:r>
                <a:rPr lang="en-US" b="1">
                  <a:solidFill>
                    <a:schemeClr val="bg1"/>
                  </a:solidFill>
                </a:rPr>
                <a:t>Drive transformative HCD delivery</a:t>
              </a:r>
            </a:p>
          </p:txBody>
        </p:sp>
      </p:grpSp>
      <p:sp>
        <p:nvSpPr>
          <p:cNvPr id="117" name="Freeform: Shape 116">
            <a:extLst>
              <a:ext uri="{FF2B5EF4-FFF2-40B4-BE49-F238E27FC236}"/>
            </a:extLst>
          </p:cNvPr>
          <p:cNvSpPr>
            <a:spLocks/>
          </p:cNvSpPr>
          <p:nvPr/>
        </p:nvSpPr>
        <p:spPr bwMode="gray">
          <a:xfrm flipV="1">
            <a:off x="142875" y="3232150"/>
            <a:ext cx="1981200" cy="989013"/>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120" name="Freeform: Shape 119">
            <a:extLst>
              <a:ext uri="{FF2B5EF4-FFF2-40B4-BE49-F238E27FC236}"/>
            </a:extLst>
          </p:cNvPr>
          <p:cNvSpPr>
            <a:spLocks noChangeAspect="1"/>
          </p:cNvSpPr>
          <p:nvPr/>
        </p:nvSpPr>
        <p:spPr bwMode="gray">
          <a:xfrm>
            <a:off x="1820863" y="2241550"/>
            <a:ext cx="1979612" cy="990600"/>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grpSp>
        <p:nvGrpSpPr>
          <p:cNvPr id="5" name="Group 15">
            <a:extLst>
              <a:ext uri="{FF2B5EF4-FFF2-40B4-BE49-F238E27FC236}"/>
            </a:extLst>
          </p:cNvPr>
          <p:cNvGrpSpPr/>
          <p:nvPr/>
        </p:nvGrpSpPr>
        <p:grpSpPr bwMode="gray">
          <a:xfrm>
            <a:off x="1820987" y="2241558"/>
            <a:ext cx="5349998" cy="1980000"/>
            <a:chOff x="1820987" y="2241558"/>
            <a:chExt cx="5349998" cy="1980000"/>
          </a:xfrm>
          <a:gradFill>
            <a:gsLst>
              <a:gs pos="100000">
                <a:schemeClr val="accent3"/>
              </a:gs>
              <a:gs pos="0">
                <a:schemeClr val="accent2"/>
              </a:gs>
            </a:gsLst>
            <a:lin ang="5400000" scaled="1"/>
          </a:gradFill>
        </p:grpSpPr>
        <p:sp>
          <p:nvSpPr>
            <p:cNvPr id="119" name="Freeform: Shape 118">
              <a:extLst>
                <a:ext uri="{FF2B5EF4-FFF2-40B4-BE49-F238E27FC236}"/>
              </a:extLst>
            </p:cNvPr>
            <p:cNvSpPr>
              <a:spLocks noChangeAspect="1"/>
            </p:cNvSpPr>
            <p:nvPr/>
          </p:nvSpPr>
          <p:spPr bwMode="gray">
            <a:xfrm flipV="1">
              <a:off x="1820987" y="3231558"/>
              <a:ext cx="1980000" cy="990000"/>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122" name="Freeform: Shape 121">
              <a:extLst>
                <a:ext uri="{FF2B5EF4-FFF2-40B4-BE49-F238E27FC236}"/>
              </a:extLst>
            </p:cNvPr>
            <p:cNvSpPr>
              <a:spLocks noChangeAspect="1"/>
            </p:cNvSpPr>
            <p:nvPr/>
          </p:nvSpPr>
          <p:spPr bwMode="gray">
            <a:xfrm>
              <a:off x="3503867" y="2241558"/>
              <a:ext cx="1980000" cy="990000"/>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125" name="Freeform: Shape 124">
              <a:extLst>
                <a:ext uri="{FF2B5EF4-FFF2-40B4-BE49-F238E27FC236}"/>
              </a:extLst>
            </p:cNvPr>
            <p:cNvSpPr>
              <a:spLocks noChangeAspect="1"/>
            </p:cNvSpPr>
            <p:nvPr/>
          </p:nvSpPr>
          <p:spPr bwMode="gray">
            <a:xfrm flipV="1">
              <a:off x="5190985" y="3231558"/>
              <a:ext cx="1980000" cy="990000"/>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grpSp>
      <p:sp>
        <p:nvSpPr>
          <p:cNvPr id="128" name="Freeform: Shape 127">
            <a:extLst>
              <a:ext uri="{FF2B5EF4-FFF2-40B4-BE49-F238E27FC236}"/>
            </a:extLst>
          </p:cNvPr>
          <p:cNvSpPr>
            <a:spLocks noChangeAspect="1"/>
          </p:cNvSpPr>
          <p:nvPr/>
        </p:nvSpPr>
        <p:spPr bwMode="gray">
          <a:xfrm>
            <a:off x="6873875" y="2241550"/>
            <a:ext cx="1979613" cy="990600"/>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gradFill flip="none" rotWithShape="1">
            <a:gsLst>
              <a:gs pos="100000">
                <a:schemeClr val="accent4">
                  <a:lumMod val="50000"/>
                </a:schemeClr>
              </a:gs>
              <a:gs pos="0">
                <a:schemeClr val="accent4"/>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130" name="TextBox 129">
            <a:extLst>
              <a:ext uri="{FF2B5EF4-FFF2-40B4-BE49-F238E27FC236}"/>
            </a:extLst>
          </p:cNvPr>
          <p:cNvSpPr txBox="1">
            <a:spLocks noChangeAspect="1"/>
          </p:cNvSpPr>
          <p:nvPr>
            <p:custDataLst>
              <p:tags r:id="rId12"/>
            </p:custDataLst>
          </p:nvPr>
        </p:nvSpPr>
        <p:spPr bwMode="gray">
          <a:xfrm>
            <a:off x="2181225" y="2589213"/>
            <a:ext cx="1260475" cy="1260475"/>
          </a:xfrm>
          <a:prstGeom prst="ellipse">
            <a:avLst/>
          </a:prstGeom>
          <a:gradFill>
            <a:gsLst>
              <a:gs pos="100000">
                <a:schemeClr val="bg1"/>
              </a:gs>
              <a:gs pos="0">
                <a:schemeClr val="bg2">
                  <a:lumMod val="85000"/>
                </a:schemeClr>
              </a:gs>
            </a:gsLst>
            <a:lin ang="0" scaled="1"/>
          </a:gradFill>
          <a:ln w="101600">
            <a:solidFill>
              <a:schemeClr val="bg1"/>
            </a:solidFill>
          </a:ln>
          <a:effectLst>
            <a:outerShdw blurRad="317500" dist="139700" dir="2700000" algn="tl" rotWithShape="0">
              <a:prstClr val="black">
                <a:alpha val="40000"/>
              </a:prstClr>
            </a:outerShdw>
          </a:effectLst>
        </p:spPr>
        <p:txBody>
          <a:bodyPr lIns="76200" tIns="0" rIns="76200" bIns="1080000"/>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endParaRPr lang="en-ZA" sz="2800" b="1" dirty="0">
              <a:solidFill>
                <a:schemeClr val="accent2"/>
              </a:solidFill>
              <a:cs typeface="+mn-cs"/>
            </a:endParaRPr>
          </a:p>
        </p:txBody>
      </p:sp>
      <p:sp>
        <p:nvSpPr>
          <p:cNvPr id="131" name="TextBox 130">
            <a:extLst>
              <a:ext uri="{FF2B5EF4-FFF2-40B4-BE49-F238E27FC236}"/>
            </a:extLst>
          </p:cNvPr>
          <p:cNvSpPr txBox="1">
            <a:spLocks noChangeAspect="1"/>
          </p:cNvSpPr>
          <p:nvPr>
            <p:custDataLst>
              <p:tags r:id="rId13"/>
            </p:custDataLst>
          </p:nvPr>
        </p:nvSpPr>
        <p:spPr bwMode="gray">
          <a:xfrm>
            <a:off x="3863975" y="2589213"/>
            <a:ext cx="1260475" cy="1260475"/>
          </a:xfrm>
          <a:prstGeom prst="ellipse">
            <a:avLst/>
          </a:prstGeom>
          <a:gradFill>
            <a:gsLst>
              <a:gs pos="100000">
                <a:schemeClr val="bg1"/>
              </a:gs>
              <a:gs pos="0">
                <a:schemeClr val="bg2">
                  <a:lumMod val="85000"/>
                </a:schemeClr>
              </a:gs>
            </a:gsLst>
            <a:lin ang="0" scaled="1"/>
          </a:gradFill>
          <a:ln w="101600">
            <a:solidFill>
              <a:schemeClr val="bg1"/>
            </a:solidFill>
          </a:ln>
          <a:effectLst>
            <a:outerShdw blurRad="317500" dist="139700" dir="2700000" algn="tl" rotWithShape="0">
              <a:prstClr val="black">
                <a:alpha val="40000"/>
              </a:prstClr>
            </a:outerShdw>
          </a:effectLst>
        </p:spPr>
        <p:txBody>
          <a:bodyPr lIns="76200" tIns="0" rIns="76200" bIns="1080000"/>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endParaRPr lang="en-ZA" sz="2800" b="1" dirty="0">
              <a:solidFill>
                <a:schemeClr val="accent2"/>
              </a:solidFill>
              <a:cs typeface="+mn-cs"/>
            </a:endParaRPr>
          </a:p>
        </p:txBody>
      </p:sp>
      <p:sp>
        <p:nvSpPr>
          <p:cNvPr id="132" name="TextBox 131">
            <a:extLst>
              <a:ext uri="{FF2B5EF4-FFF2-40B4-BE49-F238E27FC236}"/>
            </a:extLst>
          </p:cNvPr>
          <p:cNvSpPr txBox="1">
            <a:spLocks noChangeAspect="1"/>
          </p:cNvSpPr>
          <p:nvPr>
            <p:custDataLst>
              <p:tags r:id="rId14"/>
            </p:custDataLst>
          </p:nvPr>
        </p:nvSpPr>
        <p:spPr bwMode="gray">
          <a:xfrm>
            <a:off x="5551488" y="2589213"/>
            <a:ext cx="1258887" cy="1260475"/>
          </a:xfrm>
          <a:prstGeom prst="ellipse">
            <a:avLst/>
          </a:prstGeom>
          <a:gradFill>
            <a:gsLst>
              <a:gs pos="100000">
                <a:schemeClr val="bg1"/>
              </a:gs>
              <a:gs pos="0">
                <a:schemeClr val="bg2">
                  <a:lumMod val="85000"/>
                </a:schemeClr>
              </a:gs>
            </a:gsLst>
            <a:lin ang="0" scaled="1"/>
          </a:gradFill>
          <a:ln w="101600">
            <a:solidFill>
              <a:schemeClr val="bg1"/>
            </a:solidFill>
          </a:ln>
          <a:effectLst>
            <a:outerShdw blurRad="317500" dist="139700" dir="2700000" algn="tl" rotWithShape="0">
              <a:prstClr val="black">
                <a:alpha val="40000"/>
              </a:prstClr>
            </a:outerShdw>
          </a:effectLst>
        </p:spPr>
        <p:txBody>
          <a:bodyPr lIns="76200" tIns="0" rIns="76200" bIns="1080000"/>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endParaRPr lang="en-ZA" sz="2800" b="1" dirty="0">
              <a:solidFill>
                <a:schemeClr val="accent2"/>
              </a:solidFill>
              <a:cs typeface="+mn-cs"/>
            </a:endParaRPr>
          </a:p>
        </p:txBody>
      </p:sp>
      <p:sp>
        <p:nvSpPr>
          <p:cNvPr id="133" name="TextBox 132">
            <a:extLst>
              <a:ext uri="{FF2B5EF4-FFF2-40B4-BE49-F238E27FC236}"/>
            </a:extLst>
          </p:cNvPr>
          <p:cNvSpPr txBox="1">
            <a:spLocks noChangeAspect="1"/>
          </p:cNvSpPr>
          <p:nvPr>
            <p:custDataLst>
              <p:tags r:id="rId15"/>
            </p:custDataLst>
          </p:nvPr>
        </p:nvSpPr>
        <p:spPr bwMode="gray">
          <a:xfrm>
            <a:off x="7234238" y="2589213"/>
            <a:ext cx="1260475" cy="1260475"/>
          </a:xfrm>
          <a:prstGeom prst="ellipse">
            <a:avLst/>
          </a:prstGeom>
          <a:gradFill>
            <a:gsLst>
              <a:gs pos="100000">
                <a:schemeClr val="bg1"/>
              </a:gs>
              <a:gs pos="0">
                <a:schemeClr val="bg2">
                  <a:lumMod val="85000"/>
                </a:schemeClr>
              </a:gs>
            </a:gsLst>
            <a:lin ang="0" scaled="1"/>
          </a:gradFill>
          <a:ln w="101600">
            <a:solidFill>
              <a:schemeClr val="bg1"/>
            </a:solidFill>
          </a:ln>
          <a:effectLst>
            <a:outerShdw blurRad="317500" dist="139700" dir="2700000" algn="tl" rotWithShape="0">
              <a:prstClr val="black">
                <a:alpha val="40000"/>
              </a:prstClr>
            </a:outerShdw>
          </a:effectLst>
        </p:spPr>
        <p:txBody>
          <a:bodyPr lIns="76200" tIns="0" rIns="76200" bIns="1080000"/>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endParaRPr lang="en-ZA" sz="2800" b="1" dirty="0">
              <a:solidFill>
                <a:schemeClr val="accent2"/>
              </a:solidFill>
              <a:cs typeface="+mn-cs"/>
            </a:endParaRPr>
          </a:p>
        </p:txBody>
      </p:sp>
      <p:grpSp>
        <p:nvGrpSpPr>
          <p:cNvPr id="6" name="Group 62">
            <a:extLst>
              <a:ext uri="{FF2B5EF4-FFF2-40B4-BE49-F238E27FC236}"/>
            </a:extLst>
          </p:cNvPr>
          <p:cNvGrpSpPr/>
          <p:nvPr/>
        </p:nvGrpSpPr>
        <p:grpSpPr bwMode="gray">
          <a:xfrm>
            <a:off x="2359109" y="2718948"/>
            <a:ext cx="857250" cy="994053"/>
            <a:chOff x="5224463" y="1274763"/>
            <a:chExt cx="2776537" cy="3190875"/>
          </a:xfrm>
          <a:solidFill>
            <a:schemeClr val="accent2"/>
          </a:solidFill>
        </p:grpSpPr>
        <p:sp>
          <p:nvSpPr>
            <p:cNvPr id="64" name="Freeform 5">
              <a:extLst>
                <a:ext uri="{FF2B5EF4-FFF2-40B4-BE49-F238E27FC236}"/>
              </a:extLst>
            </p:cNvPr>
            <p:cNvSpPr>
              <a:spLocks noEditPoints="1"/>
            </p:cNvSpPr>
            <p:nvPr/>
          </p:nvSpPr>
          <p:spPr bwMode="gray">
            <a:xfrm>
              <a:off x="6318250" y="2784475"/>
              <a:ext cx="1682750" cy="1681163"/>
            </a:xfrm>
            <a:custGeom>
              <a:avLst/>
              <a:gdLst>
                <a:gd name="T0" fmla="*/ 1014 w 1070"/>
                <a:gd name="T1" fmla="*/ 457 h 1070"/>
                <a:gd name="T2" fmla="*/ 944 w 1070"/>
                <a:gd name="T3" fmla="*/ 441 h 1070"/>
                <a:gd name="T4" fmla="*/ 890 w 1070"/>
                <a:gd name="T5" fmla="*/ 311 h 1070"/>
                <a:gd name="T6" fmla="*/ 929 w 1070"/>
                <a:gd name="T7" fmla="*/ 251 h 1070"/>
                <a:gd name="T8" fmla="*/ 945 w 1070"/>
                <a:gd name="T9" fmla="*/ 188 h 1070"/>
                <a:gd name="T10" fmla="*/ 882 w 1070"/>
                <a:gd name="T11" fmla="*/ 125 h 1070"/>
                <a:gd name="T12" fmla="*/ 818 w 1070"/>
                <a:gd name="T13" fmla="*/ 141 h 1070"/>
                <a:gd name="T14" fmla="*/ 759 w 1070"/>
                <a:gd name="T15" fmla="*/ 179 h 1070"/>
                <a:gd name="T16" fmla="*/ 628 w 1070"/>
                <a:gd name="T17" fmla="*/ 125 h 1070"/>
                <a:gd name="T18" fmla="*/ 613 w 1070"/>
                <a:gd name="T19" fmla="*/ 56 h 1070"/>
                <a:gd name="T20" fmla="*/ 579 w 1070"/>
                <a:gd name="T21" fmla="*/ 0 h 1070"/>
                <a:gd name="T22" fmla="*/ 491 w 1070"/>
                <a:gd name="T23" fmla="*/ 0 h 1070"/>
                <a:gd name="T24" fmla="*/ 457 w 1070"/>
                <a:gd name="T25" fmla="*/ 56 h 1070"/>
                <a:gd name="T26" fmla="*/ 442 w 1070"/>
                <a:gd name="T27" fmla="*/ 125 h 1070"/>
                <a:gd name="T28" fmla="*/ 311 w 1070"/>
                <a:gd name="T29" fmla="*/ 179 h 1070"/>
                <a:gd name="T30" fmla="*/ 252 w 1070"/>
                <a:gd name="T31" fmla="*/ 141 h 1070"/>
                <a:gd name="T32" fmla="*/ 188 w 1070"/>
                <a:gd name="T33" fmla="*/ 125 h 1070"/>
                <a:gd name="T34" fmla="*/ 125 w 1070"/>
                <a:gd name="T35" fmla="*/ 188 h 1070"/>
                <a:gd name="T36" fmla="*/ 141 w 1070"/>
                <a:gd name="T37" fmla="*/ 251 h 1070"/>
                <a:gd name="T38" fmla="*/ 179 w 1070"/>
                <a:gd name="T39" fmla="*/ 311 h 1070"/>
                <a:gd name="T40" fmla="*/ 125 w 1070"/>
                <a:gd name="T41" fmla="*/ 441 h 1070"/>
                <a:gd name="T42" fmla="*/ 56 w 1070"/>
                <a:gd name="T43" fmla="*/ 457 h 1070"/>
                <a:gd name="T44" fmla="*/ 0 w 1070"/>
                <a:gd name="T45" fmla="*/ 490 h 1070"/>
                <a:gd name="T46" fmla="*/ 0 w 1070"/>
                <a:gd name="T47" fmla="*/ 579 h 1070"/>
                <a:gd name="T48" fmla="*/ 56 w 1070"/>
                <a:gd name="T49" fmla="*/ 613 h 1070"/>
                <a:gd name="T50" fmla="*/ 125 w 1070"/>
                <a:gd name="T51" fmla="*/ 628 h 1070"/>
                <a:gd name="T52" fmla="*/ 179 w 1070"/>
                <a:gd name="T53" fmla="*/ 758 h 1070"/>
                <a:gd name="T54" fmla="*/ 141 w 1070"/>
                <a:gd name="T55" fmla="*/ 818 h 1070"/>
                <a:gd name="T56" fmla="*/ 125 w 1070"/>
                <a:gd name="T57" fmla="*/ 882 h 1070"/>
                <a:gd name="T58" fmla="*/ 188 w 1070"/>
                <a:gd name="T59" fmla="*/ 944 h 1070"/>
                <a:gd name="T60" fmla="*/ 252 w 1070"/>
                <a:gd name="T61" fmla="*/ 929 h 1070"/>
                <a:gd name="T62" fmla="*/ 311 w 1070"/>
                <a:gd name="T63" fmla="*/ 890 h 1070"/>
                <a:gd name="T64" fmla="*/ 442 w 1070"/>
                <a:gd name="T65" fmla="*/ 944 h 1070"/>
                <a:gd name="T66" fmla="*/ 457 w 1070"/>
                <a:gd name="T67" fmla="*/ 1013 h 1070"/>
                <a:gd name="T68" fmla="*/ 491 w 1070"/>
                <a:gd name="T69" fmla="*/ 1070 h 1070"/>
                <a:gd name="T70" fmla="*/ 579 w 1070"/>
                <a:gd name="T71" fmla="*/ 1070 h 1070"/>
                <a:gd name="T72" fmla="*/ 613 w 1070"/>
                <a:gd name="T73" fmla="*/ 1013 h 1070"/>
                <a:gd name="T74" fmla="*/ 628 w 1070"/>
                <a:gd name="T75" fmla="*/ 944 h 1070"/>
                <a:gd name="T76" fmla="*/ 759 w 1070"/>
                <a:gd name="T77" fmla="*/ 890 h 1070"/>
                <a:gd name="T78" fmla="*/ 818 w 1070"/>
                <a:gd name="T79" fmla="*/ 929 h 1070"/>
                <a:gd name="T80" fmla="*/ 882 w 1070"/>
                <a:gd name="T81" fmla="*/ 944 h 1070"/>
                <a:gd name="T82" fmla="*/ 945 w 1070"/>
                <a:gd name="T83" fmla="*/ 882 h 1070"/>
                <a:gd name="T84" fmla="*/ 929 w 1070"/>
                <a:gd name="T85" fmla="*/ 818 h 1070"/>
                <a:gd name="T86" fmla="*/ 890 w 1070"/>
                <a:gd name="T87" fmla="*/ 758 h 1070"/>
                <a:gd name="T88" fmla="*/ 944 w 1070"/>
                <a:gd name="T89" fmla="*/ 628 h 1070"/>
                <a:gd name="T90" fmla="*/ 1014 w 1070"/>
                <a:gd name="T91" fmla="*/ 613 h 1070"/>
                <a:gd name="T92" fmla="*/ 1070 w 1070"/>
                <a:gd name="T93" fmla="*/ 579 h 1070"/>
                <a:gd name="T94" fmla="*/ 1070 w 1070"/>
                <a:gd name="T95" fmla="*/ 490 h 1070"/>
                <a:gd name="T96" fmla="*/ 1014 w 1070"/>
                <a:gd name="T97" fmla="*/ 457 h 1070"/>
                <a:gd name="T98" fmla="*/ 535 w 1070"/>
                <a:gd name="T99" fmla="*/ 880 h 1070"/>
                <a:gd name="T100" fmla="*/ 190 w 1070"/>
                <a:gd name="T101" fmla="*/ 535 h 1070"/>
                <a:gd name="T102" fmla="*/ 535 w 1070"/>
                <a:gd name="T103" fmla="*/ 190 h 1070"/>
                <a:gd name="T104" fmla="*/ 880 w 1070"/>
                <a:gd name="T105" fmla="*/ 535 h 1070"/>
                <a:gd name="T106" fmla="*/ 535 w 1070"/>
                <a:gd name="T107" fmla="*/ 88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70" h="1070">
                  <a:moveTo>
                    <a:pt x="1014" y="457"/>
                  </a:moveTo>
                  <a:cubicBezTo>
                    <a:pt x="944" y="441"/>
                    <a:pt x="944" y="441"/>
                    <a:pt x="944" y="441"/>
                  </a:cubicBezTo>
                  <a:cubicBezTo>
                    <a:pt x="934" y="395"/>
                    <a:pt x="915" y="351"/>
                    <a:pt x="890" y="311"/>
                  </a:cubicBezTo>
                  <a:cubicBezTo>
                    <a:pt x="929" y="251"/>
                    <a:pt x="929" y="251"/>
                    <a:pt x="929" y="251"/>
                  </a:cubicBezTo>
                  <a:cubicBezTo>
                    <a:pt x="951" y="229"/>
                    <a:pt x="958" y="201"/>
                    <a:pt x="945" y="188"/>
                  </a:cubicBezTo>
                  <a:cubicBezTo>
                    <a:pt x="882" y="125"/>
                    <a:pt x="882" y="125"/>
                    <a:pt x="882" y="125"/>
                  </a:cubicBezTo>
                  <a:cubicBezTo>
                    <a:pt x="869" y="112"/>
                    <a:pt x="840" y="119"/>
                    <a:pt x="818" y="141"/>
                  </a:cubicBezTo>
                  <a:cubicBezTo>
                    <a:pt x="759" y="179"/>
                    <a:pt x="759" y="179"/>
                    <a:pt x="759" y="179"/>
                  </a:cubicBezTo>
                  <a:cubicBezTo>
                    <a:pt x="719" y="154"/>
                    <a:pt x="675" y="136"/>
                    <a:pt x="628" y="125"/>
                  </a:cubicBezTo>
                  <a:cubicBezTo>
                    <a:pt x="613" y="56"/>
                    <a:pt x="613" y="56"/>
                    <a:pt x="613" y="56"/>
                  </a:cubicBezTo>
                  <a:cubicBezTo>
                    <a:pt x="613" y="25"/>
                    <a:pt x="598" y="0"/>
                    <a:pt x="579" y="0"/>
                  </a:cubicBezTo>
                  <a:cubicBezTo>
                    <a:pt x="491" y="0"/>
                    <a:pt x="491" y="0"/>
                    <a:pt x="491" y="0"/>
                  </a:cubicBezTo>
                  <a:cubicBezTo>
                    <a:pt x="472" y="0"/>
                    <a:pt x="457" y="25"/>
                    <a:pt x="457" y="56"/>
                  </a:cubicBezTo>
                  <a:cubicBezTo>
                    <a:pt x="442" y="125"/>
                    <a:pt x="442" y="125"/>
                    <a:pt x="442" y="125"/>
                  </a:cubicBezTo>
                  <a:cubicBezTo>
                    <a:pt x="395" y="136"/>
                    <a:pt x="351" y="154"/>
                    <a:pt x="311" y="179"/>
                  </a:cubicBezTo>
                  <a:cubicBezTo>
                    <a:pt x="252" y="141"/>
                    <a:pt x="252" y="141"/>
                    <a:pt x="252" y="141"/>
                  </a:cubicBezTo>
                  <a:cubicBezTo>
                    <a:pt x="230" y="119"/>
                    <a:pt x="201" y="112"/>
                    <a:pt x="188" y="125"/>
                  </a:cubicBezTo>
                  <a:cubicBezTo>
                    <a:pt x="125" y="188"/>
                    <a:pt x="125" y="188"/>
                    <a:pt x="125" y="188"/>
                  </a:cubicBezTo>
                  <a:cubicBezTo>
                    <a:pt x="112" y="201"/>
                    <a:pt x="119" y="229"/>
                    <a:pt x="141" y="251"/>
                  </a:cubicBezTo>
                  <a:cubicBezTo>
                    <a:pt x="179" y="311"/>
                    <a:pt x="179" y="311"/>
                    <a:pt x="179" y="311"/>
                  </a:cubicBezTo>
                  <a:cubicBezTo>
                    <a:pt x="154" y="351"/>
                    <a:pt x="136" y="395"/>
                    <a:pt x="125" y="441"/>
                  </a:cubicBezTo>
                  <a:cubicBezTo>
                    <a:pt x="56" y="457"/>
                    <a:pt x="56" y="457"/>
                    <a:pt x="56" y="457"/>
                  </a:cubicBezTo>
                  <a:cubicBezTo>
                    <a:pt x="25" y="457"/>
                    <a:pt x="0" y="472"/>
                    <a:pt x="0" y="490"/>
                  </a:cubicBezTo>
                  <a:cubicBezTo>
                    <a:pt x="0" y="579"/>
                    <a:pt x="0" y="579"/>
                    <a:pt x="0" y="579"/>
                  </a:cubicBezTo>
                  <a:cubicBezTo>
                    <a:pt x="0" y="598"/>
                    <a:pt x="25" y="613"/>
                    <a:pt x="56" y="613"/>
                  </a:cubicBezTo>
                  <a:cubicBezTo>
                    <a:pt x="125" y="628"/>
                    <a:pt x="125" y="628"/>
                    <a:pt x="125" y="628"/>
                  </a:cubicBezTo>
                  <a:cubicBezTo>
                    <a:pt x="136" y="675"/>
                    <a:pt x="154" y="719"/>
                    <a:pt x="179" y="758"/>
                  </a:cubicBezTo>
                  <a:cubicBezTo>
                    <a:pt x="141" y="818"/>
                    <a:pt x="141" y="818"/>
                    <a:pt x="141" y="818"/>
                  </a:cubicBezTo>
                  <a:cubicBezTo>
                    <a:pt x="119" y="840"/>
                    <a:pt x="112" y="869"/>
                    <a:pt x="125" y="882"/>
                  </a:cubicBezTo>
                  <a:cubicBezTo>
                    <a:pt x="188" y="944"/>
                    <a:pt x="188" y="944"/>
                    <a:pt x="188" y="944"/>
                  </a:cubicBezTo>
                  <a:cubicBezTo>
                    <a:pt x="201" y="958"/>
                    <a:pt x="230" y="951"/>
                    <a:pt x="252" y="929"/>
                  </a:cubicBezTo>
                  <a:cubicBezTo>
                    <a:pt x="311" y="890"/>
                    <a:pt x="311" y="890"/>
                    <a:pt x="311" y="890"/>
                  </a:cubicBezTo>
                  <a:cubicBezTo>
                    <a:pt x="351" y="915"/>
                    <a:pt x="395" y="934"/>
                    <a:pt x="442" y="944"/>
                  </a:cubicBezTo>
                  <a:cubicBezTo>
                    <a:pt x="457" y="1013"/>
                    <a:pt x="457" y="1013"/>
                    <a:pt x="457" y="1013"/>
                  </a:cubicBezTo>
                  <a:cubicBezTo>
                    <a:pt x="457" y="1045"/>
                    <a:pt x="472" y="1070"/>
                    <a:pt x="491" y="1070"/>
                  </a:cubicBezTo>
                  <a:cubicBezTo>
                    <a:pt x="579" y="1070"/>
                    <a:pt x="579" y="1070"/>
                    <a:pt x="579" y="1070"/>
                  </a:cubicBezTo>
                  <a:cubicBezTo>
                    <a:pt x="598" y="1070"/>
                    <a:pt x="613" y="1045"/>
                    <a:pt x="613" y="1013"/>
                  </a:cubicBezTo>
                  <a:cubicBezTo>
                    <a:pt x="628" y="944"/>
                    <a:pt x="628" y="944"/>
                    <a:pt x="628" y="944"/>
                  </a:cubicBezTo>
                  <a:cubicBezTo>
                    <a:pt x="675" y="934"/>
                    <a:pt x="719" y="915"/>
                    <a:pt x="759" y="890"/>
                  </a:cubicBezTo>
                  <a:cubicBezTo>
                    <a:pt x="818" y="929"/>
                    <a:pt x="818" y="929"/>
                    <a:pt x="818" y="929"/>
                  </a:cubicBezTo>
                  <a:cubicBezTo>
                    <a:pt x="840" y="951"/>
                    <a:pt x="869" y="958"/>
                    <a:pt x="882" y="944"/>
                  </a:cubicBezTo>
                  <a:cubicBezTo>
                    <a:pt x="945" y="882"/>
                    <a:pt x="945" y="882"/>
                    <a:pt x="945" y="882"/>
                  </a:cubicBezTo>
                  <a:cubicBezTo>
                    <a:pt x="958" y="869"/>
                    <a:pt x="951" y="840"/>
                    <a:pt x="929" y="818"/>
                  </a:cubicBezTo>
                  <a:cubicBezTo>
                    <a:pt x="890" y="758"/>
                    <a:pt x="890" y="758"/>
                    <a:pt x="890" y="758"/>
                  </a:cubicBezTo>
                  <a:cubicBezTo>
                    <a:pt x="915" y="719"/>
                    <a:pt x="934" y="675"/>
                    <a:pt x="944" y="628"/>
                  </a:cubicBezTo>
                  <a:cubicBezTo>
                    <a:pt x="1014" y="613"/>
                    <a:pt x="1014" y="613"/>
                    <a:pt x="1014" y="613"/>
                  </a:cubicBezTo>
                  <a:cubicBezTo>
                    <a:pt x="1045" y="613"/>
                    <a:pt x="1070" y="598"/>
                    <a:pt x="1070" y="579"/>
                  </a:cubicBezTo>
                  <a:cubicBezTo>
                    <a:pt x="1070" y="490"/>
                    <a:pt x="1070" y="490"/>
                    <a:pt x="1070" y="490"/>
                  </a:cubicBezTo>
                  <a:cubicBezTo>
                    <a:pt x="1070" y="472"/>
                    <a:pt x="1045" y="457"/>
                    <a:pt x="1014" y="457"/>
                  </a:cubicBezTo>
                  <a:close/>
                  <a:moveTo>
                    <a:pt x="535" y="880"/>
                  </a:moveTo>
                  <a:cubicBezTo>
                    <a:pt x="344" y="880"/>
                    <a:pt x="190" y="725"/>
                    <a:pt x="190" y="535"/>
                  </a:cubicBezTo>
                  <a:cubicBezTo>
                    <a:pt x="190" y="344"/>
                    <a:pt x="344" y="190"/>
                    <a:pt x="535" y="190"/>
                  </a:cubicBezTo>
                  <a:cubicBezTo>
                    <a:pt x="725" y="190"/>
                    <a:pt x="880" y="344"/>
                    <a:pt x="880" y="535"/>
                  </a:cubicBezTo>
                  <a:cubicBezTo>
                    <a:pt x="880" y="725"/>
                    <a:pt x="725" y="880"/>
                    <a:pt x="535" y="880"/>
                  </a:cubicBezTo>
                  <a:close/>
                </a:path>
              </a:pathLst>
            </a:custGeom>
            <a:grpFill/>
            <a:ln>
              <a:noFill/>
            </a:ln>
          </p:spPr>
          <p:txBody>
            <a:bodyPr/>
            <a:lstStyle/>
            <a:p>
              <a:pPr>
                <a:defRPr/>
              </a:pPr>
              <a:endParaRPr lang="de-DE">
                <a:latin typeface="+mn-lt"/>
                <a:cs typeface="+mn-cs"/>
              </a:endParaRPr>
            </a:p>
          </p:txBody>
        </p:sp>
        <p:sp>
          <p:nvSpPr>
            <p:cNvPr id="65" name="Freeform 6">
              <a:extLst>
                <a:ext uri="{FF2B5EF4-FFF2-40B4-BE49-F238E27FC236}"/>
              </a:extLst>
            </p:cNvPr>
            <p:cNvSpPr>
              <a:spLocks noEditPoints="1"/>
            </p:cNvSpPr>
            <p:nvPr/>
          </p:nvSpPr>
          <p:spPr bwMode="gray">
            <a:xfrm>
              <a:off x="6656388" y="3121025"/>
              <a:ext cx="1006475" cy="1006475"/>
            </a:xfrm>
            <a:custGeom>
              <a:avLst/>
              <a:gdLst>
                <a:gd name="T0" fmla="*/ 320 w 640"/>
                <a:gd name="T1" fmla="*/ 0 h 641"/>
                <a:gd name="T2" fmla="*/ 0 w 640"/>
                <a:gd name="T3" fmla="*/ 321 h 641"/>
                <a:gd name="T4" fmla="*/ 320 w 640"/>
                <a:gd name="T5" fmla="*/ 641 h 641"/>
                <a:gd name="T6" fmla="*/ 640 w 640"/>
                <a:gd name="T7" fmla="*/ 321 h 641"/>
                <a:gd name="T8" fmla="*/ 320 w 640"/>
                <a:gd name="T9" fmla="*/ 0 h 641"/>
                <a:gd name="T10" fmla="*/ 320 w 640"/>
                <a:gd name="T11" fmla="*/ 479 h 641"/>
                <a:gd name="T12" fmla="*/ 161 w 640"/>
                <a:gd name="T13" fmla="*/ 321 h 641"/>
                <a:gd name="T14" fmla="*/ 320 w 640"/>
                <a:gd name="T15" fmla="*/ 162 h 641"/>
                <a:gd name="T16" fmla="*/ 479 w 640"/>
                <a:gd name="T17" fmla="*/ 321 h 641"/>
                <a:gd name="T18" fmla="*/ 320 w 640"/>
                <a:gd name="T19" fmla="*/ 479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641">
                  <a:moveTo>
                    <a:pt x="320" y="0"/>
                  </a:moveTo>
                  <a:cubicBezTo>
                    <a:pt x="143" y="0"/>
                    <a:pt x="0" y="144"/>
                    <a:pt x="0" y="321"/>
                  </a:cubicBezTo>
                  <a:cubicBezTo>
                    <a:pt x="0" y="498"/>
                    <a:pt x="143" y="641"/>
                    <a:pt x="320" y="641"/>
                  </a:cubicBezTo>
                  <a:cubicBezTo>
                    <a:pt x="497" y="641"/>
                    <a:pt x="640" y="498"/>
                    <a:pt x="640" y="321"/>
                  </a:cubicBezTo>
                  <a:cubicBezTo>
                    <a:pt x="640" y="144"/>
                    <a:pt x="497" y="0"/>
                    <a:pt x="320" y="0"/>
                  </a:cubicBezTo>
                  <a:close/>
                  <a:moveTo>
                    <a:pt x="320" y="479"/>
                  </a:moveTo>
                  <a:cubicBezTo>
                    <a:pt x="232" y="479"/>
                    <a:pt x="161" y="408"/>
                    <a:pt x="161" y="321"/>
                  </a:cubicBezTo>
                  <a:cubicBezTo>
                    <a:pt x="161" y="233"/>
                    <a:pt x="232" y="162"/>
                    <a:pt x="320" y="162"/>
                  </a:cubicBezTo>
                  <a:cubicBezTo>
                    <a:pt x="407" y="162"/>
                    <a:pt x="479" y="233"/>
                    <a:pt x="479" y="321"/>
                  </a:cubicBezTo>
                  <a:cubicBezTo>
                    <a:pt x="479" y="408"/>
                    <a:pt x="407" y="479"/>
                    <a:pt x="320" y="479"/>
                  </a:cubicBezTo>
                  <a:close/>
                </a:path>
              </a:pathLst>
            </a:custGeom>
            <a:grpFill/>
            <a:ln>
              <a:noFill/>
            </a:ln>
          </p:spPr>
          <p:txBody>
            <a:bodyPr/>
            <a:lstStyle/>
            <a:p>
              <a:pPr>
                <a:defRPr/>
              </a:pPr>
              <a:endParaRPr lang="de-DE">
                <a:latin typeface="+mn-lt"/>
                <a:cs typeface="+mn-cs"/>
              </a:endParaRPr>
            </a:p>
          </p:txBody>
        </p:sp>
        <p:sp>
          <p:nvSpPr>
            <p:cNvPr id="66" name="Freeform 7">
              <a:extLst>
                <a:ext uri="{FF2B5EF4-FFF2-40B4-BE49-F238E27FC236}"/>
              </a:extLst>
            </p:cNvPr>
            <p:cNvSpPr>
              <a:spLocks noEditPoints="1"/>
            </p:cNvSpPr>
            <p:nvPr/>
          </p:nvSpPr>
          <p:spPr bwMode="gray">
            <a:xfrm>
              <a:off x="5224463" y="2420938"/>
              <a:ext cx="1325563" cy="1325563"/>
            </a:xfrm>
            <a:custGeom>
              <a:avLst/>
              <a:gdLst>
                <a:gd name="T0" fmla="*/ 758 w 843"/>
                <a:gd name="T1" fmla="*/ 219 h 843"/>
                <a:gd name="T2" fmla="*/ 701 w 843"/>
                <a:gd name="T3" fmla="*/ 228 h 843"/>
                <a:gd name="T4" fmla="*/ 621 w 843"/>
                <a:gd name="T5" fmla="*/ 146 h 843"/>
                <a:gd name="T6" fmla="*/ 632 w 843"/>
                <a:gd name="T7" fmla="*/ 90 h 843"/>
                <a:gd name="T8" fmla="*/ 625 w 843"/>
                <a:gd name="T9" fmla="*/ 37 h 843"/>
                <a:gd name="T10" fmla="*/ 559 w 843"/>
                <a:gd name="T11" fmla="*/ 9 h 843"/>
                <a:gd name="T12" fmla="*/ 516 w 843"/>
                <a:gd name="T13" fmla="*/ 40 h 843"/>
                <a:gd name="T14" fmla="*/ 482 w 843"/>
                <a:gd name="T15" fmla="*/ 87 h 843"/>
                <a:gd name="T16" fmla="*/ 368 w 843"/>
                <a:gd name="T17" fmla="*/ 85 h 843"/>
                <a:gd name="T18" fmla="*/ 336 w 843"/>
                <a:gd name="T19" fmla="*/ 38 h 843"/>
                <a:gd name="T20" fmla="*/ 294 w 843"/>
                <a:gd name="T21" fmla="*/ 6 h 843"/>
                <a:gd name="T22" fmla="*/ 227 w 843"/>
                <a:gd name="T23" fmla="*/ 32 h 843"/>
                <a:gd name="T24" fmla="*/ 218 w 843"/>
                <a:gd name="T25" fmla="*/ 85 h 843"/>
                <a:gd name="T26" fmla="*/ 228 w 843"/>
                <a:gd name="T27" fmla="*/ 142 h 843"/>
                <a:gd name="T28" fmla="*/ 146 w 843"/>
                <a:gd name="T29" fmla="*/ 221 h 843"/>
                <a:gd name="T30" fmla="*/ 90 w 843"/>
                <a:gd name="T31" fmla="*/ 211 h 843"/>
                <a:gd name="T32" fmla="*/ 37 w 843"/>
                <a:gd name="T33" fmla="*/ 218 h 843"/>
                <a:gd name="T34" fmla="*/ 9 w 843"/>
                <a:gd name="T35" fmla="*/ 284 h 843"/>
                <a:gd name="T36" fmla="*/ 40 w 843"/>
                <a:gd name="T37" fmla="*/ 327 h 843"/>
                <a:gd name="T38" fmla="*/ 86 w 843"/>
                <a:gd name="T39" fmla="*/ 360 h 843"/>
                <a:gd name="T40" fmla="*/ 85 w 843"/>
                <a:gd name="T41" fmla="*/ 475 h 843"/>
                <a:gd name="T42" fmla="*/ 37 w 843"/>
                <a:gd name="T43" fmla="*/ 507 h 843"/>
                <a:gd name="T44" fmla="*/ 5 w 843"/>
                <a:gd name="T45" fmla="*/ 549 h 843"/>
                <a:gd name="T46" fmla="*/ 32 w 843"/>
                <a:gd name="T47" fmla="*/ 616 h 843"/>
                <a:gd name="T48" fmla="*/ 84 w 843"/>
                <a:gd name="T49" fmla="*/ 624 h 843"/>
                <a:gd name="T50" fmla="*/ 141 w 843"/>
                <a:gd name="T51" fmla="*/ 615 h 843"/>
                <a:gd name="T52" fmla="*/ 221 w 843"/>
                <a:gd name="T53" fmla="*/ 697 h 843"/>
                <a:gd name="T54" fmla="*/ 210 w 843"/>
                <a:gd name="T55" fmla="*/ 753 h 843"/>
                <a:gd name="T56" fmla="*/ 217 w 843"/>
                <a:gd name="T57" fmla="*/ 806 h 843"/>
                <a:gd name="T58" fmla="*/ 283 w 843"/>
                <a:gd name="T59" fmla="*/ 834 h 843"/>
                <a:gd name="T60" fmla="*/ 326 w 843"/>
                <a:gd name="T61" fmla="*/ 803 h 843"/>
                <a:gd name="T62" fmla="*/ 360 w 843"/>
                <a:gd name="T63" fmla="*/ 756 h 843"/>
                <a:gd name="T64" fmla="*/ 474 w 843"/>
                <a:gd name="T65" fmla="*/ 758 h 843"/>
                <a:gd name="T66" fmla="*/ 506 w 843"/>
                <a:gd name="T67" fmla="*/ 805 h 843"/>
                <a:gd name="T68" fmla="*/ 549 w 843"/>
                <a:gd name="T69" fmla="*/ 838 h 843"/>
                <a:gd name="T70" fmla="*/ 615 w 843"/>
                <a:gd name="T71" fmla="*/ 811 h 843"/>
                <a:gd name="T72" fmla="*/ 624 w 843"/>
                <a:gd name="T73" fmla="*/ 758 h 843"/>
                <a:gd name="T74" fmla="*/ 614 w 843"/>
                <a:gd name="T75" fmla="*/ 702 h 843"/>
                <a:gd name="T76" fmla="*/ 696 w 843"/>
                <a:gd name="T77" fmla="*/ 622 h 843"/>
                <a:gd name="T78" fmla="*/ 753 w 843"/>
                <a:gd name="T79" fmla="*/ 633 h 843"/>
                <a:gd name="T80" fmla="*/ 805 w 843"/>
                <a:gd name="T81" fmla="*/ 626 h 843"/>
                <a:gd name="T82" fmla="*/ 834 w 843"/>
                <a:gd name="T83" fmla="*/ 560 h 843"/>
                <a:gd name="T84" fmla="*/ 803 w 843"/>
                <a:gd name="T85" fmla="*/ 516 h 843"/>
                <a:gd name="T86" fmla="*/ 756 w 843"/>
                <a:gd name="T87" fmla="*/ 483 h 843"/>
                <a:gd name="T88" fmla="*/ 757 w 843"/>
                <a:gd name="T89" fmla="*/ 369 h 843"/>
                <a:gd name="T90" fmla="*/ 805 w 843"/>
                <a:gd name="T91" fmla="*/ 336 h 843"/>
                <a:gd name="T92" fmla="*/ 837 w 843"/>
                <a:gd name="T93" fmla="*/ 294 h 843"/>
                <a:gd name="T94" fmla="*/ 810 w 843"/>
                <a:gd name="T95" fmla="*/ 227 h 843"/>
                <a:gd name="T96" fmla="*/ 758 w 843"/>
                <a:gd name="T97" fmla="*/ 219 h 843"/>
                <a:gd name="T98" fmla="*/ 525 w 843"/>
                <a:gd name="T99" fmla="*/ 681 h 843"/>
                <a:gd name="T100" fmla="*/ 162 w 843"/>
                <a:gd name="T101" fmla="*/ 525 h 843"/>
                <a:gd name="T102" fmla="*/ 317 w 843"/>
                <a:gd name="T103" fmla="*/ 162 h 843"/>
                <a:gd name="T104" fmla="*/ 681 w 843"/>
                <a:gd name="T105" fmla="*/ 318 h 843"/>
                <a:gd name="T106" fmla="*/ 525 w 843"/>
                <a:gd name="T107" fmla="*/ 681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3" h="843">
                  <a:moveTo>
                    <a:pt x="758" y="219"/>
                  </a:moveTo>
                  <a:cubicBezTo>
                    <a:pt x="701" y="228"/>
                    <a:pt x="701" y="228"/>
                    <a:pt x="701" y="228"/>
                  </a:cubicBezTo>
                  <a:cubicBezTo>
                    <a:pt x="679" y="196"/>
                    <a:pt x="652" y="169"/>
                    <a:pt x="621" y="146"/>
                  </a:cubicBezTo>
                  <a:cubicBezTo>
                    <a:pt x="632" y="90"/>
                    <a:pt x="632" y="90"/>
                    <a:pt x="632" y="90"/>
                  </a:cubicBezTo>
                  <a:cubicBezTo>
                    <a:pt x="642" y="67"/>
                    <a:pt x="639" y="43"/>
                    <a:pt x="625" y="37"/>
                  </a:cubicBezTo>
                  <a:cubicBezTo>
                    <a:pt x="559" y="9"/>
                    <a:pt x="559" y="9"/>
                    <a:pt x="559" y="9"/>
                  </a:cubicBezTo>
                  <a:cubicBezTo>
                    <a:pt x="545" y="3"/>
                    <a:pt x="526" y="17"/>
                    <a:pt x="516" y="40"/>
                  </a:cubicBezTo>
                  <a:cubicBezTo>
                    <a:pt x="482" y="87"/>
                    <a:pt x="482" y="87"/>
                    <a:pt x="482" y="87"/>
                  </a:cubicBezTo>
                  <a:cubicBezTo>
                    <a:pt x="445" y="80"/>
                    <a:pt x="407" y="79"/>
                    <a:pt x="368" y="85"/>
                  </a:cubicBezTo>
                  <a:cubicBezTo>
                    <a:pt x="336" y="38"/>
                    <a:pt x="336" y="38"/>
                    <a:pt x="336" y="38"/>
                  </a:cubicBezTo>
                  <a:cubicBezTo>
                    <a:pt x="327" y="14"/>
                    <a:pt x="308" y="0"/>
                    <a:pt x="294" y="6"/>
                  </a:cubicBezTo>
                  <a:cubicBezTo>
                    <a:pt x="227" y="32"/>
                    <a:pt x="227" y="32"/>
                    <a:pt x="227" y="32"/>
                  </a:cubicBezTo>
                  <a:cubicBezTo>
                    <a:pt x="213" y="38"/>
                    <a:pt x="209" y="61"/>
                    <a:pt x="218" y="85"/>
                  </a:cubicBezTo>
                  <a:cubicBezTo>
                    <a:pt x="228" y="142"/>
                    <a:pt x="228" y="142"/>
                    <a:pt x="228" y="142"/>
                  </a:cubicBezTo>
                  <a:cubicBezTo>
                    <a:pt x="196" y="164"/>
                    <a:pt x="168" y="191"/>
                    <a:pt x="146" y="221"/>
                  </a:cubicBezTo>
                  <a:cubicBezTo>
                    <a:pt x="90" y="211"/>
                    <a:pt x="90" y="211"/>
                    <a:pt x="90" y="211"/>
                  </a:cubicBezTo>
                  <a:cubicBezTo>
                    <a:pt x="66" y="201"/>
                    <a:pt x="43" y="204"/>
                    <a:pt x="37" y="218"/>
                  </a:cubicBezTo>
                  <a:cubicBezTo>
                    <a:pt x="9" y="284"/>
                    <a:pt x="9" y="284"/>
                    <a:pt x="9" y="284"/>
                  </a:cubicBezTo>
                  <a:cubicBezTo>
                    <a:pt x="3" y="298"/>
                    <a:pt x="17" y="317"/>
                    <a:pt x="40" y="327"/>
                  </a:cubicBezTo>
                  <a:cubicBezTo>
                    <a:pt x="86" y="360"/>
                    <a:pt x="86" y="360"/>
                    <a:pt x="86" y="360"/>
                  </a:cubicBezTo>
                  <a:cubicBezTo>
                    <a:pt x="80" y="398"/>
                    <a:pt x="79" y="436"/>
                    <a:pt x="85" y="475"/>
                  </a:cubicBezTo>
                  <a:cubicBezTo>
                    <a:pt x="37" y="507"/>
                    <a:pt x="37" y="507"/>
                    <a:pt x="37" y="507"/>
                  </a:cubicBezTo>
                  <a:cubicBezTo>
                    <a:pt x="14" y="516"/>
                    <a:pt x="0" y="535"/>
                    <a:pt x="5" y="549"/>
                  </a:cubicBezTo>
                  <a:cubicBezTo>
                    <a:pt x="32" y="616"/>
                    <a:pt x="32" y="616"/>
                    <a:pt x="32" y="616"/>
                  </a:cubicBezTo>
                  <a:cubicBezTo>
                    <a:pt x="37" y="630"/>
                    <a:pt x="61" y="634"/>
                    <a:pt x="84" y="624"/>
                  </a:cubicBezTo>
                  <a:cubicBezTo>
                    <a:pt x="141" y="615"/>
                    <a:pt x="141" y="615"/>
                    <a:pt x="141" y="615"/>
                  </a:cubicBezTo>
                  <a:cubicBezTo>
                    <a:pt x="163" y="647"/>
                    <a:pt x="190" y="675"/>
                    <a:pt x="221" y="697"/>
                  </a:cubicBezTo>
                  <a:cubicBezTo>
                    <a:pt x="210" y="753"/>
                    <a:pt x="210" y="753"/>
                    <a:pt x="210" y="753"/>
                  </a:cubicBezTo>
                  <a:cubicBezTo>
                    <a:pt x="200" y="776"/>
                    <a:pt x="203" y="800"/>
                    <a:pt x="217" y="806"/>
                  </a:cubicBezTo>
                  <a:cubicBezTo>
                    <a:pt x="283" y="834"/>
                    <a:pt x="283" y="834"/>
                    <a:pt x="283" y="834"/>
                  </a:cubicBezTo>
                  <a:cubicBezTo>
                    <a:pt x="297" y="840"/>
                    <a:pt x="316" y="826"/>
                    <a:pt x="326" y="803"/>
                  </a:cubicBezTo>
                  <a:cubicBezTo>
                    <a:pt x="360" y="756"/>
                    <a:pt x="360" y="756"/>
                    <a:pt x="360" y="756"/>
                  </a:cubicBezTo>
                  <a:cubicBezTo>
                    <a:pt x="397" y="763"/>
                    <a:pt x="436" y="764"/>
                    <a:pt x="474" y="758"/>
                  </a:cubicBezTo>
                  <a:cubicBezTo>
                    <a:pt x="506" y="805"/>
                    <a:pt x="506" y="805"/>
                    <a:pt x="506" y="805"/>
                  </a:cubicBezTo>
                  <a:cubicBezTo>
                    <a:pt x="516" y="829"/>
                    <a:pt x="535" y="843"/>
                    <a:pt x="549" y="838"/>
                  </a:cubicBezTo>
                  <a:cubicBezTo>
                    <a:pt x="615" y="811"/>
                    <a:pt x="615" y="811"/>
                    <a:pt x="615" y="811"/>
                  </a:cubicBezTo>
                  <a:cubicBezTo>
                    <a:pt x="629" y="805"/>
                    <a:pt x="633" y="782"/>
                    <a:pt x="624" y="758"/>
                  </a:cubicBezTo>
                  <a:cubicBezTo>
                    <a:pt x="614" y="702"/>
                    <a:pt x="614" y="702"/>
                    <a:pt x="614" y="702"/>
                  </a:cubicBezTo>
                  <a:cubicBezTo>
                    <a:pt x="647" y="680"/>
                    <a:pt x="674" y="652"/>
                    <a:pt x="696" y="622"/>
                  </a:cubicBezTo>
                  <a:cubicBezTo>
                    <a:pt x="753" y="633"/>
                    <a:pt x="753" y="633"/>
                    <a:pt x="753" y="633"/>
                  </a:cubicBezTo>
                  <a:cubicBezTo>
                    <a:pt x="776" y="643"/>
                    <a:pt x="799" y="639"/>
                    <a:pt x="805" y="626"/>
                  </a:cubicBezTo>
                  <a:cubicBezTo>
                    <a:pt x="834" y="560"/>
                    <a:pt x="834" y="560"/>
                    <a:pt x="834" y="560"/>
                  </a:cubicBezTo>
                  <a:cubicBezTo>
                    <a:pt x="840" y="546"/>
                    <a:pt x="826" y="526"/>
                    <a:pt x="803" y="516"/>
                  </a:cubicBezTo>
                  <a:cubicBezTo>
                    <a:pt x="756" y="483"/>
                    <a:pt x="756" y="483"/>
                    <a:pt x="756" y="483"/>
                  </a:cubicBezTo>
                  <a:cubicBezTo>
                    <a:pt x="763" y="446"/>
                    <a:pt x="763" y="407"/>
                    <a:pt x="757" y="369"/>
                  </a:cubicBezTo>
                  <a:cubicBezTo>
                    <a:pt x="805" y="336"/>
                    <a:pt x="805" y="336"/>
                    <a:pt x="805" y="336"/>
                  </a:cubicBezTo>
                  <a:cubicBezTo>
                    <a:pt x="828" y="327"/>
                    <a:pt x="843" y="308"/>
                    <a:pt x="837" y="294"/>
                  </a:cubicBezTo>
                  <a:cubicBezTo>
                    <a:pt x="810" y="227"/>
                    <a:pt x="810" y="227"/>
                    <a:pt x="810" y="227"/>
                  </a:cubicBezTo>
                  <a:cubicBezTo>
                    <a:pt x="805" y="213"/>
                    <a:pt x="781" y="210"/>
                    <a:pt x="758" y="219"/>
                  </a:cubicBezTo>
                  <a:close/>
                  <a:moveTo>
                    <a:pt x="525" y="681"/>
                  </a:moveTo>
                  <a:cubicBezTo>
                    <a:pt x="382" y="738"/>
                    <a:pt x="219" y="669"/>
                    <a:pt x="162" y="525"/>
                  </a:cubicBezTo>
                  <a:cubicBezTo>
                    <a:pt x="104" y="382"/>
                    <a:pt x="174" y="219"/>
                    <a:pt x="317" y="162"/>
                  </a:cubicBezTo>
                  <a:cubicBezTo>
                    <a:pt x="461" y="105"/>
                    <a:pt x="623" y="175"/>
                    <a:pt x="681" y="318"/>
                  </a:cubicBezTo>
                  <a:cubicBezTo>
                    <a:pt x="738" y="461"/>
                    <a:pt x="668" y="624"/>
                    <a:pt x="525" y="681"/>
                  </a:cubicBezTo>
                  <a:close/>
                </a:path>
              </a:pathLst>
            </a:custGeom>
            <a:grpFill/>
            <a:ln>
              <a:noFill/>
            </a:ln>
          </p:spPr>
          <p:txBody>
            <a:bodyPr/>
            <a:lstStyle/>
            <a:p>
              <a:pPr>
                <a:defRPr/>
              </a:pPr>
              <a:endParaRPr lang="de-DE">
                <a:latin typeface="+mn-lt"/>
                <a:cs typeface="+mn-cs"/>
              </a:endParaRPr>
            </a:p>
          </p:txBody>
        </p:sp>
        <p:sp>
          <p:nvSpPr>
            <p:cNvPr id="67" name="Freeform 8">
              <a:extLst>
                <a:ext uri="{FF2B5EF4-FFF2-40B4-BE49-F238E27FC236}"/>
              </a:extLst>
            </p:cNvPr>
            <p:cNvSpPr>
              <a:spLocks noEditPoints="1"/>
            </p:cNvSpPr>
            <p:nvPr/>
          </p:nvSpPr>
          <p:spPr bwMode="gray">
            <a:xfrm>
              <a:off x="5437188" y="2633663"/>
              <a:ext cx="898525" cy="900113"/>
            </a:xfrm>
            <a:custGeom>
              <a:avLst/>
              <a:gdLst>
                <a:gd name="T0" fmla="*/ 192 w 572"/>
                <a:gd name="T1" fmla="*/ 52 h 573"/>
                <a:gd name="T2" fmla="*/ 52 w 572"/>
                <a:gd name="T3" fmla="*/ 380 h 573"/>
                <a:gd name="T4" fmla="*/ 380 w 572"/>
                <a:gd name="T5" fmla="*/ 521 h 573"/>
                <a:gd name="T6" fmla="*/ 521 w 572"/>
                <a:gd name="T7" fmla="*/ 193 h 573"/>
                <a:gd name="T8" fmla="*/ 192 w 572"/>
                <a:gd name="T9" fmla="*/ 52 h 573"/>
                <a:gd name="T10" fmla="*/ 333 w 572"/>
                <a:gd name="T11" fmla="*/ 403 h 573"/>
                <a:gd name="T12" fmla="*/ 170 w 572"/>
                <a:gd name="T13" fmla="*/ 333 h 573"/>
                <a:gd name="T14" fmla="*/ 240 w 572"/>
                <a:gd name="T15" fmla="*/ 171 h 573"/>
                <a:gd name="T16" fmla="*/ 402 w 572"/>
                <a:gd name="T17" fmla="*/ 240 h 573"/>
                <a:gd name="T18" fmla="*/ 333 w 572"/>
                <a:gd name="T19" fmla="*/ 40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573">
                  <a:moveTo>
                    <a:pt x="192" y="52"/>
                  </a:moveTo>
                  <a:cubicBezTo>
                    <a:pt x="63" y="104"/>
                    <a:pt x="0" y="251"/>
                    <a:pt x="52" y="380"/>
                  </a:cubicBezTo>
                  <a:cubicBezTo>
                    <a:pt x="103" y="510"/>
                    <a:pt x="250" y="573"/>
                    <a:pt x="380" y="521"/>
                  </a:cubicBezTo>
                  <a:cubicBezTo>
                    <a:pt x="509" y="469"/>
                    <a:pt x="572" y="322"/>
                    <a:pt x="521" y="193"/>
                  </a:cubicBezTo>
                  <a:cubicBezTo>
                    <a:pt x="469" y="63"/>
                    <a:pt x="322" y="0"/>
                    <a:pt x="192" y="52"/>
                  </a:cubicBezTo>
                  <a:close/>
                  <a:moveTo>
                    <a:pt x="333" y="403"/>
                  </a:moveTo>
                  <a:cubicBezTo>
                    <a:pt x="268" y="428"/>
                    <a:pt x="196" y="397"/>
                    <a:pt x="170" y="333"/>
                  </a:cubicBezTo>
                  <a:cubicBezTo>
                    <a:pt x="144" y="269"/>
                    <a:pt x="176" y="196"/>
                    <a:pt x="240" y="171"/>
                  </a:cubicBezTo>
                  <a:cubicBezTo>
                    <a:pt x="304" y="145"/>
                    <a:pt x="377" y="176"/>
                    <a:pt x="402" y="240"/>
                  </a:cubicBezTo>
                  <a:cubicBezTo>
                    <a:pt x="428" y="304"/>
                    <a:pt x="397" y="377"/>
                    <a:pt x="333" y="403"/>
                  </a:cubicBezTo>
                  <a:close/>
                </a:path>
              </a:pathLst>
            </a:custGeom>
            <a:grpFill/>
            <a:ln>
              <a:noFill/>
            </a:ln>
          </p:spPr>
          <p:txBody>
            <a:bodyPr/>
            <a:lstStyle/>
            <a:p>
              <a:pPr>
                <a:defRPr/>
              </a:pPr>
              <a:endParaRPr lang="de-DE">
                <a:latin typeface="+mn-lt"/>
                <a:cs typeface="+mn-cs"/>
              </a:endParaRPr>
            </a:p>
          </p:txBody>
        </p:sp>
        <p:sp>
          <p:nvSpPr>
            <p:cNvPr id="68" name="Freeform 9">
              <a:extLst>
                <a:ext uri="{FF2B5EF4-FFF2-40B4-BE49-F238E27FC236}"/>
              </a:extLst>
            </p:cNvPr>
            <p:cNvSpPr>
              <a:spLocks noEditPoints="1"/>
            </p:cNvSpPr>
            <p:nvPr/>
          </p:nvSpPr>
          <p:spPr bwMode="gray">
            <a:xfrm>
              <a:off x="6132513" y="1779588"/>
              <a:ext cx="1058863" cy="1055688"/>
            </a:xfrm>
            <a:custGeom>
              <a:avLst/>
              <a:gdLst>
                <a:gd name="T0" fmla="*/ 636 w 673"/>
                <a:gd name="T1" fmla="*/ 283 h 672"/>
                <a:gd name="T2" fmla="*/ 593 w 673"/>
                <a:gd name="T3" fmla="*/ 274 h 672"/>
                <a:gd name="T4" fmla="*/ 557 w 673"/>
                <a:gd name="T5" fmla="*/ 192 h 672"/>
                <a:gd name="T6" fmla="*/ 581 w 673"/>
                <a:gd name="T7" fmla="*/ 155 h 672"/>
                <a:gd name="T8" fmla="*/ 590 w 673"/>
                <a:gd name="T9" fmla="*/ 115 h 672"/>
                <a:gd name="T10" fmla="*/ 550 w 673"/>
                <a:gd name="T11" fmla="*/ 76 h 672"/>
                <a:gd name="T12" fmla="*/ 511 w 673"/>
                <a:gd name="T13" fmla="*/ 86 h 672"/>
                <a:gd name="T14" fmla="*/ 474 w 673"/>
                <a:gd name="T15" fmla="*/ 111 h 672"/>
                <a:gd name="T16" fmla="*/ 391 w 673"/>
                <a:gd name="T17" fmla="*/ 78 h 672"/>
                <a:gd name="T18" fmla="*/ 381 w 673"/>
                <a:gd name="T19" fmla="*/ 35 h 672"/>
                <a:gd name="T20" fmla="*/ 359 w 673"/>
                <a:gd name="T21" fmla="*/ 0 h 672"/>
                <a:gd name="T22" fmla="*/ 304 w 673"/>
                <a:gd name="T23" fmla="*/ 1 h 672"/>
                <a:gd name="T24" fmla="*/ 283 w 673"/>
                <a:gd name="T25" fmla="*/ 36 h 672"/>
                <a:gd name="T26" fmla="*/ 274 w 673"/>
                <a:gd name="T27" fmla="*/ 80 h 672"/>
                <a:gd name="T28" fmla="*/ 193 w 673"/>
                <a:gd name="T29" fmla="*/ 115 h 672"/>
                <a:gd name="T30" fmla="*/ 155 w 673"/>
                <a:gd name="T31" fmla="*/ 92 h 672"/>
                <a:gd name="T32" fmla="*/ 115 w 673"/>
                <a:gd name="T33" fmla="*/ 82 h 672"/>
                <a:gd name="T34" fmla="*/ 76 w 673"/>
                <a:gd name="T35" fmla="*/ 122 h 672"/>
                <a:gd name="T36" fmla="*/ 87 w 673"/>
                <a:gd name="T37" fmla="*/ 162 h 672"/>
                <a:gd name="T38" fmla="*/ 112 w 673"/>
                <a:gd name="T39" fmla="*/ 199 h 672"/>
                <a:gd name="T40" fmla="*/ 79 w 673"/>
                <a:gd name="T41" fmla="*/ 281 h 672"/>
                <a:gd name="T42" fmla="*/ 36 w 673"/>
                <a:gd name="T43" fmla="*/ 292 h 672"/>
                <a:gd name="T44" fmla="*/ 1 w 673"/>
                <a:gd name="T45" fmla="*/ 313 h 672"/>
                <a:gd name="T46" fmla="*/ 1 w 673"/>
                <a:gd name="T47" fmla="*/ 369 h 672"/>
                <a:gd name="T48" fmla="*/ 37 w 673"/>
                <a:gd name="T49" fmla="*/ 390 h 672"/>
                <a:gd name="T50" fmla="*/ 81 w 673"/>
                <a:gd name="T51" fmla="*/ 398 h 672"/>
                <a:gd name="T52" fmla="*/ 116 w 673"/>
                <a:gd name="T53" fmla="*/ 480 h 672"/>
                <a:gd name="T54" fmla="*/ 92 w 673"/>
                <a:gd name="T55" fmla="*/ 517 h 672"/>
                <a:gd name="T56" fmla="*/ 83 w 673"/>
                <a:gd name="T57" fmla="*/ 557 h 672"/>
                <a:gd name="T58" fmla="*/ 123 w 673"/>
                <a:gd name="T59" fmla="*/ 596 h 672"/>
                <a:gd name="T60" fmla="*/ 163 w 673"/>
                <a:gd name="T61" fmla="*/ 586 h 672"/>
                <a:gd name="T62" fmla="*/ 200 w 673"/>
                <a:gd name="T63" fmla="*/ 561 h 672"/>
                <a:gd name="T64" fmla="*/ 282 w 673"/>
                <a:gd name="T65" fmla="*/ 594 h 672"/>
                <a:gd name="T66" fmla="*/ 292 w 673"/>
                <a:gd name="T67" fmla="*/ 637 h 672"/>
                <a:gd name="T68" fmla="*/ 314 w 673"/>
                <a:gd name="T69" fmla="*/ 672 h 672"/>
                <a:gd name="T70" fmla="*/ 369 w 673"/>
                <a:gd name="T71" fmla="*/ 671 h 672"/>
                <a:gd name="T72" fmla="*/ 390 w 673"/>
                <a:gd name="T73" fmla="*/ 636 h 672"/>
                <a:gd name="T74" fmla="*/ 399 w 673"/>
                <a:gd name="T75" fmla="*/ 592 h 672"/>
                <a:gd name="T76" fmla="*/ 480 w 673"/>
                <a:gd name="T77" fmla="*/ 557 h 672"/>
                <a:gd name="T78" fmla="*/ 518 w 673"/>
                <a:gd name="T79" fmla="*/ 580 h 672"/>
                <a:gd name="T80" fmla="*/ 558 w 673"/>
                <a:gd name="T81" fmla="*/ 590 h 672"/>
                <a:gd name="T82" fmla="*/ 597 w 673"/>
                <a:gd name="T83" fmla="*/ 550 h 672"/>
                <a:gd name="T84" fmla="*/ 586 w 673"/>
                <a:gd name="T85" fmla="*/ 510 h 672"/>
                <a:gd name="T86" fmla="*/ 562 w 673"/>
                <a:gd name="T87" fmla="*/ 473 h 672"/>
                <a:gd name="T88" fmla="*/ 594 w 673"/>
                <a:gd name="T89" fmla="*/ 391 h 672"/>
                <a:gd name="T90" fmla="*/ 638 w 673"/>
                <a:gd name="T91" fmla="*/ 381 h 672"/>
                <a:gd name="T92" fmla="*/ 673 w 673"/>
                <a:gd name="T93" fmla="*/ 359 h 672"/>
                <a:gd name="T94" fmla="*/ 672 w 673"/>
                <a:gd name="T95" fmla="*/ 303 h 672"/>
                <a:gd name="T96" fmla="*/ 636 w 673"/>
                <a:gd name="T97" fmla="*/ 283 h 672"/>
                <a:gd name="T98" fmla="*/ 340 w 673"/>
                <a:gd name="T99" fmla="*/ 552 h 672"/>
                <a:gd name="T100" fmla="*/ 120 w 673"/>
                <a:gd name="T101" fmla="*/ 339 h 672"/>
                <a:gd name="T102" fmla="*/ 333 w 673"/>
                <a:gd name="T103" fmla="*/ 120 h 672"/>
                <a:gd name="T104" fmla="*/ 553 w 673"/>
                <a:gd name="T105" fmla="*/ 333 h 672"/>
                <a:gd name="T106" fmla="*/ 340 w 673"/>
                <a:gd name="T107" fmla="*/ 552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3" h="672">
                  <a:moveTo>
                    <a:pt x="636" y="283"/>
                  </a:moveTo>
                  <a:cubicBezTo>
                    <a:pt x="593" y="274"/>
                    <a:pt x="593" y="274"/>
                    <a:pt x="593" y="274"/>
                  </a:cubicBezTo>
                  <a:cubicBezTo>
                    <a:pt x="585" y="244"/>
                    <a:pt x="573" y="217"/>
                    <a:pt x="557" y="192"/>
                  </a:cubicBezTo>
                  <a:cubicBezTo>
                    <a:pt x="581" y="155"/>
                    <a:pt x="581" y="155"/>
                    <a:pt x="581" y="155"/>
                  </a:cubicBezTo>
                  <a:cubicBezTo>
                    <a:pt x="594" y="141"/>
                    <a:pt x="599" y="123"/>
                    <a:pt x="590" y="115"/>
                  </a:cubicBezTo>
                  <a:cubicBezTo>
                    <a:pt x="550" y="76"/>
                    <a:pt x="550" y="76"/>
                    <a:pt x="550" y="76"/>
                  </a:cubicBezTo>
                  <a:cubicBezTo>
                    <a:pt x="542" y="68"/>
                    <a:pt x="524" y="72"/>
                    <a:pt x="511" y="86"/>
                  </a:cubicBezTo>
                  <a:cubicBezTo>
                    <a:pt x="474" y="111"/>
                    <a:pt x="474" y="111"/>
                    <a:pt x="474" y="111"/>
                  </a:cubicBezTo>
                  <a:cubicBezTo>
                    <a:pt x="448" y="96"/>
                    <a:pt x="421" y="85"/>
                    <a:pt x="391" y="78"/>
                  </a:cubicBezTo>
                  <a:cubicBezTo>
                    <a:pt x="381" y="35"/>
                    <a:pt x="381" y="35"/>
                    <a:pt x="381" y="35"/>
                  </a:cubicBezTo>
                  <a:cubicBezTo>
                    <a:pt x="381" y="16"/>
                    <a:pt x="371" y="0"/>
                    <a:pt x="359" y="0"/>
                  </a:cubicBezTo>
                  <a:cubicBezTo>
                    <a:pt x="304" y="1"/>
                    <a:pt x="304" y="1"/>
                    <a:pt x="304" y="1"/>
                  </a:cubicBezTo>
                  <a:cubicBezTo>
                    <a:pt x="292" y="1"/>
                    <a:pt x="283" y="17"/>
                    <a:pt x="283" y="36"/>
                  </a:cubicBezTo>
                  <a:cubicBezTo>
                    <a:pt x="274" y="80"/>
                    <a:pt x="274" y="80"/>
                    <a:pt x="274" y="80"/>
                  </a:cubicBezTo>
                  <a:cubicBezTo>
                    <a:pt x="245" y="87"/>
                    <a:pt x="218" y="99"/>
                    <a:pt x="193" y="115"/>
                  </a:cubicBezTo>
                  <a:cubicBezTo>
                    <a:pt x="155" y="92"/>
                    <a:pt x="155" y="92"/>
                    <a:pt x="155" y="92"/>
                  </a:cubicBezTo>
                  <a:cubicBezTo>
                    <a:pt x="141" y="78"/>
                    <a:pt x="123" y="74"/>
                    <a:pt x="115" y="82"/>
                  </a:cubicBezTo>
                  <a:cubicBezTo>
                    <a:pt x="76" y="122"/>
                    <a:pt x="76" y="122"/>
                    <a:pt x="76" y="122"/>
                  </a:cubicBezTo>
                  <a:cubicBezTo>
                    <a:pt x="68" y="131"/>
                    <a:pt x="73" y="148"/>
                    <a:pt x="87" y="162"/>
                  </a:cubicBezTo>
                  <a:cubicBezTo>
                    <a:pt x="112" y="199"/>
                    <a:pt x="112" y="199"/>
                    <a:pt x="112" y="199"/>
                  </a:cubicBezTo>
                  <a:cubicBezTo>
                    <a:pt x="96" y="224"/>
                    <a:pt x="85" y="252"/>
                    <a:pt x="79" y="281"/>
                  </a:cubicBezTo>
                  <a:cubicBezTo>
                    <a:pt x="36" y="292"/>
                    <a:pt x="36" y="292"/>
                    <a:pt x="36" y="292"/>
                  </a:cubicBezTo>
                  <a:cubicBezTo>
                    <a:pt x="16" y="292"/>
                    <a:pt x="0" y="302"/>
                    <a:pt x="1" y="313"/>
                  </a:cubicBezTo>
                  <a:cubicBezTo>
                    <a:pt x="1" y="369"/>
                    <a:pt x="1" y="369"/>
                    <a:pt x="1" y="369"/>
                  </a:cubicBezTo>
                  <a:cubicBezTo>
                    <a:pt x="2" y="381"/>
                    <a:pt x="18" y="390"/>
                    <a:pt x="37" y="390"/>
                  </a:cubicBezTo>
                  <a:cubicBezTo>
                    <a:pt x="81" y="398"/>
                    <a:pt x="81" y="398"/>
                    <a:pt x="81" y="398"/>
                  </a:cubicBezTo>
                  <a:cubicBezTo>
                    <a:pt x="88" y="428"/>
                    <a:pt x="100" y="455"/>
                    <a:pt x="116" y="480"/>
                  </a:cubicBezTo>
                  <a:cubicBezTo>
                    <a:pt x="92" y="517"/>
                    <a:pt x="92" y="517"/>
                    <a:pt x="92" y="517"/>
                  </a:cubicBezTo>
                  <a:cubicBezTo>
                    <a:pt x="79" y="531"/>
                    <a:pt x="74" y="549"/>
                    <a:pt x="83" y="557"/>
                  </a:cubicBezTo>
                  <a:cubicBezTo>
                    <a:pt x="123" y="596"/>
                    <a:pt x="123" y="596"/>
                    <a:pt x="123" y="596"/>
                  </a:cubicBezTo>
                  <a:cubicBezTo>
                    <a:pt x="131" y="604"/>
                    <a:pt x="149" y="600"/>
                    <a:pt x="163" y="586"/>
                  </a:cubicBezTo>
                  <a:cubicBezTo>
                    <a:pt x="200" y="561"/>
                    <a:pt x="200" y="561"/>
                    <a:pt x="200" y="561"/>
                  </a:cubicBezTo>
                  <a:cubicBezTo>
                    <a:pt x="225" y="576"/>
                    <a:pt x="252" y="588"/>
                    <a:pt x="282" y="594"/>
                  </a:cubicBezTo>
                  <a:cubicBezTo>
                    <a:pt x="292" y="637"/>
                    <a:pt x="292" y="637"/>
                    <a:pt x="292" y="637"/>
                  </a:cubicBezTo>
                  <a:cubicBezTo>
                    <a:pt x="292" y="657"/>
                    <a:pt x="302" y="672"/>
                    <a:pt x="314" y="672"/>
                  </a:cubicBezTo>
                  <a:cubicBezTo>
                    <a:pt x="369" y="671"/>
                    <a:pt x="369" y="671"/>
                    <a:pt x="369" y="671"/>
                  </a:cubicBezTo>
                  <a:cubicBezTo>
                    <a:pt x="381" y="671"/>
                    <a:pt x="390" y="655"/>
                    <a:pt x="390" y="636"/>
                  </a:cubicBezTo>
                  <a:cubicBezTo>
                    <a:pt x="399" y="592"/>
                    <a:pt x="399" y="592"/>
                    <a:pt x="399" y="592"/>
                  </a:cubicBezTo>
                  <a:cubicBezTo>
                    <a:pt x="428" y="585"/>
                    <a:pt x="456" y="573"/>
                    <a:pt x="480" y="557"/>
                  </a:cubicBezTo>
                  <a:cubicBezTo>
                    <a:pt x="518" y="580"/>
                    <a:pt x="518" y="580"/>
                    <a:pt x="518" y="580"/>
                  </a:cubicBezTo>
                  <a:cubicBezTo>
                    <a:pt x="532" y="594"/>
                    <a:pt x="550" y="598"/>
                    <a:pt x="558" y="590"/>
                  </a:cubicBezTo>
                  <a:cubicBezTo>
                    <a:pt x="597" y="550"/>
                    <a:pt x="597" y="550"/>
                    <a:pt x="597" y="550"/>
                  </a:cubicBezTo>
                  <a:cubicBezTo>
                    <a:pt x="605" y="541"/>
                    <a:pt x="600" y="524"/>
                    <a:pt x="586" y="510"/>
                  </a:cubicBezTo>
                  <a:cubicBezTo>
                    <a:pt x="562" y="473"/>
                    <a:pt x="562" y="473"/>
                    <a:pt x="562" y="473"/>
                  </a:cubicBezTo>
                  <a:cubicBezTo>
                    <a:pt x="577" y="448"/>
                    <a:pt x="588" y="420"/>
                    <a:pt x="594" y="391"/>
                  </a:cubicBezTo>
                  <a:cubicBezTo>
                    <a:pt x="638" y="381"/>
                    <a:pt x="638" y="381"/>
                    <a:pt x="638" y="381"/>
                  </a:cubicBezTo>
                  <a:cubicBezTo>
                    <a:pt x="657" y="380"/>
                    <a:pt x="673" y="370"/>
                    <a:pt x="673" y="359"/>
                  </a:cubicBezTo>
                  <a:cubicBezTo>
                    <a:pt x="672" y="303"/>
                    <a:pt x="672" y="303"/>
                    <a:pt x="672" y="303"/>
                  </a:cubicBezTo>
                  <a:cubicBezTo>
                    <a:pt x="672" y="291"/>
                    <a:pt x="656" y="282"/>
                    <a:pt x="636" y="283"/>
                  </a:cubicBezTo>
                  <a:close/>
                  <a:moveTo>
                    <a:pt x="340" y="552"/>
                  </a:moveTo>
                  <a:cubicBezTo>
                    <a:pt x="220" y="554"/>
                    <a:pt x="122" y="459"/>
                    <a:pt x="120" y="339"/>
                  </a:cubicBezTo>
                  <a:cubicBezTo>
                    <a:pt x="118" y="220"/>
                    <a:pt x="214" y="121"/>
                    <a:pt x="333" y="120"/>
                  </a:cubicBezTo>
                  <a:cubicBezTo>
                    <a:pt x="453" y="118"/>
                    <a:pt x="551" y="213"/>
                    <a:pt x="553" y="333"/>
                  </a:cubicBezTo>
                  <a:cubicBezTo>
                    <a:pt x="555" y="452"/>
                    <a:pt x="459" y="551"/>
                    <a:pt x="340" y="552"/>
                  </a:cubicBezTo>
                  <a:close/>
                </a:path>
              </a:pathLst>
            </a:custGeom>
            <a:grpFill/>
            <a:ln>
              <a:noFill/>
            </a:ln>
          </p:spPr>
          <p:txBody>
            <a:bodyPr/>
            <a:lstStyle/>
            <a:p>
              <a:pPr>
                <a:defRPr/>
              </a:pPr>
              <a:endParaRPr lang="de-DE">
                <a:latin typeface="+mn-lt"/>
                <a:cs typeface="+mn-cs"/>
              </a:endParaRPr>
            </a:p>
          </p:txBody>
        </p:sp>
        <p:sp>
          <p:nvSpPr>
            <p:cNvPr id="71" name="Freeform 10">
              <a:extLst>
                <a:ext uri="{FF2B5EF4-FFF2-40B4-BE49-F238E27FC236}"/>
              </a:extLst>
            </p:cNvPr>
            <p:cNvSpPr>
              <a:spLocks noEditPoints="1"/>
            </p:cNvSpPr>
            <p:nvPr/>
          </p:nvSpPr>
          <p:spPr bwMode="gray">
            <a:xfrm>
              <a:off x="6364288" y="2009775"/>
              <a:ext cx="595313" cy="596900"/>
            </a:xfrm>
            <a:custGeom>
              <a:avLst/>
              <a:gdLst>
                <a:gd name="T0" fmla="*/ 187 w 379"/>
                <a:gd name="T1" fmla="*/ 2 h 380"/>
                <a:gd name="T2" fmla="*/ 1 w 379"/>
                <a:gd name="T3" fmla="*/ 193 h 380"/>
                <a:gd name="T4" fmla="*/ 192 w 379"/>
                <a:gd name="T5" fmla="*/ 378 h 380"/>
                <a:gd name="T6" fmla="*/ 378 w 379"/>
                <a:gd name="T7" fmla="*/ 187 h 380"/>
                <a:gd name="T8" fmla="*/ 187 w 379"/>
                <a:gd name="T9" fmla="*/ 2 h 380"/>
                <a:gd name="T10" fmla="*/ 191 w 379"/>
                <a:gd name="T11" fmla="*/ 283 h 380"/>
                <a:gd name="T12" fmla="*/ 96 w 379"/>
                <a:gd name="T13" fmla="*/ 191 h 380"/>
                <a:gd name="T14" fmla="*/ 188 w 379"/>
                <a:gd name="T15" fmla="*/ 97 h 380"/>
                <a:gd name="T16" fmla="*/ 283 w 379"/>
                <a:gd name="T17" fmla="*/ 189 h 380"/>
                <a:gd name="T18" fmla="*/ 191 w 379"/>
                <a:gd name="T19" fmla="*/ 283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380">
                  <a:moveTo>
                    <a:pt x="187" y="2"/>
                  </a:moveTo>
                  <a:cubicBezTo>
                    <a:pt x="83" y="3"/>
                    <a:pt x="0" y="89"/>
                    <a:pt x="1" y="193"/>
                  </a:cubicBezTo>
                  <a:cubicBezTo>
                    <a:pt x="3" y="297"/>
                    <a:pt x="88" y="380"/>
                    <a:pt x="192" y="378"/>
                  </a:cubicBezTo>
                  <a:cubicBezTo>
                    <a:pt x="296" y="377"/>
                    <a:pt x="379" y="291"/>
                    <a:pt x="378" y="187"/>
                  </a:cubicBezTo>
                  <a:cubicBezTo>
                    <a:pt x="376" y="83"/>
                    <a:pt x="291" y="0"/>
                    <a:pt x="187" y="2"/>
                  </a:cubicBezTo>
                  <a:close/>
                  <a:moveTo>
                    <a:pt x="191" y="283"/>
                  </a:moveTo>
                  <a:cubicBezTo>
                    <a:pt x="140" y="284"/>
                    <a:pt x="97" y="243"/>
                    <a:pt x="96" y="191"/>
                  </a:cubicBezTo>
                  <a:cubicBezTo>
                    <a:pt x="96" y="140"/>
                    <a:pt x="137" y="98"/>
                    <a:pt x="188" y="97"/>
                  </a:cubicBezTo>
                  <a:cubicBezTo>
                    <a:pt x="240" y="96"/>
                    <a:pt x="282" y="137"/>
                    <a:pt x="283" y="189"/>
                  </a:cubicBezTo>
                  <a:cubicBezTo>
                    <a:pt x="284" y="240"/>
                    <a:pt x="242" y="282"/>
                    <a:pt x="191" y="283"/>
                  </a:cubicBezTo>
                  <a:close/>
                </a:path>
              </a:pathLst>
            </a:custGeom>
            <a:grpFill/>
            <a:ln>
              <a:noFill/>
            </a:ln>
          </p:spPr>
          <p:txBody>
            <a:bodyPr/>
            <a:lstStyle/>
            <a:p>
              <a:pPr>
                <a:defRPr/>
              </a:pPr>
              <a:endParaRPr lang="de-DE">
                <a:latin typeface="+mn-lt"/>
                <a:cs typeface="+mn-cs"/>
              </a:endParaRPr>
            </a:p>
          </p:txBody>
        </p:sp>
        <p:sp>
          <p:nvSpPr>
            <p:cNvPr id="72" name="Freeform 11">
              <a:extLst>
                <a:ext uri="{FF2B5EF4-FFF2-40B4-BE49-F238E27FC236}"/>
              </a:extLst>
            </p:cNvPr>
            <p:cNvSpPr>
              <a:spLocks noEditPoints="1"/>
            </p:cNvSpPr>
            <p:nvPr/>
          </p:nvSpPr>
          <p:spPr bwMode="gray">
            <a:xfrm>
              <a:off x="6032500" y="1274763"/>
              <a:ext cx="635000" cy="635000"/>
            </a:xfrm>
            <a:custGeom>
              <a:avLst/>
              <a:gdLst>
                <a:gd name="T0" fmla="*/ 386 w 404"/>
                <a:gd name="T1" fmla="*/ 242 h 404"/>
                <a:gd name="T2" fmla="*/ 363 w 404"/>
                <a:gd name="T3" fmla="*/ 227 h 404"/>
                <a:gd name="T4" fmla="*/ 362 w 404"/>
                <a:gd name="T5" fmla="*/ 172 h 404"/>
                <a:gd name="T6" fmla="*/ 384 w 404"/>
                <a:gd name="T7" fmla="*/ 156 h 404"/>
                <a:gd name="T8" fmla="*/ 399 w 404"/>
                <a:gd name="T9" fmla="*/ 135 h 404"/>
                <a:gd name="T10" fmla="*/ 385 w 404"/>
                <a:gd name="T11" fmla="*/ 104 h 404"/>
                <a:gd name="T12" fmla="*/ 360 w 404"/>
                <a:gd name="T13" fmla="*/ 100 h 404"/>
                <a:gd name="T14" fmla="*/ 333 w 404"/>
                <a:gd name="T15" fmla="*/ 106 h 404"/>
                <a:gd name="T16" fmla="*/ 294 w 404"/>
                <a:gd name="T17" fmla="*/ 68 h 404"/>
                <a:gd name="T18" fmla="*/ 298 w 404"/>
                <a:gd name="T19" fmla="*/ 40 h 404"/>
                <a:gd name="T20" fmla="*/ 294 w 404"/>
                <a:gd name="T21" fmla="*/ 15 h 404"/>
                <a:gd name="T22" fmla="*/ 262 w 404"/>
                <a:gd name="T23" fmla="*/ 3 h 404"/>
                <a:gd name="T24" fmla="*/ 242 w 404"/>
                <a:gd name="T25" fmla="*/ 18 h 404"/>
                <a:gd name="T26" fmla="*/ 227 w 404"/>
                <a:gd name="T27" fmla="*/ 41 h 404"/>
                <a:gd name="T28" fmla="*/ 172 w 404"/>
                <a:gd name="T29" fmla="*/ 42 h 404"/>
                <a:gd name="T30" fmla="*/ 156 w 404"/>
                <a:gd name="T31" fmla="*/ 20 h 404"/>
                <a:gd name="T32" fmla="*/ 135 w 404"/>
                <a:gd name="T33" fmla="*/ 5 h 404"/>
                <a:gd name="T34" fmla="*/ 104 w 404"/>
                <a:gd name="T35" fmla="*/ 19 h 404"/>
                <a:gd name="T36" fmla="*/ 100 w 404"/>
                <a:gd name="T37" fmla="*/ 44 h 404"/>
                <a:gd name="T38" fmla="*/ 106 w 404"/>
                <a:gd name="T39" fmla="*/ 71 h 404"/>
                <a:gd name="T40" fmla="*/ 68 w 404"/>
                <a:gd name="T41" fmla="*/ 110 h 404"/>
                <a:gd name="T42" fmla="*/ 41 w 404"/>
                <a:gd name="T43" fmla="*/ 106 h 404"/>
                <a:gd name="T44" fmla="*/ 15 w 404"/>
                <a:gd name="T45" fmla="*/ 110 h 404"/>
                <a:gd name="T46" fmla="*/ 3 w 404"/>
                <a:gd name="T47" fmla="*/ 142 h 404"/>
                <a:gd name="T48" fmla="*/ 18 w 404"/>
                <a:gd name="T49" fmla="*/ 162 h 404"/>
                <a:gd name="T50" fmla="*/ 41 w 404"/>
                <a:gd name="T51" fmla="*/ 177 h 404"/>
                <a:gd name="T52" fmla="*/ 42 w 404"/>
                <a:gd name="T53" fmla="*/ 232 h 404"/>
                <a:gd name="T54" fmla="*/ 20 w 404"/>
                <a:gd name="T55" fmla="*/ 248 h 404"/>
                <a:gd name="T56" fmla="*/ 5 w 404"/>
                <a:gd name="T57" fmla="*/ 269 h 404"/>
                <a:gd name="T58" fmla="*/ 19 w 404"/>
                <a:gd name="T59" fmla="*/ 300 h 404"/>
                <a:gd name="T60" fmla="*/ 44 w 404"/>
                <a:gd name="T61" fmla="*/ 304 h 404"/>
                <a:gd name="T62" fmla="*/ 71 w 404"/>
                <a:gd name="T63" fmla="*/ 298 h 404"/>
                <a:gd name="T64" fmla="*/ 110 w 404"/>
                <a:gd name="T65" fmla="*/ 336 h 404"/>
                <a:gd name="T66" fmla="*/ 106 w 404"/>
                <a:gd name="T67" fmla="*/ 364 h 404"/>
                <a:gd name="T68" fmla="*/ 110 w 404"/>
                <a:gd name="T69" fmla="*/ 389 h 404"/>
                <a:gd name="T70" fmla="*/ 142 w 404"/>
                <a:gd name="T71" fmla="*/ 401 h 404"/>
                <a:gd name="T72" fmla="*/ 162 w 404"/>
                <a:gd name="T73" fmla="*/ 386 h 404"/>
                <a:gd name="T74" fmla="*/ 178 w 404"/>
                <a:gd name="T75" fmla="*/ 363 h 404"/>
                <a:gd name="T76" fmla="*/ 232 w 404"/>
                <a:gd name="T77" fmla="*/ 362 h 404"/>
                <a:gd name="T78" fmla="*/ 248 w 404"/>
                <a:gd name="T79" fmla="*/ 384 h 404"/>
                <a:gd name="T80" fmla="*/ 269 w 404"/>
                <a:gd name="T81" fmla="*/ 399 h 404"/>
                <a:gd name="T82" fmla="*/ 301 w 404"/>
                <a:gd name="T83" fmla="*/ 385 h 404"/>
                <a:gd name="T84" fmla="*/ 304 w 404"/>
                <a:gd name="T85" fmla="*/ 360 h 404"/>
                <a:gd name="T86" fmla="*/ 299 w 404"/>
                <a:gd name="T87" fmla="*/ 333 h 404"/>
                <a:gd name="T88" fmla="*/ 336 w 404"/>
                <a:gd name="T89" fmla="*/ 294 h 404"/>
                <a:gd name="T90" fmla="*/ 364 w 404"/>
                <a:gd name="T91" fmla="*/ 298 h 404"/>
                <a:gd name="T92" fmla="*/ 389 w 404"/>
                <a:gd name="T93" fmla="*/ 294 h 404"/>
                <a:gd name="T94" fmla="*/ 401 w 404"/>
                <a:gd name="T95" fmla="*/ 262 h 404"/>
                <a:gd name="T96" fmla="*/ 386 w 404"/>
                <a:gd name="T97" fmla="*/ 242 h 404"/>
                <a:gd name="T98" fmla="*/ 153 w 404"/>
                <a:gd name="T99" fmla="*/ 326 h 404"/>
                <a:gd name="T100" fmla="*/ 78 w 404"/>
                <a:gd name="T101" fmla="*/ 153 h 404"/>
                <a:gd name="T102" fmla="*/ 251 w 404"/>
                <a:gd name="T103" fmla="*/ 78 h 404"/>
                <a:gd name="T104" fmla="*/ 326 w 404"/>
                <a:gd name="T105" fmla="*/ 251 h 404"/>
                <a:gd name="T106" fmla="*/ 153 w 404"/>
                <a:gd name="T107" fmla="*/ 326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4" h="404">
                  <a:moveTo>
                    <a:pt x="386" y="242"/>
                  </a:moveTo>
                  <a:cubicBezTo>
                    <a:pt x="363" y="227"/>
                    <a:pt x="363" y="227"/>
                    <a:pt x="363" y="227"/>
                  </a:cubicBezTo>
                  <a:cubicBezTo>
                    <a:pt x="366" y="208"/>
                    <a:pt x="365" y="190"/>
                    <a:pt x="362" y="172"/>
                  </a:cubicBezTo>
                  <a:cubicBezTo>
                    <a:pt x="384" y="156"/>
                    <a:pt x="384" y="156"/>
                    <a:pt x="384" y="156"/>
                  </a:cubicBezTo>
                  <a:cubicBezTo>
                    <a:pt x="395" y="151"/>
                    <a:pt x="402" y="142"/>
                    <a:pt x="399" y="135"/>
                  </a:cubicBezTo>
                  <a:cubicBezTo>
                    <a:pt x="385" y="104"/>
                    <a:pt x="385" y="104"/>
                    <a:pt x="385" y="104"/>
                  </a:cubicBezTo>
                  <a:cubicBezTo>
                    <a:pt x="383" y="97"/>
                    <a:pt x="371" y="95"/>
                    <a:pt x="360" y="100"/>
                  </a:cubicBezTo>
                  <a:cubicBezTo>
                    <a:pt x="333" y="106"/>
                    <a:pt x="333" y="106"/>
                    <a:pt x="333" y="106"/>
                  </a:cubicBezTo>
                  <a:cubicBezTo>
                    <a:pt x="323" y="91"/>
                    <a:pt x="309" y="78"/>
                    <a:pt x="294" y="68"/>
                  </a:cubicBezTo>
                  <a:cubicBezTo>
                    <a:pt x="298" y="40"/>
                    <a:pt x="298" y="40"/>
                    <a:pt x="298" y="40"/>
                  </a:cubicBezTo>
                  <a:cubicBezTo>
                    <a:pt x="303" y="29"/>
                    <a:pt x="301" y="18"/>
                    <a:pt x="294" y="15"/>
                  </a:cubicBezTo>
                  <a:cubicBezTo>
                    <a:pt x="262" y="3"/>
                    <a:pt x="262" y="3"/>
                    <a:pt x="262" y="3"/>
                  </a:cubicBezTo>
                  <a:cubicBezTo>
                    <a:pt x="255" y="0"/>
                    <a:pt x="246" y="7"/>
                    <a:pt x="242" y="18"/>
                  </a:cubicBezTo>
                  <a:cubicBezTo>
                    <a:pt x="227" y="41"/>
                    <a:pt x="227" y="41"/>
                    <a:pt x="227" y="41"/>
                  </a:cubicBezTo>
                  <a:cubicBezTo>
                    <a:pt x="208" y="38"/>
                    <a:pt x="190" y="39"/>
                    <a:pt x="172" y="42"/>
                  </a:cubicBezTo>
                  <a:cubicBezTo>
                    <a:pt x="156" y="20"/>
                    <a:pt x="156" y="20"/>
                    <a:pt x="156" y="20"/>
                  </a:cubicBezTo>
                  <a:cubicBezTo>
                    <a:pt x="151" y="9"/>
                    <a:pt x="142" y="2"/>
                    <a:pt x="135" y="5"/>
                  </a:cubicBezTo>
                  <a:cubicBezTo>
                    <a:pt x="104" y="19"/>
                    <a:pt x="104" y="19"/>
                    <a:pt x="104" y="19"/>
                  </a:cubicBezTo>
                  <a:cubicBezTo>
                    <a:pt x="97" y="22"/>
                    <a:pt x="96" y="33"/>
                    <a:pt x="100" y="44"/>
                  </a:cubicBezTo>
                  <a:cubicBezTo>
                    <a:pt x="106" y="71"/>
                    <a:pt x="106" y="71"/>
                    <a:pt x="106" y="71"/>
                  </a:cubicBezTo>
                  <a:cubicBezTo>
                    <a:pt x="91" y="82"/>
                    <a:pt x="78" y="95"/>
                    <a:pt x="68" y="110"/>
                  </a:cubicBezTo>
                  <a:cubicBezTo>
                    <a:pt x="41" y="106"/>
                    <a:pt x="41" y="106"/>
                    <a:pt x="41" y="106"/>
                  </a:cubicBezTo>
                  <a:cubicBezTo>
                    <a:pt x="29" y="101"/>
                    <a:pt x="18" y="103"/>
                    <a:pt x="15" y="110"/>
                  </a:cubicBezTo>
                  <a:cubicBezTo>
                    <a:pt x="3" y="142"/>
                    <a:pt x="3" y="142"/>
                    <a:pt x="3" y="142"/>
                  </a:cubicBezTo>
                  <a:cubicBezTo>
                    <a:pt x="0" y="149"/>
                    <a:pt x="7" y="158"/>
                    <a:pt x="18" y="162"/>
                  </a:cubicBezTo>
                  <a:cubicBezTo>
                    <a:pt x="41" y="177"/>
                    <a:pt x="41" y="177"/>
                    <a:pt x="41" y="177"/>
                  </a:cubicBezTo>
                  <a:cubicBezTo>
                    <a:pt x="38" y="196"/>
                    <a:pt x="39" y="214"/>
                    <a:pt x="42" y="232"/>
                  </a:cubicBezTo>
                  <a:cubicBezTo>
                    <a:pt x="20" y="248"/>
                    <a:pt x="20" y="248"/>
                    <a:pt x="20" y="248"/>
                  </a:cubicBezTo>
                  <a:cubicBezTo>
                    <a:pt x="9" y="253"/>
                    <a:pt x="2" y="262"/>
                    <a:pt x="5" y="269"/>
                  </a:cubicBezTo>
                  <a:cubicBezTo>
                    <a:pt x="19" y="300"/>
                    <a:pt x="19" y="300"/>
                    <a:pt x="19" y="300"/>
                  </a:cubicBezTo>
                  <a:cubicBezTo>
                    <a:pt x="22" y="307"/>
                    <a:pt x="33" y="309"/>
                    <a:pt x="44" y="304"/>
                  </a:cubicBezTo>
                  <a:cubicBezTo>
                    <a:pt x="71" y="298"/>
                    <a:pt x="71" y="298"/>
                    <a:pt x="71" y="298"/>
                  </a:cubicBezTo>
                  <a:cubicBezTo>
                    <a:pt x="82" y="313"/>
                    <a:pt x="95" y="326"/>
                    <a:pt x="110" y="336"/>
                  </a:cubicBezTo>
                  <a:cubicBezTo>
                    <a:pt x="106" y="364"/>
                    <a:pt x="106" y="364"/>
                    <a:pt x="106" y="364"/>
                  </a:cubicBezTo>
                  <a:cubicBezTo>
                    <a:pt x="101" y="375"/>
                    <a:pt x="103" y="386"/>
                    <a:pt x="110" y="389"/>
                  </a:cubicBezTo>
                  <a:cubicBezTo>
                    <a:pt x="142" y="401"/>
                    <a:pt x="142" y="401"/>
                    <a:pt x="142" y="401"/>
                  </a:cubicBezTo>
                  <a:cubicBezTo>
                    <a:pt x="149" y="404"/>
                    <a:pt x="158" y="397"/>
                    <a:pt x="162" y="386"/>
                  </a:cubicBezTo>
                  <a:cubicBezTo>
                    <a:pt x="178" y="363"/>
                    <a:pt x="178" y="363"/>
                    <a:pt x="178" y="363"/>
                  </a:cubicBezTo>
                  <a:cubicBezTo>
                    <a:pt x="196" y="366"/>
                    <a:pt x="214" y="365"/>
                    <a:pt x="232" y="362"/>
                  </a:cubicBezTo>
                  <a:cubicBezTo>
                    <a:pt x="248" y="384"/>
                    <a:pt x="248" y="384"/>
                    <a:pt x="248" y="384"/>
                  </a:cubicBezTo>
                  <a:cubicBezTo>
                    <a:pt x="253" y="395"/>
                    <a:pt x="262" y="402"/>
                    <a:pt x="269" y="399"/>
                  </a:cubicBezTo>
                  <a:cubicBezTo>
                    <a:pt x="301" y="385"/>
                    <a:pt x="301" y="385"/>
                    <a:pt x="301" y="385"/>
                  </a:cubicBezTo>
                  <a:cubicBezTo>
                    <a:pt x="307" y="382"/>
                    <a:pt x="309" y="371"/>
                    <a:pt x="304" y="360"/>
                  </a:cubicBezTo>
                  <a:cubicBezTo>
                    <a:pt x="299" y="333"/>
                    <a:pt x="299" y="333"/>
                    <a:pt x="299" y="333"/>
                  </a:cubicBezTo>
                  <a:cubicBezTo>
                    <a:pt x="313" y="322"/>
                    <a:pt x="326" y="309"/>
                    <a:pt x="336" y="294"/>
                  </a:cubicBezTo>
                  <a:cubicBezTo>
                    <a:pt x="364" y="298"/>
                    <a:pt x="364" y="298"/>
                    <a:pt x="364" y="298"/>
                  </a:cubicBezTo>
                  <a:cubicBezTo>
                    <a:pt x="375" y="303"/>
                    <a:pt x="386" y="301"/>
                    <a:pt x="389" y="294"/>
                  </a:cubicBezTo>
                  <a:cubicBezTo>
                    <a:pt x="401" y="262"/>
                    <a:pt x="401" y="262"/>
                    <a:pt x="401" y="262"/>
                  </a:cubicBezTo>
                  <a:cubicBezTo>
                    <a:pt x="404" y="255"/>
                    <a:pt x="397" y="246"/>
                    <a:pt x="386" y="242"/>
                  </a:cubicBezTo>
                  <a:close/>
                  <a:moveTo>
                    <a:pt x="153" y="326"/>
                  </a:moveTo>
                  <a:cubicBezTo>
                    <a:pt x="84" y="299"/>
                    <a:pt x="51" y="222"/>
                    <a:pt x="78" y="153"/>
                  </a:cubicBezTo>
                  <a:cubicBezTo>
                    <a:pt x="105" y="84"/>
                    <a:pt x="182" y="51"/>
                    <a:pt x="251" y="78"/>
                  </a:cubicBezTo>
                  <a:cubicBezTo>
                    <a:pt x="320" y="105"/>
                    <a:pt x="354" y="182"/>
                    <a:pt x="326" y="251"/>
                  </a:cubicBezTo>
                  <a:cubicBezTo>
                    <a:pt x="299" y="320"/>
                    <a:pt x="222" y="353"/>
                    <a:pt x="153" y="326"/>
                  </a:cubicBezTo>
                  <a:close/>
                </a:path>
              </a:pathLst>
            </a:custGeom>
            <a:grpFill/>
            <a:ln>
              <a:noFill/>
            </a:ln>
          </p:spPr>
          <p:txBody>
            <a:bodyPr/>
            <a:lstStyle/>
            <a:p>
              <a:pPr>
                <a:defRPr/>
              </a:pPr>
              <a:endParaRPr lang="de-DE">
                <a:latin typeface="+mn-lt"/>
                <a:cs typeface="+mn-cs"/>
              </a:endParaRPr>
            </a:p>
          </p:txBody>
        </p:sp>
        <p:sp>
          <p:nvSpPr>
            <p:cNvPr id="73" name="Freeform 12">
              <a:extLst>
                <a:ext uri="{FF2B5EF4-FFF2-40B4-BE49-F238E27FC236}"/>
              </a:extLst>
            </p:cNvPr>
            <p:cNvSpPr>
              <a:spLocks noEditPoints="1"/>
            </p:cNvSpPr>
            <p:nvPr/>
          </p:nvSpPr>
          <p:spPr bwMode="gray">
            <a:xfrm>
              <a:off x="6156325" y="1398588"/>
              <a:ext cx="387350" cy="387350"/>
            </a:xfrm>
            <a:custGeom>
              <a:avLst/>
              <a:gdLst>
                <a:gd name="T0" fmla="*/ 163 w 246"/>
                <a:gd name="T1" fmla="*/ 22 h 246"/>
                <a:gd name="T2" fmla="*/ 22 w 246"/>
                <a:gd name="T3" fmla="*/ 83 h 246"/>
                <a:gd name="T4" fmla="*/ 83 w 246"/>
                <a:gd name="T5" fmla="*/ 224 h 246"/>
                <a:gd name="T6" fmla="*/ 224 w 246"/>
                <a:gd name="T7" fmla="*/ 163 h 246"/>
                <a:gd name="T8" fmla="*/ 163 w 246"/>
                <a:gd name="T9" fmla="*/ 22 h 246"/>
                <a:gd name="T10" fmla="*/ 122 w 246"/>
                <a:gd name="T11" fmla="*/ 193 h 246"/>
                <a:gd name="T12" fmla="*/ 53 w 246"/>
                <a:gd name="T13" fmla="*/ 122 h 246"/>
                <a:gd name="T14" fmla="*/ 124 w 246"/>
                <a:gd name="T15" fmla="*/ 53 h 246"/>
                <a:gd name="T16" fmla="*/ 193 w 246"/>
                <a:gd name="T17" fmla="*/ 124 h 246"/>
                <a:gd name="T18" fmla="*/ 122 w 246"/>
                <a:gd name="T19" fmla="*/ 19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46">
                  <a:moveTo>
                    <a:pt x="163" y="22"/>
                  </a:moveTo>
                  <a:cubicBezTo>
                    <a:pt x="107" y="0"/>
                    <a:pt x="44" y="27"/>
                    <a:pt x="22" y="83"/>
                  </a:cubicBezTo>
                  <a:cubicBezTo>
                    <a:pt x="0" y="139"/>
                    <a:pt x="27" y="202"/>
                    <a:pt x="83" y="224"/>
                  </a:cubicBezTo>
                  <a:cubicBezTo>
                    <a:pt x="139" y="246"/>
                    <a:pt x="202" y="219"/>
                    <a:pt x="224" y="163"/>
                  </a:cubicBezTo>
                  <a:cubicBezTo>
                    <a:pt x="246" y="107"/>
                    <a:pt x="219" y="44"/>
                    <a:pt x="163" y="22"/>
                  </a:cubicBezTo>
                  <a:close/>
                  <a:moveTo>
                    <a:pt x="122" y="193"/>
                  </a:moveTo>
                  <a:cubicBezTo>
                    <a:pt x="83" y="192"/>
                    <a:pt x="53" y="160"/>
                    <a:pt x="53" y="122"/>
                  </a:cubicBezTo>
                  <a:cubicBezTo>
                    <a:pt x="54" y="83"/>
                    <a:pt x="86" y="53"/>
                    <a:pt x="124" y="53"/>
                  </a:cubicBezTo>
                  <a:cubicBezTo>
                    <a:pt x="163" y="54"/>
                    <a:pt x="193" y="86"/>
                    <a:pt x="193" y="124"/>
                  </a:cubicBezTo>
                  <a:cubicBezTo>
                    <a:pt x="192" y="163"/>
                    <a:pt x="161" y="193"/>
                    <a:pt x="122" y="193"/>
                  </a:cubicBezTo>
                  <a:close/>
                </a:path>
              </a:pathLst>
            </a:custGeom>
            <a:grpFill/>
            <a:ln>
              <a:noFill/>
            </a:ln>
          </p:spPr>
          <p:txBody>
            <a:bodyPr/>
            <a:lstStyle/>
            <a:p>
              <a:pPr>
                <a:defRPr/>
              </a:pPr>
              <a:endParaRPr lang="de-DE">
                <a:latin typeface="+mn-lt"/>
                <a:cs typeface="+mn-cs"/>
              </a:endParaRPr>
            </a:p>
          </p:txBody>
        </p:sp>
      </p:grpSp>
      <p:sp>
        <p:nvSpPr>
          <p:cNvPr id="23582" name="CustomIcon"/>
          <p:cNvSpPr>
            <a:spLocks noChangeAspect="1" noEditPoints="1"/>
          </p:cNvSpPr>
          <p:nvPr>
            <p:custDataLst>
              <p:tags r:id="rId16"/>
            </p:custDataLst>
          </p:nvPr>
        </p:nvSpPr>
        <p:spPr bwMode="gray">
          <a:xfrm>
            <a:off x="4078288" y="2803525"/>
            <a:ext cx="830262" cy="830263"/>
          </a:xfrm>
          <a:custGeom>
            <a:avLst/>
            <a:gdLst>
              <a:gd name="T0" fmla="*/ 830554 w 428"/>
              <a:gd name="T1" fmla="*/ 415277 h 428"/>
              <a:gd name="T2" fmla="*/ 830554 w 428"/>
              <a:gd name="T3" fmla="*/ 415277 h 428"/>
              <a:gd name="T4" fmla="*/ 415277 w 428"/>
              <a:gd name="T5" fmla="*/ 0 h 428"/>
              <a:gd name="T6" fmla="*/ 143600 w 428"/>
              <a:gd name="T7" fmla="*/ 102849 h 428"/>
              <a:gd name="T8" fmla="*/ 0 w 428"/>
              <a:gd name="T9" fmla="*/ 415277 h 428"/>
              <a:gd name="T10" fmla="*/ 69860 w 428"/>
              <a:gd name="T11" fmla="*/ 646202 h 428"/>
              <a:gd name="T12" fmla="*/ 415277 w 428"/>
              <a:gd name="T13" fmla="*/ 830554 h 428"/>
              <a:gd name="T14" fmla="*/ 706359 w 428"/>
              <a:gd name="T15" fmla="*/ 710240 h 428"/>
              <a:gd name="T16" fmla="*/ 708300 w 428"/>
              <a:gd name="T17" fmla="*/ 708300 h 428"/>
              <a:gd name="T18" fmla="*/ 710240 w 428"/>
              <a:gd name="T19" fmla="*/ 708300 h 428"/>
              <a:gd name="T20" fmla="*/ 830554 w 428"/>
              <a:gd name="T21" fmla="*/ 415277 h 428"/>
              <a:gd name="T22" fmla="*/ 830554 w 428"/>
              <a:gd name="T23" fmla="*/ 415277 h 428"/>
              <a:gd name="T24" fmla="*/ 793684 w 428"/>
              <a:gd name="T25" fmla="*/ 415277 h 428"/>
              <a:gd name="T26" fmla="*/ 696656 w 428"/>
              <a:gd name="T27" fmla="*/ 669489 h 428"/>
              <a:gd name="T28" fmla="*/ 646202 w 428"/>
              <a:gd name="T29" fmla="*/ 620975 h 428"/>
              <a:gd name="T30" fmla="*/ 725765 w 428"/>
              <a:gd name="T31" fmla="*/ 415277 h 428"/>
              <a:gd name="T32" fmla="*/ 415277 w 428"/>
              <a:gd name="T33" fmla="*/ 104790 h 428"/>
              <a:gd name="T34" fmla="*/ 102849 w 428"/>
              <a:gd name="T35" fmla="*/ 415277 h 428"/>
              <a:gd name="T36" fmla="*/ 415277 w 428"/>
              <a:gd name="T37" fmla="*/ 725765 h 428"/>
              <a:gd name="T38" fmla="*/ 620975 w 428"/>
              <a:gd name="T39" fmla="*/ 646202 h 428"/>
              <a:gd name="T40" fmla="*/ 669489 w 428"/>
              <a:gd name="T41" fmla="*/ 694716 h 428"/>
              <a:gd name="T42" fmla="*/ 663667 w 428"/>
              <a:gd name="T43" fmla="*/ 700537 h 428"/>
              <a:gd name="T44" fmla="*/ 415277 w 428"/>
              <a:gd name="T45" fmla="*/ 793684 h 428"/>
              <a:gd name="T46" fmla="*/ 34930 w 428"/>
              <a:gd name="T47" fmla="*/ 415277 h 428"/>
              <a:gd name="T48" fmla="*/ 415277 w 428"/>
              <a:gd name="T49" fmla="*/ 36870 h 428"/>
              <a:gd name="T50" fmla="*/ 729646 w 428"/>
              <a:gd name="T51" fmla="*/ 203757 h 428"/>
              <a:gd name="T52" fmla="*/ 793684 w 428"/>
              <a:gd name="T53" fmla="*/ 415277 h 428"/>
              <a:gd name="T54" fmla="*/ 572461 w 428"/>
              <a:gd name="T55" fmla="*/ 547234 h 428"/>
              <a:gd name="T56" fmla="*/ 620975 w 428"/>
              <a:gd name="T57" fmla="*/ 415277 h 428"/>
              <a:gd name="T58" fmla="*/ 415277 w 428"/>
              <a:gd name="T59" fmla="*/ 209579 h 428"/>
              <a:gd name="T60" fmla="*/ 209579 w 428"/>
              <a:gd name="T61" fmla="*/ 415277 h 428"/>
              <a:gd name="T62" fmla="*/ 415277 w 428"/>
              <a:gd name="T63" fmla="*/ 619034 h 428"/>
              <a:gd name="T64" fmla="*/ 547234 w 428"/>
              <a:gd name="T65" fmla="*/ 572461 h 428"/>
              <a:gd name="T66" fmla="*/ 595748 w 428"/>
              <a:gd name="T67" fmla="*/ 620975 h 428"/>
              <a:gd name="T68" fmla="*/ 415277 w 428"/>
              <a:gd name="T69" fmla="*/ 690835 h 428"/>
              <a:gd name="T70" fmla="*/ 139719 w 428"/>
              <a:gd name="T71" fmla="*/ 415277 h 428"/>
              <a:gd name="T72" fmla="*/ 415277 w 428"/>
              <a:gd name="T73" fmla="*/ 141660 h 428"/>
              <a:gd name="T74" fmla="*/ 690835 w 428"/>
              <a:gd name="T75" fmla="*/ 415277 h 428"/>
              <a:gd name="T76" fmla="*/ 620975 w 428"/>
              <a:gd name="T77" fmla="*/ 597688 h 428"/>
              <a:gd name="T78" fmla="*/ 572461 w 428"/>
              <a:gd name="T79" fmla="*/ 547234 h 428"/>
              <a:gd name="T80" fmla="*/ 572461 w 428"/>
              <a:gd name="T81" fmla="*/ 547234 h 428"/>
              <a:gd name="T82" fmla="*/ 440504 w 428"/>
              <a:gd name="T83" fmla="*/ 417218 h 428"/>
              <a:gd name="T84" fmla="*/ 500661 w 428"/>
              <a:gd name="T85" fmla="*/ 417218 h 428"/>
              <a:gd name="T86" fmla="*/ 518126 w 428"/>
              <a:gd name="T87" fmla="*/ 399753 h 428"/>
              <a:gd name="T88" fmla="*/ 500661 w 428"/>
              <a:gd name="T89" fmla="*/ 380347 h 428"/>
              <a:gd name="T90" fmla="*/ 397812 w 428"/>
              <a:gd name="T91" fmla="*/ 380347 h 428"/>
              <a:gd name="T92" fmla="*/ 378407 w 428"/>
              <a:gd name="T93" fmla="*/ 399753 h 428"/>
              <a:gd name="T94" fmla="*/ 378407 w 428"/>
              <a:gd name="T95" fmla="*/ 502602 h 428"/>
              <a:gd name="T96" fmla="*/ 397812 w 428"/>
              <a:gd name="T97" fmla="*/ 520067 h 428"/>
              <a:gd name="T98" fmla="*/ 415277 w 428"/>
              <a:gd name="T99" fmla="*/ 502602 h 428"/>
              <a:gd name="T100" fmla="*/ 415277 w 428"/>
              <a:gd name="T101" fmla="*/ 440504 h 428"/>
              <a:gd name="T102" fmla="*/ 522007 w 428"/>
              <a:gd name="T103" fmla="*/ 547234 h 428"/>
              <a:gd name="T104" fmla="*/ 415277 w 428"/>
              <a:gd name="T105" fmla="*/ 584105 h 428"/>
              <a:gd name="T106" fmla="*/ 244509 w 428"/>
              <a:gd name="T107" fmla="*/ 415277 h 428"/>
              <a:gd name="T108" fmla="*/ 415277 w 428"/>
              <a:gd name="T109" fmla="*/ 244509 h 428"/>
              <a:gd name="T110" fmla="*/ 586045 w 428"/>
              <a:gd name="T111" fmla="*/ 415277 h 428"/>
              <a:gd name="T112" fmla="*/ 547234 w 428"/>
              <a:gd name="T113" fmla="*/ 522007 h 428"/>
              <a:gd name="T114" fmla="*/ 440504 w 428"/>
              <a:gd name="T115" fmla="*/ 417218 h 428"/>
              <a:gd name="T116" fmla="*/ 440504 w 428"/>
              <a:gd name="T117" fmla="*/ 417218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28"/>
              <a:gd name="T178" fmla="*/ 0 h 428"/>
              <a:gd name="T179" fmla="*/ 428 w 428"/>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28" h="428">
                <a:moveTo>
                  <a:pt x="428" y="214"/>
                </a:moveTo>
                <a:cubicBezTo>
                  <a:pt x="428" y="214"/>
                  <a:pt x="428" y="214"/>
                  <a:pt x="428" y="214"/>
                </a:cubicBezTo>
                <a:cubicBezTo>
                  <a:pt x="428" y="96"/>
                  <a:pt x="332" y="0"/>
                  <a:pt x="214" y="0"/>
                </a:cubicBezTo>
                <a:cubicBezTo>
                  <a:pt x="160" y="0"/>
                  <a:pt x="111" y="20"/>
                  <a:pt x="74" y="53"/>
                </a:cubicBezTo>
                <a:cubicBezTo>
                  <a:pt x="28" y="92"/>
                  <a:pt x="0" y="149"/>
                  <a:pt x="0" y="214"/>
                </a:cubicBezTo>
                <a:cubicBezTo>
                  <a:pt x="0" y="258"/>
                  <a:pt x="13" y="299"/>
                  <a:pt x="36" y="333"/>
                </a:cubicBezTo>
                <a:cubicBezTo>
                  <a:pt x="75" y="390"/>
                  <a:pt x="140" y="428"/>
                  <a:pt x="214" y="428"/>
                </a:cubicBezTo>
                <a:cubicBezTo>
                  <a:pt x="273" y="428"/>
                  <a:pt x="326" y="404"/>
                  <a:pt x="364" y="366"/>
                </a:cubicBezTo>
                <a:cubicBezTo>
                  <a:pt x="364" y="366"/>
                  <a:pt x="365" y="366"/>
                  <a:pt x="365" y="365"/>
                </a:cubicBezTo>
                <a:cubicBezTo>
                  <a:pt x="366" y="365"/>
                  <a:pt x="366" y="365"/>
                  <a:pt x="366" y="365"/>
                </a:cubicBezTo>
                <a:cubicBezTo>
                  <a:pt x="404" y="326"/>
                  <a:pt x="428" y="273"/>
                  <a:pt x="428" y="214"/>
                </a:cubicBezTo>
                <a:cubicBezTo>
                  <a:pt x="428" y="214"/>
                  <a:pt x="428" y="214"/>
                  <a:pt x="428" y="214"/>
                </a:cubicBezTo>
                <a:close/>
                <a:moveTo>
                  <a:pt x="409" y="214"/>
                </a:moveTo>
                <a:cubicBezTo>
                  <a:pt x="409" y="265"/>
                  <a:pt x="390" y="311"/>
                  <a:pt x="359" y="345"/>
                </a:cubicBezTo>
                <a:cubicBezTo>
                  <a:pt x="333" y="320"/>
                  <a:pt x="333" y="320"/>
                  <a:pt x="333" y="320"/>
                </a:cubicBezTo>
                <a:cubicBezTo>
                  <a:pt x="359" y="292"/>
                  <a:pt x="374" y="255"/>
                  <a:pt x="374" y="214"/>
                </a:cubicBezTo>
                <a:cubicBezTo>
                  <a:pt x="374" y="126"/>
                  <a:pt x="302" y="54"/>
                  <a:pt x="214" y="54"/>
                </a:cubicBezTo>
                <a:cubicBezTo>
                  <a:pt x="125" y="54"/>
                  <a:pt x="53" y="126"/>
                  <a:pt x="53" y="214"/>
                </a:cubicBezTo>
                <a:cubicBezTo>
                  <a:pt x="53" y="302"/>
                  <a:pt x="125" y="374"/>
                  <a:pt x="214" y="374"/>
                </a:cubicBezTo>
                <a:cubicBezTo>
                  <a:pt x="254" y="374"/>
                  <a:pt x="291" y="358"/>
                  <a:pt x="320" y="333"/>
                </a:cubicBezTo>
                <a:cubicBezTo>
                  <a:pt x="345" y="358"/>
                  <a:pt x="345" y="358"/>
                  <a:pt x="345" y="358"/>
                </a:cubicBezTo>
                <a:cubicBezTo>
                  <a:pt x="344" y="359"/>
                  <a:pt x="343" y="360"/>
                  <a:pt x="342" y="361"/>
                </a:cubicBezTo>
                <a:cubicBezTo>
                  <a:pt x="308" y="391"/>
                  <a:pt x="263" y="409"/>
                  <a:pt x="214" y="409"/>
                </a:cubicBezTo>
                <a:cubicBezTo>
                  <a:pt x="106" y="409"/>
                  <a:pt x="18" y="321"/>
                  <a:pt x="18" y="214"/>
                </a:cubicBezTo>
                <a:cubicBezTo>
                  <a:pt x="18" y="107"/>
                  <a:pt x="106" y="19"/>
                  <a:pt x="214" y="19"/>
                </a:cubicBezTo>
                <a:cubicBezTo>
                  <a:pt x="281" y="19"/>
                  <a:pt x="341" y="53"/>
                  <a:pt x="376" y="105"/>
                </a:cubicBezTo>
                <a:cubicBezTo>
                  <a:pt x="397" y="136"/>
                  <a:pt x="409" y="173"/>
                  <a:pt x="409" y="214"/>
                </a:cubicBezTo>
                <a:close/>
                <a:moveTo>
                  <a:pt x="295" y="282"/>
                </a:moveTo>
                <a:cubicBezTo>
                  <a:pt x="310" y="264"/>
                  <a:pt x="320" y="240"/>
                  <a:pt x="320" y="214"/>
                </a:cubicBezTo>
                <a:cubicBezTo>
                  <a:pt x="320" y="156"/>
                  <a:pt x="272" y="108"/>
                  <a:pt x="214" y="108"/>
                </a:cubicBezTo>
                <a:cubicBezTo>
                  <a:pt x="155" y="108"/>
                  <a:pt x="108" y="156"/>
                  <a:pt x="108" y="214"/>
                </a:cubicBezTo>
                <a:cubicBezTo>
                  <a:pt x="108" y="272"/>
                  <a:pt x="155" y="319"/>
                  <a:pt x="214" y="319"/>
                </a:cubicBezTo>
                <a:cubicBezTo>
                  <a:pt x="239" y="319"/>
                  <a:pt x="263" y="310"/>
                  <a:pt x="282" y="295"/>
                </a:cubicBezTo>
                <a:cubicBezTo>
                  <a:pt x="307" y="320"/>
                  <a:pt x="307" y="320"/>
                  <a:pt x="307" y="320"/>
                </a:cubicBezTo>
                <a:cubicBezTo>
                  <a:pt x="282" y="342"/>
                  <a:pt x="250" y="356"/>
                  <a:pt x="214" y="356"/>
                </a:cubicBezTo>
                <a:cubicBezTo>
                  <a:pt x="135" y="356"/>
                  <a:pt x="72" y="292"/>
                  <a:pt x="72" y="214"/>
                </a:cubicBezTo>
                <a:cubicBezTo>
                  <a:pt x="72" y="136"/>
                  <a:pt x="135" y="73"/>
                  <a:pt x="214" y="73"/>
                </a:cubicBezTo>
                <a:cubicBezTo>
                  <a:pt x="292" y="73"/>
                  <a:pt x="356" y="136"/>
                  <a:pt x="356" y="214"/>
                </a:cubicBezTo>
                <a:cubicBezTo>
                  <a:pt x="356" y="250"/>
                  <a:pt x="342" y="282"/>
                  <a:pt x="320" y="308"/>
                </a:cubicBezTo>
                <a:cubicBezTo>
                  <a:pt x="295" y="282"/>
                  <a:pt x="295" y="282"/>
                  <a:pt x="295" y="282"/>
                </a:cubicBezTo>
                <a:cubicBezTo>
                  <a:pt x="295" y="282"/>
                  <a:pt x="295" y="282"/>
                  <a:pt x="295" y="282"/>
                </a:cubicBezTo>
                <a:close/>
                <a:moveTo>
                  <a:pt x="227" y="215"/>
                </a:moveTo>
                <a:cubicBezTo>
                  <a:pt x="258" y="215"/>
                  <a:pt x="258" y="215"/>
                  <a:pt x="258" y="215"/>
                </a:cubicBezTo>
                <a:cubicBezTo>
                  <a:pt x="264" y="215"/>
                  <a:pt x="267" y="210"/>
                  <a:pt x="267" y="206"/>
                </a:cubicBezTo>
                <a:cubicBezTo>
                  <a:pt x="267" y="200"/>
                  <a:pt x="264" y="196"/>
                  <a:pt x="258" y="196"/>
                </a:cubicBezTo>
                <a:cubicBezTo>
                  <a:pt x="205" y="196"/>
                  <a:pt x="205" y="196"/>
                  <a:pt x="205" y="196"/>
                </a:cubicBezTo>
                <a:cubicBezTo>
                  <a:pt x="200" y="196"/>
                  <a:pt x="195" y="200"/>
                  <a:pt x="195" y="206"/>
                </a:cubicBezTo>
                <a:cubicBezTo>
                  <a:pt x="195" y="259"/>
                  <a:pt x="195" y="259"/>
                  <a:pt x="195" y="259"/>
                </a:cubicBezTo>
                <a:cubicBezTo>
                  <a:pt x="195" y="264"/>
                  <a:pt x="200" y="268"/>
                  <a:pt x="205" y="268"/>
                </a:cubicBezTo>
                <a:cubicBezTo>
                  <a:pt x="209" y="268"/>
                  <a:pt x="214" y="264"/>
                  <a:pt x="214" y="259"/>
                </a:cubicBezTo>
                <a:cubicBezTo>
                  <a:pt x="214" y="227"/>
                  <a:pt x="214" y="227"/>
                  <a:pt x="214" y="227"/>
                </a:cubicBezTo>
                <a:cubicBezTo>
                  <a:pt x="269" y="282"/>
                  <a:pt x="269" y="282"/>
                  <a:pt x="269" y="282"/>
                </a:cubicBezTo>
                <a:cubicBezTo>
                  <a:pt x="253" y="294"/>
                  <a:pt x="235" y="301"/>
                  <a:pt x="214" y="301"/>
                </a:cubicBezTo>
                <a:cubicBezTo>
                  <a:pt x="165" y="301"/>
                  <a:pt x="126" y="262"/>
                  <a:pt x="126" y="214"/>
                </a:cubicBezTo>
                <a:cubicBezTo>
                  <a:pt x="126" y="166"/>
                  <a:pt x="165" y="126"/>
                  <a:pt x="214" y="126"/>
                </a:cubicBezTo>
                <a:cubicBezTo>
                  <a:pt x="262" y="126"/>
                  <a:pt x="302" y="166"/>
                  <a:pt x="302" y="214"/>
                </a:cubicBezTo>
                <a:cubicBezTo>
                  <a:pt x="302" y="235"/>
                  <a:pt x="294" y="254"/>
                  <a:pt x="282" y="269"/>
                </a:cubicBezTo>
                <a:cubicBezTo>
                  <a:pt x="227" y="215"/>
                  <a:pt x="227" y="215"/>
                  <a:pt x="227" y="215"/>
                </a:cubicBezTo>
                <a:cubicBezTo>
                  <a:pt x="227" y="215"/>
                  <a:pt x="227" y="215"/>
                  <a:pt x="227" y="215"/>
                </a:cubicBezTo>
                <a:close/>
              </a:path>
            </a:pathLst>
          </a:custGeom>
          <a:solidFill>
            <a:schemeClr val="accent2"/>
          </a:solidFill>
          <a:ln w="9525">
            <a:noFill/>
            <a:miter lim="800000"/>
            <a:headEnd/>
            <a:tailEnd/>
          </a:ln>
        </p:spPr>
        <p:txBody>
          <a:bodyPr/>
          <a:lstStyle/>
          <a:p>
            <a:endParaRPr lang="en-ZA"/>
          </a:p>
        </p:txBody>
      </p:sp>
      <p:grpSp>
        <p:nvGrpSpPr>
          <p:cNvPr id="7" name="Group 76">
            <a:extLst>
              <a:ext uri="{FF2B5EF4-FFF2-40B4-BE49-F238E27FC236}"/>
            </a:extLst>
          </p:cNvPr>
          <p:cNvGrpSpPr/>
          <p:nvPr/>
        </p:nvGrpSpPr>
        <p:grpSpPr bwMode="gray">
          <a:xfrm>
            <a:off x="5767961" y="2801556"/>
            <a:ext cx="826048" cy="835200"/>
            <a:chOff x="276803" y="1079222"/>
            <a:chExt cx="980676" cy="1026031"/>
          </a:xfrm>
          <a:solidFill>
            <a:schemeClr val="accent2">
              <a:lumMod val="75000"/>
            </a:schemeClr>
          </a:solidFill>
        </p:grpSpPr>
        <p:grpSp>
          <p:nvGrpSpPr>
            <p:cNvPr id="8" name="Group 77">
              <a:extLst>
                <a:ext uri="{FF2B5EF4-FFF2-40B4-BE49-F238E27FC236}"/>
              </a:extLst>
            </p:cNvPr>
            <p:cNvGrpSpPr/>
            <p:nvPr/>
          </p:nvGrpSpPr>
          <p:grpSpPr bwMode="gray">
            <a:xfrm>
              <a:off x="276803" y="1246709"/>
              <a:ext cx="980676" cy="858544"/>
              <a:chOff x="3570292" y="1924315"/>
              <a:chExt cx="866770" cy="758825"/>
            </a:xfrm>
            <a:grpFill/>
          </p:grpSpPr>
          <p:sp>
            <p:nvSpPr>
              <p:cNvPr id="80" name="Freeform 141">
                <a:extLst>
                  <a:ext uri="{FF2B5EF4-FFF2-40B4-BE49-F238E27FC236}"/>
                </a:extLst>
              </p:cNvPr>
              <p:cNvSpPr>
                <a:spLocks/>
              </p:cNvSpPr>
              <p:nvPr/>
            </p:nvSpPr>
            <p:spPr bwMode="gray">
              <a:xfrm>
                <a:off x="3570292" y="1924315"/>
                <a:ext cx="342900" cy="758825"/>
              </a:xfrm>
              <a:custGeom>
                <a:avLst/>
                <a:gdLst>
                  <a:gd name="T0" fmla="*/ 2615 w 6246"/>
                  <a:gd name="T1" fmla="*/ 4983 h 13808"/>
                  <a:gd name="T2" fmla="*/ 6246 w 6246"/>
                  <a:gd name="T3" fmla="*/ 8716 h 13808"/>
                  <a:gd name="T4" fmla="*/ 6246 w 6246"/>
                  <a:gd name="T5" fmla="*/ 13791 h 13808"/>
                  <a:gd name="T6" fmla="*/ 6217 w 6246"/>
                  <a:gd name="T7" fmla="*/ 13791 h 13808"/>
                  <a:gd name="T8" fmla="*/ 6217 w 6246"/>
                  <a:gd name="T9" fmla="*/ 13808 h 13808"/>
                  <a:gd name="T10" fmla="*/ 3240 w 6246"/>
                  <a:gd name="T11" fmla="*/ 13808 h 13808"/>
                  <a:gd name="T12" fmla="*/ 3240 w 6246"/>
                  <a:gd name="T13" fmla="*/ 11617 h 13808"/>
                  <a:gd name="T14" fmla="*/ 201 w 6246"/>
                  <a:gd name="T15" fmla="*/ 7595 h 13808"/>
                  <a:gd name="T16" fmla="*/ 0 w 6246"/>
                  <a:gd name="T17" fmla="*/ 7058 h 13808"/>
                  <a:gd name="T18" fmla="*/ 0 w 6246"/>
                  <a:gd name="T19" fmla="*/ 878 h 13808"/>
                  <a:gd name="T20" fmla="*/ 877 w 6246"/>
                  <a:gd name="T21" fmla="*/ 0 h 13808"/>
                  <a:gd name="T22" fmla="*/ 1752 w 6246"/>
                  <a:gd name="T23" fmla="*/ 878 h 13808"/>
                  <a:gd name="T24" fmla="*/ 1752 w 6246"/>
                  <a:gd name="T25" fmla="*/ 4447 h 13808"/>
                  <a:gd name="T26" fmla="*/ 1177 w 6246"/>
                  <a:gd name="T27" fmla="*/ 4741 h 13808"/>
                  <a:gd name="T28" fmla="*/ 1154 w 6246"/>
                  <a:gd name="T29" fmla="*/ 6409 h 13808"/>
                  <a:gd name="T30" fmla="*/ 2812 w 6246"/>
                  <a:gd name="T31" fmla="*/ 8117 h 13808"/>
                  <a:gd name="T32" fmla="*/ 3037 w 6246"/>
                  <a:gd name="T33" fmla="*/ 7896 h 13808"/>
                  <a:gd name="T34" fmla="*/ 1377 w 6246"/>
                  <a:gd name="T35" fmla="*/ 6193 h 13808"/>
                  <a:gd name="T36" fmla="*/ 1393 w 6246"/>
                  <a:gd name="T37" fmla="*/ 4964 h 13808"/>
                  <a:gd name="T38" fmla="*/ 1760 w 6246"/>
                  <a:gd name="T39" fmla="*/ 4754 h 13808"/>
                  <a:gd name="T40" fmla="*/ 2196 w 6246"/>
                  <a:gd name="T41" fmla="*/ 4741 h 13808"/>
                  <a:gd name="T42" fmla="*/ 2615 w 6246"/>
                  <a:gd name="T43" fmla="*/ 4983 h 13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46" h="13808">
                    <a:moveTo>
                      <a:pt x="2615" y="4983"/>
                    </a:moveTo>
                    <a:lnTo>
                      <a:pt x="6246" y="8716"/>
                    </a:lnTo>
                    <a:lnTo>
                      <a:pt x="6246" y="13791"/>
                    </a:lnTo>
                    <a:lnTo>
                      <a:pt x="6217" y="13791"/>
                    </a:lnTo>
                    <a:lnTo>
                      <a:pt x="6217" y="13808"/>
                    </a:lnTo>
                    <a:lnTo>
                      <a:pt x="3240" y="13808"/>
                    </a:lnTo>
                    <a:lnTo>
                      <a:pt x="3240" y="11617"/>
                    </a:lnTo>
                    <a:lnTo>
                      <a:pt x="201" y="7595"/>
                    </a:lnTo>
                    <a:cubicBezTo>
                      <a:pt x="80" y="7445"/>
                      <a:pt x="0" y="7260"/>
                      <a:pt x="0" y="7058"/>
                    </a:cubicBezTo>
                    <a:lnTo>
                      <a:pt x="0" y="878"/>
                    </a:lnTo>
                    <a:cubicBezTo>
                      <a:pt x="0" y="394"/>
                      <a:pt x="392" y="0"/>
                      <a:pt x="877" y="0"/>
                    </a:cubicBezTo>
                    <a:cubicBezTo>
                      <a:pt x="1359" y="0"/>
                      <a:pt x="1752" y="394"/>
                      <a:pt x="1752" y="878"/>
                    </a:cubicBezTo>
                    <a:lnTo>
                      <a:pt x="1752" y="4447"/>
                    </a:lnTo>
                    <a:cubicBezTo>
                      <a:pt x="1540" y="4493"/>
                      <a:pt x="1338" y="4582"/>
                      <a:pt x="1177" y="4741"/>
                    </a:cubicBezTo>
                    <a:cubicBezTo>
                      <a:pt x="713" y="5196"/>
                      <a:pt x="701" y="5943"/>
                      <a:pt x="1154" y="6409"/>
                    </a:cubicBezTo>
                    <a:lnTo>
                      <a:pt x="2812" y="8117"/>
                    </a:lnTo>
                    <a:lnTo>
                      <a:pt x="3037" y="7896"/>
                    </a:lnTo>
                    <a:lnTo>
                      <a:pt x="1377" y="6193"/>
                    </a:lnTo>
                    <a:cubicBezTo>
                      <a:pt x="1046" y="5849"/>
                      <a:pt x="1053" y="5299"/>
                      <a:pt x="1393" y="4964"/>
                    </a:cubicBezTo>
                    <a:cubicBezTo>
                      <a:pt x="1500" y="4864"/>
                      <a:pt x="1625" y="4792"/>
                      <a:pt x="1760" y="4754"/>
                    </a:cubicBezTo>
                    <a:cubicBezTo>
                      <a:pt x="1904" y="4713"/>
                      <a:pt x="2053" y="4711"/>
                      <a:pt x="2196" y="4741"/>
                    </a:cubicBezTo>
                    <a:cubicBezTo>
                      <a:pt x="2358" y="4781"/>
                      <a:pt x="2502" y="4864"/>
                      <a:pt x="2615" y="4983"/>
                    </a:cubicBezTo>
                    <a:close/>
                  </a:path>
                </a:pathLst>
              </a:custGeom>
              <a:solidFill>
                <a:schemeClr val="accent2"/>
              </a:solidFill>
              <a:ln w="0">
                <a:noFill/>
                <a:prstDash val="solid"/>
                <a:round/>
                <a:headEnd/>
                <a:tailEnd/>
              </a:ln>
            </p:spPr>
            <p:txBody>
              <a:bodyPr/>
              <a:lstStyle/>
              <a:p>
                <a:pPr>
                  <a:defRPr/>
                </a:pPr>
                <a:endParaRPr lang="en-US">
                  <a:latin typeface="+mn-lt"/>
                  <a:cs typeface="+mn-cs"/>
                </a:endParaRPr>
              </a:p>
            </p:txBody>
          </p:sp>
          <p:sp>
            <p:nvSpPr>
              <p:cNvPr id="81" name="Freeform 142">
                <a:extLst>
                  <a:ext uri="{FF2B5EF4-FFF2-40B4-BE49-F238E27FC236}"/>
                </a:extLst>
              </p:cNvPr>
              <p:cNvSpPr>
                <a:spLocks/>
              </p:cNvSpPr>
              <p:nvPr/>
            </p:nvSpPr>
            <p:spPr bwMode="gray">
              <a:xfrm>
                <a:off x="4094162" y="1924315"/>
                <a:ext cx="342900" cy="758825"/>
              </a:xfrm>
              <a:custGeom>
                <a:avLst/>
                <a:gdLst>
                  <a:gd name="T0" fmla="*/ 3633 w 6247"/>
                  <a:gd name="T1" fmla="*/ 4983 h 13808"/>
                  <a:gd name="T2" fmla="*/ 0 w 6247"/>
                  <a:gd name="T3" fmla="*/ 8716 h 13808"/>
                  <a:gd name="T4" fmla="*/ 0 w 6247"/>
                  <a:gd name="T5" fmla="*/ 13791 h 13808"/>
                  <a:gd name="T6" fmla="*/ 29 w 6247"/>
                  <a:gd name="T7" fmla="*/ 13791 h 13808"/>
                  <a:gd name="T8" fmla="*/ 29 w 6247"/>
                  <a:gd name="T9" fmla="*/ 13808 h 13808"/>
                  <a:gd name="T10" fmla="*/ 3009 w 6247"/>
                  <a:gd name="T11" fmla="*/ 13808 h 13808"/>
                  <a:gd name="T12" fmla="*/ 3009 w 6247"/>
                  <a:gd name="T13" fmla="*/ 11617 h 13808"/>
                  <a:gd name="T14" fmla="*/ 6046 w 6247"/>
                  <a:gd name="T15" fmla="*/ 7595 h 13808"/>
                  <a:gd name="T16" fmla="*/ 6247 w 6247"/>
                  <a:gd name="T17" fmla="*/ 7058 h 13808"/>
                  <a:gd name="T18" fmla="*/ 6247 w 6247"/>
                  <a:gd name="T19" fmla="*/ 878 h 13808"/>
                  <a:gd name="T20" fmla="*/ 5370 w 6247"/>
                  <a:gd name="T21" fmla="*/ 0 h 13808"/>
                  <a:gd name="T22" fmla="*/ 4496 w 6247"/>
                  <a:gd name="T23" fmla="*/ 878 h 13808"/>
                  <a:gd name="T24" fmla="*/ 4496 w 6247"/>
                  <a:gd name="T25" fmla="*/ 4447 h 13808"/>
                  <a:gd name="T26" fmla="*/ 5071 w 6247"/>
                  <a:gd name="T27" fmla="*/ 4741 h 13808"/>
                  <a:gd name="T28" fmla="*/ 5094 w 6247"/>
                  <a:gd name="T29" fmla="*/ 6409 h 13808"/>
                  <a:gd name="T30" fmla="*/ 3436 w 6247"/>
                  <a:gd name="T31" fmla="*/ 8117 h 13808"/>
                  <a:gd name="T32" fmla="*/ 3209 w 6247"/>
                  <a:gd name="T33" fmla="*/ 7896 h 13808"/>
                  <a:gd name="T34" fmla="*/ 4870 w 6247"/>
                  <a:gd name="T35" fmla="*/ 6193 h 13808"/>
                  <a:gd name="T36" fmla="*/ 4854 w 6247"/>
                  <a:gd name="T37" fmla="*/ 4964 h 13808"/>
                  <a:gd name="T38" fmla="*/ 4486 w 6247"/>
                  <a:gd name="T39" fmla="*/ 4754 h 13808"/>
                  <a:gd name="T40" fmla="*/ 4051 w 6247"/>
                  <a:gd name="T41" fmla="*/ 4741 h 13808"/>
                  <a:gd name="T42" fmla="*/ 3633 w 6247"/>
                  <a:gd name="T43" fmla="*/ 4983 h 13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47" h="13808">
                    <a:moveTo>
                      <a:pt x="3633" y="4983"/>
                    </a:moveTo>
                    <a:lnTo>
                      <a:pt x="0" y="8716"/>
                    </a:lnTo>
                    <a:lnTo>
                      <a:pt x="0" y="13791"/>
                    </a:lnTo>
                    <a:lnTo>
                      <a:pt x="29" y="13791"/>
                    </a:lnTo>
                    <a:lnTo>
                      <a:pt x="29" y="13808"/>
                    </a:lnTo>
                    <a:lnTo>
                      <a:pt x="3009" y="13808"/>
                    </a:lnTo>
                    <a:lnTo>
                      <a:pt x="3009" y="11617"/>
                    </a:lnTo>
                    <a:lnTo>
                      <a:pt x="6046" y="7595"/>
                    </a:lnTo>
                    <a:cubicBezTo>
                      <a:pt x="6168" y="7445"/>
                      <a:pt x="6247" y="7260"/>
                      <a:pt x="6247" y="7058"/>
                    </a:cubicBezTo>
                    <a:lnTo>
                      <a:pt x="6247" y="878"/>
                    </a:lnTo>
                    <a:cubicBezTo>
                      <a:pt x="6247" y="394"/>
                      <a:pt x="5855" y="0"/>
                      <a:pt x="5370" y="0"/>
                    </a:cubicBezTo>
                    <a:cubicBezTo>
                      <a:pt x="4889" y="0"/>
                      <a:pt x="4496" y="394"/>
                      <a:pt x="4496" y="878"/>
                    </a:cubicBezTo>
                    <a:lnTo>
                      <a:pt x="4496" y="4447"/>
                    </a:lnTo>
                    <a:cubicBezTo>
                      <a:pt x="4709" y="4493"/>
                      <a:pt x="4909" y="4582"/>
                      <a:pt x="5071" y="4741"/>
                    </a:cubicBezTo>
                    <a:cubicBezTo>
                      <a:pt x="5536" y="5196"/>
                      <a:pt x="5547" y="5943"/>
                      <a:pt x="5094" y="6409"/>
                    </a:cubicBezTo>
                    <a:lnTo>
                      <a:pt x="3436" y="8117"/>
                    </a:lnTo>
                    <a:lnTo>
                      <a:pt x="3209" y="7896"/>
                    </a:lnTo>
                    <a:lnTo>
                      <a:pt x="4870" y="6193"/>
                    </a:lnTo>
                    <a:cubicBezTo>
                      <a:pt x="5201" y="5849"/>
                      <a:pt x="5194" y="5299"/>
                      <a:pt x="4854" y="4964"/>
                    </a:cubicBezTo>
                    <a:cubicBezTo>
                      <a:pt x="4749" y="4864"/>
                      <a:pt x="4620" y="4792"/>
                      <a:pt x="4486" y="4754"/>
                    </a:cubicBezTo>
                    <a:cubicBezTo>
                      <a:pt x="4344" y="4713"/>
                      <a:pt x="4194" y="4711"/>
                      <a:pt x="4051" y="4741"/>
                    </a:cubicBezTo>
                    <a:cubicBezTo>
                      <a:pt x="3890" y="4781"/>
                      <a:pt x="3747" y="4864"/>
                      <a:pt x="3633" y="4983"/>
                    </a:cubicBezTo>
                    <a:close/>
                  </a:path>
                </a:pathLst>
              </a:custGeom>
              <a:solidFill>
                <a:schemeClr val="accent2"/>
              </a:solidFill>
              <a:ln w="0">
                <a:noFill/>
                <a:prstDash val="solid"/>
                <a:round/>
                <a:headEnd/>
                <a:tailEnd/>
              </a:ln>
            </p:spPr>
            <p:txBody>
              <a:bodyPr/>
              <a:lstStyle/>
              <a:p>
                <a:pPr>
                  <a:defRPr/>
                </a:pPr>
                <a:endParaRPr lang="en-US">
                  <a:latin typeface="+mn-lt"/>
                  <a:cs typeface="+mn-cs"/>
                </a:endParaRPr>
              </a:p>
            </p:txBody>
          </p:sp>
        </p:grpSp>
        <p:sp>
          <p:nvSpPr>
            <p:cNvPr id="79" name="Freeform 196">
              <a:extLst>
                <a:ext uri="{FF2B5EF4-FFF2-40B4-BE49-F238E27FC236}"/>
              </a:extLst>
            </p:cNvPr>
            <p:cNvSpPr>
              <a:spLocks noEditPoints="1"/>
            </p:cNvSpPr>
            <p:nvPr/>
          </p:nvSpPr>
          <p:spPr bwMode="gray">
            <a:xfrm>
              <a:off x="494484" y="1079222"/>
              <a:ext cx="545314" cy="543013"/>
            </a:xfrm>
            <a:custGeom>
              <a:avLst/>
              <a:gdLst>
                <a:gd name="T0" fmla="*/ 200 w 564"/>
                <a:gd name="T1" fmla="*/ 14 h 564"/>
                <a:gd name="T2" fmla="*/ 84 w 564"/>
                <a:gd name="T3" fmla="*/ 84 h 564"/>
                <a:gd name="T4" fmla="*/ 14 w 564"/>
                <a:gd name="T5" fmla="*/ 198 h 564"/>
                <a:gd name="T6" fmla="*/ 2 w 564"/>
                <a:gd name="T7" fmla="*/ 312 h 564"/>
                <a:gd name="T8" fmla="*/ 50 w 564"/>
                <a:gd name="T9" fmla="*/ 440 h 564"/>
                <a:gd name="T10" fmla="*/ 148 w 564"/>
                <a:gd name="T11" fmla="*/ 530 h 564"/>
                <a:gd name="T12" fmla="*/ 282 w 564"/>
                <a:gd name="T13" fmla="*/ 564 h 564"/>
                <a:gd name="T14" fmla="*/ 392 w 564"/>
                <a:gd name="T15" fmla="*/ 542 h 564"/>
                <a:gd name="T16" fmla="*/ 500 w 564"/>
                <a:gd name="T17" fmla="*/ 462 h 564"/>
                <a:gd name="T18" fmla="*/ 560 w 564"/>
                <a:gd name="T19" fmla="*/ 340 h 564"/>
                <a:gd name="T20" fmla="*/ 560 w 564"/>
                <a:gd name="T21" fmla="*/ 226 h 564"/>
                <a:gd name="T22" fmla="*/ 500 w 564"/>
                <a:gd name="T23" fmla="*/ 104 h 564"/>
                <a:gd name="T24" fmla="*/ 392 w 564"/>
                <a:gd name="T25" fmla="*/ 24 h 564"/>
                <a:gd name="T26" fmla="*/ 282 w 564"/>
                <a:gd name="T27" fmla="*/ 0 h 564"/>
                <a:gd name="T28" fmla="*/ 378 w 564"/>
                <a:gd name="T29" fmla="*/ 428 h 564"/>
                <a:gd name="T30" fmla="*/ 302 w 564"/>
                <a:gd name="T31" fmla="*/ 504 h 564"/>
                <a:gd name="T32" fmla="*/ 312 w 564"/>
                <a:gd name="T33" fmla="*/ 510 h 564"/>
                <a:gd name="T34" fmla="*/ 320 w 564"/>
                <a:gd name="T35" fmla="*/ 516 h 564"/>
                <a:gd name="T36" fmla="*/ 278 w 564"/>
                <a:gd name="T37" fmla="*/ 524 h 564"/>
                <a:gd name="T38" fmla="*/ 270 w 564"/>
                <a:gd name="T39" fmla="*/ 430 h 564"/>
                <a:gd name="T40" fmla="*/ 278 w 564"/>
                <a:gd name="T41" fmla="*/ 422 h 564"/>
                <a:gd name="T42" fmla="*/ 296 w 564"/>
                <a:gd name="T43" fmla="*/ 416 h 564"/>
                <a:gd name="T44" fmla="*/ 294 w 564"/>
                <a:gd name="T45" fmla="*/ 398 h 564"/>
                <a:gd name="T46" fmla="*/ 276 w 564"/>
                <a:gd name="T47" fmla="*/ 396 h 564"/>
                <a:gd name="T48" fmla="*/ 270 w 564"/>
                <a:gd name="T49" fmla="*/ 338 h 564"/>
                <a:gd name="T50" fmla="*/ 248 w 564"/>
                <a:gd name="T51" fmla="*/ 330 h 564"/>
                <a:gd name="T52" fmla="*/ 190 w 564"/>
                <a:gd name="T53" fmla="*/ 294 h 564"/>
                <a:gd name="T54" fmla="*/ 154 w 564"/>
                <a:gd name="T55" fmla="*/ 244 h 564"/>
                <a:gd name="T56" fmla="*/ 126 w 564"/>
                <a:gd name="T57" fmla="*/ 234 h 564"/>
                <a:gd name="T58" fmla="*/ 100 w 564"/>
                <a:gd name="T59" fmla="*/ 142 h 564"/>
                <a:gd name="T60" fmla="*/ 92 w 564"/>
                <a:gd name="T61" fmla="*/ 136 h 564"/>
                <a:gd name="T62" fmla="*/ 138 w 564"/>
                <a:gd name="T63" fmla="*/ 84 h 564"/>
                <a:gd name="T64" fmla="*/ 262 w 564"/>
                <a:gd name="T65" fmla="*/ 38 h 564"/>
                <a:gd name="T66" fmla="*/ 284 w 564"/>
                <a:gd name="T67" fmla="*/ 94 h 564"/>
                <a:gd name="T68" fmla="*/ 310 w 564"/>
                <a:gd name="T69" fmla="*/ 98 h 564"/>
                <a:gd name="T70" fmla="*/ 316 w 564"/>
                <a:gd name="T71" fmla="*/ 112 h 564"/>
                <a:gd name="T72" fmla="*/ 294 w 564"/>
                <a:gd name="T73" fmla="*/ 140 h 564"/>
                <a:gd name="T74" fmla="*/ 312 w 564"/>
                <a:gd name="T75" fmla="*/ 142 h 564"/>
                <a:gd name="T76" fmla="*/ 318 w 564"/>
                <a:gd name="T77" fmla="*/ 178 h 564"/>
                <a:gd name="T78" fmla="*/ 338 w 564"/>
                <a:gd name="T79" fmla="*/ 186 h 564"/>
                <a:gd name="T80" fmla="*/ 346 w 564"/>
                <a:gd name="T81" fmla="*/ 192 h 564"/>
                <a:gd name="T82" fmla="*/ 298 w 564"/>
                <a:gd name="T83" fmla="*/ 198 h 564"/>
                <a:gd name="T84" fmla="*/ 264 w 564"/>
                <a:gd name="T85" fmla="*/ 222 h 564"/>
                <a:gd name="T86" fmla="*/ 260 w 564"/>
                <a:gd name="T87" fmla="*/ 282 h 564"/>
                <a:gd name="T88" fmla="*/ 248 w 564"/>
                <a:gd name="T89" fmla="*/ 284 h 564"/>
                <a:gd name="T90" fmla="*/ 244 w 564"/>
                <a:gd name="T91" fmla="*/ 250 h 564"/>
                <a:gd name="T92" fmla="*/ 214 w 564"/>
                <a:gd name="T93" fmla="*/ 242 h 564"/>
                <a:gd name="T94" fmla="*/ 206 w 564"/>
                <a:gd name="T95" fmla="*/ 250 h 564"/>
                <a:gd name="T96" fmla="*/ 244 w 564"/>
                <a:gd name="T97" fmla="*/ 310 h 564"/>
                <a:gd name="T98" fmla="*/ 312 w 564"/>
                <a:gd name="T99" fmla="*/ 316 h 564"/>
                <a:gd name="T100" fmla="*/ 400 w 564"/>
                <a:gd name="T101" fmla="*/ 360 h 564"/>
                <a:gd name="T102" fmla="*/ 382 w 564"/>
                <a:gd name="T103" fmla="*/ 128 h 564"/>
                <a:gd name="T104" fmla="*/ 364 w 564"/>
                <a:gd name="T105" fmla="*/ 132 h 564"/>
                <a:gd name="T106" fmla="*/ 356 w 564"/>
                <a:gd name="T107" fmla="*/ 98 h 564"/>
                <a:gd name="T108" fmla="*/ 348 w 564"/>
                <a:gd name="T109" fmla="*/ 90 h 564"/>
                <a:gd name="T110" fmla="*/ 328 w 564"/>
                <a:gd name="T111" fmla="*/ 86 h 564"/>
                <a:gd name="T112" fmla="*/ 382 w 564"/>
                <a:gd name="T113" fmla="*/ 58 h 564"/>
                <a:gd name="T114" fmla="*/ 406 w 564"/>
                <a:gd name="T115" fmla="*/ 108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64" h="564">
                  <a:moveTo>
                    <a:pt x="282" y="0"/>
                  </a:moveTo>
                  <a:lnTo>
                    <a:pt x="282" y="0"/>
                  </a:lnTo>
                  <a:lnTo>
                    <a:pt x="254" y="2"/>
                  </a:lnTo>
                  <a:lnTo>
                    <a:pt x="226" y="6"/>
                  </a:lnTo>
                  <a:lnTo>
                    <a:pt x="200" y="14"/>
                  </a:lnTo>
                  <a:lnTo>
                    <a:pt x="174" y="24"/>
                  </a:lnTo>
                  <a:lnTo>
                    <a:pt x="148" y="34"/>
                  </a:lnTo>
                  <a:lnTo>
                    <a:pt x="126" y="50"/>
                  </a:lnTo>
                  <a:lnTo>
                    <a:pt x="104" y="66"/>
                  </a:lnTo>
                  <a:lnTo>
                    <a:pt x="84" y="84"/>
                  </a:lnTo>
                  <a:lnTo>
                    <a:pt x="66" y="104"/>
                  </a:lnTo>
                  <a:lnTo>
                    <a:pt x="50" y="126"/>
                  </a:lnTo>
                  <a:lnTo>
                    <a:pt x="34" y="148"/>
                  </a:lnTo>
                  <a:lnTo>
                    <a:pt x="24" y="174"/>
                  </a:lnTo>
                  <a:lnTo>
                    <a:pt x="14" y="198"/>
                  </a:lnTo>
                  <a:lnTo>
                    <a:pt x="6" y="226"/>
                  </a:lnTo>
                  <a:lnTo>
                    <a:pt x="2" y="254"/>
                  </a:lnTo>
                  <a:lnTo>
                    <a:pt x="0" y="282"/>
                  </a:lnTo>
                  <a:lnTo>
                    <a:pt x="0" y="282"/>
                  </a:lnTo>
                  <a:lnTo>
                    <a:pt x="2" y="312"/>
                  </a:lnTo>
                  <a:lnTo>
                    <a:pt x="6" y="340"/>
                  </a:lnTo>
                  <a:lnTo>
                    <a:pt x="14" y="366"/>
                  </a:lnTo>
                  <a:lnTo>
                    <a:pt x="24" y="392"/>
                  </a:lnTo>
                  <a:lnTo>
                    <a:pt x="34" y="418"/>
                  </a:lnTo>
                  <a:lnTo>
                    <a:pt x="50" y="440"/>
                  </a:lnTo>
                  <a:lnTo>
                    <a:pt x="66" y="462"/>
                  </a:lnTo>
                  <a:lnTo>
                    <a:pt x="84" y="482"/>
                  </a:lnTo>
                  <a:lnTo>
                    <a:pt x="104" y="500"/>
                  </a:lnTo>
                  <a:lnTo>
                    <a:pt x="126" y="516"/>
                  </a:lnTo>
                  <a:lnTo>
                    <a:pt x="148" y="530"/>
                  </a:lnTo>
                  <a:lnTo>
                    <a:pt x="174" y="542"/>
                  </a:lnTo>
                  <a:lnTo>
                    <a:pt x="200" y="552"/>
                  </a:lnTo>
                  <a:lnTo>
                    <a:pt x="226" y="558"/>
                  </a:lnTo>
                  <a:lnTo>
                    <a:pt x="254" y="564"/>
                  </a:lnTo>
                  <a:lnTo>
                    <a:pt x="282" y="564"/>
                  </a:lnTo>
                  <a:lnTo>
                    <a:pt x="282" y="564"/>
                  </a:lnTo>
                  <a:lnTo>
                    <a:pt x="312" y="564"/>
                  </a:lnTo>
                  <a:lnTo>
                    <a:pt x="340" y="558"/>
                  </a:lnTo>
                  <a:lnTo>
                    <a:pt x="366" y="552"/>
                  </a:lnTo>
                  <a:lnTo>
                    <a:pt x="392" y="542"/>
                  </a:lnTo>
                  <a:lnTo>
                    <a:pt x="418" y="530"/>
                  </a:lnTo>
                  <a:lnTo>
                    <a:pt x="440" y="516"/>
                  </a:lnTo>
                  <a:lnTo>
                    <a:pt x="462" y="500"/>
                  </a:lnTo>
                  <a:lnTo>
                    <a:pt x="482" y="482"/>
                  </a:lnTo>
                  <a:lnTo>
                    <a:pt x="500" y="462"/>
                  </a:lnTo>
                  <a:lnTo>
                    <a:pt x="516" y="440"/>
                  </a:lnTo>
                  <a:lnTo>
                    <a:pt x="530" y="418"/>
                  </a:lnTo>
                  <a:lnTo>
                    <a:pt x="542" y="392"/>
                  </a:lnTo>
                  <a:lnTo>
                    <a:pt x="552" y="366"/>
                  </a:lnTo>
                  <a:lnTo>
                    <a:pt x="560" y="340"/>
                  </a:lnTo>
                  <a:lnTo>
                    <a:pt x="564" y="312"/>
                  </a:lnTo>
                  <a:lnTo>
                    <a:pt x="564" y="282"/>
                  </a:lnTo>
                  <a:lnTo>
                    <a:pt x="564" y="282"/>
                  </a:lnTo>
                  <a:lnTo>
                    <a:pt x="564" y="254"/>
                  </a:lnTo>
                  <a:lnTo>
                    <a:pt x="560" y="226"/>
                  </a:lnTo>
                  <a:lnTo>
                    <a:pt x="552" y="198"/>
                  </a:lnTo>
                  <a:lnTo>
                    <a:pt x="542" y="174"/>
                  </a:lnTo>
                  <a:lnTo>
                    <a:pt x="530" y="148"/>
                  </a:lnTo>
                  <a:lnTo>
                    <a:pt x="516" y="126"/>
                  </a:lnTo>
                  <a:lnTo>
                    <a:pt x="500" y="104"/>
                  </a:lnTo>
                  <a:lnTo>
                    <a:pt x="482" y="84"/>
                  </a:lnTo>
                  <a:lnTo>
                    <a:pt x="462" y="66"/>
                  </a:lnTo>
                  <a:lnTo>
                    <a:pt x="440" y="50"/>
                  </a:lnTo>
                  <a:lnTo>
                    <a:pt x="418" y="34"/>
                  </a:lnTo>
                  <a:lnTo>
                    <a:pt x="392" y="24"/>
                  </a:lnTo>
                  <a:lnTo>
                    <a:pt x="366" y="14"/>
                  </a:lnTo>
                  <a:lnTo>
                    <a:pt x="340" y="6"/>
                  </a:lnTo>
                  <a:lnTo>
                    <a:pt x="312" y="2"/>
                  </a:lnTo>
                  <a:lnTo>
                    <a:pt x="282" y="0"/>
                  </a:lnTo>
                  <a:lnTo>
                    <a:pt x="282" y="0"/>
                  </a:lnTo>
                  <a:close/>
                  <a:moveTo>
                    <a:pt x="402" y="370"/>
                  </a:moveTo>
                  <a:lnTo>
                    <a:pt x="402" y="370"/>
                  </a:lnTo>
                  <a:lnTo>
                    <a:pt x="402" y="378"/>
                  </a:lnTo>
                  <a:lnTo>
                    <a:pt x="398" y="384"/>
                  </a:lnTo>
                  <a:lnTo>
                    <a:pt x="378" y="428"/>
                  </a:lnTo>
                  <a:lnTo>
                    <a:pt x="378" y="428"/>
                  </a:lnTo>
                  <a:lnTo>
                    <a:pt x="374" y="434"/>
                  </a:lnTo>
                  <a:lnTo>
                    <a:pt x="368" y="442"/>
                  </a:lnTo>
                  <a:lnTo>
                    <a:pt x="302" y="504"/>
                  </a:lnTo>
                  <a:lnTo>
                    <a:pt x="302" y="504"/>
                  </a:lnTo>
                  <a:lnTo>
                    <a:pt x="300" y="506"/>
                  </a:lnTo>
                  <a:lnTo>
                    <a:pt x="300" y="508"/>
                  </a:lnTo>
                  <a:lnTo>
                    <a:pt x="302" y="508"/>
                  </a:lnTo>
                  <a:lnTo>
                    <a:pt x="304" y="510"/>
                  </a:lnTo>
                  <a:lnTo>
                    <a:pt x="312" y="510"/>
                  </a:lnTo>
                  <a:lnTo>
                    <a:pt x="312" y="510"/>
                  </a:lnTo>
                  <a:lnTo>
                    <a:pt x="318" y="512"/>
                  </a:lnTo>
                  <a:lnTo>
                    <a:pt x="318" y="514"/>
                  </a:lnTo>
                  <a:lnTo>
                    <a:pt x="320" y="516"/>
                  </a:lnTo>
                  <a:lnTo>
                    <a:pt x="320" y="516"/>
                  </a:lnTo>
                  <a:lnTo>
                    <a:pt x="318" y="518"/>
                  </a:lnTo>
                  <a:lnTo>
                    <a:pt x="318" y="522"/>
                  </a:lnTo>
                  <a:lnTo>
                    <a:pt x="312" y="524"/>
                  </a:lnTo>
                  <a:lnTo>
                    <a:pt x="278" y="524"/>
                  </a:lnTo>
                  <a:lnTo>
                    <a:pt x="278" y="524"/>
                  </a:lnTo>
                  <a:lnTo>
                    <a:pt x="276" y="522"/>
                  </a:lnTo>
                  <a:lnTo>
                    <a:pt x="272" y="520"/>
                  </a:lnTo>
                  <a:lnTo>
                    <a:pt x="272" y="518"/>
                  </a:lnTo>
                  <a:lnTo>
                    <a:pt x="270" y="516"/>
                  </a:lnTo>
                  <a:lnTo>
                    <a:pt x="270" y="430"/>
                  </a:lnTo>
                  <a:lnTo>
                    <a:pt x="270" y="430"/>
                  </a:lnTo>
                  <a:lnTo>
                    <a:pt x="272" y="426"/>
                  </a:lnTo>
                  <a:lnTo>
                    <a:pt x="272" y="424"/>
                  </a:lnTo>
                  <a:lnTo>
                    <a:pt x="276" y="422"/>
                  </a:lnTo>
                  <a:lnTo>
                    <a:pt x="278" y="422"/>
                  </a:lnTo>
                  <a:lnTo>
                    <a:pt x="288" y="422"/>
                  </a:lnTo>
                  <a:lnTo>
                    <a:pt x="288" y="422"/>
                  </a:lnTo>
                  <a:lnTo>
                    <a:pt x="290" y="420"/>
                  </a:lnTo>
                  <a:lnTo>
                    <a:pt x="294" y="420"/>
                  </a:lnTo>
                  <a:lnTo>
                    <a:pt x="296" y="416"/>
                  </a:lnTo>
                  <a:lnTo>
                    <a:pt x="296" y="414"/>
                  </a:lnTo>
                  <a:lnTo>
                    <a:pt x="296" y="404"/>
                  </a:lnTo>
                  <a:lnTo>
                    <a:pt x="296" y="404"/>
                  </a:lnTo>
                  <a:lnTo>
                    <a:pt x="296" y="402"/>
                  </a:lnTo>
                  <a:lnTo>
                    <a:pt x="294" y="398"/>
                  </a:lnTo>
                  <a:lnTo>
                    <a:pt x="290" y="396"/>
                  </a:lnTo>
                  <a:lnTo>
                    <a:pt x="288" y="396"/>
                  </a:lnTo>
                  <a:lnTo>
                    <a:pt x="278" y="396"/>
                  </a:lnTo>
                  <a:lnTo>
                    <a:pt x="278" y="396"/>
                  </a:lnTo>
                  <a:lnTo>
                    <a:pt x="276" y="396"/>
                  </a:lnTo>
                  <a:lnTo>
                    <a:pt x="272" y="394"/>
                  </a:lnTo>
                  <a:lnTo>
                    <a:pt x="272" y="392"/>
                  </a:lnTo>
                  <a:lnTo>
                    <a:pt x="270" y="388"/>
                  </a:lnTo>
                  <a:lnTo>
                    <a:pt x="270" y="338"/>
                  </a:lnTo>
                  <a:lnTo>
                    <a:pt x="270" y="338"/>
                  </a:lnTo>
                  <a:lnTo>
                    <a:pt x="270" y="334"/>
                  </a:lnTo>
                  <a:lnTo>
                    <a:pt x="268" y="332"/>
                  </a:lnTo>
                  <a:lnTo>
                    <a:pt x="266" y="330"/>
                  </a:lnTo>
                  <a:lnTo>
                    <a:pt x="262" y="330"/>
                  </a:lnTo>
                  <a:lnTo>
                    <a:pt x="248" y="330"/>
                  </a:lnTo>
                  <a:lnTo>
                    <a:pt x="248" y="330"/>
                  </a:lnTo>
                  <a:lnTo>
                    <a:pt x="242" y="328"/>
                  </a:lnTo>
                  <a:lnTo>
                    <a:pt x="234" y="326"/>
                  </a:lnTo>
                  <a:lnTo>
                    <a:pt x="190" y="294"/>
                  </a:lnTo>
                  <a:lnTo>
                    <a:pt x="190" y="294"/>
                  </a:lnTo>
                  <a:lnTo>
                    <a:pt x="186" y="290"/>
                  </a:lnTo>
                  <a:lnTo>
                    <a:pt x="180" y="282"/>
                  </a:lnTo>
                  <a:lnTo>
                    <a:pt x="160" y="248"/>
                  </a:lnTo>
                  <a:lnTo>
                    <a:pt x="160" y="248"/>
                  </a:lnTo>
                  <a:lnTo>
                    <a:pt x="154" y="244"/>
                  </a:lnTo>
                  <a:lnTo>
                    <a:pt x="148" y="242"/>
                  </a:lnTo>
                  <a:lnTo>
                    <a:pt x="138" y="242"/>
                  </a:lnTo>
                  <a:lnTo>
                    <a:pt x="138" y="242"/>
                  </a:lnTo>
                  <a:lnTo>
                    <a:pt x="132" y="240"/>
                  </a:lnTo>
                  <a:lnTo>
                    <a:pt x="126" y="234"/>
                  </a:lnTo>
                  <a:lnTo>
                    <a:pt x="104" y="186"/>
                  </a:lnTo>
                  <a:lnTo>
                    <a:pt x="104" y="186"/>
                  </a:lnTo>
                  <a:lnTo>
                    <a:pt x="100" y="178"/>
                  </a:lnTo>
                  <a:lnTo>
                    <a:pt x="100" y="170"/>
                  </a:lnTo>
                  <a:lnTo>
                    <a:pt x="100" y="142"/>
                  </a:lnTo>
                  <a:lnTo>
                    <a:pt x="100" y="142"/>
                  </a:lnTo>
                  <a:lnTo>
                    <a:pt x="98" y="140"/>
                  </a:lnTo>
                  <a:lnTo>
                    <a:pt x="98" y="138"/>
                  </a:lnTo>
                  <a:lnTo>
                    <a:pt x="94" y="136"/>
                  </a:lnTo>
                  <a:lnTo>
                    <a:pt x="92" y="136"/>
                  </a:lnTo>
                  <a:lnTo>
                    <a:pt x="82" y="140"/>
                  </a:lnTo>
                  <a:lnTo>
                    <a:pt x="82" y="140"/>
                  </a:lnTo>
                  <a:lnTo>
                    <a:pt x="98" y="120"/>
                  </a:lnTo>
                  <a:lnTo>
                    <a:pt x="118" y="100"/>
                  </a:lnTo>
                  <a:lnTo>
                    <a:pt x="138" y="84"/>
                  </a:lnTo>
                  <a:lnTo>
                    <a:pt x="160" y="70"/>
                  </a:lnTo>
                  <a:lnTo>
                    <a:pt x="184" y="58"/>
                  </a:lnTo>
                  <a:lnTo>
                    <a:pt x="208" y="48"/>
                  </a:lnTo>
                  <a:lnTo>
                    <a:pt x="234" y="42"/>
                  </a:lnTo>
                  <a:lnTo>
                    <a:pt x="262" y="38"/>
                  </a:lnTo>
                  <a:lnTo>
                    <a:pt x="262" y="70"/>
                  </a:lnTo>
                  <a:lnTo>
                    <a:pt x="262" y="70"/>
                  </a:lnTo>
                  <a:lnTo>
                    <a:pt x="264" y="78"/>
                  </a:lnTo>
                  <a:lnTo>
                    <a:pt x="268" y="84"/>
                  </a:lnTo>
                  <a:lnTo>
                    <a:pt x="284" y="94"/>
                  </a:lnTo>
                  <a:lnTo>
                    <a:pt x="284" y="94"/>
                  </a:lnTo>
                  <a:lnTo>
                    <a:pt x="290" y="98"/>
                  </a:lnTo>
                  <a:lnTo>
                    <a:pt x="298" y="98"/>
                  </a:lnTo>
                  <a:lnTo>
                    <a:pt x="310" y="98"/>
                  </a:lnTo>
                  <a:lnTo>
                    <a:pt x="310" y="98"/>
                  </a:lnTo>
                  <a:lnTo>
                    <a:pt x="316" y="100"/>
                  </a:lnTo>
                  <a:lnTo>
                    <a:pt x="318" y="102"/>
                  </a:lnTo>
                  <a:lnTo>
                    <a:pt x="318" y="106"/>
                  </a:lnTo>
                  <a:lnTo>
                    <a:pt x="318" y="106"/>
                  </a:lnTo>
                  <a:lnTo>
                    <a:pt x="316" y="112"/>
                  </a:lnTo>
                  <a:lnTo>
                    <a:pt x="312" y="118"/>
                  </a:lnTo>
                  <a:lnTo>
                    <a:pt x="296" y="136"/>
                  </a:lnTo>
                  <a:lnTo>
                    <a:pt x="296" y="136"/>
                  </a:lnTo>
                  <a:lnTo>
                    <a:pt x="294" y="138"/>
                  </a:lnTo>
                  <a:lnTo>
                    <a:pt x="294" y="140"/>
                  </a:lnTo>
                  <a:lnTo>
                    <a:pt x="296" y="142"/>
                  </a:lnTo>
                  <a:lnTo>
                    <a:pt x="298" y="142"/>
                  </a:lnTo>
                  <a:lnTo>
                    <a:pt x="310" y="142"/>
                  </a:lnTo>
                  <a:lnTo>
                    <a:pt x="310" y="142"/>
                  </a:lnTo>
                  <a:lnTo>
                    <a:pt x="312" y="142"/>
                  </a:lnTo>
                  <a:lnTo>
                    <a:pt x="316" y="144"/>
                  </a:lnTo>
                  <a:lnTo>
                    <a:pt x="316" y="146"/>
                  </a:lnTo>
                  <a:lnTo>
                    <a:pt x="318" y="150"/>
                  </a:lnTo>
                  <a:lnTo>
                    <a:pt x="318" y="178"/>
                  </a:lnTo>
                  <a:lnTo>
                    <a:pt x="318" y="178"/>
                  </a:lnTo>
                  <a:lnTo>
                    <a:pt x="318" y="182"/>
                  </a:lnTo>
                  <a:lnTo>
                    <a:pt x="320" y="184"/>
                  </a:lnTo>
                  <a:lnTo>
                    <a:pt x="322" y="186"/>
                  </a:lnTo>
                  <a:lnTo>
                    <a:pt x="326" y="186"/>
                  </a:lnTo>
                  <a:lnTo>
                    <a:pt x="338" y="186"/>
                  </a:lnTo>
                  <a:lnTo>
                    <a:pt x="338" y="186"/>
                  </a:lnTo>
                  <a:lnTo>
                    <a:pt x="344" y="188"/>
                  </a:lnTo>
                  <a:lnTo>
                    <a:pt x="346" y="190"/>
                  </a:lnTo>
                  <a:lnTo>
                    <a:pt x="346" y="192"/>
                  </a:lnTo>
                  <a:lnTo>
                    <a:pt x="346" y="192"/>
                  </a:lnTo>
                  <a:lnTo>
                    <a:pt x="346" y="196"/>
                  </a:lnTo>
                  <a:lnTo>
                    <a:pt x="344" y="198"/>
                  </a:lnTo>
                  <a:lnTo>
                    <a:pt x="338" y="198"/>
                  </a:lnTo>
                  <a:lnTo>
                    <a:pt x="298" y="198"/>
                  </a:lnTo>
                  <a:lnTo>
                    <a:pt x="298" y="198"/>
                  </a:lnTo>
                  <a:lnTo>
                    <a:pt x="292" y="200"/>
                  </a:lnTo>
                  <a:lnTo>
                    <a:pt x="284" y="204"/>
                  </a:lnTo>
                  <a:lnTo>
                    <a:pt x="268" y="216"/>
                  </a:lnTo>
                  <a:lnTo>
                    <a:pt x="268" y="216"/>
                  </a:lnTo>
                  <a:lnTo>
                    <a:pt x="264" y="222"/>
                  </a:lnTo>
                  <a:lnTo>
                    <a:pt x="262" y="230"/>
                  </a:lnTo>
                  <a:lnTo>
                    <a:pt x="262" y="278"/>
                  </a:lnTo>
                  <a:lnTo>
                    <a:pt x="262" y="278"/>
                  </a:lnTo>
                  <a:lnTo>
                    <a:pt x="262" y="280"/>
                  </a:lnTo>
                  <a:lnTo>
                    <a:pt x="260" y="282"/>
                  </a:lnTo>
                  <a:lnTo>
                    <a:pt x="256" y="284"/>
                  </a:lnTo>
                  <a:lnTo>
                    <a:pt x="254" y="286"/>
                  </a:lnTo>
                  <a:lnTo>
                    <a:pt x="252" y="286"/>
                  </a:lnTo>
                  <a:lnTo>
                    <a:pt x="252" y="286"/>
                  </a:lnTo>
                  <a:lnTo>
                    <a:pt x="248" y="284"/>
                  </a:lnTo>
                  <a:lnTo>
                    <a:pt x="246" y="282"/>
                  </a:lnTo>
                  <a:lnTo>
                    <a:pt x="244" y="280"/>
                  </a:lnTo>
                  <a:lnTo>
                    <a:pt x="244" y="278"/>
                  </a:lnTo>
                  <a:lnTo>
                    <a:pt x="244" y="250"/>
                  </a:lnTo>
                  <a:lnTo>
                    <a:pt x="244" y="250"/>
                  </a:lnTo>
                  <a:lnTo>
                    <a:pt x="242" y="246"/>
                  </a:lnTo>
                  <a:lnTo>
                    <a:pt x="240" y="244"/>
                  </a:lnTo>
                  <a:lnTo>
                    <a:pt x="238" y="242"/>
                  </a:lnTo>
                  <a:lnTo>
                    <a:pt x="236" y="242"/>
                  </a:lnTo>
                  <a:lnTo>
                    <a:pt x="214" y="242"/>
                  </a:lnTo>
                  <a:lnTo>
                    <a:pt x="214" y="242"/>
                  </a:lnTo>
                  <a:lnTo>
                    <a:pt x="210" y="242"/>
                  </a:lnTo>
                  <a:lnTo>
                    <a:pt x="208" y="244"/>
                  </a:lnTo>
                  <a:lnTo>
                    <a:pt x="206" y="246"/>
                  </a:lnTo>
                  <a:lnTo>
                    <a:pt x="206" y="250"/>
                  </a:lnTo>
                  <a:lnTo>
                    <a:pt x="206" y="272"/>
                  </a:lnTo>
                  <a:lnTo>
                    <a:pt x="206" y="272"/>
                  </a:lnTo>
                  <a:lnTo>
                    <a:pt x="208" y="280"/>
                  </a:lnTo>
                  <a:lnTo>
                    <a:pt x="212" y="286"/>
                  </a:lnTo>
                  <a:lnTo>
                    <a:pt x="244" y="310"/>
                  </a:lnTo>
                  <a:lnTo>
                    <a:pt x="244" y="310"/>
                  </a:lnTo>
                  <a:lnTo>
                    <a:pt x="250" y="314"/>
                  </a:lnTo>
                  <a:lnTo>
                    <a:pt x="258" y="316"/>
                  </a:lnTo>
                  <a:lnTo>
                    <a:pt x="312" y="316"/>
                  </a:lnTo>
                  <a:lnTo>
                    <a:pt x="312" y="316"/>
                  </a:lnTo>
                  <a:lnTo>
                    <a:pt x="320" y="316"/>
                  </a:lnTo>
                  <a:lnTo>
                    <a:pt x="326" y="320"/>
                  </a:lnTo>
                  <a:lnTo>
                    <a:pt x="394" y="356"/>
                  </a:lnTo>
                  <a:lnTo>
                    <a:pt x="394" y="356"/>
                  </a:lnTo>
                  <a:lnTo>
                    <a:pt x="400" y="360"/>
                  </a:lnTo>
                  <a:lnTo>
                    <a:pt x="402" y="368"/>
                  </a:lnTo>
                  <a:lnTo>
                    <a:pt x="402" y="370"/>
                  </a:lnTo>
                  <a:lnTo>
                    <a:pt x="402" y="370"/>
                  </a:lnTo>
                  <a:lnTo>
                    <a:pt x="402" y="370"/>
                  </a:lnTo>
                  <a:close/>
                  <a:moveTo>
                    <a:pt x="382" y="128"/>
                  </a:moveTo>
                  <a:lnTo>
                    <a:pt x="382" y="128"/>
                  </a:lnTo>
                  <a:lnTo>
                    <a:pt x="374" y="132"/>
                  </a:lnTo>
                  <a:lnTo>
                    <a:pt x="366" y="132"/>
                  </a:lnTo>
                  <a:lnTo>
                    <a:pt x="364" y="132"/>
                  </a:lnTo>
                  <a:lnTo>
                    <a:pt x="364" y="132"/>
                  </a:lnTo>
                  <a:lnTo>
                    <a:pt x="360" y="132"/>
                  </a:lnTo>
                  <a:lnTo>
                    <a:pt x="358" y="130"/>
                  </a:lnTo>
                  <a:lnTo>
                    <a:pt x="356" y="128"/>
                  </a:lnTo>
                  <a:lnTo>
                    <a:pt x="356" y="124"/>
                  </a:lnTo>
                  <a:lnTo>
                    <a:pt x="356" y="98"/>
                  </a:lnTo>
                  <a:lnTo>
                    <a:pt x="356" y="98"/>
                  </a:lnTo>
                  <a:lnTo>
                    <a:pt x="354" y="96"/>
                  </a:lnTo>
                  <a:lnTo>
                    <a:pt x="352" y="94"/>
                  </a:lnTo>
                  <a:lnTo>
                    <a:pt x="350" y="92"/>
                  </a:lnTo>
                  <a:lnTo>
                    <a:pt x="348" y="90"/>
                  </a:lnTo>
                  <a:lnTo>
                    <a:pt x="336" y="90"/>
                  </a:lnTo>
                  <a:lnTo>
                    <a:pt x="336" y="90"/>
                  </a:lnTo>
                  <a:lnTo>
                    <a:pt x="332" y="90"/>
                  </a:lnTo>
                  <a:lnTo>
                    <a:pt x="330" y="88"/>
                  </a:lnTo>
                  <a:lnTo>
                    <a:pt x="328" y="86"/>
                  </a:lnTo>
                  <a:lnTo>
                    <a:pt x="328" y="82"/>
                  </a:lnTo>
                  <a:lnTo>
                    <a:pt x="328" y="40"/>
                  </a:lnTo>
                  <a:lnTo>
                    <a:pt x="328" y="40"/>
                  </a:lnTo>
                  <a:lnTo>
                    <a:pt x="356" y="48"/>
                  </a:lnTo>
                  <a:lnTo>
                    <a:pt x="382" y="58"/>
                  </a:lnTo>
                  <a:lnTo>
                    <a:pt x="408" y="70"/>
                  </a:lnTo>
                  <a:lnTo>
                    <a:pt x="432" y="86"/>
                  </a:lnTo>
                  <a:lnTo>
                    <a:pt x="432" y="86"/>
                  </a:lnTo>
                  <a:lnTo>
                    <a:pt x="424" y="94"/>
                  </a:lnTo>
                  <a:lnTo>
                    <a:pt x="406" y="108"/>
                  </a:lnTo>
                  <a:lnTo>
                    <a:pt x="382" y="128"/>
                  </a:lnTo>
                  <a:lnTo>
                    <a:pt x="382" y="128"/>
                  </a:lnTo>
                  <a:close/>
                </a:path>
              </a:pathLst>
            </a:custGeom>
            <a:solidFill>
              <a:schemeClr val="accent2"/>
            </a:solidFill>
            <a:ln w="9525">
              <a:noFill/>
              <a:round/>
              <a:headEnd/>
              <a:tailEnd/>
            </a:ln>
          </p:spPr>
          <p:txBody>
            <a:bodyPr/>
            <a:lstStyle/>
            <a:p>
              <a:pPr>
                <a:defRPr/>
              </a:pPr>
              <a:endParaRPr lang="en-US">
                <a:latin typeface="+mn-lt"/>
                <a:cs typeface="+mn-cs"/>
              </a:endParaRPr>
            </a:p>
          </p:txBody>
        </p:sp>
      </p:grpSp>
      <p:sp>
        <p:nvSpPr>
          <p:cNvPr id="74" name="Freeform 44">
            <a:extLst>
              <a:ext uri="{FF2B5EF4-FFF2-40B4-BE49-F238E27FC236}"/>
            </a:extLst>
          </p:cNvPr>
          <p:cNvSpPr/>
          <p:nvPr/>
        </p:nvSpPr>
        <p:spPr bwMode="gray">
          <a:xfrm>
            <a:off x="7496175" y="2808288"/>
            <a:ext cx="736600" cy="820737"/>
          </a:xfrm>
          <a:custGeom>
            <a:avLst/>
            <a:gdLst>
              <a:gd name="connsiteX0" fmla="*/ 1270427 w 3974843"/>
              <a:gd name="connsiteY0" fmla="*/ 1429277 h 3762245"/>
              <a:gd name="connsiteX1" fmla="*/ 2279248 w 3974843"/>
              <a:gd name="connsiteY1" fmla="*/ 3164181 h 3762245"/>
              <a:gd name="connsiteX2" fmla="*/ 2281600 w 3974843"/>
              <a:gd name="connsiteY2" fmla="*/ 3171106 h 3762245"/>
              <a:gd name="connsiteX3" fmla="*/ 2933317 w 3974843"/>
              <a:gd name="connsiteY3" fmla="*/ 3171106 h 3762245"/>
              <a:gd name="connsiteX4" fmla="*/ 3069941 w 3974843"/>
              <a:gd name="connsiteY4" fmla="*/ 3307730 h 3762245"/>
              <a:gd name="connsiteX5" fmla="*/ 3069941 w 3974843"/>
              <a:gd name="connsiteY5" fmla="*/ 3625621 h 3762245"/>
              <a:gd name="connsiteX6" fmla="*/ 2933317 w 3974843"/>
              <a:gd name="connsiteY6" fmla="*/ 3762245 h 3762245"/>
              <a:gd name="connsiteX7" fmla="*/ 523798 w 3974843"/>
              <a:gd name="connsiteY7" fmla="*/ 3762245 h 3762245"/>
              <a:gd name="connsiteX8" fmla="*/ 387174 w 3974843"/>
              <a:gd name="connsiteY8" fmla="*/ 3625621 h 3762245"/>
              <a:gd name="connsiteX9" fmla="*/ 387174 w 3974843"/>
              <a:gd name="connsiteY9" fmla="*/ 3307730 h 3762245"/>
              <a:gd name="connsiteX10" fmla="*/ 523798 w 3974843"/>
              <a:gd name="connsiteY10" fmla="*/ 3171106 h 3762245"/>
              <a:gd name="connsiteX11" fmla="*/ 1198114 w 3974843"/>
              <a:gd name="connsiteY11" fmla="*/ 3171106 h 3762245"/>
              <a:gd name="connsiteX12" fmla="*/ 221657 w 3974843"/>
              <a:gd name="connsiteY12" fmla="*/ 1491859 h 3762245"/>
              <a:gd name="connsiteX13" fmla="*/ 304551 w 3974843"/>
              <a:gd name="connsiteY13" fmla="*/ 1561690 h 3762245"/>
              <a:gd name="connsiteX14" fmla="*/ 719026 w 3974843"/>
              <a:gd name="connsiteY14" fmla="*/ 1697427 h 3762245"/>
              <a:gd name="connsiteX15" fmla="*/ 1243214 w 3974843"/>
              <a:gd name="connsiteY15" fmla="*/ 1464639 h 3762245"/>
              <a:gd name="connsiteX16" fmla="*/ 0 w 3974843"/>
              <a:gd name="connsiteY16" fmla="*/ 1110668 h 3762245"/>
              <a:gd name="connsiteX17" fmla="*/ 6734 w 3974843"/>
              <a:gd name="connsiteY17" fmla="*/ 1111032 h 3762245"/>
              <a:gd name="connsiteX18" fmla="*/ 13203 w 3974843"/>
              <a:gd name="connsiteY18" fmla="*/ 1133374 h 3762245"/>
              <a:gd name="connsiteX19" fmla="*/ 682323 w 3974843"/>
              <a:gd name="connsiteY19" fmla="*/ 740747 h 3762245"/>
              <a:gd name="connsiteX20" fmla="*/ 836399 w 3974843"/>
              <a:gd name="connsiteY20" fmla="*/ 894484 h 3762245"/>
              <a:gd name="connsiteX21" fmla="*/ 682323 w 3974843"/>
              <a:gd name="connsiteY21" fmla="*/ 1048221 h 3762245"/>
              <a:gd name="connsiteX22" fmla="*/ 528247 w 3974843"/>
              <a:gd name="connsiteY22" fmla="*/ 894484 h 3762245"/>
              <a:gd name="connsiteX23" fmla="*/ 682323 w 3974843"/>
              <a:gd name="connsiteY23" fmla="*/ 740747 h 3762245"/>
              <a:gd name="connsiteX24" fmla="*/ 682322 w 3974843"/>
              <a:gd name="connsiteY24" fmla="*/ 560420 h 3762245"/>
              <a:gd name="connsiteX25" fmla="*/ 347522 w 3974843"/>
              <a:gd name="connsiteY25" fmla="*/ 894483 h 3762245"/>
              <a:gd name="connsiteX26" fmla="*/ 682322 w 3974843"/>
              <a:gd name="connsiteY26" fmla="*/ 1228546 h 3762245"/>
              <a:gd name="connsiteX27" fmla="*/ 1017122 w 3974843"/>
              <a:gd name="connsiteY27" fmla="*/ 894483 h 3762245"/>
              <a:gd name="connsiteX28" fmla="*/ 682322 w 3974843"/>
              <a:gd name="connsiteY28" fmla="*/ 560420 h 3762245"/>
              <a:gd name="connsiteX29" fmla="*/ 682323 w 3974843"/>
              <a:gd name="connsiteY29" fmla="*/ 325550 h 3762245"/>
              <a:gd name="connsiteX30" fmla="*/ 1251036 w 3974843"/>
              <a:gd name="connsiteY30" fmla="*/ 894483 h 3762245"/>
              <a:gd name="connsiteX31" fmla="*/ 682323 w 3974843"/>
              <a:gd name="connsiteY31" fmla="*/ 1463416 h 3762245"/>
              <a:gd name="connsiteX32" fmla="*/ 113610 w 3974843"/>
              <a:gd name="connsiteY32" fmla="*/ 894483 h 3762245"/>
              <a:gd name="connsiteX33" fmla="*/ 682323 w 3974843"/>
              <a:gd name="connsiteY33" fmla="*/ 325550 h 3762245"/>
              <a:gd name="connsiteX34" fmla="*/ 3074512 w 3974843"/>
              <a:gd name="connsiteY34" fmla="*/ 6 h 3762245"/>
              <a:gd name="connsiteX35" fmla="*/ 3116004 w 3974843"/>
              <a:gd name="connsiteY35" fmla="*/ 5656 h 3762245"/>
              <a:gd name="connsiteX36" fmla="*/ 3147355 w 3974843"/>
              <a:gd name="connsiteY36" fmla="*/ 22036 h 3762245"/>
              <a:gd name="connsiteX37" fmla="*/ 3154740 w 3974843"/>
              <a:gd name="connsiteY37" fmla="*/ 24664 h 3762245"/>
              <a:gd name="connsiteX38" fmla="*/ 3904485 w 3974843"/>
              <a:gd name="connsiteY38" fmla="*/ 475157 h 3762245"/>
              <a:gd name="connsiteX39" fmla="*/ 3973411 w 3974843"/>
              <a:gd name="connsiteY39" fmla="*/ 619911 h 3762245"/>
              <a:gd name="connsiteX40" fmla="*/ 3954105 w 3974843"/>
              <a:gd name="connsiteY40" fmla="*/ 674169 h 3762245"/>
              <a:gd name="connsiteX41" fmla="*/ 3915261 w 3974843"/>
              <a:gd name="connsiteY41" fmla="*/ 716688 h 3762245"/>
              <a:gd name="connsiteX42" fmla="*/ 3755093 w 3974843"/>
              <a:gd name="connsiteY42" fmla="*/ 723788 h 3762245"/>
              <a:gd name="connsiteX43" fmla="*/ 3108395 w 3974843"/>
              <a:gd name="connsiteY43" fmla="*/ 335213 h 3762245"/>
              <a:gd name="connsiteX44" fmla="*/ 2767888 w 3974843"/>
              <a:gd name="connsiteY44" fmla="*/ 755704 h 3762245"/>
              <a:gd name="connsiteX45" fmla="*/ 2767888 w 3974843"/>
              <a:gd name="connsiteY45" fmla="*/ 1028939 h 3762245"/>
              <a:gd name="connsiteX46" fmla="*/ 3108397 w 3974843"/>
              <a:gd name="connsiteY46" fmla="*/ 1449432 h 3762245"/>
              <a:gd name="connsiteX47" fmla="*/ 3755095 w 3974843"/>
              <a:gd name="connsiteY47" fmla="*/ 1060857 h 3762245"/>
              <a:gd name="connsiteX48" fmla="*/ 3915263 w 3974843"/>
              <a:gd name="connsiteY48" fmla="*/ 1067957 h 3762245"/>
              <a:gd name="connsiteX49" fmla="*/ 3954107 w 3974843"/>
              <a:gd name="connsiteY49" fmla="*/ 1110476 h 3762245"/>
              <a:gd name="connsiteX50" fmla="*/ 3973413 w 3974843"/>
              <a:gd name="connsiteY50" fmla="*/ 1164734 h 3762245"/>
              <a:gd name="connsiteX51" fmla="*/ 3904487 w 3974843"/>
              <a:gd name="connsiteY51" fmla="*/ 1309487 h 3762245"/>
              <a:gd name="connsiteX52" fmla="*/ 3154742 w 3974843"/>
              <a:gd name="connsiteY52" fmla="*/ 1759981 h 3762245"/>
              <a:gd name="connsiteX53" fmla="*/ 3147357 w 3974843"/>
              <a:gd name="connsiteY53" fmla="*/ 1762609 h 3762245"/>
              <a:gd name="connsiteX54" fmla="*/ 3116005 w 3974843"/>
              <a:gd name="connsiteY54" fmla="*/ 1778989 h 3762245"/>
              <a:gd name="connsiteX55" fmla="*/ 2963069 w 3974843"/>
              <a:gd name="connsiteY55" fmla="*/ 1730881 h 3762245"/>
              <a:gd name="connsiteX56" fmla="*/ 2638824 w 3974843"/>
              <a:gd name="connsiteY56" fmla="*/ 1330471 h 3762245"/>
              <a:gd name="connsiteX57" fmla="*/ 2283775 w 3974843"/>
              <a:gd name="connsiteY57" fmla="*/ 1330471 h 3762245"/>
              <a:gd name="connsiteX58" fmla="*/ 2186950 w 3974843"/>
              <a:gd name="connsiteY58" fmla="*/ 1233646 h 3762245"/>
              <a:gd name="connsiteX59" fmla="*/ 2186950 w 3974843"/>
              <a:gd name="connsiteY59" fmla="*/ 1189345 h 3762245"/>
              <a:gd name="connsiteX60" fmla="*/ 1408644 w 3974843"/>
              <a:gd name="connsiteY60" fmla="*/ 1189345 h 3762245"/>
              <a:gd name="connsiteX61" fmla="*/ 1445278 w 3974843"/>
              <a:gd name="connsiteY61" fmla="*/ 1062817 h 3762245"/>
              <a:gd name="connsiteX62" fmla="*/ 1460339 w 3974843"/>
              <a:gd name="connsiteY62" fmla="*/ 902639 h 3762245"/>
              <a:gd name="connsiteX63" fmla="*/ 1408919 w 3974843"/>
              <a:gd name="connsiteY63" fmla="*/ 611210 h 3762245"/>
              <a:gd name="connsiteX64" fmla="*/ 1404335 w 3974843"/>
              <a:gd name="connsiteY64" fmla="*/ 601461 h 3762245"/>
              <a:gd name="connsiteX65" fmla="*/ 2186950 w 3974843"/>
              <a:gd name="connsiteY65" fmla="*/ 601461 h 3762245"/>
              <a:gd name="connsiteX66" fmla="*/ 2186950 w 3974843"/>
              <a:gd name="connsiteY66" fmla="*/ 547634 h 3762245"/>
              <a:gd name="connsiteX67" fmla="*/ 2283775 w 3974843"/>
              <a:gd name="connsiteY67" fmla="*/ 450809 h 3762245"/>
              <a:gd name="connsiteX68" fmla="*/ 2641547 w 3974843"/>
              <a:gd name="connsiteY68" fmla="*/ 450809 h 3762245"/>
              <a:gd name="connsiteX69" fmla="*/ 2963067 w 3974843"/>
              <a:gd name="connsiteY69" fmla="*/ 53764 h 3762245"/>
              <a:gd name="connsiteX70" fmla="*/ 3074512 w 3974843"/>
              <a:gd name="connsiteY70" fmla="*/ 6 h 376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974843" h="3762245">
                <a:moveTo>
                  <a:pt x="1270427" y="1429277"/>
                </a:moveTo>
                <a:lnTo>
                  <a:pt x="2279248" y="3164181"/>
                </a:lnTo>
                <a:lnTo>
                  <a:pt x="2281600" y="3171106"/>
                </a:lnTo>
                <a:lnTo>
                  <a:pt x="2933317" y="3171106"/>
                </a:lnTo>
                <a:cubicBezTo>
                  <a:pt x="3008772" y="3171106"/>
                  <a:pt x="3069941" y="3232275"/>
                  <a:pt x="3069941" y="3307730"/>
                </a:cubicBezTo>
                <a:lnTo>
                  <a:pt x="3069941" y="3625621"/>
                </a:lnTo>
                <a:cubicBezTo>
                  <a:pt x="3069941" y="3701076"/>
                  <a:pt x="3008772" y="3762245"/>
                  <a:pt x="2933317" y="3762245"/>
                </a:cubicBezTo>
                <a:lnTo>
                  <a:pt x="523798" y="3762245"/>
                </a:lnTo>
                <a:cubicBezTo>
                  <a:pt x="448343" y="3762245"/>
                  <a:pt x="387174" y="3701076"/>
                  <a:pt x="387174" y="3625621"/>
                </a:cubicBezTo>
                <a:lnTo>
                  <a:pt x="387174" y="3307730"/>
                </a:lnTo>
                <a:cubicBezTo>
                  <a:pt x="387174" y="3232275"/>
                  <a:pt x="448343" y="3171106"/>
                  <a:pt x="523798" y="3171106"/>
                </a:cubicBezTo>
                <a:lnTo>
                  <a:pt x="1198114" y="3171106"/>
                </a:lnTo>
                <a:lnTo>
                  <a:pt x="221657" y="1491859"/>
                </a:lnTo>
                <a:lnTo>
                  <a:pt x="304551" y="1561690"/>
                </a:lnTo>
                <a:cubicBezTo>
                  <a:pt x="422865" y="1647387"/>
                  <a:pt x="565495" y="1697427"/>
                  <a:pt x="719026" y="1697427"/>
                </a:cubicBezTo>
                <a:cubicBezTo>
                  <a:pt x="923734" y="1697427"/>
                  <a:pt x="1109062" y="1608467"/>
                  <a:pt x="1243214" y="1464639"/>
                </a:cubicBezTo>
                <a:close/>
                <a:moveTo>
                  <a:pt x="0" y="1110668"/>
                </a:moveTo>
                <a:lnTo>
                  <a:pt x="6734" y="1111032"/>
                </a:lnTo>
                <a:lnTo>
                  <a:pt x="13203" y="1133374"/>
                </a:lnTo>
                <a:close/>
                <a:moveTo>
                  <a:pt x="682323" y="740747"/>
                </a:moveTo>
                <a:cubicBezTo>
                  <a:pt x="767417" y="740747"/>
                  <a:pt x="836399" y="809577"/>
                  <a:pt x="836399" y="894484"/>
                </a:cubicBezTo>
                <a:cubicBezTo>
                  <a:pt x="836399" y="979391"/>
                  <a:pt x="767417" y="1048221"/>
                  <a:pt x="682323" y="1048221"/>
                </a:cubicBezTo>
                <a:cubicBezTo>
                  <a:pt x="597229" y="1048221"/>
                  <a:pt x="528247" y="979391"/>
                  <a:pt x="528247" y="894484"/>
                </a:cubicBezTo>
                <a:cubicBezTo>
                  <a:pt x="528247" y="809577"/>
                  <a:pt x="597229" y="740747"/>
                  <a:pt x="682323" y="740747"/>
                </a:cubicBezTo>
                <a:close/>
                <a:moveTo>
                  <a:pt x="682322" y="560420"/>
                </a:moveTo>
                <a:cubicBezTo>
                  <a:pt x="497417" y="560420"/>
                  <a:pt x="347522" y="709985"/>
                  <a:pt x="347522" y="894483"/>
                </a:cubicBezTo>
                <a:cubicBezTo>
                  <a:pt x="347522" y="1078981"/>
                  <a:pt x="497417" y="1228546"/>
                  <a:pt x="682322" y="1228546"/>
                </a:cubicBezTo>
                <a:cubicBezTo>
                  <a:pt x="867227" y="1228546"/>
                  <a:pt x="1017122" y="1078981"/>
                  <a:pt x="1017122" y="894483"/>
                </a:cubicBezTo>
                <a:cubicBezTo>
                  <a:pt x="1017122" y="709985"/>
                  <a:pt x="867227" y="560420"/>
                  <a:pt x="682322" y="560420"/>
                </a:cubicBezTo>
                <a:close/>
                <a:moveTo>
                  <a:pt x="682323" y="325550"/>
                </a:moveTo>
                <a:cubicBezTo>
                  <a:pt x="996415" y="325550"/>
                  <a:pt x="1251036" y="580270"/>
                  <a:pt x="1251036" y="894483"/>
                </a:cubicBezTo>
                <a:cubicBezTo>
                  <a:pt x="1251036" y="1208696"/>
                  <a:pt x="996415" y="1463416"/>
                  <a:pt x="682323" y="1463416"/>
                </a:cubicBezTo>
                <a:cubicBezTo>
                  <a:pt x="368231" y="1463416"/>
                  <a:pt x="113610" y="1208696"/>
                  <a:pt x="113610" y="894483"/>
                </a:cubicBezTo>
                <a:cubicBezTo>
                  <a:pt x="113610" y="580270"/>
                  <a:pt x="368231" y="325550"/>
                  <a:pt x="682323" y="325550"/>
                </a:cubicBezTo>
                <a:close/>
                <a:moveTo>
                  <a:pt x="3074512" y="6"/>
                </a:moveTo>
                <a:cubicBezTo>
                  <a:pt x="3088442" y="-123"/>
                  <a:pt x="3102426" y="1744"/>
                  <a:pt x="3116004" y="5656"/>
                </a:cubicBezTo>
                <a:lnTo>
                  <a:pt x="3147355" y="22036"/>
                </a:lnTo>
                <a:lnTo>
                  <a:pt x="3154740" y="24664"/>
                </a:lnTo>
                <a:lnTo>
                  <a:pt x="3904485" y="475157"/>
                </a:lnTo>
                <a:cubicBezTo>
                  <a:pt x="3955979" y="506098"/>
                  <a:pt x="3981348" y="563952"/>
                  <a:pt x="3973411" y="619911"/>
                </a:cubicBezTo>
                <a:lnTo>
                  <a:pt x="3954105" y="674169"/>
                </a:lnTo>
                <a:lnTo>
                  <a:pt x="3915261" y="716688"/>
                </a:lnTo>
                <a:cubicBezTo>
                  <a:pt x="3869579" y="749967"/>
                  <a:pt x="3806586" y="754728"/>
                  <a:pt x="3755093" y="723788"/>
                </a:cubicBezTo>
                <a:lnTo>
                  <a:pt x="3108395" y="335213"/>
                </a:lnTo>
                <a:lnTo>
                  <a:pt x="2767888" y="755704"/>
                </a:lnTo>
                <a:lnTo>
                  <a:pt x="2767888" y="1028939"/>
                </a:lnTo>
                <a:lnTo>
                  <a:pt x="3108397" y="1449432"/>
                </a:lnTo>
                <a:lnTo>
                  <a:pt x="3755095" y="1060857"/>
                </a:lnTo>
                <a:cubicBezTo>
                  <a:pt x="3806588" y="1029917"/>
                  <a:pt x="3869581" y="1034678"/>
                  <a:pt x="3915263" y="1067957"/>
                </a:cubicBezTo>
                <a:lnTo>
                  <a:pt x="3954107" y="1110476"/>
                </a:lnTo>
                <a:lnTo>
                  <a:pt x="3973413" y="1164734"/>
                </a:lnTo>
                <a:cubicBezTo>
                  <a:pt x="3981350" y="1220692"/>
                  <a:pt x="3955981" y="1278547"/>
                  <a:pt x="3904487" y="1309487"/>
                </a:cubicBezTo>
                <a:lnTo>
                  <a:pt x="3154742" y="1759981"/>
                </a:lnTo>
                <a:lnTo>
                  <a:pt x="3147357" y="1762609"/>
                </a:lnTo>
                <a:lnTo>
                  <a:pt x="3116005" y="1778989"/>
                </a:lnTo>
                <a:cubicBezTo>
                  <a:pt x="3061696" y="1794637"/>
                  <a:pt x="3000875" y="1777566"/>
                  <a:pt x="2963069" y="1730881"/>
                </a:cubicBezTo>
                <a:lnTo>
                  <a:pt x="2638824" y="1330471"/>
                </a:lnTo>
                <a:lnTo>
                  <a:pt x="2283775" y="1330471"/>
                </a:lnTo>
                <a:cubicBezTo>
                  <a:pt x="2230300" y="1330471"/>
                  <a:pt x="2186950" y="1287121"/>
                  <a:pt x="2186950" y="1233646"/>
                </a:cubicBezTo>
                <a:lnTo>
                  <a:pt x="2186950" y="1189345"/>
                </a:lnTo>
                <a:lnTo>
                  <a:pt x="1408644" y="1189345"/>
                </a:lnTo>
                <a:lnTo>
                  <a:pt x="1445278" y="1062817"/>
                </a:lnTo>
                <a:cubicBezTo>
                  <a:pt x="1455153" y="1011078"/>
                  <a:pt x="1460339" y="957508"/>
                  <a:pt x="1460339" y="902639"/>
                </a:cubicBezTo>
                <a:cubicBezTo>
                  <a:pt x="1460339" y="799760"/>
                  <a:pt x="1442108" y="701447"/>
                  <a:pt x="1408919" y="611210"/>
                </a:cubicBezTo>
                <a:lnTo>
                  <a:pt x="1404335" y="601461"/>
                </a:lnTo>
                <a:lnTo>
                  <a:pt x="2186950" y="601461"/>
                </a:lnTo>
                <a:lnTo>
                  <a:pt x="2186950" y="547634"/>
                </a:lnTo>
                <a:cubicBezTo>
                  <a:pt x="2186950" y="494159"/>
                  <a:pt x="2230300" y="450809"/>
                  <a:pt x="2283775" y="450809"/>
                </a:cubicBezTo>
                <a:lnTo>
                  <a:pt x="2641547" y="450809"/>
                </a:lnTo>
                <a:lnTo>
                  <a:pt x="2963067" y="53764"/>
                </a:lnTo>
                <a:cubicBezTo>
                  <a:pt x="2991421" y="18750"/>
                  <a:pt x="3032722" y="394"/>
                  <a:pt x="3074512" y="6"/>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tx1"/>
              </a:solidFill>
            </a:endParaRPr>
          </a:p>
        </p:txBody>
      </p:sp>
      <p:sp>
        <p:nvSpPr>
          <p:cNvPr id="116" name="Freeform: Shape 115">
            <a:extLst>
              <a:ext uri="{FF2B5EF4-FFF2-40B4-BE49-F238E27FC236}"/>
            </a:extLst>
          </p:cNvPr>
          <p:cNvSpPr>
            <a:spLocks noChangeAspect="1"/>
          </p:cNvSpPr>
          <p:nvPr/>
        </p:nvSpPr>
        <p:spPr bwMode="gray">
          <a:xfrm>
            <a:off x="142875" y="2241550"/>
            <a:ext cx="1981200" cy="990600"/>
          </a:xfrm>
          <a:custGeom>
            <a:avLst/>
            <a:gdLst>
              <a:gd name="connsiteX0" fmla="*/ 990000 w 1980000"/>
              <a:gd name="connsiteY0" fmla="*/ 0 h 990000"/>
              <a:gd name="connsiteX1" fmla="*/ 1980000 w 1980000"/>
              <a:gd name="connsiteY1" fmla="*/ 990000 h 990000"/>
              <a:gd name="connsiteX2" fmla="*/ 1678981 w 1980000"/>
              <a:gd name="connsiteY2" fmla="*/ 990000 h 990000"/>
              <a:gd name="connsiteX3" fmla="*/ 990000 w 1980000"/>
              <a:gd name="connsiteY3" fmla="*/ 301019 h 990000"/>
              <a:gd name="connsiteX4" fmla="*/ 301019 w 1980000"/>
              <a:gd name="connsiteY4" fmla="*/ 990000 h 990000"/>
              <a:gd name="connsiteX5" fmla="*/ 0 w 1980000"/>
              <a:gd name="connsiteY5" fmla="*/ 990000 h 990000"/>
              <a:gd name="connsiteX6" fmla="*/ 990000 w 1980000"/>
              <a:gd name="connsiteY6" fmla="*/ 0 h 99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0000" h="990000">
                <a:moveTo>
                  <a:pt x="990000" y="0"/>
                </a:moveTo>
                <a:cubicBezTo>
                  <a:pt x="1536762" y="0"/>
                  <a:pt x="1980000" y="443238"/>
                  <a:pt x="1980000" y="990000"/>
                </a:cubicBezTo>
                <a:lnTo>
                  <a:pt x="1678981" y="990000"/>
                </a:lnTo>
                <a:cubicBezTo>
                  <a:pt x="1678981" y="609486"/>
                  <a:pt x="1370514" y="301019"/>
                  <a:pt x="990000" y="301019"/>
                </a:cubicBezTo>
                <a:cubicBezTo>
                  <a:pt x="609486" y="301019"/>
                  <a:pt x="301019" y="609486"/>
                  <a:pt x="301019" y="990000"/>
                </a:cubicBezTo>
                <a:lnTo>
                  <a:pt x="0" y="990000"/>
                </a:lnTo>
                <a:cubicBezTo>
                  <a:pt x="0" y="443238"/>
                  <a:pt x="443238" y="0"/>
                  <a:pt x="990000" y="0"/>
                </a:cubicBezTo>
                <a:close/>
              </a:path>
            </a:pathLst>
          </a:custGeom>
          <a:gradFill flip="none" rotWithShape="1">
            <a:gsLst>
              <a:gs pos="100000">
                <a:schemeClr val="accent6">
                  <a:lumMod val="50000"/>
                </a:schemeClr>
              </a:gs>
              <a:gs pos="0">
                <a:schemeClr val="bg1">
                  <a:lumMod val="50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err="1">
              <a:solidFill>
                <a:schemeClr val="tx1"/>
              </a:solidFill>
            </a:endParaRPr>
          </a:p>
        </p:txBody>
      </p:sp>
      <p:sp>
        <p:nvSpPr>
          <p:cNvPr id="111" name="TextBox 110">
            <a:extLst>
              <a:ext uri="{FF2B5EF4-FFF2-40B4-BE49-F238E27FC236}"/>
            </a:extLst>
          </p:cNvPr>
          <p:cNvSpPr txBox="1">
            <a:spLocks noChangeAspect="1"/>
          </p:cNvSpPr>
          <p:nvPr>
            <p:custDataLst>
              <p:tags r:id="rId17"/>
            </p:custDataLst>
          </p:nvPr>
        </p:nvSpPr>
        <p:spPr bwMode="gray">
          <a:xfrm>
            <a:off x="503238" y="2589213"/>
            <a:ext cx="1260475" cy="1260475"/>
          </a:xfrm>
          <a:prstGeom prst="ellipse">
            <a:avLst/>
          </a:prstGeom>
          <a:gradFill>
            <a:gsLst>
              <a:gs pos="100000">
                <a:schemeClr val="bg1"/>
              </a:gs>
              <a:gs pos="0">
                <a:schemeClr val="bg2">
                  <a:lumMod val="85000"/>
                </a:schemeClr>
              </a:gs>
            </a:gsLst>
            <a:lin ang="0" scaled="1"/>
          </a:gradFill>
          <a:ln w="101600">
            <a:solidFill>
              <a:schemeClr val="bg1"/>
            </a:solidFill>
          </a:ln>
          <a:effectLst>
            <a:outerShdw blurRad="317500" dist="139700" dir="2700000" algn="tl" rotWithShape="0">
              <a:prstClr val="black">
                <a:alpha val="40000"/>
              </a:prstClr>
            </a:outerShdw>
          </a:effectLst>
        </p:spPr>
        <p:txBody>
          <a:bodyPr lIns="76200" tIns="0" rIns="76200" bIns="1080000"/>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endParaRPr lang="en-ZA" sz="2800" b="1" dirty="0">
              <a:solidFill>
                <a:schemeClr val="accent2"/>
              </a:solidFill>
              <a:cs typeface="+mn-cs"/>
            </a:endParaRPr>
          </a:p>
        </p:txBody>
      </p:sp>
      <p:pic>
        <p:nvPicPr>
          <p:cNvPr id="7180" name="Picture 12" descr="Image result for commit icons">
            <a:extLst>
              <a:ext uri="{FF2B5EF4-FFF2-40B4-BE49-F238E27FC236}"/>
            </a:extLst>
          </p:cNvPr>
          <p:cNvPicPr>
            <a:picLocks noChangeAspect="1" noChangeArrowheads="1"/>
          </p:cNvPicPr>
          <p:nvPr/>
        </p:nvPicPr>
        <p:blipFill>
          <a:blip r:embed="rId25">
            <a:duotone>
              <a:srgbClr val="808080">
                <a:shade val="45000"/>
                <a:satMod val="135000"/>
              </a:srgbClr>
              <a:prstClr val="white"/>
            </a:duotone>
            <a:extLst>
              <a:ext uri="{BEBA8EAE-BF5A-486C-A8C5-ECC9F3942E4B}"/>
              <a:ext uri="{28A0092B-C50C-407E-A947-70E740481C1C}"/>
            </a:extLst>
          </a:blip>
          <a:srcRect/>
          <a:stretch>
            <a:fillRect/>
          </a:stretch>
        </p:blipFill>
        <p:spPr bwMode="gray">
          <a:xfrm>
            <a:off x="739109" y="2691456"/>
            <a:ext cx="1031605" cy="1031605"/>
          </a:xfrm>
          <a:prstGeom prst="rect">
            <a:avLst/>
          </a:prstGeom>
          <a:noFill/>
          <a:extLst>
            <a:ext uri="{909E8E84-426E-40DD-AFC4-6F175D3DCCD1}"/>
          </a:extLst>
        </p:spPr>
      </p:pic>
    </p:spTree>
    <p:custDataLst>
      <p:tags r:id="rId2"/>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14"/>
          <p:cNvGraphicFramePr>
            <a:graphicFrameLocks noChangeAspect="1"/>
          </p:cNvGraphicFramePr>
          <p:nvPr/>
        </p:nvGraphicFramePr>
        <p:xfrm>
          <a:off x="0" y="0"/>
          <a:ext cx="158750" cy="158750"/>
        </p:xfrm>
        <a:graphic>
          <a:graphicData uri="http://schemas.openxmlformats.org/presentationml/2006/ole">
            <p:oleObj spid="_x0000_s24578" name="think-cell Slide" r:id="rId20" imgW="360" imgH="360" progId="">
              <p:embed/>
            </p:oleObj>
          </a:graphicData>
        </a:graphic>
      </p:graphicFrame>
      <p:sp>
        <p:nvSpPr>
          <p:cNvPr id="3" name="Rectangle 2" hidden="1">
            <a:extLst>
              <a:ext uri="{FF2B5EF4-FFF2-40B4-BE49-F238E27FC236}"/>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sp>
        <p:nvSpPr>
          <p:cNvPr id="572750" name="Rectangle 5"/>
          <p:cNvSpPr>
            <a:spLocks noGrp="1" noChangeArrowheads="1"/>
          </p:cNvSpPr>
          <p:nvPr>
            <p:ph type="title"/>
            <p:custDataLst>
              <p:tags r:id="rId4"/>
            </p:custDataLst>
          </p:nvPr>
        </p:nvSpPr>
        <p:spPr bwMode="gray">
          <a:extLst>
            <a:ext uri="{909E8E84-426E-40DD-AFC4-6F175D3DCCD1}"/>
            <a:ext uri="{91240B29-F687-4F45-9708-019B960494DF}"/>
            <a:ext uri="{AF507438-7753-43E0-B8FC-AC1667EBCBE1}"/>
          </a:extLst>
        </p:spPr>
        <p:txBody>
          <a:bodyPr/>
          <a:lstStyle/>
          <a:p>
            <a:pPr>
              <a:defRPr/>
            </a:pPr>
            <a:r>
              <a:rPr lang="en-US" spc="-10" dirty="0">
                <a:latin typeface="+mn-lt"/>
              </a:rPr>
              <a:t>The CWG asks that each State…</a:t>
            </a:r>
          </a:p>
        </p:txBody>
      </p:sp>
      <p:sp>
        <p:nvSpPr>
          <p:cNvPr id="46"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a:solidFill>
                  <a:schemeClr val="accent6"/>
                </a:solidFill>
                <a:latin typeface="+mn-lt"/>
                <a:cs typeface="+mn-cs"/>
              </a:rPr>
              <a:t>SOURCE: Core Working Group</a:t>
            </a:r>
            <a:endParaRPr lang="en-US" sz="800" dirty="0">
              <a:solidFill>
                <a:schemeClr val="accent6"/>
              </a:solidFill>
              <a:latin typeface="+mn-lt"/>
              <a:cs typeface="+mn-cs"/>
            </a:endParaRPr>
          </a:p>
        </p:txBody>
      </p:sp>
      <p:cxnSp>
        <p:nvCxnSpPr>
          <p:cNvPr id="127" name="Straight Connector 126">
            <a:extLst>
              <a:ext uri="{FF2B5EF4-FFF2-40B4-BE49-F238E27FC236}"/>
            </a:extLst>
          </p:cNvPr>
          <p:cNvCxnSpPr>
            <a:cxnSpLocks/>
          </p:cNvCxnSpPr>
          <p:nvPr/>
        </p:nvCxnSpPr>
        <p:spPr>
          <a:xfrm>
            <a:off x="1620838" y="2251075"/>
            <a:ext cx="7277100" cy="0"/>
          </a:xfrm>
          <a:prstGeom prst="line">
            <a:avLst/>
          </a:prstGeom>
          <a:ln w="6350">
            <a:solidFill>
              <a:schemeClr val="accent6">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extLst>
          </p:cNvPr>
          <p:cNvCxnSpPr>
            <a:cxnSpLocks/>
          </p:cNvCxnSpPr>
          <p:nvPr/>
        </p:nvCxnSpPr>
        <p:spPr>
          <a:xfrm>
            <a:off x="1620838" y="2995613"/>
            <a:ext cx="7277100" cy="0"/>
          </a:xfrm>
          <a:prstGeom prst="line">
            <a:avLst/>
          </a:prstGeom>
          <a:ln w="6350">
            <a:solidFill>
              <a:schemeClr val="accent6">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extLst>
          </p:cNvPr>
          <p:cNvCxnSpPr>
            <a:cxnSpLocks/>
          </p:cNvCxnSpPr>
          <p:nvPr/>
        </p:nvCxnSpPr>
        <p:spPr>
          <a:xfrm>
            <a:off x="1620838" y="3740150"/>
            <a:ext cx="7277100" cy="0"/>
          </a:xfrm>
          <a:prstGeom prst="line">
            <a:avLst/>
          </a:prstGeom>
          <a:ln w="6350">
            <a:solidFill>
              <a:schemeClr val="accent6">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extLst>
          </p:cNvPr>
          <p:cNvCxnSpPr>
            <a:cxnSpLocks/>
          </p:cNvCxnSpPr>
          <p:nvPr/>
        </p:nvCxnSpPr>
        <p:spPr>
          <a:xfrm>
            <a:off x="1620838" y="4483100"/>
            <a:ext cx="7277100" cy="0"/>
          </a:xfrm>
          <a:prstGeom prst="line">
            <a:avLst/>
          </a:prstGeom>
          <a:ln w="6350">
            <a:solidFill>
              <a:schemeClr val="accent6">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extLst>
          </p:cNvPr>
          <p:cNvCxnSpPr>
            <a:cxnSpLocks/>
          </p:cNvCxnSpPr>
          <p:nvPr/>
        </p:nvCxnSpPr>
        <p:spPr>
          <a:xfrm>
            <a:off x="1620838" y="5227638"/>
            <a:ext cx="7277100" cy="0"/>
          </a:xfrm>
          <a:prstGeom prst="line">
            <a:avLst/>
          </a:prstGeom>
          <a:ln w="6350">
            <a:solidFill>
              <a:schemeClr val="accent6">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extLst>
          </p:cNvPr>
          <p:cNvSpPr txBox="1">
            <a:spLocks/>
          </p:cNvSpPr>
          <p:nvPr/>
        </p:nvSpPr>
        <p:spPr>
          <a:xfrm>
            <a:off x="1620838" y="1123950"/>
            <a:ext cx="7277100" cy="255588"/>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marL="457246" lvl="0" indent="-457246" defTabSz="1193920" eaLnBrk="1" hangingPunct="1">
              <a:buClr>
                <a:schemeClr val="tx2"/>
              </a:buClr>
              <a:defRPr>
                <a:latin typeface="+mn-lt"/>
              </a:defRPr>
            </a:lvl1pPr>
            <a:lvl2pPr marL="258260" lvl="1" indent="-256143" defTabSz="1193920" eaLnBrk="1" hangingPunct="1">
              <a:buClr>
                <a:schemeClr val="tx2"/>
              </a:buClr>
              <a:buSzPct val="125000"/>
              <a:buFont typeface="Arial" charset="0"/>
              <a:buChar char="▪"/>
              <a:defRPr>
                <a:latin typeface="+mn-lt"/>
                <a:ea typeface="ＭＳ Ｐゴシック" pitchFamily="34" charset="-128"/>
              </a:defRPr>
            </a:lvl2pPr>
            <a:lvl3pPr marL="609661" lvl="2" indent="-349285" defTabSz="1193920" eaLnBrk="1" hangingPunct="1">
              <a:buClr>
                <a:schemeClr val="tx2"/>
              </a:buClr>
              <a:buSzPct val="120000"/>
              <a:buFont typeface="Arial" charset="0"/>
              <a:buChar char="–"/>
              <a:defRPr>
                <a:latin typeface="+mn-lt"/>
                <a:ea typeface="ＭＳ Ｐゴシック" pitchFamily="34" charset="-128"/>
              </a:defRPr>
            </a:lvl3pPr>
            <a:lvl4pPr marL="819233" lvl="3" indent="-207454" defTabSz="1193920" eaLnBrk="1" hangingPunct="1">
              <a:buClr>
                <a:schemeClr val="tx2"/>
              </a:buClr>
              <a:buSzPct val="120000"/>
              <a:buFont typeface="Arial" charset="0"/>
              <a:buChar char="▫"/>
              <a:defRPr>
                <a:latin typeface="+mn-lt"/>
                <a:ea typeface="ＭＳ Ｐゴシック" pitchFamily="34" charset="-128"/>
              </a:defRPr>
            </a:lvl4pPr>
            <a:lvl5pPr marL="999167" lvl="4" indent="-173583" defTabSz="1193920" eaLnBrk="1" hangingPunct="1">
              <a:buClr>
                <a:schemeClr val="tx2"/>
              </a:buClr>
              <a:buSzPct val="89000"/>
              <a:buFont typeface="Arial" charset="0"/>
              <a:buChar char="-"/>
              <a:defRPr>
                <a:latin typeface="+mn-lt"/>
                <a:ea typeface="ＭＳ Ｐゴシック" pitchFamily="34" charset="-128"/>
              </a:defRPr>
            </a:lvl5pPr>
            <a:lvl6pPr marL="999845" indent="-173583" defTabSz="1193920" fontAlgn="base">
              <a:spcBef>
                <a:spcPct val="0"/>
              </a:spcBef>
              <a:spcAft>
                <a:spcPct val="0"/>
              </a:spcAft>
              <a:buClr>
                <a:schemeClr val="tx2"/>
              </a:buClr>
              <a:buSzPct val="89000"/>
              <a:buFont typeface="Arial" charset="0"/>
              <a:buChar char="-"/>
              <a:defRPr sz="2133" baseline="0">
                <a:latin typeface="+mn-lt"/>
              </a:defRPr>
            </a:lvl6pPr>
            <a:lvl7pPr marL="999845" indent="-173583" defTabSz="1193920" fontAlgn="base">
              <a:spcBef>
                <a:spcPct val="0"/>
              </a:spcBef>
              <a:spcAft>
                <a:spcPct val="0"/>
              </a:spcAft>
              <a:buClr>
                <a:schemeClr val="tx2"/>
              </a:buClr>
              <a:buSzPct val="89000"/>
              <a:buFont typeface="Arial" charset="0"/>
              <a:buChar char="-"/>
              <a:defRPr sz="2133" baseline="0">
                <a:latin typeface="+mn-lt"/>
              </a:defRPr>
            </a:lvl7pPr>
            <a:lvl8pPr marL="999845" indent="-173583" defTabSz="1193920" fontAlgn="base">
              <a:spcBef>
                <a:spcPct val="0"/>
              </a:spcBef>
              <a:spcAft>
                <a:spcPct val="0"/>
              </a:spcAft>
              <a:buClr>
                <a:schemeClr val="tx2"/>
              </a:buClr>
              <a:buSzPct val="89000"/>
              <a:buFont typeface="Arial" charset="0"/>
              <a:buChar char="-"/>
              <a:defRPr sz="2133" baseline="0">
                <a:latin typeface="+mn-lt"/>
              </a:defRPr>
            </a:lvl8pPr>
            <a:lvl9pPr marL="999845" indent="-173583" defTabSz="1193920" fontAlgn="base">
              <a:spcBef>
                <a:spcPct val="0"/>
              </a:spcBef>
              <a:spcAft>
                <a:spcPct val="0"/>
              </a:spcAft>
              <a:buClr>
                <a:schemeClr val="tx2"/>
              </a:buClr>
              <a:buSzPct val="89000"/>
              <a:buFont typeface="Arial" charset="0"/>
              <a:buChar char="-"/>
              <a:defRPr sz="2133" baseline="0">
                <a:latin typeface="+mn-lt"/>
              </a:defRPr>
            </a:lvl9pPr>
          </a:lstStyle>
          <a:p>
            <a:pPr marL="0" indent="0">
              <a:defRPr/>
            </a:pPr>
            <a:r>
              <a:rPr lang="en-US" dirty="0">
                <a:solidFill>
                  <a:schemeClr val="tx1">
                    <a:lumMod val="75000"/>
                    <a:lumOff val="25000"/>
                  </a:schemeClr>
                </a:solidFill>
                <a:cs typeface="+mn-cs"/>
              </a:rPr>
              <a:t>Appoint </a:t>
            </a:r>
            <a:r>
              <a:rPr lang="en-US" dirty="0" smtClean="0">
                <a:solidFill>
                  <a:schemeClr val="tx1">
                    <a:lumMod val="75000"/>
                    <a:lumOff val="25000"/>
                  </a:schemeClr>
                </a:solidFill>
                <a:cs typeface="+mn-cs"/>
              </a:rPr>
              <a:t>State </a:t>
            </a:r>
            <a:r>
              <a:rPr lang="en-US" dirty="0">
                <a:solidFill>
                  <a:schemeClr val="tx1">
                    <a:lumMod val="75000"/>
                    <a:lumOff val="25000"/>
                  </a:schemeClr>
                </a:solidFill>
                <a:cs typeface="+mn-cs"/>
              </a:rPr>
              <a:t>focal persons (political and </a:t>
            </a:r>
            <a:r>
              <a:rPr lang="en-US" dirty="0" smtClean="0">
                <a:solidFill>
                  <a:schemeClr val="tx1">
                    <a:lumMod val="75000"/>
                    <a:lumOff val="25000"/>
                  </a:schemeClr>
                </a:solidFill>
                <a:cs typeface="+mn-cs"/>
              </a:rPr>
              <a:t>civil service)</a:t>
            </a:r>
            <a:endParaRPr lang="en-US" dirty="0">
              <a:solidFill>
                <a:schemeClr val="tx1">
                  <a:lumMod val="75000"/>
                  <a:lumOff val="25000"/>
                </a:schemeClr>
              </a:solidFill>
              <a:cs typeface="+mn-cs"/>
            </a:endParaRPr>
          </a:p>
        </p:txBody>
      </p:sp>
      <p:pic>
        <p:nvPicPr>
          <p:cNvPr id="24588" name="CustomIcon"/>
          <p:cNvPicPr>
            <a:picLocks noChangeAspect="1"/>
          </p:cNvPicPr>
          <p:nvPr>
            <p:custDataLst>
              <p:tags r:id="rId5"/>
            </p:custDataLst>
          </p:nvPr>
        </p:nvPicPr>
        <p:blipFill>
          <a:blip r:embed="rId21"/>
          <a:srcRect/>
          <a:stretch>
            <a:fillRect/>
          </a:stretch>
        </p:blipFill>
        <p:spPr bwMode="auto">
          <a:xfrm>
            <a:off x="809625" y="5432425"/>
            <a:ext cx="417513" cy="425450"/>
          </a:xfrm>
          <a:prstGeom prst="rect">
            <a:avLst/>
          </a:prstGeom>
          <a:noFill/>
          <a:ln w="9525">
            <a:noFill/>
            <a:miter lim="800000"/>
            <a:headEnd/>
            <a:tailEnd/>
          </a:ln>
        </p:spPr>
      </p:pic>
      <p:sp>
        <p:nvSpPr>
          <p:cNvPr id="24589" name="Rectangle 3"/>
          <p:cNvSpPr>
            <a:spLocks/>
          </p:cNvSpPr>
          <p:nvPr>
            <p:custDataLst>
              <p:tags r:id="rId6"/>
            </p:custDataLst>
          </p:nvPr>
        </p:nvSpPr>
        <p:spPr bwMode="auto">
          <a:xfrm>
            <a:off x="103188" y="995363"/>
            <a:ext cx="504825" cy="511175"/>
          </a:xfrm>
          <a:prstGeom prst="ellipse">
            <a:avLst/>
          </a:prstGeom>
          <a:noFill/>
          <a:ln w="57150">
            <a:solidFill>
              <a:schemeClr val="accent2">
                <a:alpha val="20000"/>
              </a:schemeClr>
            </a:solidFill>
            <a:miter lim="800000"/>
            <a:headEnd/>
            <a:tailEnd/>
          </a:ln>
        </p:spPr>
        <p:txBody>
          <a:bodyPr lIns="0" tIns="0" rIns="0" bIns="0" anchor="ctr"/>
          <a:lstStyle/>
          <a:p>
            <a:pPr algn="ctr" defTabSz="895350">
              <a:buClr>
                <a:srgbClr val="F03500"/>
              </a:buClr>
            </a:pPr>
            <a:r>
              <a:rPr lang="en-US" sz="1800">
                <a:solidFill>
                  <a:schemeClr val="tx2"/>
                </a:solidFill>
              </a:rPr>
              <a:t>1</a:t>
            </a:r>
          </a:p>
        </p:txBody>
      </p:sp>
      <p:sp>
        <p:nvSpPr>
          <p:cNvPr id="24590" name="Rectangle 3"/>
          <p:cNvSpPr>
            <a:spLocks/>
          </p:cNvSpPr>
          <p:nvPr>
            <p:custDataLst>
              <p:tags r:id="rId7"/>
            </p:custDataLst>
          </p:nvPr>
        </p:nvSpPr>
        <p:spPr bwMode="auto">
          <a:xfrm>
            <a:off x="103188" y="5383213"/>
            <a:ext cx="504825" cy="511175"/>
          </a:xfrm>
          <a:prstGeom prst="ellipse">
            <a:avLst/>
          </a:prstGeom>
          <a:noFill/>
          <a:ln w="57150">
            <a:solidFill>
              <a:schemeClr val="accent2">
                <a:alpha val="20000"/>
              </a:schemeClr>
            </a:solidFill>
            <a:miter lim="800000"/>
            <a:headEnd/>
            <a:tailEnd/>
          </a:ln>
        </p:spPr>
        <p:txBody>
          <a:bodyPr lIns="0" tIns="0" rIns="0" bIns="0" anchor="ctr"/>
          <a:lstStyle/>
          <a:p>
            <a:pPr algn="ctr" defTabSz="895350">
              <a:buClr>
                <a:srgbClr val="F03500"/>
              </a:buClr>
            </a:pPr>
            <a:r>
              <a:rPr lang="en-US" sz="1800">
                <a:solidFill>
                  <a:schemeClr val="tx2"/>
                </a:solidFill>
              </a:rPr>
              <a:t>7</a:t>
            </a:r>
          </a:p>
        </p:txBody>
      </p:sp>
      <p:sp>
        <p:nvSpPr>
          <p:cNvPr id="144" name="TextBox 143">
            <a:extLst>
              <a:ext uri="{FF2B5EF4-FFF2-40B4-BE49-F238E27FC236}"/>
            </a:extLst>
          </p:cNvPr>
          <p:cNvSpPr txBox="1">
            <a:spLocks/>
          </p:cNvSpPr>
          <p:nvPr/>
        </p:nvSpPr>
        <p:spPr>
          <a:xfrm>
            <a:off x="1620838" y="5383213"/>
            <a:ext cx="7277100" cy="246062"/>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marL="457246" lvl="0" indent="-457246" defTabSz="1193920" eaLnBrk="1" hangingPunct="1">
              <a:buClr>
                <a:schemeClr val="tx2"/>
              </a:buClr>
              <a:defRPr>
                <a:latin typeface="+mn-lt"/>
              </a:defRPr>
            </a:lvl1pPr>
            <a:lvl2pPr marL="258260" lvl="1" indent="-256143" defTabSz="1193920" eaLnBrk="1" hangingPunct="1">
              <a:buClr>
                <a:schemeClr val="tx2"/>
              </a:buClr>
              <a:buSzPct val="125000"/>
              <a:buFont typeface="Arial" charset="0"/>
              <a:buChar char="▪"/>
              <a:defRPr>
                <a:latin typeface="+mn-lt"/>
                <a:ea typeface="ＭＳ Ｐゴシック" pitchFamily="34" charset="-128"/>
              </a:defRPr>
            </a:lvl2pPr>
            <a:lvl3pPr marL="609661" lvl="2" indent="-349285" defTabSz="1193920" eaLnBrk="1" hangingPunct="1">
              <a:buClr>
                <a:schemeClr val="tx2"/>
              </a:buClr>
              <a:buSzPct val="120000"/>
              <a:buFont typeface="Arial" charset="0"/>
              <a:buChar char="–"/>
              <a:defRPr>
                <a:latin typeface="+mn-lt"/>
                <a:ea typeface="ＭＳ Ｐゴシック" pitchFamily="34" charset="-128"/>
              </a:defRPr>
            </a:lvl3pPr>
            <a:lvl4pPr marL="819233" lvl="3" indent="-207454" defTabSz="1193920" eaLnBrk="1" hangingPunct="1">
              <a:buClr>
                <a:schemeClr val="tx2"/>
              </a:buClr>
              <a:buSzPct val="120000"/>
              <a:buFont typeface="Arial" charset="0"/>
              <a:buChar char="▫"/>
              <a:defRPr>
                <a:latin typeface="+mn-lt"/>
                <a:ea typeface="ＭＳ Ｐゴシック" pitchFamily="34" charset="-128"/>
              </a:defRPr>
            </a:lvl4pPr>
            <a:lvl5pPr marL="999167" lvl="4" indent="-173583" defTabSz="1193920" eaLnBrk="1" hangingPunct="1">
              <a:buClr>
                <a:schemeClr val="tx2"/>
              </a:buClr>
              <a:buSzPct val="89000"/>
              <a:buFont typeface="Arial" charset="0"/>
              <a:buChar char="-"/>
              <a:defRPr>
                <a:latin typeface="+mn-lt"/>
                <a:ea typeface="ＭＳ Ｐゴシック" pitchFamily="34" charset="-128"/>
              </a:defRPr>
            </a:lvl5pPr>
            <a:lvl6pPr marL="999845" indent="-173583" defTabSz="1193920" fontAlgn="base">
              <a:spcBef>
                <a:spcPct val="0"/>
              </a:spcBef>
              <a:spcAft>
                <a:spcPct val="0"/>
              </a:spcAft>
              <a:buClr>
                <a:schemeClr val="tx2"/>
              </a:buClr>
              <a:buSzPct val="89000"/>
              <a:buFont typeface="Arial" charset="0"/>
              <a:buChar char="-"/>
              <a:defRPr sz="2133" baseline="0">
                <a:latin typeface="+mn-lt"/>
              </a:defRPr>
            </a:lvl6pPr>
            <a:lvl7pPr marL="999845" indent="-173583" defTabSz="1193920" fontAlgn="base">
              <a:spcBef>
                <a:spcPct val="0"/>
              </a:spcBef>
              <a:spcAft>
                <a:spcPct val="0"/>
              </a:spcAft>
              <a:buClr>
                <a:schemeClr val="tx2"/>
              </a:buClr>
              <a:buSzPct val="89000"/>
              <a:buFont typeface="Arial" charset="0"/>
              <a:buChar char="-"/>
              <a:defRPr sz="2133" baseline="0">
                <a:latin typeface="+mn-lt"/>
              </a:defRPr>
            </a:lvl7pPr>
            <a:lvl8pPr marL="999845" indent="-173583" defTabSz="1193920" fontAlgn="base">
              <a:spcBef>
                <a:spcPct val="0"/>
              </a:spcBef>
              <a:spcAft>
                <a:spcPct val="0"/>
              </a:spcAft>
              <a:buClr>
                <a:schemeClr val="tx2"/>
              </a:buClr>
              <a:buSzPct val="89000"/>
              <a:buFont typeface="Arial" charset="0"/>
              <a:buChar char="-"/>
              <a:defRPr sz="2133" baseline="0">
                <a:latin typeface="+mn-lt"/>
              </a:defRPr>
            </a:lvl8pPr>
            <a:lvl9pPr marL="999845" indent="-173583" defTabSz="1193920" fontAlgn="base">
              <a:spcBef>
                <a:spcPct val="0"/>
              </a:spcBef>
              <a:spcAft>
                <a:spcPct val="0"/>
              </a:spcAft>
              <a:buClr>
                <a:schemeClr val="tx2"/>
              </a:buClr>
              <a:buSzPct val="89000"/>
              <a:buFont typeface="Arial" charset="0"/>
              <a:buChar char="-"/>
              <a:defRPr sz="2133" baseline="0">
                <a:latin typeface="+mn-lt"/>
              </a:defRPr>
            </a:lvl9pPr>
          </a:lstStyle>
          <a:p>
            <a:pPr marL="0" indent="0">
              <a:defRPr/>
            </a:pPr>
            <a:r>
              <a:rPr lang="en-US" dirty="0">
                <a:solidFill>
                  <a:schemeClr val="tx1">
                    <a:lumMod val="75000"/>
                    <a:lumOff val="25000"/>
                  </a:schemeClr>
                </a:solidFill>
                <a:cs typeface="+mn-cs"/>
              </a:rPr>
              <a:t>Mainstream HCD </a:t>
            </a:r>
            <a:r>
              <a:rPr lang="en-US" dirty="0" smtClean="0">
                <a:solidFill>
                  <a:schemeClr val="tx1">
                    <a:lumMod val="75000"/>
                    <a:lumOff val="25000"/>
                  </a:schemeClr>
                </a:solidFill>
                <a:cs typeface="+mn-cs"/>
              </a:rPr>
              <a:t>interventions into </a:t>
            </a:r>
            <a:r>
              <a:rPr lang="en-US" dirty="0">
                <a:solidFill>
                  <a:schemeClr val="tx1">
                    <a:lumMod val="75000"/>
                    <a:lumOff val="25000"/>
                  </a:schemeClr>
                </a:solidFill>
                <a:cs typeface="+mn-cs"/>
              </a:rPr>
              <a:t>its annual budget and medium term plans</a:t>
            </a:r>
          </a:p>
        </p:txBody>
      </p:sp>
      <p:grpSp>
        <p:nvGrpSpPr>
          <p:cNvPr id="24592" name="Group 144"/>
          <p:cNvGrpSpPr>
            <a:grpSpLocks noChangeAspect="1"/>
          </p:cNvGrpSpPr>
          <p:nvPr/>
        </p:nvGrpSpPr>
        <p:grpSpPr bwMode="auto">
          <a:xfrm>
            <a:off x="809625" y="2416175"/>
            <a:ext cx="417513" cy="425450"/>
            <a:chOff x="1169329" y="1086261"/>
            <a:chExt cx="381000" cy="381000"/>
          </a:xfrm>
        </p:grpSpPr>
        <p:pic>
          <p:nvPicPr>
            <p:cNvPr id="24614" name="CustomIcon"/>
            <p:cNvPicPr>
              <a:picLocks noChangeAspect="1"/>
            </p:cNvPicPr>
            <p:nvPr>
              <p:custDataLst>
                <p:tags r:id="rId17"/>
              </p:custDataLst>
            </p:nvPr>
          </p:nvPicPr>
          <p:blipFill>
            <a:blip r:embed="rId22"/>
            <a:srcRect/>
            <a:stretch>
              <a:fillRect/>
            </a:stretch>
          </p:blipFill>
          <p:spPr bwMode="auto">
            <a:xfrm>
              <a:off x="1169329" y="1086261"/>
              <a:ext cx="381000" cy="381000"/>
            </a:xfrm>
            <a:prstGeom prst="rect">
              <a:avLst/>
            </a:prstGeom>
            <a:noFill/>
            <a:ln w="9525">
              <a:noFill/>
              <a:miter lim="800000"/>
              <a:headEnd/>
              <a:tailEnd/>
            </a:ln>
          </p:spPr>
        </p:pic>
        <p:sp>
          <p:nvSpPr>
            <p:cNvPr id="24615" name="CustomIcon"/>
            <p:cNvSpPr>
              <a:spLocks noChangeArrowheads="1"/>
            </p:cNvSpPr>
            <p:nvPr/>
          </p:nvSpPr>
          <p:spPr bwMode="auto">
            <a:xfrm>
              <a:off x="1265023" y="1169757"/>
              <a:ext cx="187039" cy="211435"/>
            </a:xfrm>
            <a:custGeom>
              <a:avLst/>
              <a:gdLst>
                <a:gd name="T0" fmla="*/ 119203 w 187038"/>
                <a:gd name="T1" fmla="*/ 1287 h 211435"/>
                <a:gd name="T2" fmla="*/ 1287 w 187038"/>
                <a:gd name="T3" fmla="*/ 131401 h 211435"/>
                <a:gd name="T4" fmla="*/ 86674 w 187038"/>
                <a:gd name="T5" fmla="*/ 131401 h 211435"/>
                <a:gd name="T6" fmla="*/ 70410 w 187038"/>
                <a:gd name="T7" fmla="*/ 212722 h 211435"/>
                <a:gd name="T8" fmla="*/ 188326 w 187038"/>
                <a:gd name="T9" fmla="*/ 82608 h 211435"/>
                <a:gd name="T10" fmla="*/ 102939 w 187038"/>
                <a:gd name="T11" fmla="*/ 82608 h 211435"/>
                <a:gd name="T12" fmla="*/ 0 60000 65536"/>
                <a:gd name="T13" fmla="*/ 0 60000 65536"/>
                <a:gd name="T14" fmla="*/ 0 60000 65536"/>
                <a:gd name="T15" fmla="*/ 0 60000 65536"/>
                <a:gd name="T16" fmla="*/ 0 60000 65536"/>
                <a:gd name="T17" fmla="*/ 0 60000 65536"/>
                <a:gd name="T18" fmla="*/ 0 w 187038"/>
                <a:gd name="T19" fmla="*/ 0 h 211435"/>
                <a:gd name="T20" fmla="*/ 187038 w 187038"/>
                <a:gd name="T21" fmla="*/ 211435 h 211435"/>
              </a:gdLst>
              <a:ahLst/>
              <a:cxnLst>
                <a:cxn ang="T12">
                  <a:pos x="T0" y="T1"/>
                </a:cxn>
                <a:cxn ang="T13">
                  <a:pos x="T2" y="T3"/>
                </a:cxn>
                <a:cxn ang="T14">
                  <a:pos x="T4" y="T5"/>
                </a:cxn>
                <a:cxn ang="T15">
                  <a:pos x="T6" y="T7"/>
                </a:cxn>
                <a:cxn ang="T16">
                  <a:pos x="T8" y="T9"/>
                </a:cxn>
                <a:cxn ang="T17">
                  <a:pos x="T10" y="T11"/>
                </a:cxn>
              </a:cxnLst>
              <a:rect l="T18" t="T19" r="T20" b="T21"/>
              <a:pathLst>
                <a:path w="187038" h="211435">
                  <a:moveTo>
                    <a:pt x="119202" y="1287"/>
                  </a:moveTo>
                  <a:lnTo>
                    <a:pt x="1287" y="131401"/>
                  </a:lnTo>
                  <a:lnTo>
                    <a:pt x="86674" y="131401"/>
                  </a:lnTo>
                  <a:lnTo>
                    <a:pt x="70410" y="212722"/>
                  </a:lnTo>
                  <a:lnTo>
                    <a:pt x="188325" y="82608"/>
                  </a:lnTo>
                  <a:lnTo>
                    <a:pt x="102938" y="82608"/>
                  </a:lnTo>
                  <a:close/>
                </a:path>
              </a:pathLst>
            </a:custGeom>
            <a:noFill/>
            <a:ln w="19050" cap="sq">
              <a:solidFill>
                <a:schemeClr val="accent2"/>
              </a:solidFill>
              <a:miter lim="800000"/>
              <a:headEnd/>
              <a:tailEnd/>
            </a:ln>
          </p:spPr>
          <p:txBody>
            <a:bodyPr anchor="ctr"/>
            <a:lstStyle/>
            <a:p>
              <a:endParaRPr lang="en-US"/>
            </a:p>
          </p:txBody>
        </p:sp>
      </p:grpSp>
      <p:sp>
        <p:nvSpPr>
          <p:cNvPr id="24593" name="Rectangle 3"/>
          <p:cNvSpPr>
            <a:spLocks/>
          </p:cNvSpPr>
          <p:nvPr>
            <p:custDataLst>
              <p:tags r:id="rId8"/>
            </p:custDataLst>
          </p:nvPr>
        </p:nvSpPr>
        <p:spPr bwMode="auto">
          <a:xfrm>
            <a:off x="103188" y="4638675"/>
            <a:ext cx="504825" cy="511175"/>
          </a:xfrm>
          <a:prstGeom prst="ellipse">
            <a:avLst/>
          </a:prstGeom>
          <a:noFill/>
          <a:ln w="57150">
            <a:solidFill>
              <a:schemeClr val="accent2">
                <a:alpha val="20000"/>
              </a:schemeClr>
            </a:solidFill>
            <a:miter lim="800000"/>
            <a:headEnd/>
            <a:tailEnd/>
          </a:ln>
        </p:spPr>
        <p:txBody>
          <a:bodyPr lIns="0" tIns="0" rIns="0" bIns="0" anchor="ctr"/>
          <a:lstStyle/>
          <a:p>
            <a:pPr algn="ctr" defTabSz="895350">
              <a:buClr>
                <a:srgbClr val="F03500"/>
              </a:buClr>
            </a:pPr>
            <a:r>
              <a:rPr lang="en-US" sz="1800">
                <a:solidFill>
                  <a:schemeClr val="tx2"/>
                </a:solidFill>
              </a:rPr>
              <a:t>6</a:t>
            </a:r>
          </a:p>
        </p:txBody>
      </p:sp>
      <p:sp>
        <p:nvSpPr>
          <p:cNvPr id="150" name="TextBox 149">
            <a:extLst>
              <a:ext uri="{FF2B5EF4-FFF2-40B4-BE49-F238E27FC236}"/>
            </a:extLst>
          </p:cNvPr>
          <p:cNvSpPr txBox="1">
            <a:spLocks/>
          </p:cNvSpPr>
          <p:nvPr/>
        </p:nvSpPr>
        <p:spPr>
          <a:xfrm>
            <a:off x="1620838" y="4638675"/>
            <a:ext cx="7277100" cy="246063"/>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marL="457246" lvl="0" indent="-457246" defTabSz="1193920" eaLnBrk="1" hangingPunct="1">
              <a:buClr>
                <a:schemeClr val="tx2"/>
              </a:buClr>
              <a:defRPr>
                <a:latin typeface="+mn-lt"/>
              </a:defRPr>
            </a:lvl1pPr>
            <a:lvl2pPr marL="258260" lvl="1" indent="-256143" defTabSz="1193920" eaLnBrk="1" hangingPunct="1">
              <a:buClr>
                <a:schemeClr val="tx2"/>
              </a:buClr>
              <a:buSzPct val="125000"/>
              <a:buFont typeface="Arial" charset="0"/>
              <a:buChar char="▪"/>
              <a:defRPr>
                <a:latin typeface="+mn-lt"/>
                <a:ea typeface="ＭＳ Ｐゴシック" pitchFamily="34" charset="-128"/>
              </a:defRPr>
            </a:lvl2pPr>
            <a:lvl3pPr marL="609661" lvl="2" indent="-349285" defTabSz="1193920" eaLnBrk="1" hangingPunct="1">
              <a:buClr>
                <a:schemeClr val="tx2"/>
              </a:buClr>
              <a:buSzPct val="120000"/>
              <a:buFont typeface="Arial" charset="0"/>
              <a:buChar char="–"/>
              <a:defRPr>
                <a:latin typeface="+mn-lt"/>
                <a:ea typeface="ＭＳ Ｐゴシック" pitchFamily="34" charset="-128"/>
              </a:defRPr>
            </a:lvl3pPr>
            <a:lvl4pPr marL="819233" lvl="3" indent="-207454" defTabSz="1193920" eaLnBrk="1" hangingPunct="1">
              <a:buClr>
                <a:schemeClr val="tx2"/>
              </a:buClr>
              <a:buSzPct val="120000"/>
              <a:buFont typeface="Arial" charset="0"/>
              <a:buChar char="▫"/>
              <a:defRPr>
                <a:latin typeface="+mn-lt"/>
                <a:ea typeface="ＭＳ Ｐゴシック" pitchFamily="34" charset="-128"/>
              </a:defRPr>
            </a:lvl4pPr>
            <a:lvl5pPr marL="999167" lvl="4" indent="-173583" defTabSz="1193920" eaLnBrk="1" hangingPunct="1">
              <a:buClr>
                <a:schemeClr val="tx2"/>
              </a:buClr>
              <a:buSzPct val="89000"/>
              <a:buFont typeface="Arial" charset="0"/>
              <a:buChar char="-"/>
              <a:defRPr>
                <a:latin typeface="+mn-lt"/>
                <a:ea typeface="ＭＳ Ｐゴシック" pitchFamily="34" charset="-128"/>
              </a:defRPr>
            </a:lvl5pPr>
            <a:lvl6pPr marL="999845" indent="-173583" defTabSz="1193920" fontAlgn="base">
              <a:spcBef>
                <a:spcPct val="0"/>
              </a:spcBef>
              <a:spcAft>
                <a:spcPct val="0"/>
              </a:spcAft>
              <a:buClr>
                <a:schemeClr val="tx2"/>
              </a:buClr>
              <a:buSzPct val="89000"/>
              <a:buFont typeface="Arial" charset="0"/>
              <a:buChar char="-"/>
              <a:defRPr sz="2133" baseline="0">
                <a:latin typeface="+mn-lt"/>
              </a:defRPr>
            </a:lvl6pPr>
            <a:lvl7pPr marL="999845" indent="-173583" defTabSz="1193920" fontAlgn="base">
              <a:spcBef>
                <a:spcPct val="0"/>
              </a:spcBef>
              <a:spcAft>
                <a:spcPct val="0"/>
              </a:spcAft>
              <a:buClr>
                <a:schemeClr val="tx2"/>
              </a:buClr>
              <a:buSzPct val="89000"/>
              <a:buFont typeface="Arial" charset="0"/>
              <a:buChar char="-"/>
              <a:defRPr sz="2133" baseline="0">
                <a:latin typeface="+mn-lt"/>
              </a:defRPr>
            </a:lvl7pPr>
            <a:lvl8pPr marL="999845" indent="-173583" defTabSz="1193920" fontAlgn="base">
              <a:spcBef>
                <a:spcPct val="0"/>
              </a:spcBef>
              <a:spcAft>
                <a:spcPct val="0"/>
              </a:spcAft>
              <a:buClr>
                <a:schemeClr val="tx2"/>
              </a:buClr>
              <a:buSzPct val="89000"/>
              <a:buFont typeface="Arial" charset="0"/>
              <a:buChar char="-"/>
              <a:defRPr sz="2133" baseline="0">
                <a:latin typeface="+mn-lt"/>
              </a:defRPr>
            </a:lvl8pPr>
            <a:lvl9pPr marL="999845" indent="-173583" defTabSz="1193920" fontAlgn="base">
              <a:spcBef>
                <a:spcPct val="0"/>
              </a:spcBef>
              <a:spcAft>
                <a:spcPct val="0"/>
              </a:spcAft>
              <a:buClr>
                <a:schemeClr val="tx2"/>
              </a:buClr>
              <a:buSzPct val="89000"/>
              <a:buFont typeface="Arial" charset="0"/>
              <a:buChar char="-"/>
              <a:defRPr sz="2133" baseline="0">
                <a:latin typeface="+mn-lt"/>
              </a:defRPr>
            </a:lvl9pPr>
          </a:lstStyle>
          <a:p>
            <a:pPr marL="0" indent="0">
              <a:defRPr/>
            </a:pPr>
            <a:r>
              <a:rPr lang="en-US" dirty="0">
                <a:solidFill>
                  <a:schemeClr val="tx1">
                    <a:lumMod val="75000"/>
                    <a:lumOff val="25000"/>
                  </a:schemeClr>
                </a:solidFill>
                <a:cs typeface="+mn-cs"/>
              </a:rPr>
              <a:t>Select </a:t>
            </a:r>
            <a:r>
              <a:rPr lang="en-US" dirty="0" smtClean="0">
                <a:solidFill>
                  <a:schemeClr val="tx1">
                    <a:lumMod val="75000"/>
                    <a:lumOff val="25000"/>
                  </a:schemeClr>
                </a:solidFill>
                <a:cs typeface="+mn-cs"/>
              </a:rPr>
              <a:t>relevant HCD </a:t>
            </a:r>
            <a:r>
              <a:rPr lang="en-US" dirty="0">
                <a:solidFill>
                  <a:schemeClr val="tx1">
                    <a:lumMod val="75000"/>
                    <a:lumOff val="25000"/>
                  </a:schemeClr>
                </a:solidFill>
                <a:cs typeface="+mn-cs"/>
              </a:rPr>
              <a:t>interventions</a:t>
            </a:r>
          </a:p>
        </p:txBody>
      </p:sp>
      <p:pic>
        <p:nvPicPr>
          <p:cNvPr id="24595" name="CustomIcon"/>
          <p:cNvPicPr>
            <a:picLocks noChangeAspect="1"/>
          </p:cNvPicPr>
          <p:nvPr>
            <p:custDataLst>
              <p:tags r:id="rId9"/>
            </p:custDataLst>
          </p:nvPr>
        </p:nvPicPr>
        <p:blipFill>
          <a:blip r:embed="rId23"/>
          <a:srcRect/>
          <a:stretch>
            <a:fillRect/>
          </a:stretch>
        </p:blipFill>
        <p:spPr bwMode="auto">
          <a:xfrm>
            <a:off x="809625" y="4681538"/>
            <a:ext cx="417513" cy="425450"/>
          </a:xfrm>
          <a:prstGeom prst="rect">
            <a:avLst/>
          </a:prstGeom>
          <a:noFill/>
          <a:ln w="9525">
            <a:noFill/>
            <a:miter lim="800000"/>
            <a:headEnd/>
            <a:tailEnd/>
          </a:ln>
        </p:spPr>
      </p:pic>
      <p:sp>
        <p:nvSpPr>
          <p:cNvPr id="24596" name="Rectangle 3"/>
          <p:cNvSpPr>
            <a:spLocks/>
          </p:cNvSpPr>
          <p:nvPr>
            <p:custDataLst>
              <p:tags r:id="rId10"/>
            </p:custDataLst>
          </p:nvPr>
        </p:nvSpPr>
        <p:spPr bwMode="auto">
          <a:xfrm>
            <a:off x="103188" y="3894138"/>
            <a:ext cx="504825" cy="512762"/>
          </a:xfrm>
          <a:prstGeom prst="ellipse">
            <a:avLst/>
          </a:prstGeom>
          <a:noFill/>
          <a:ln w="57150">
            <a:solidFill>
              <a:schemeClr val="accent2">
                <a:alpha val="20000"/>
              </a:schemeClr>
            </a:solidFill>
            <a:miter lim="800000"/>
            <a:headEnd/>
            <a:tailEnd/>
          </a:ln>
        </p:spPr>
        <p:txBody>
          <a:bodyPr lIns="0" tIns="0" rIns="0" bIns="0" anchor="ctr"/>
          <a:lstStyle/>
          <a:p>
            <a:pPr algn="ctr" defTabSz="895350">
              <a:buClr>
                <a:srgbClr val="F03500"/>
              </a:buClr>
            </a:pPr>
            <a:r>
              <a:rPr lang="en-US" sz="1800">
                <a:solidFill>
                  <a:schemeClr val="tx2"/>
                </a:solidFill>
              </a:rPr>
              <a:t>5</a:t>
            </a:r>
          </a:p>
        </p:txBody>
      </p:sp>
      <p:sp>
        <p:nvSpPr>
          <p:cNvPr id="154" name="TextBox 153">
            <a:extLst>
              <a:ext uri="{FF2B5EF4-FFF2-40B4-BE49-F238E27FC236}"/>
            </a:extLst>
          </p:cNvPr>
          <p:cNvSpPr txBox="1">
            <a:spLocks/>
          </p:cNvSpPr>
          <p:nvPr/>
        </p:nvSpPr>
        <p:spPr>
          <a:xfrm>
            <a:off x="1620838" y="3894138"/>
            <a:ext cx="7277100" cy="246062"/>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marL="457246" lvl="0" indent="-457246" defTabSz="1193920" eaLnBrk="1" hangingPunct="1">
              <a:buClr>
                <a:schemeClr val="tx2"/>
              </a:buClr>
              <a:defRPr>
                <a:latin typeface="+mn-lt"/>
              </a:defRPr>
            </a:lvl1pPr>
            <a:lvl2pPr marL="258260" lvl="1" indent="-256143" defTabSz="1193920" eaLnBrk="1" hangingPunct="1">
              <a:buClr>
                <a:schemeClr val="tx2"/>
              </a:buClr>
              <a:buSzPct val="125000"/>
              <a:buFont typeface="Arial" charset="0"/>
              <a:buChar char="▪"/>
              <a:defRPr>
                <a:latin typeface="+mn-lt"/>
                <a:ea typeface="ＭＳ Ｐゴシック" pitchFamily="34" charset="-128"/>
              </a:defRPr>
            </a:lvl2pPr>
            <a:lvl3pPr marL="609661" lvl="2" indent="-349285" defTabSz="1193920" eaLnBrk="1" hangingPunct="1">
              <a:buClr>
                <a:schemeClr val="tx2"/>
              </a:buClr>
              <a:buSzPct val="120000"/>
              <a:buFont typeface="Arial" charset="0"/>
              <a:buChar char="–"/>
              <a:defRPr>
                <a:latin typeface="+mn-lt"/>
                <a:ea typeface="ＭＳ Ｐゴシック" pitchFamily="34" charset="-128"/>
              </a:defRPr>
            </a:lvl3pPr>
            <a:lvl4pPr marL="819233" lvl="3" indent="-207454" defTabSz="1193920" eaLnBrk="1" hangingPunct="1">
              <a:buClr>
                <a:schemeClr val="tx2"/>
              </a:buClr>
              <a:buSzPct val="120000"/>
              <a:buFont typeface="Arial" charset="0"/>
              <a:buChar char="▫"/>
              <a:defRPr>
                <a:latin typeface="+mn-lt"/>
                <a:ea typeface="ＭＳ Ｐゴシック" pitchFamily="34" charset="-128"/>
              </a:defRPr>
            </a:lvl4pPr>
            <a:lvl5pPr marL="999167" lvl="4" indent="-173583" defTabSz="1193920" eaLnBrk="1" hangingPunct="1">
              <a:buClr>
                <a:schemeClr val="tx2"/>
              </a:buClr>
              <a:buSzPct val="89000"/>
              <a:buFont typeface="Arial" charset="0"/>
              <a:buChar char="-"/>
              <a:defRPr>
                <a:latin typeface="+mn-lt"/>
                <a:ea typeface="ＭＳ Ｐゴシック" pitchFamily="34" charset="-128"/>
              </a:defRPr>
            </a:lvl5pPr>
            <a:lvl6pPr marL="999845" indent="-173583" defTabSz="1193920" fontAlgn="base">
              <a:spcBef>
                <a:spcPct val="0"/>
              </a:spcBef>
              <a:spcAft>
                <a:spcPct val="0"/>
              </a:spcAft>
              <a:buClr>
                <a:schemeClr val="tx2"/>
              </a:buClr>
              <a:buSzPct val="89000"/>
              <a:buFont typeface="Arial" charset="0"/>
              <a:buChar char="-"/>
              <a:defRPr sz="2133" baseline="0">
                <a:latin typeface="+mn-lt"/>
              </a:defRPr>
            </a:lvl6pPr>
            <a:lvl7pPr marL="999845" indent="-173583" defTabSz="1193920" fontAlgn="base">
              <a:spcBef>
                <a:spcPct val="0"/>
              </a:spcBef>
              <a:spcAft>
                <a:spcPct val="0"/>
              </a:spcAft>
              <a:buClr>
                <a:schemeClr val="tx2"/>
              </a:buClr>
              <a:buSzPct val="89000"/>
              <a:buFont typeface="Arial" charset="0"/>
              <a:buChar char="-"/>
              <a:defRPr sz="2133" baseline="0">
                <a:latin typeface="+mn-lt"/>
              </a:defRPr>
            </a:lvl7pPr>
            <a:lvl8pPr marL="999845" indent="-173583" defTabSz="1193920" fontAlgn="base">
              <a:spcBef>
                <a:spcPct val="0"/>
              </a:spcBef>
              <a:spcAft>
                <a:spcPct val="0"/>
              </a:spcAft>
              <a:buClr>
                <a:schemeClr val="tx2"/>
              </a:buClr>
              <a:buSzPct val="89000"/>
              <a:buFont typeface="Arial" charset="0"/>
              <a:buChar char="-"/>
              <a:defRPr sz="2133" baseline="0">
                <a:latin typeface="+mn-lt"/>
              </a:defRPr>
            </a:lvl8pPr>
            <a:lvl9pPr marL="999845" indent="-173583" defTabSz="1193920" fontAlgn="base">
              <a:spcBef>
                <a:spcPct val="0"/>
              </a:spcBef>
              <a:spcAft>
                <a:spcPct val="0"/>
              </a:spcAft>
              <a:buClr>
                <a:schemeClr val="tx2"/>
              </a:buClr>
              <a:buSzPct val="89000"/>
              <a:buFont typeface="Arial" charset="0"/>
              <a:buChar char="-"/>
              <a:defRPr sz="2133" baseline="0">
                <a:latin typeface="+mn-lt"/>
              </a:defRPr>
            </a:lvl9pPr>
          </a:lstStyle>
          <a:p>
            <a:pPr marL="0" indent="0">
              <a:defRPr/>
            </a:pPr>
            <a:r>
              <a:rPr lang="en-US" dirty="0" smtClean="0">
                <a:solidFill>
                  <a:schemeClr val="tx1">
                    <a:lumMod val="75000"/>
                    <a:lumOff val="25000"/>
                  </a:schemeClr>
                </a:solidFill>
                <a:cs typeface="+mn-cs"/>
              </a:rPr>
              <a:t>Determine its </a:t>
            </a:r>
            <a:r>
              <a:rPr lang="en-US" dirty="0">
                <a:solidFill>
                  <a:schemeClr val="tx1">
                    <a:lumMod val="75000"/>
                    <a:lumOff val="25000"/>
                  </a:schemeClr>
                </a:solidFill>
                <a:cs typeface="+mn-cs"/>
              </a:rPr>
              <a:t>own HCD priorities</a:t>
            </a:r>
          </a:p>
        </p:txBody>
      </p:sp>
      <p:pic>
        <p:nvPicPr>
          <p:cNvPr id="24598" name="CustomIcon"/>
          <p:cNvPicPr>
            <a:picLocks noChangeAspect="1"/>
          </p:cNvPicPr>
          <p:nvPr>
            <p:custDataLst>
              <p:tags r:id="rId11"/>
            </p:custDataLst>
          </p:nvPr>
        </p:nvPicPr>
        <p:blipFill>
          <a:blip r:embed="rId24"/>
          <a:srcRect/>
          <a:stretch>
            <a:fillRect/>
          </a:stretch>
        </p:blipFill>
        <p:spPr bwMode="auto">
          <a:xfrm>
            <a:off x="827088" y="1695450"/>
            <a:ext cx="381000" cy="387350"/>
          </a:xfrm>
          <a:prstGeom prst="rect">
            <a:avLst/>
          </a:prstGeom>
          <a:noFill/>
          <a:ln w="9525">
            <a:noFill/>
            <a:miter lim="800000"/>
            <a:headEnd/>
            <a:tailEnd/>
          </a:ln>
        </p:spPr>
      </p:pic>
      <p:sp>
        <p:nvSpPr>
          <p:cNvPr id="24599" name="Rectangle 3"/>
          <p:cNvSpPr>
            <a:spLocks/>
          </p:cNvSpPr>
          <p:nvPr>
            <p:custDataLst>
              <p:tags r:id="rId12"/>
            </p:custDataLst>
          </p:nvPr>
        </p:nvSpPr>
        <p:spPr bwMode="auto">
          <a:xfrm>
            <a:off x="103188" y="3149600"/>
            <a:ext cx="504825" cy="512763"/>
          </a:xfrm>
          <a:prstGeom prst="ellipse">
            <a:avLst/>
          </a:prstGeom>
          <a:noFill/>
          <a:ln w="57150">
            <a:solidFill>
              <a:schemeClr val="accent2">
                <a:alpha val="20000"/>
              </a:schemeClr>
            </a:solidFill>
            <a:miter lim="800000"/>
            <a:headEnd/>
            <a:tailEnd/>
          </a:ln>
        </p:spPr>
        <p:txBody>
          <a:bodyPr lIns="0" tIns="0" rIns="0" bIns="0" anchor="ctr"/>
          <a:lstStyle/>
          <a:p>
            <a:pPr algn="ctr" defTabSz="895350">
              <a:buClr>
                <a:srgbClr val="F03500"/>
              </a:buClr>
            </a:pPr>
            <a:r>
              <a:rPr lang="en-US" sz="1800">
                <a:solidFill>
                  <a:schemeClr val="tx2"/>
                </a:solidFill>
              </a:rPr>
              <a:t>4</a:t>
            </a:r>
          </a:p>
        </p:txBody>
      </p:sp>
      <p:sp>
        <p:nvSpPr>
          <p:cNvPr id="158" name="TextBox 157">
            <a:extLst>
              <a:ext uri="{FF2B5EF4-FFF2-40B4-BE49-F238E27FC236}"/>
            </a:extLst>
          </p:cNvPr>
          <p:cNvSpPr txBox="1">
            <a:spLocks/>
          </p:cNvSpPr>
          <p:nvPr/>
        </p:nvSpPr>
        <p:spPr>
          <a:xfrm>
            <a:off x="1620838" y="3278188"/>
            <a:ext cx="7277100" cy="246062"/>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marL="457246" lvl="0" indent="-457246" defTabSz="1193920" eaLnBrk="1" hangingPunct="1">
              <a:buClr>
                <a:schemeClr val="tx2"/>
              </a:buClr>
              <a:defRPr>
                <a:latin typeface="+mn-lt"/>
              </a:defRPr>
            </a:lvl1pPr>
            <a:lvl2pPr marL="258260" lvl="1" indent="-256143" defTabSz="1193920" eaLnBrk="1" hangingPunct="1">
              <a:buClr>
                <a:schemeClr val="tx2"/>
              </a:buClr>
              <a:buSzPct val="125000"/>
              <a:buFont typeface="Arial" charset="0"/>
              <a:buChar char="▪"/>
              <a:defRPr>
                <a:latin typeface="+mn-lt"/>
                <a:ea typeface="ＭＳ Ｐゴシック" pitchFamily="34" charset="-128"/>
              </a:defRPr>
            </a:lvl2pPr>
            <a:lvl3pPr marL="609661" lvl="2" indent="-349285" defTabSz="1193920" eaLnBrk="1" hangingPunct="1">
              <a:buClr>
                <a:schemeClr val="tx2"/>
              </a:buClr>
              <a:buSzPct val="120000"/>
              <a:buFont typeface="Arial" charset="0"/>
              <a:buChar char="–"/>
              <a:defRPr>
                <a:latin typeface="+mn-lt"/>
                <a:ea typeface="ＭＳ Ｐゴシック" pitchFamily="34" charset="-128"/>
              </a:defRPr>
            </a:lvl3pPr>
            <a:lvl4pPr marL="819233" lvl="3" indent="-207454" defTabSz="1193920" eaLnBrk="1" hangingPunct="1">
              <a:buClr>
                <a:schemeClr val="tx2"/>
              </a:buClr>
              <a:buSzPct val="120000"/>
              <a:buFont typeface="Arial" charset="0"/>
              <a:buChar char="▫"/>
              <a:defRPr>
                <a:latin typeface="+mn-lt"/>
                <a:ea typeface="ＭＳ Ｐゴシック" pitchFamily="34" charset="-128"/>
              </a:defRPr>
            </a:lvl4pPr>
            <a:lvl5pPr marL="999167" lvl="4" indent="-173583" defTabSz="1193920" eaLnBrk="1" hangingPunct="1">
              <a:buClr>
                <a:schemeClr val="tx2"/>
              </a:buClr>
              <a:buSzPct val="89000"/>
              <a:buFont typeface="Arial" charset="0"/>
              <a:buChar char="-"/>
              <a:defRPr>
                <a:latin typeface="+mn-lt"/>
                <a:ea typeface="ＭＳ Ｐゴシック" pitchFamily="34" charset="-128"/>
              </a:defRPr>
            </a:lvl5pPr>
            <a:lvl6pPr marL="999845" indent="-173583" defTabSz="1193920" fontAlgn="base">
              <a:spcBef>
                <a:spcPct val="0"/>
              </a:spcBef>
              <a:spcAft>
                <a:spcPct val="0"/>
              </a:spcAft>
              <a:buClr>
                <a:schemeClr val="tx2"/>
              </a:buClr>
              <a:buSzPct val="89000"/>
              <a:buFont typeface="Arial" charset="0"/>
              <a:buChar char="-"/>
              <a:defRPr sz="2133" baseline="0">
                <a:latin typeface="+mn-lt"/>
              </a:defRPr>
            </a:lvl6pPr>
            <a:lvl7pPr marL="999845" indent="-173583" defTabSz="1193920" fontAlgn="base">
              <a:spcBef>
                <a:spcPct val="0"/>
              </a:spcBef>
              <a:spcAft>
                <a:spcPct val="0"/>
              </a:spcAft>
              <a:buClr>
                <a:schemeClr val="tx2"/>
              </a:buClr>
              <a:buSzPct val="89000"/>
              <a:buFont typeface="Arial" charset="0"/>
              <a:buChar char="-"/>
              <a:defRPr sz="2133" baseline="0">
                <a:latin typeface="+mn-lt"/>
              </a:defRPr>
            </a:lvl7pPr>
            <a:lvl8pPr marL="999845" indent="-173583" defTabSz="1193920" fontAlgn="base">
              <a:spcBef>
                <a:spcPct val="0"/>
              </a:spcBef>
              <a:spcAft>
                <a:spcPct val="0"/>
              </a:spcAft>
              <a:buClr>
                <a:schemeClr val="tx2"/>
              </a:buClr>
              <a:buSzPct val="89000"/>
              <a:buFont typeface="Arial" charset="0"/>
              <a:buChar char="-"/>
              <a:defRPr sz="2133" baseline="0">
                <a:latin typeface="+mn-lt"/>
              </a:defRPr>
            </a:lvl8pPr>
            <a:lvl9pPr marL="999845" indent="-173583" defTabSz="1193920" fontAlgn="base">
              <a:spcBef>
                <a:spcPct val="0"/>
              </a:spcBef>
              <a:spcAft>
                <a:spcPct val="0"/>
              </a:spcAft>
              <a:buClr>
                <a:schemeClr val="tx2"/>
              </a:buClr>
              <a:buSzPct val="89000"/>
              <a:buFont typeface="Arial" charset="0"/>
              <a:buChar char="-"/>
              <a:defRPr sz="2133" baseline="0">
                <a:latin typeface="+mn-lt"/>
              </a:defRPr>
            </a:lvl9pPr>
          </a:lstStyle>
          <a:p>
            <a:pPr marL="0" indent="0">
              <a:defRPr/>
            </a:pPr>
            <a:r>
              <a:rPr lang="en-US" dirty="0">
                <a:solidFill>
                  <a:schemeClr val="tx1">
                    <a:lumMod val="75000"/>
                    <a:lumOff val="25000"/>
                  </a:schemeClr>
                </a:solidFill>
                <a:cs typeface="+mn-cs"/>
              </a:rPr>
              <a:t>Conduct its own baseline survey across HCD indicators</a:t>
            </a:r>
          </a:p>
        </p:txBody>
      </p:sp>
      <p:pic>
        <p:nvPicPr>
          <p:cNvPr id="24601" name="CustomIcon"/>
          <p:cNvPicPr>
            <a:picLocks noChangeAspect="1"/>
          </p:cNvPicPr>
          <p:nvPr>
            <p:custDataLst>
              <p:tags r:id="rId13"/>
            </p:custDataLst>
          </p:nvPr>
        </p:nvPicPr>
        <p:blipFill>
          <a:blip r:embed="rId25"/>
          <a:srcRect/>
          <a:stretch>
            <a:fillRect/>
          </a:stretch>
        </p:blipFill>
        <p:spPr bwMode="auto">
          <a:xfrm>
            <a:off x="809625" y="3192463"/>
            <a:ext cx="417513" cy="427037"/>
          </a:xfrm>
          <a:prstGeom prst="rect">
            <a:avLst/>
          </a:prstGeom>
          <a:noFill/>
          <a:ln w="9525">
            <a:noFill/>
            <a:miter lim="800000"/>
            <a:headEnd/>
            <a:tailEnd/>
          </a:ln>
        </p:spPr>
      </p:pic>
      <p:sp>
        <p:nvSpPr>
          <p:cNvPr id="24602" name="Rectangle 3"/>
          <p:cNvSpPr>
            <a:spLocks/>
          </p:cNvSpPr>
          <p:nvPr>
            <p:custDataLst>
              <p:tags r:id="rId14"/>
            </p:custDataLst>
          </p:nvPr>
        </p:nvSpPr>
        <p:spPr bwMode="auto">
          <a:xfrm>
            <a:off x="103188" y="2406650"/>
            <a:ext cx="504825" cy="511175"/>
          </a:xfrm>
          <a:prstGeom prst="ellipse">
            <a:avLst/>
          </a:prstGeom>
          <a:noFill/>
          <a:ln w="57150">
            <a:solidFill>
              <a:schemeClr val="accent2">
                <a:alpha val="20000"/>
              </a:schemeClr>
            </a:solidFill>
            <a:miter lim="800000"/>
            <a:headEnd/>
            <a:tailEnd/>
          </a:ln>
        </p:spPr>
        <p:txBody>
          <a:bodyPr lIns="0" tIns="0" rIns="0" bIns="0" anchor="ctr"/>
          <a:lstStyle/>
          <a:p>
            <a:pPr algn="ctr" defTabSz="895350">
              <a:buClr>
                <a:srgbClr val="F03500"/>
              </a:buClr>
            </a:pPr>
            <a:r>
              <a:rPr lang="en-US" sz="1800">
                <a:solidFill>
                  <a:schemeClr val="tx2"/>
                </a:solidFill>
              </a:rPr>
              <a:t>3</a:t>
            </a:r>
          </a:p>
        </p:txBody>
      </p:sp>
      <p:sp>
        <p:nvSpPr>
          <p:cNvPr id="162" name="TextBox 161">
            <a:extLst>
              <a:ext uri="{FF2B5EF4-FFF2-40B4-BE49-F238E27FC236}"/>
            </a:extLst>
          </p:cNvPr>
          <p:cNvSpPr txBox="1">
            <a:spLocks/>
          </p:cNvSpPr>
          <p:nvPr/>
        </p:nvSpPr>
        <p:spPr>
          <a:xfrm>
            <a:off x="1620838" y="2406650"/>
            <a:ext cx="7277100" cy="246063"/>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marL="457246" lvl="0" indent="-457246" defTabSz="1193920" eaLnBrk="1" hangingPunct="1">
              <a:buClr>
                <a:schemeClr val="tx2"/>
              </a:buClr>
              <a:defRPr>
                <a:latin typeface="+mn-lt"/>
              </a:defRPr>
            </a:lvl1pPr>
            <a:lvl2pPr marL="258260" lvl="1" indent="-256143" defTabSz="1193920" eaLnBrk="1" hangingPunct="1">
              <a:buClr>
                <a:schemeClr val="tx2"/>
              </a:buClr>
              <a:buSzPct val="125000"/>
              <a:buFont typeface="Arial" charset="0"/>
              <a:buChar char="▪"/>
              <a:defRPr>
                <a:latin typeface="+mn-lt"/>
                <a:ea typeface="ＭＳ Ｐゴシック" pitchFamily="34" charset="-128"/>
              </a:defRPr>
            </a:lvl2pPr>
            <a:lvl3pPr marL="609661" lvl="2" indent="-349285" defTabSz="1193920" eaLnBrk="1" hangingPunct="1">
              <a:buClr>
                <a:schemeClr val="tx2"/>
              </a:buClr>
              <a:buSzPct val="120000"/>
              <a:buFont typeface="Arial" charset="0"/>
              <a:buChar char="–"/>
              <a:defRPr>
                <a:latin typeface="+mn-lt"/>
                <a:ea typeface="ＭＳ Ｐゴシック" pitchFamily="34" charset="-128"/>
              </a:defRPr>
            </a:lvl3pPr>
            <a:lvl4pPr marL="819233" lvl="3" indent="-207454" defTabSz="1193920" eaLnBrk="1" hangingPunct="1">
              <a:buClr>
                <a:schemeClr val="tx2"/>
              </a:buClr>
              <a:buSzPct val="120000"/>
              <a:buFont typeface="Arial" charset="0"/>
              <a:buChar char="▫"/>
              <a:defRPr>
                <a:latin typeface="+mn-lt"/>
                <a:ea typeface="ＭＳ Ｐゴシック" pitchFamily="34" charset="-128"/>
              </a:defRPr>
            </a:lvl4pPr>
            <a:lvl5pPr marL="999167" lvl="4" indent="-173583" defTabSz="1193920" eaLnBrk="1" hangingPunct="1">
              <a:buClr>
                <a:schemeClr val="tx2"/>
              </a:buClr>
              <a:buSzPct val="89000"/>
              <a:buFont typeface="Arial" charset="0"/>
              <a:buChar char="-"/>
              <a:defRPr>
                <a:latin typeface="+mn-lt"/>
                <a:ea typeface="ＭＳ Ｐゴシック" pitchFamily="34" charset="-128"/>
              </a:defRPr>
            </a:lvl5pPr>
            <a:lvl6pPr marL="999845" indent="-173583" defTabSz="1193920" fontAlgn="base">
              <a:spcBef>
                <a:spcPct val="0"/>
              </a:spcBef>
              <a:spcAft>
                <a:spcPct val="0"/>
              </a:spcAft>
              <a:buClr>
                <a:schemeClr val="tx2"/>
              </a:buClr>
              <a:buSzPct val="89000"/>
              <a:buFont typeface="Arial" charset="0"/>
              <a:buChar char="-"/>
              <a:defRPr sz="2133" baseline="0">
                <a:latin typeface="+mn-lt"/>
              </a:defRPr>
            </a:lvl6pPr>
            <a:lvl7pPr marL="999845" indent="-173583" defTabSz="1193920" fontAlgn="base">
              <a:spcBef>
                <a:spcPct val="0"/>
              </a:spcBef>
              <a:spcAft>
                <a:spcPct val="0"/>
              </a:spcAft>
              <a:buClr>
                <a:schemeClr val="tx2"/>
              </a:buClr>
              <a:buSzPct val="89000"/>
              <a:buFont typeface="Arial" charset="0"/>
              <a:buChar char="-"/>
              <a:defRPr sz="2133" baseline="0">
                <a:latin typeface="+mn-lt"/>
              </a:defRPr>
            </a:lvl7pPr>
            <a:lvl8pPr marL="999845" indent="-173583" defTabSz="1193920" fontAlgn="base">
              <a:spcBef>
                <a:spcPct val="0"/>
              </a:spcBef>
              <a:spcAft>
                <a:spcPct val="0"/>
              </a:spcAft>
              <a:buClr>
                <a:schemeClr val="tx2"/>
              </a:buClr>
              <a:buSzPct val="89000"/>
              <a:buFont typeface="Arial" charset="0"/>
              <a:buChar char="-"/>
              <a:defRPr sz="2133" baseline="0">
                <a:latin typeface="+mn-lt"/>
              </a:defRPr>
            </a:lvl8pPr>
            <a:lvl9pPr marL="999845" indent="-173583" defTabSz="1193920" fontAlgn="base">
              <a:spcBef>
                <a:spcPct val="0"/>
              </a:spcBef>
              <a:spcAft>
                <a:spcPct val="0"/>
              </a:spcAft>
              <a:buClr>
                <a:schemeClr val="tx2"/>
              </a:buClr>
              <a:buSzPct val="89000"/>
              <a:buFont typeface="Arial" charset="0"/>
              <a:buChar char="-"/>
              <a:defRPr sz="2133" baseline="0">
                <a:latin typeface="+mn-lt"/>
              </a:defRPr>
            </a:lvl9pPr>
          </a:lstStyle>
          <a:p>
            <a:pPr marL="0" indent="0">
              <a:defRPr/>
            </a:pPr>
            <a:r>
              <a:rPr lang="en-US" dirty="0">
                <a:solidFill>
                  <a:schemeClr val="tx1">
                    <a:lumMod val="75000"/>
                    <a:lumOff val="25000"/>
                  </a:schemeClr>
                </a:solidFill>
                <a:cs typeface="+mn-cs"/>
              </a:rPr>
              <a:t>Support </a:t>
            </a:r>
            <a:r>
              <a:rPr lang="en-US" dirty="0" smtClean="0">
                <a:solidFill>
                  <a:schemeClr val="tx1">
                    <a:lumMod val="75000"/>
                    <a:lumOff val="25000"/>
                  </a:schemeClr>
                </a:solidFill>
                <a:cs typeface="+mn-cs"/>
              </a:rPr>
              <a:t>State </a:t>
            </a:r>
            <a:r>
              <a:rPr lang="en-US" dirty="0">
                <a:solidFill>
                  <a:schemeClr val="tx1">
                    <a:lumMod val="75000"/>
                    <a:lumOff val="25000"/>
                  </a:schemeClr>
                </a:solidFill>
                <a:cs typeface="+mn-cs"/>
              </a:rPr>
              <a:t>focal persons in attending coordination meetings in Abuja</a:t>
            </a:r>
          </a:p>
        </p:txBody>
      </p:sp>
      <p:pic>
        <p:nvPicPr>
          <p:cNvPr id="24604" name="CustomIcon"/>
          <p:cNvPicPr>
            <a:picLocks noChangeAspect="1"/>
          </p:cNvPicPr>
          <p:nvPr>
            <p:custDataLst>
              <p:tags r:id="rId15"/>
            </p:custDataLst>
          </p:nvPr>
        </p:nvPicPr>
        <p:blipFill>
          <a:blip r:embed="rId26"/>
          <a:srcRect/>
          <a:stretch>
            <a:fillRect/>
          </a:stretch>
        </p:blipFill>
        <p:spPr bwMode="auto">
          <a:xfrm>
            <a:off x="809625" y="1027113"/>
            <a:ext cx="417513" cy="425450"/>
          </a:xfrm>
          <a:prstGeom prst="rect">
            <a:avLst/>
          </a:prstGeom>
          <a:noFill/>
          <a:ln w="9525">
            <a:noFill/>
            <a:miter lim="800000"/>
            <a:headEnd/>
            <a:tailEnd/>
          </a:ln>
        </p:spPr>
      </p:pic>
      <p:sp>
        <p:nvSpPr>
          <p:cNvPr id="24605" name="Rectangle 3"/>
          <p:cNvSpPr>
            <a:spLocks/>
          </p:cNvSpPr>
          <p:nvPr>
            <p:custDataLst>
              <p:tags r:id="rId16"/>
            </p:custDataLst>
          </p:nvPr>
        </p:nvSpPr>
        <p:spPr bwMode="auto">
          <a:xfrm>
            <a:off x="103188" y="1662113"/>
            <a:ext cx="504825" cy="511175"/>
          </a:xfrm>
          <a:prstGeom prst="ellipse">
            <a:avLst/>
          </a:prstGeom>
          <a:noFill/>
          <a:ln w="57150">
            <a:solidFill>
              <a:schemeClr val="accent2">
                <a:alpha val="20000"/>
              </a:schemeClr>
            </a:solidFill>
            <a:miter lim="800000"/>
            <a:headEnd/>
            <a:tailEnd/>
          </a:ln>
        </p:spPr>
        <p:txBody>
          <a:bodyPr lIns="0" tIns="0" rIns="0" bIns="0" anchor="ctr"/>
          <a:lstStyle/>
          <a:p>
            <a:pPr algn="ctr" defTabSz="895350">
              <a:buClr>
                <a:srgbClr val="F03500"/>
              </a:buClr>
            </a:pPr>
            <a:r>
              <a:rPr lang="en-US" sz="1800">
                <a:solidFill>
                  <a:schemeClr val="tx2"/>
                </a:solidFill>
              </a:rPr>
              <a:t>2</a:t>
            </a:r>
          </a:p>
        </p:txBody>
      </p:sp>
      <p:sp>
        <p:nvSpPr>
          <p:cNvPr id="166" name="TextBox 165">
            <a:extLst>
              <a:ext uri="{FF2B5EF4-FFF2-40B4-BE49-F238E27FC236}"/>
            </a:extLst>
          </p:cNvPr>
          <p:cNvSpPr txBox="1">
            <a:spLocks/>
          </p:cNvSpPr>
          <p:nvPr/>
        </p:nvSpPr>
        <p:spPr>
          <a:xfrm>
            <a:off x="1620838" y="1790700"/>
            <a:ext cx="7277100" cy="246063"/>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marL="457246" lvl="0" indent="-457246" defTabSz="1193920" eaLnBrk="1" hangingPunct="1">
              <a:buClr>
                <a:schemeClr val="tx2"/>
              </a:buClr>
              <a:defRPr>
                <a:latin typeface="+mn-lt"/>
              </a:defRPr>
            </a:lvl1pPr>
            <a:lvl2pPr marL="258260" lvl="1" indent="-256143" defTabSz="1193920" eaLnBrk="1" hangingPunct="1">
              <a:buClr>
                <a:schemeClr val="tx2"/>
              </a:buClr>
              <a:buSzPct val="125000"/>
              <a:buFont typeface="Arial" charset="0"/>
              <a:buChar char="▪"/>
              <a:defRPr>
                <a:latin typeface="+mn-lt"/>
                <a:ea typeface="ＭＳ Ｐゴシック" pitchFamily="34" charset="-128"/>
              </a:defRPr>
            </a:lvl2pPr>
            <a:lvl3pPr marL="609661" lvl="2" indent="-349285" defTabSz="1193920" eaLnBrk="1" hangingPunct="1">
              <a:buClr>
                <a:schemeClr val="tx2"/>
              </a:buClr>
              <a:buSzPct val="120000"/>
              <a:buFont typeface="Arial" charset="0"/>
              <a:buChar char="–"/>
              <a:defRPr>
                <a:latin typeface="+mn-lt"/>
                <a:ea typeface="ＭＳ Ｐゴシック" pitchFamily="34" charset="-128"/>
              </a:defRPr>
            </a:lvl3pPr>
            <a:lvl4pPr marL="819233" lvl="3" indent="-207454" defTabSz="1193920" eaLnBrk="1" hangingPunct="1">
              <a:buClr>
                <a:schemeClr val="tx2"/>
              </a:buClr>
              <a:buSzPct val="120000"/>
              <a:buFont typeface="Arial" charset="0"/>
              <a:buChar char="▫"/>
              <a:defRPr>
                <a:latin typeface="+mn-lt"/>
                <a:ea typeface="ＭＳ Ｐゴシック" pitchFamily="34" charset="-128"/>
              </a:defRPr>
            </a:lvl4pPr>
            <a:lvl5pPr marL="999167" lvl="4" indent="-173583" defTabSz="1193920" eaLnBrk="1" hangingPunct="1">
              <a:buClr>
                <a:schemeClr val="tx2"/>
              </a:buClr>
              <a:buSzPct val="89000"/>
              <a:buFont typeface="Arial" charset="0"/>
              <a:buChar char="-"/>
              <a:defRPr>
                <a:latin typeface="+mn-lt"/>
                <a:ea typeface="ＭＳ Ｐゴシック" pitchFamily="34" charset="-128"/>
              </a:defRPr>
            </a:lvl5pPr>
            <a:lvl6pPr marL="999845" indent="-173583" defTabSz="1193920" fontAlgn="base">
              <a:spcBef>
                <a:spcPct val="0"/>
              </a:spcBef>
              <a:spcAft>
                <a:spcPct val="0"/>
              </a:spcAft>
              <a:buClr>
                <a:schemeClr val="tx2"/>
              </a:buClr>
              <a:buSzPct val="89000"/>
              <a:buFont typeface="Arial" charset="0"/>
              <a:buChar char="-"/>
              <a:defRPr sz="2133" baseline="0">
                <a:latin typeface="+mn-lt"/>
              </a:defRPr>
            </a:lvl6pPr>
            <a:lvl7pPr marL="999845" indent="-173583" defTabSz="1193920" fontAlgn="base">
              <a:spcBef>
                <a:spcPct val="0"/>
              </a:spcBef>
              <a:spcAft>
                <a:spcPct val="0"/>
              </a:spcAft>
              <a:buClr>
                <a:schemeClr val="tx2"/>
              </a:buClr>
              <a:buSzPct val="89000"/>
              <a:buFont typeface="Arial" charset="0"/>
              <a:buChar char="-"/>
              <a:defRPr sz="2133" baseline="0">
                <a:latin typeface="+mn-lt"/>
              </a:defRPr>
            </a:lvl7pPr>
            <a:lvl8pPr marL="999845" indent="-173583" defTabSz="1193920" fontAlgn="base">
              <a:spcBef>
                <a:spcPct val="0"/>
              </a:spcBef>
              <a:spcAft>
                <a:spcPct val="0"/>
              </a:spcAft>
              <a:buClr>
                <a:schemeClr val="tx2"/>
              </a:buClr>
              <a:buSzPct val="89000"/>
              <a:buFont typeface="Arial" charset="0"/>
              <a:buChar char="-"/>
              <a:defRPr sz="2133" baseline="0">
                <a:latin typeface="+mn-lt"/>
              </a:defRPr>
            </a:lvl8pPr>
            <a:lvl9pPr marL="999845" indent="-173583" defTabSz="1193920" fontAlgn="base">
              <a:spcBef>
                <a:spcPct val="0"/>
              </a:spcBef>
              <a:spcAft>
                <a:spcPct val="0"/>
              </a:spcAft>
              <a:buClr>
                <a:schemeClr val="tx2"/>
              </a:buClr>
              <a:buSzPct val="89000"/>
              <a:buFont typeface="Arial" charset="0"/>
              <a:buChar char="-"/>
              <a:defRPr sz="2133" baseline="0">
                <a:latin typeface="+mn-lt"/>
              </a:defRPr>
            </a:lvl9pPr>
          </a:lstStyle>
          <a:p>
            <a:pPr marL="0" indent="0">
              <a:defRPr/>
            </a:pPr>
            <a:r>
              <a:rPr lang="en-US" dirty="0">
                <a:solidFill>
                  <a:schemeClr val="tx1">
                    <a:lumMod val="75000"/>
                    <a:lumOff val="25000"/>
                  </a:schemeClr>
                </a:solidFill>
                <a:cs typeface="+mn-cs"/>
              </a:rPr>
              <a:t>Establish </a:t>
            </a:r>
            <a:r>
              <a:rPr lang="en-US" dirty="0" smtClean="0">
                <a:solidFill>
                  <a:schemeClr val="tx1">
                    <a:lumMod val="75000"/>
                    <a:lumOff val="25000"/>
                  </a:schemeClr>
                </a:solidFill>
                <a:cs typeface="+mn-cs"/>
              </a:rPr>
              <a:t>State </a:t>
            </a:r>
            <a:r>
              <a:rPr lang="en-US" dirty="0">
                <a:solidFill>
                  <a:schemeClr val="tx1">
                    <a:lumMod val="75000"/>
                    <a:lumOff val="25000"/>
                  </a:schemeClr>
                </a:solidFill>
                <a:cs typeface="+mn-cs"/>
              </a:rPr>
              <a:t>HCD infrastructure</a:t>
            </a:r>
          </a:p>
        </p:txBody>
      </p:sp>
      <p:grpSp>
        <p:nvGrpSpPr>
          <p:cNvPr id="24607" name="Group 166"/>
          <p:cNvGrpSpPr>
            <a:grpSpLocks noChangeAspect="1"/>
          </p:cNvGrpSpPr>
          <p:nvPr/>
        </p:nvGrpSpPr>
        <p:grpSpPr bwMode="auto">
          <a:xfrm>
            <a:off x="809625" y="3919538"/>
            <a:ext cx="417513" cy="415925"/>
            <a:chOff x="12238101" y="3636690"/>
            <a:chExt cx="849313" cy="829765"/>
          </a:xfrm>
        </p:grpSpPr>
        <p:grpSp>
          <p:nvGrpSpPr>
            <p:cNvPr id="24610" name="Group 167"/>
            <p:cNvGrpSpPr>
              <a:grpSpLocks/>
            </p:cNvGrpSpPr>
            <p:nvPr/>
          </p:nvGrpSpPr>
          <p:grpSpPr bwMode="auto">
            <a:xfrm>
              <a:off x="12566960" y="3636690"/>
              <a:ext cx="499571" cy="500658"/>
              <a:chOff x="11939997" y="2880939"/>
              <a:chExt cx="499571" cy="500658"/>
            </a:xfrm>
          </p:grpSpPr>
          <p:sp>
            <p:nvSpPr>
              <p:cNvPr id="24612" name="Freeform 61"/>
              <p:cNvSpPr>
                <a:spLocks noEditPoints="1"/>
              </p:cNvSpPr>
              <p:nvPr/>
            </p:nvSpPr>
            <p:spPr bwMode="auto">
              <a:xfrm>
                <a:off x="11939997" y="2880939"/>
                <a:ext cx="499571" cy="500658"/>
              </a:xfrm>
              <a:custGeom>
                <a:avLst/>
                <a:gdLst>
                  <a:gd name="T0" fmla="*/ 465749 w 3737"/>
                  <a:gd name="T1" fmla="*/ 117227 h 3737"/>
                  <a:gd name="T2" fmla="*/ 411742 w 3737"/>
                  <a:gd name="T3" fmla="*/ 119638 h 3737"/>
                  <a:gd name="T4" fmla="*/ 391556 w 3737"/>
                  <a:gd name="T5" fmla="*/ 53723 h 3737"/>
                  <a:gd name="T6" fmla="*/ 308673 w 3737"/>
                  <a:gd name="T7" fmla="*/ 3215 h 3737"/>
                  <a:gd name="T8" fmla="*/ 272177 w 3737"/>
                  <a:gd name="T9" fmla="*/ 43139 h 3737"/>
                  <a:gd name="T10" fmla="*/ 211352 w 3737"/>
                  <a:gd name="T11" fmla="*/ 10852 h 3737"/>
                  <a:gd name="T12" fmla="*/ 117106 w 3737"/>
                  <a:gd name="T13" fmla="*/ 33895 h 3737"/>
                  <a:gd name="T14" fmla="*/ 119378 w 3737"/>
                  <a:gd name="T15" fmla="*/ 88020 h 3737"/>
                  <a:gd name="T16" fmla="*/ 53607 w 3737"/>
                  <a:gd name="T17" fmla="*/ 108250 h 3737"/>
                  <a:gd name="T18" fmla="*/ 3208 w 3737"/>
                  <a:gd name="T19" fmla="*/ 191314 h 3737"/>
                  <a:gd name="T20" fmla="*/ 43046 w 3737"/>
                  <a:gd name="T21" fmla="*/ 227888 h 3737"/>
                  <a:gd name="T22" fmla="*/ 10828 w 3737"/>
                  <a:gd name="T23" fmla="*/ 288846 h 3737"/>
                  <a:gd name="T24" fmla="*/ 33822 w 3737"/>
                  <a:gd name="T25" fmla="*/ 383431 h 3737"/>
                  <a:gd name="T26" fmla="*/ 87829 w 3737"/>
                  <a:gd name="T27" fmla="*/ 381020 h 3737"/>
                  <a:gd name="T28" fmla="*/ 108015 w 3737"/>
                  <a:gd name="T29" fmla="*/ 446935 h 3737"/>
                  <a:gd name="T30" fmla="*/ 191032 w 3737"/>
                  <a:gd name="T31" fmla="*/ 497443 h 3737"/>
                  <a:gd name="T32" fmla="*/ 227527 w 3737"/>
                  <a:gd name="T33" fmla="*/ 457519 h 3737"/>
                  <a:gd name="T34" fmla="*/ 288219 w 3737"/>
                  <a:gd name="T35" fmla="*/ 489806 h 3737"/>
                  <a:gd name="T36" fmla="*/ 308673 w 3737"/>
                  <a:gd name="T37" fmla="*/ 497443 h 3737"/>
                  <a:gd name="T38" fmla="*/ 391556 w 3737"/>
                  <a:gd name="T39" fmla="*/ 446935 h 3737"/>
                  <a:gd name="T40" fmla="*/ 411875 w 3737"/>
                  <a:gd name="T41" fmla="*/ 381020 h 3737"/>
                  <a:gd name="T42" fmla="*/ 465749 w 3737"/>
                  <a:gd name="T43" fmla="*/ 383431 h 3737"/>
                  <a:gd name="T44" fmla="*/ 488743 w 3737"/>
                  <a:gd name="T45" fmla="*/ 288846 h 3737"/>
                  <a:gd name="T46" fmla="*/ 456525 w 3737"/>
                  <a:gd name="T47" fmla="*/ 227888 h 3737"/>
                  <a:gd name="T48" fmla="*/ 496363 w 3737"/>
                  <a:gd name="T49" fmla="*/ 191314 h 3737"/>
                  <a:gd name="T50" fmla="*/ 423506 w 3737"/>
                  <a:gd name="T51" fmla="*/ 221458 h 3737"/>
                  <a:gd name="T52" fmla="*/ 432061 w 3737"/>
                  <a:gd name="T53" fmla="*/ 296215 h 3737"/>
                  <a:gd name="T54" fmla="*/ 441954 w 3737"/>
                  <a:gd name="T55" fmla="*/ 357441 h 3737"/>
                  <a:gd name="T56" fmla="*/ 393026 w 3737"/>
                  <a:gd name="T57" fmla="*/ 352886 h 3737"/>
                  <a:gd name="T58" fmla="*/ 346371 w 3737"/>
                  <a:gd name="T59" fmla="*/ 411834 h 3737"/>
                  <a:gd name="T60" fmla="*/ 310143 w 3737"/>
                  <a:gd name="T61" fmla="*/ 462208 h 3737"/>
                  <a:gd name="T62" fmla="*/ 281268 w 3737"/>
                  <a:gd name="T63" fmla="*/ 424159 h 3737"/>
                  <a:gd name="T64" fmla="*/ 220977 w 3737"/>
                  <a:gd name="T65" fmla="*/ 424427 h 3737"/>
                  <a:gd name="T66" fmla="*/ 189428 w 3737"/>
                  <a:gd name="T67" fmla="*/ 462208 h 3737"/>
                  <a:gd name="T68" fmla="*/ 153334 w 3737"/>
                  <a:gd name="T69" fmla="*/ 411968 h 3737"/>
                  <a:gd name="T70" fmla="*/ 106679 w 3737"/>
                  <a:gd name="T71" fmla="*/ 352886 h 3737"/>
                  <a:gd name="T72" fmla="*/ 57617 w 3737"/>
                  <a:gd name="T73" fmla="*/ 357441 h 3737"/>
                  <a:gd name="T74" fmla="*/ 67510 w 3737"/>
                  <a:gd name="T75" fmla="*/ 296215 h 3737"/>
                  <a:gd name="T76" fmla="*/ 76065 w 3737"/>
                  <a:gd name="T77" fmla="*/ 221324 h 3737"/>
                  <a:gd name="T78" fmla="*/ 38367 w 3737"/>
                  <a:gd name="T79" fmla="*/ 189840 h 3737"/>
                  <a:gd name="T80" fmla="*/ 88498 w 3737"/>
                  <a:gd name="T81" fmla="*/ 153533 h 3737"/>
                  <a:gd name="T82" fmla="*/ 147452 w 3737"/>
                  <a:gd name="T83" fmla="*/ 106777 h 3737"/>
                  <a:gd name="T84" fmla="*/ 143040 w 3737"/>
                  <a:gd name="T85" fmla="*/ 57742 h 3737"/>
                  <a:gd name="T86" fmla="*/ 204133 w 3737"/>
                  <a:gd name="T87" fmla="*/ 67656 h 3737"/>
                  <a:gd name="T88" fmla="*/ 278728 w 3737"/>
                  <a:gd name="T89" fmla="*/ 76231 h 3737"/>
                  <a:gd name="T90" fmla="*/ 310143 w 3737"/>
                  <a:gd name="T91" fmla="*/ 38450 h 3737"/>
                  <a:gd name="T92" fmla="*/ 346371 w 3737"/>
                  <a:gd name="T93" fmla="*/ 88690 h 3737"/>
                  <a:gd name="T94" fmla="*/ 393026 w 3737"/>
                  <a:gd name="T95" fmla="*/ 147773 h 3737"/>
                  <a:gd name="T96" fmla="*/ 441954 w 3737"/>
                  <a:gd name="T97" fmla="*/ 143217 h 3737"/>
                  <a:gd name="T98" fmla="*/ 432061 w 3737"/>
                  <a:gd name="T99" fmla="*/ 204443 h 37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37"/>
                  <a:gd name="T151" fmla="*/ 0 h 3737"/>
                  <a:gd name="T152" fmla="*/ 3737 w 3737"/>
                  <a:gd name="T153" fmla="*/ 3737 h 373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37" h="3737">
                    <a:moveTo>
                      <a:pt x="3713" y="1428"/>
                    </a:moveTo>
                    <a:cubicBezTo>
                      <a:pt x="3484" y="875"/>
                      <a:pt x="3484" y="875"/>
                      <a:pt x="3484" y="875"/>
                    </a:cubicBezTo>
                    <a:cubicBezTo>
                      <a:pt x="3460" y="818"/>
                      <a:pt x="3396" y="788"/>
                      <a:pt x="3336" y="808"/>
                    </a:cubicBezTo>
                    <a:cubicBezTo>
                      <a:pt x="3080" y="893"/>
                      <a:pt x="3080" y="893"/>
                      <a:pt x="3080" y="893"/>
                    </a:cubicBezTo>
                    <a:cubicBezTo>
                      <a:pt x="3010" y="806"/>
                      <a:pt x="2931" y="726"/>
                      <a:pt x="2844" y="657"/>
                    </a:cubicBezTo>
                    <a:cubicBezTo>
                      <a:pt x="2929" y="401"/>
                      <a:pt x="2929" y="401"/>
                      <a:pt x="2929" y="401"/>
                    </a:cubicBezTo>
                    <a:cubicBezTo>
                      <a:pt x="2949" y="342"/>
                      <a:pt x="2920" y="277"/>
                      <a:pt x="2862" y="253"/>
                    </a:cubicBezTo>
                    <a:cubicBezTo>
                      <a:pt x="2309" y="24"/>
                      <a:pt x="2309" y="24"/>
                      <a:pt x="2309" y="24"/>
                    </a:cubicBezTo>
                    <a:cubicBezTo>
                      <a:pt x="2251" y="0"/>
                      <a:pt x="2185" y="25"/>
                      <a:pt x="2156" y="81"/>
                    </a:cubicBezTo>
                    <a:cubicBezTo>
                      <a:pt x="2036" y="322"/>
                      <a:pt x="2036" y="322"/>
                      <a:pt x="2036" y="322"/>
                    </a:cubicBezTo>
                    <a:cubicBezTo>
                      <a:pt x="1925" y="310"/>
                      <a:pt x="1813" y="310"/>
                      <a:pt x="1702" y="322"/>
                    </a:cubicBezTo>
                    <a:cubicBezTo>
                      <a:pt x="1581" y="81"/>
                      <a:pt x="1581" y="81"/>
                      <a:pt x="1581" y="81"/>
                    </a:cubicBezTo>
                    <a:cubicBezTo>
                      <a:pt x="1553" y="25"/>
                      <a:pt x="1486" y="0"/>
                      <a:pt x="1429" y="24"/>
                    </a:cubicBezTo>
                    <a:cubicBezTo>
                      <a:pt x="876" y="253"/>
                      <a:pt x="876" y="253"/>
                      <a:pt x="876" y="253"/>
                    </a:cubicBezTo>
                    <a:cubicBezTo>
                      <a:pt x="818" y="277"/>
                      <a:pt x="788" y="342"/>
                      <a:pt x="808" y="401"/>
                    </a:cubicBezTo>
                    <a:cubicBezTo>
                      <a:pt x="893" y="657"/>
                      <a:pt x="893" y="657"/>
                      <a:pt x="893" y="657"/>
                    </a:cubicBezTo>
                    <a:cubicBezTo>
                      <a:pt x="806" y="727"/>
                      <a:pt x="727" y="806"/>
                      <a:pt x="657" y="893"/>
                    </a:cubicBezTo>
                    <a:cubicBezTo>
                      <a:pt x="401" y="808"/>
                      <a:pt x="401" y="808"/>
                      <a:pt x="401" y="808"/>
                    </a:cubicBezTo>
                    <a:cubicBezTo>
                      <a:pt x="342" y="788"/>
                      <a:pt x="277" y="818"/>
                      <a:pt x="253" y="875"/>
                    </a:cubicBezTo>
                    <a:cubicBezTo>
                      <a:pt x="24" y="1428"/>
                      <a:pt x="24" y="1428"/>
                      <a:pt x="24" y="1428"/>
                    </a:cubicBezTo>
                    <a:cubicBezTo>
                      <a:pt x="0" y="1486"/>
                      <a:pt x="25" y="1553"/>
                      <a:pt x="81" y="1581"/>
                    </a:cubicBezTo>
                    <a:cubicBezTo>
                      <a:pt x="322" y="1701"/>
                      <a:pt x="322" y="1701"/>
                      <a:pt x="322" y="1701"/>
                    </a:cubicBezTo>
                    <a:cubicBezTo>
                      <a:pt x="310" y="1812"/>
                      <a:pt x="310" y="1924"/>
                      <a:pt x="322" y="2035"/>
                    </a:cubicBezTo>
                    <a:cubicBezTo>
                      <a:pt x="81" y="2156"/>
                      <a:pt x="81" y="2156"/>
                      <a:pt x="81" y="2156"/>
                    </a:cubicBezTo>
                    <a:cubicBezTo>
                      <a:pt x="25" y="2184"/>
                      <a:pt x="0" y="2250"/>
                      <a:pt x="24" y="2308"/>
                    </a:cubicBezTo>
                    <a:cubicBezTo>
                      <a:pt x="253" y="2862"/>
                      <a:pt x="253" y="2862"/>
                      <a:pt x="253" y="2862"/>
                    </a:cubicBezTo>
                    <a:cubicBezTo>
                      <a:pt x="277" y="2919"/>
                      <a:pt x="342" y="2949"/>
                      <a:pt x="401" y="2929"/>
                    </a:cubicBezTo>
                    <a:cubicBezTo>
                      <a:pt x="657" y="2844"/>
                      <a:pt x="657" y="2844"/>
                      <a:pt x="657" y="2844"/>
                    </a:cubicBezTo>
                    <a:cubicBezTo>
                      <a:pt x="727" y="2931"/>
                      <a:pt x="806" y="3010"/>
                      <a:pt x="893" y="3080"/>
                    </a:cubicBezTo>
                    <a:cubicBezTo>
                      <a:pt x="808" y="3336"/>
                      <a:pt x="808" y="3336"/>
                      <a:pt x="808" y="3336"/>
                    </a:cubicBezTo>
                    <a:cubicBezTo>
                      <a:pt x="788" y="3395"/>
                      <a:pt x="818" y="3460"/>
                      <a:pt x="876" y="3484"/>
                    </a:cubicBezTo>
                    <a:cubicBezTo>
                      <a:pt x="1429" y="3713"/>
                      <a:pt x="1429" y="3713"/>
                      <a:pt x="1429" y="3713"/>
                    </a:cubicBezTo>
                    <a:cubicBezTo>
                      <a:pt x="1486" y="3737"/>
                      <a:pt x="1553" y="3712"/>
                      <a:pt x="1581" y="3656"/>
                    </a:cubicBezTo>
                    <a:cubicBezTo>
                      <a:pt x="1702" y="3415"/>
                      <a:pt x="1702" y="3415"/>
                      <a:pt x="1702" y="3415"/>
                    </a:cubicBezTo>
                    <a:cubicBezTo>
                      <a:pt x="1812" y="3427"/>
                      <a:pt x="1924" y="3427"/>
                      <a:pt x="2036" y="3415"/>
                    </a:cubicBezTo>
                    <a:cubicBezTo>
                      <a:pt x="2156" y="3656"/>
                      <a:pt x="2156" y="3656"/>
                      <a:pt x="2156" y="3656"/>
                    </a:cubicBezTo>
                    <a:cubicBezTo>
                      <a:pt x="2177" y="3698"/>
                      <a:pt x="2219" y="3722"/>
                      <a:pt x="2263" y="3722"/>
                    </a:cubicBezTo>
                    <a:cubicBezTo>
                      <a:pt x="2278" y="3722"/>
                      <a:pt x="2294" y="3719"/>
                      <a:pt x="2309" y="3713"/>
                    </a:cubicBezTo>
                    <a:cubicBezTo>
                      <a:pt x="2862" y="3484"/>
                      <a:pt x="2862" y="3484"/>
                      <a:pt x="2862" y="3484"/>
                    </a:cubicBezTo>
                    <a:cubicBezTo>
                      <a:pt x="2920" y="3460"/>
                      <a:pt x="2949" y="3395"/>
                      <a:pt x="2929" y="3336"/>
                    </a:cubicBezTo>
                    <a:cubicBezTo>
                      <a:pt x="2844" y="3080"/>
                      <a:pt x="2844" y="3080"/>
                      <a:pt x="2844" y="3080"/>
                    </a:cubicBezTo>
                    <a:cubicBezTo>
                      <a:pt x="2932" y="3010"/>
                      <a:pt x="3011" y="2931"/>
                      <a:pt x="3081" y="2844"/>
                    </a:cubicBezTo>
                    <a:cubicBezTo>
                      <a:pt x="3336" y="2929"/>
                      <a:pt x="3336" y="2929"/>
                      <a:pt x="3336" y="2929"/>
                    </a:cubicBezTo>
                    <a:cubicBezTo>
                      <a:pt x="3396" y="2949"/>
                      <a:pt x="3460" y="2919"/>
                      <a:pt x="3484" y="2862"/>
                    </a:cubicBezTo>
                    <a:cubicBezTo>
                      <a:pt x="3713" y="2308"/>
                      <a:pt x="3713" y="2308"/>
                      <a:pt x="3713" y="2308"/>
                    </a:cubicBezTo>
                    <a:cubicBezTo>
                      <a:pt x="3737" y="2250"/>
                      <a:pt x="3712" y="2184"/>
                      <a:pt x="3656" y="2156"/>
                    </a:cubicBezTo>
                    <a:cubicBezTo>
                      <a:pt x="3416" y="2035"/>
                      <a:pt x="3416" y="2035"/>
                      <a:pt x="3416" y="2035"/>
                    </a:cubicBezTo>
                    <a:cubicBezTo>
                      <a:pt x="3428" y="1925"/>
                      <a:pt x="3428" y="1813"/>
                      <a:pt x="3415" y="1701"/>
                    </a:cubicBezTo>
                    <a:cubicBezTo>
                      <a:pt x="3656" y="1581"/>
                      <a:pt x="3656" y="1581"/>
                      <a:pt x="3656" y="1581"/>
                    </a:cubicBezTo>
                    <a:cubicBezTo>
                      <a:pt x="3712" y="1553"/>
                      <a:pt x="3737" y="1486"/>
                      <a:pt x="3713" y="1428"/>
                    </a:cubicBezTo>
                    <a:close/>
                    <a:moveTo>
                      <a:pt x="3232" y="1526"/>
                    </a:moveTo>
                    <a:cubicBezTo>
                      <a:pt x="3185" y="1550"/>
                      <a:pt x="3159" y="1601"/>
                      <a:pt x="3168" y="1653"/>
                    </a:cubicBezTo>
                    <a:cubicBezTo>
                      <a:pt x="3192" y="1797"/>
                      <a:pt x="3192" y="1942"/>
                      <a:pt x="3168" y="2084"/>
                    </a:cubicBezTo>
                    <a:cubicBezTo>
                      <a:pt x="3159" y="2136"/>
                      <a:pt x="3186" y="2187"/>
                      <a:pt x="3232" y="2211"/>
                    </a:cubicBezTo>
                    <a:cubicBezTo>
                      <a:pt x="3450" y="2320"/>
                      <a:pt x="3450" y="2320"/>
                      <a:pt x="3450" y="2320"/>
                    </a:cubicBezTo>
                    <a:cubicBezTo>
                      <a:pt x="3306" y="2668"/>
                      <a:pt x="3306" y="2668"/>
                      <a:pt x="3306" y="2668"/>
                    </a:cubicBezTo>
                    <a:cubicBezTo>
                      <a:pt x="3075" y="2590"/>
                      <a:pt x="3075" y="2590"/>
                      <a:pt x="3075" y="2590"/>
                    </a:cubicBezTo>
                    <a:cubicBezTo>
                      <a:pt x="3025" y="2574"/>
                      <a:pt x="2971" y="2592"/>
                      <a:pt x="2940" y="2634"/>
                    </a:cubicBezTo>
                    <a:cubicBezTo>
                      <a:pt x="2856" y="2752"/>
                      <a:pt x="2753" y="2855"/>
                      <a:pt x="2635" y="2939"/>
                    </a:cubicBezTo>
                    <a:cubicBezTo>
                      <a:pt x="2592" y="2970"/>
                      <a:pt x="2574" y="3025"/>
                      <a:pt x="2591" y="3074"/>
                    </a:cubicBezTo>
                    <a:cubicBezTo>
                      <a:pt x="2668" y="3306"/>
                      <a:pt x="2668" y="3306"/>
                      <a:pt x="2668" y="3306"/>
                    </a:cubicBezTo>
                    <a:cubicBezTo>
                      <a:pt x="2320" y="3450"/>
                      <a:pt x="2320" y="3450"/>
                      <a:pt x="2320" y="3450"/>
                    </a:cubicBezTo>
                    <a:cubicBezTo>
                      <a:pt x="2211" y="3232"/>
                      <a:pt x="2211" y="3232"/>
                      <a:pt x="2211" y="3232"/>
                    </a:cubicBezTo>
                    <a:cubicBezTo>
                      <a:pt x="2190" y="3191"/>
                      <a:pt x="2149" y="3166"/>
                      <a:pt x="2104" y="3166"/>
                    </a:cubicBezTo>
                    <a:cubicBezTo>
                      <a:pt x="2098" y="3166"/>
                      <a:pt x="2091" y="3166"/>
                      <a:pt x="2085" y="3167"/>
                    </a:cubicBezTo>
                    <a:cubicBezTo>
                      <a:pt x="1941" y="3191"/>
                      <a:pt x="1795" y="3191"/>
                      <a:pt x="1653" y="3168"/>
                    </a:cubicBezTo>
                    <a:cubicBezTo>
                      <a:pt x="1601" y="3158"/>
                      <a:pt x="1550" y="3185"/>
                      <a:pt x="1526" y="3232"/>
                    </a:cubicBezTo>
                    <a:cubicBezTo>
                      <a:pt x="1417" y="3450"/>
                      <a:pt x="1417" y="3450"/>
                      <a:pt x="1417" y="3450"/>
                    </a:cubicBezTo>
                    <a:cubicBezTo>
                      <a:pt x="1070" y="3306"/>
                      <a:pt x="1070" y="3306"/>
                      <a:pt x="1070" y="3306"/>
                    </a:cubicBezTo>
                    <a:cubicBezTo>
                      <a:pt x="1147" y="3075"/>
                      <a:pt x="1147" y="3075"/>
                      <a:pt x="1147" y="3075"/>
                    </a:cubicBezTo>
                    <a:cubicBezTo>
                      <a:pt x="1163" y="3025"/>
                      <a:pt x="1145" y="2970"/>
                      <a:pt x="1103" y="2940"/>
                    </a:cubicBezTo>
                    <a:cubicBezTo>
                      <a:pt x="985" y="2856"/>
                      <a:pt x="882" y="2753"/>
                      <a:pt x="798" y="2634"/>
                    </a:cubicBezTo>
                    <a:cubicBezTo>
                      <a:pt x="767" y="2592"/>
                      <a:pt x="713" y="2574"/>
                      <a:pt x="663" y="2590"/>
                    </a:cubicBezTo>
                    <a:cubicBezTo>
                      <a:pt x="431" y="2668"/>
                      <a:pt x="431" y="2668"/>
                      <a:pt x="431" y="2668"/>
                    </a:cubicBezTo>
                    <a:cubicBezTo>
                      <a:pt x="287" y="2320"/>
                      <a:pt x="287" y="2320"/>
                      <a:pt x="287" y="2320"/>
                    </a:cubicBezTo>
                    <a:cubicBezTo>
                      <a:pt x="505" y="2211"/>
                      <a:pt x="505" y="2211"/>
                      <a:pt x="505" y="2211"/>
                    </a:cubicBezTo>
                    <a:cubicBezTo>
                      <a:pt x="552" y="2187"/>
                      <a:pt x="578" y="2136"/>
                      <a:pt x="570" y="2084"/>
                    </a:cubicBezTo>
                    <a:cubicBezTo>
                      <a:pt x="546" y="1940"/>
                      <a:pt x="546" y="1795"/>
                      <a:pt x="569" y="1652"/>
                    </a:cubicBezTo>
                    <a:cubicBezTo>
                      <a:pt x="578" y="1601"/>
                      <a:pt x="552" y="1549"/>
                      <a:pt x="505" y="1526"/>
                    </a:cubicBezTo>
                    <a:cubicBezTo>
                      <a:pt x="287" y="1417"/>
                      <a:pt x="287" y="1417"/>
                      <a:pt x="287" y="1417"/>
                    </a:cubicBezTo>
                    <a:cubicBezTo>
                      <a:pt x="431" y="1069"/>
                      <a:pt x="431" y="1069"/>
                      <a:pt x="431" y="1069"/>
                    </a:cubicBezTo>
                    <a:cubicBezTo>
                      <a:pt x="662" y="1146"/>
                      <a:pt x="662" y="1146"/>
                      <a:pt x="662" y="1146"/>
                    </a:cubicBezTo>
                    <a:cubicBezTo>
                      <a:pt x="712" y="1163"/>
                      <a:pt x="767" y="1145"/>
                      <a:pt x="797" y="1102"/>
                    </a:cubicBezTo>
                    <a:cubicBezTo>
                      <a:pt x="881" y="985"/>
                      <a:pt x="984" y="882"/>
                      <a:pt x="1103" y="797"/>
                    </a:cubicBezTo>
                    <a:cubicBezTo>
                      <a:pt x="1145" y="767"/>
                      <a:pt x="1163" y="712"/>
                      <a:pt x="1147" y="663"/>
                    </a:cubicBezTo>
                    <a:cubicBezTo>
                      <a:pt x="1070" y="431"/>
                      <a:pt x="1070" y="431"/>
                      <a:pt x="1070" y="431"/>
                    </a:cubicBezTo>
                    <a:cubicBezTo>
                      <a:pt x="1417" y="287"/>
                      <a:pt x="1417" y="287"/>
                      <a:pt x="1417" y="287"/>
                    </a:cubicBezTo>
                    <a:cubicBezTo>
                      <a:pt x="1527" y="505"/>
                      <a:pt x="1527" y="505"/>
                      <a:pt x="1527" y="505"/>
                    </a:cubicBezTo>
                    <a:cubicBezTo>
                      <a:pt x="1550" y="552"/>
                      <a:pt x="1601" y="578"/>
                      <a:pt x="1653" y="569"/>
                    </a:cubicBezTo>
                    <a:cubicBezTo>
                      <a:pt x="1797" y="545"/>
                      <a:pt x="1942" y="545"/>
                      <a:pt x="2085" y="569"/>
                    </a:cubicBezTo>
                    <a:cubicBezTo>
                      <a:pt x="2137" y="578"/>
                      <a:pt x="2188" y="551"/>
                      <a:pt x="2211" y="505"/>
                    </a:cubicBezTo>
                    <a:cubicBezTo>
                      <a:pt x="2320" y="287"/>
                      <a:pt x="2320" y="287"/>
                      <a:pt x="2320" y="287"/>
                    </a:cubicBezTo>
                    <a:cubicBezTo>
                      <a:pt x="2668" y="431"/>
                      <a:pt x="2668" y="431"/>
                      <a:pt x="2668" y="431"/>
                    </a:cubicBezTo>
                    <a:cubicBezTo>
                      <a:pt x="2591" y="662"/>
                      <a:pt x="2591" y="662"/>
                      <a:pt x="2591" y="662"/>
                    </a:cubicBezTo>
                    <a:cubicBezTo>
                      <a:pt x="2574" y="712"/>
                      <a:pt x="2592" y="767"/>
                      <a:pt x="2635" y="797"/>
                    </a:cubicBezTo>
                    <a:cubicBezTo>
                      <a:pt x="2752" y="881"/>
                      <a:pt x="2855" y="984"/>
                      <a:pt x="2940" y="1103"/>
                    </a:cubicBezTo>
                    <a:cubicBezTo>
                      <a:pt x="2970" y="1145"/>
                      <a:pt x="3025" y="1163"/>
                      <a:pt x="3075" y="1147"/>
                    </a:cubicBezTo>
                    <a:cubicBezTo>
                      <a:pt x="3306" y="1069"/>
                      <a:pt x="3306" y="1069"/>
                      <a:pt x="3306" y="1069"/>
                    </a:cubicBezTo>
                    <a:cubicBezTo>
                      <a:pt x="3450" y="1417"/>
                      <a:pt x="3450" y="1417"/>
                      <a:pt x="3450" y="1417"/>
                    </a:cubicBezTo>
                    <a:lnTo>
                      <a:pt x="3232" y="1526"/>
                    </a:lnTo>
                    <a:close/>
                  </a:path>
                </a:pathLst>
              </a:custGeom>
              <a:solidFill>
                <a:schemeClr val="accent2"/>
              </a:solidFill>
              <a:ln w="9525">
                <a:noFill/>
                <a:miter lim="800000"/>
                <a:headEnd/>
                <a:tailEnd/>
              </a:ln>
            </p:spPr>
            <p:txBody>
              <a:bodyPr lIns="68577" tIns="34288" rIns="68577" bIns="34288"/>
              <a:lstStyle/>
              <a:p>
                <a:endParaRPr lang="en-US"/>
              </a:p>
            </p:txBody>
          </p:sp>
          <p:sp>
            <p:nvSpPr>
              <p:cNvPr id="24613" name="Freeform 62"/>
              <p:cNvSpPr>
                <a:spLocks noEditPoints="1"/>
              </p:cNvSpPr>
              <p:nvPr/>
            </p:nvSpPr>
            <p:spPr bwMode="auto">
              <a:xfrm>
                <a:off x="12094548" y="3035490"/>
                <a:ext cx="200264" cy="189379"/>
              </a:xfrm>
              <a:custGeom>
                <a:avLst/>
                <a:gdLst>
                  <a:gd name="T0" fmla="*/ 130659 w 1499"/>
                  <a:gd name="T1" fmla="*/ 9556 h 1407"/>
                  <a:gd name="T2" fmla="*/ 59585 w 1499"/>
                  <a:gd name="T3" fmla="*/ 9556 h 1407"/>
                  <a:gd name="T4" fmla="*/ 9485 w 1499"/>
                  <a:gd name="T5" fmla="*/ 60165 h 1407"/>
                  <a:gd name="T6" fmla="*/ 9485 w 1499"/>
                  <a:gd name="T7" fmla="*/ 131637 h 1407"/>
                  <a:gd name="T8" fmla="*/ 59585 w 1499"/>
                  <a:gd name="T9" fmla="*/ 182111 h 1407"/>
                  <a:gd name="T10" fmla="*/ 95122 w 1499"/>
                  <a:gd name="T11" fmla="*/ 189379 h 1407"/>
                  <a:gd name="T12" fmla="*/ 130659 w 1499"/>
                  <a:gd name="T13" fmla="*/ 182111 h 1407"/>
                  <a:gd name="T14" fmla="*/ 180759 w 1499"/>
                  <a:gd name="T15" fmla="*/ 60165 h 1407"/>
                  <a:gd name="T16" fmla="*/ 130659 w 1499"/>
                  <a:gd name="T17" fmla="*/ 9556 h 1407"/>
                  <a:gd name="T18" fmla="*/ 118368 w 1499"/>
                  <a:gd name="T19" fmla="*/ 152499 h 1407"/>
                  <a:gd name="T20" fmla="*/ 71876 w 1499"/>
                  <a:gd name="T21" fmla="*/ 152499 h 1407"/>
                  <a:gd name="T22" fmla="*/ 38877 w 1499"/>
                  <a:gd name="T23" fmla="*/ 119388 h 1407"/>
                  <a:gd name="T24" fmla="*/ 38877 w 1499"/>
                  <a:gd name="T25" fmla="*/ 72414 h 1407"/>
                  <a:gd name="T26" fmla="*/ 71876 w 1499"/>
                  <a:gd name="T27" fmla="*/ 39303 h 1407"/>
                  <a:gd name="T28" fmla="*/ 95122 w 1499"/>
                  <a:gd name="T29" fmla="*/ 34592 h 1407"/>
                  <a:gd name="T30" fmla="*/ 118368 w 1499"/>
                  <a:gd name="T31" fmla="*/ 39303 h 1407"/>
                  <a:gd name="T32" fmla="*/ 151367 w 1499"/>
                  <a:gd name="T33" fmla="*/ 72414 h 1407"/>
                  <a:gd name="T34" fmla="*/ 118368 w 1499"/>
                  <a:gd name="T35" fmla="*/ 152499 h 140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99"/>
                  <a:gd name="T55" fmla="*/ 0 h 1407"/>
                  <a:gd name="T56" fmla="*/ 1499 w 1499"/>
                  <a:gd name="T57" fmla="*/ 1407 h 140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99" h="1407">
                    <a:moveTo>
                      <a:pt x="978" y="71"/>
                    </a:moveTo>
                    <a:cubicBezTo>
                      <a:pt x="806" y="0"/>
                      <a:pt x="617" y="1"/>
                      <a:pt x="446" y="71"/>
                    </a:cubicBezTo>
                    <a:cubicBezTo>
                      <a:pt x="275" y="142"/>
                      <a:pt x="142" y="276"/>
                      <a:pt x="71" y="447"/>
                    </a:cubicBezTo>
                    <a:cubicBezTo>
                      <a:pt x="0" y="618"/>
                      <a:pt x="0" y="807"/>
                      <a:pt x="71" y="978"/>
                    </a:cubicBezTo>
                    <a:cubicBezTo>
                      <a:pt x="142" y="1149"/>
                      <a:pt x="275" y="1282"/>
                      <a:pt x="446" y="1353"/>
                    </a:cubicBezTo>
                    <a:cubicBezTo>
                      <a:pt x="532" y="1389"/>
                      <a:pt x="622" y="1407"/>
                      <a:pt x="712" y="1407"/>
                    </a:cubicBezTo>
                    <a:cubicBezTo>
                      <a:pt x="802" y="1407"/>
                      <a:pt x="892" y="1389"/>
                      <a:pt x="978" y="1353"/>
                    </a:cubicBezTo>
                    <a:cubicBezTo>
                      <a:pt x="1331" y="1207"/>
                      <a:pt x="1499" y="800"/>
                      <a:pt x="1353" y="447"/>
                    </a:cubicBezTo>
                    <a:cubicBezTo>
                      <a:pt x="1282" y="276"/>
                      <a:pt x="1149" y="142"/>
                      <a:pt x="978" y="71"/>
                    </a:cubicBezTo>
                    <a:close/>
                    <a:moveTo>
                      <a:pt x="886" y="1133"/>
                    </a:moveTo>
                    <a:cubicBezTo>
                      <a:pt x="774" y="1179"/>
                      <a:pt x="650" y="1179"/>
                      <a:pt x="538" y="1133"/>
                    </a:cubicBezTo>
                    <a:cubicBezTo>
                      <a:pt x="425" y="1086"/>
                      <a:pt x="338" y="999"/>
                      <a:pt x="291" y="887"/>
                    </a:cubicBezTo>
                    <a:cubicBezTo>
                      <a:pt x="245" y="774"/>
                      <a:pt x="245" y="651"/>
                      <a:pt x="291" y="538"/>
                    </a:cubicBezTo>
                    <a:cubicBezTo>
                      <a:pt x="338" y="426"/>
                      <a:pt x="425" y="339"/>
                      <a:pt x="538" y="292"/>
                    </a:cubicBezTo>
                    <a:cubicBezTo>
                      <a:pt x="594" y="269"/>
                      <a:pt x="653" y="257"/>
                      <a:pt x="712" y="257"/>
                    </a:cubicBezTo>
                    <a:cubicBezTo>
                      <a:pt x="771" y="257"/>
                      <a:pt x="830" y="269"/>
                      <a:pt x="886" y="292"/>
                    </a:cubicBezTo>
                    <a:cubicBezTo>
                      <a:pt x="999" y="338"/>
                      <a:pt x="1086" y="426"/>
                      <a:pt x="1133" y="538"/>
                    </a:cubicBezTo>
                    <a:cubicBezTo>
                      <a:pt x="1229" y="770"/>
                      <a:pt x="1118" y="1037"/>
                      <a:pt x="886" y="1133"/>
                    </a:cubicBezTo>
                    <a:close/>
                  </a:path>
                </a:pathLst>
              </a:custGeom>
              <a:solidFill>
                <a:schemeClr val="accent2"/>
              </a:solidFill>
              <a:ln w="9525">
                <a:noFill/>
                <a:miter lim="800000"/>
                <a:headEnd/>
                <a:tailEnd/>
              </a:ln>
            </p:spPr>
            <p:txBody>
              <a:bodyPr lIns="68577" tIns="34288" rIns="68577" bIns="34288"/>
              <a:lstStyle/>
              <a:p>
                <a:endParaRPr lang="en-US"/>
              </a:p>
            </p:txBody>
          </p:sp>
        </p:grpSp>
        <p:sp>
          <p:nvSpPr>
            <p:cNvPr id="24611" name="Freeform 5"/>
            <p:cNvSpPr>
              <a:spLocks noEditPoints="1"/>
            </p:cNvSpPr>
            <p:nvPr/>
          </p:nvSpPr>
          <p:spPr bwMode="auto">
            <a:xfrm>
              <a:off x="12238101" y="4056881"/>
              <a:ext cx="849313" cy="409574"/>
            </a:xfrm>
            <a:custGeom>
              <a:avLst/>
              <a:gdLst>
                <a:gd name="T0" fmla="*/ 466932 w 1115"/>
                <a:gd name="T1" fmla="*/ 373793 h 538"/>
                <a:gd name="T2" fmla="*/ 146249 w 1115"/>
                <a:gd name="T3" fmla="*/ 283200 h 538"/>
                <a:gd name="T4" fmla="*/ 150820 w 1115"/>
                <a:gd name="T5" fmla="*/ 143884 h 538"/>
                <a:gd name="T6" fmla="*/ 294784 w 1115"/>
                <a:gd name="T7" fmla="*/ 118761 h 538"/>
                <a:gd name="T8" fmla="*/ 310018 w 1115"/>
                <a:gd name="T9" fmla="*/ 133987 h 538"/>
                <a:gd name="T10" fmla="*/ 433416 w 1115"/>
                <a:gd name="T11" fmla="*/ 176619 h 538"/>
                <a:gd name="T12" fmla="*/ 521013 w 1115"/>
                <a:gd name="T13" fmla="*/ 197935 h 538"/>
                <a:gd name="T14" fmla="*/ 525584 w 1115"/>
                <a:gd name="T15" fmla="*/ 230671 h 538"/>
                <a:gd name="T16" fmla="*/ 450174 w 1115"/>
                <a:gd name="T17" fmla="*/ 253510 h 538"/>
                <a:gd name="T18" fmla="*/ 325253 w 1115"/>
                <a:gd name="T19" fmla="*/ 222297 h 538"/>
                <a:gd name="T20" fmla="*/ 284120 w 1115"/>
                <a:gd name="T21" fmla="*/ 211639 h 538"/>
                <a:gd name="T22" fmla="*/ 282596 w 1115"/>
                <a:gd name="T23" fmla="*/ 211639 h 538"/>
                <a:gd name="T24" fmla="*/ 262792 w 1115"/>
                <a:gd name="T25" fmla="*/ 224581 h 538"/>
                <a:gd name="T26" fmla="*/ 273456 w 1115"/>
                <a:gd name="T27" fmla="*/ 245897 h 538"/>
                <a:gd name="T28" fmla="*/ 316874 w 1115"/>
                <a:gd name="T29" fmla="*/ 257316 h 538"/>
                <a:gd name="T30" fmla="*/ 434940 w 1115"/>
                <a:gd name="T31" fmla="*/ 287768 h 538"/>
                <a:gd name="T32" fmla="*/ 527869 w 1115"/>
                <a:gd name="T33" fmla="*/ 268735 h 538"/>
                <a:gd name="T34" fmla="*/ 546150 w 1115"/>
                <a:gd name="T35" fmla="*/ 261884 h 538"/>
                <a:gd name="T36" fmla="*/ 548435 w 1115"/>
                <a:gd name="T37" fmla="*/ 261122 h 538"/>
                <a:gd name="T38" fmla="*/ 694685 w 1115"/>
                <a:gd name="T39" fmla="*/ 230671 h 538"/>
                <a:gd name="T40" fmla="*/ 766286 w 1115"/>
                <a:gd name="T41" fmla="*/ 213922 h 538"/>
                <a:gd name="T42" fmla="*/ 801325 w 1115"/>
                <a:gd name="T43" fmla="*/ 249703 h 538"/>
                <a:gd name="T44" fmla="*/ 110449 w 1115"/>
                <a:gd name="T45" fmla="*/ 364658 h 538"/>
                <a:gd name="T46" fmla="*/ 44941 w 1115"/>
                <a:gd name="T47" fmla="*/ 373793 h 538"/>
                <a:gd name="T48" fmla="*/ 35801 w 1115"/>
                <a:gd name="T49" fmla="*/ 44155 h 538"/>
                <a:gd name="T50" fmla="*/ 102070 w 1115"/>
                <a:gd name="T51" fmla="*/ 35781 h 538"/>
                <a:gd name="T52" fmla="*/ 110449 w 1115"/>
                <a:gd name="T53" fmla="*/ 364658 h 538"/>
                <a:gd name="T54" fmla="*/ 766286 w 1115"/>
                <a:gd name="T55" fmla="*/ 178142 h 538"/>
                <a:gd name="T56" fmla="*/ 685544 w 1115"/>
                <a:gd name="T57" fmla="*/ 195652 h 538"/>
                <a:gd name="T58" fmla="*/ 576619 w 1115"/>
                <a:gd name="T59" fmla="*/ 221535 h 538"/>
                <a:gd name="T60" fmla="*/ 566716 w 1115"/>
                <a:gd name="T61" fmla="*/ 213922 h 538"/>
                <a:gd name="T62" fmla="*/ 565193 w 1115"/>
                <a:gd name="T63" fmla="*/ 208593 h 538"/>
                <a:gd name="T64" fmla="*/ 428846 w 1115"/>
                <a:gd name="T65" fmla="*/ 140839 h 538"/>
                <a:gd name="T66" fmla="*/ 338202 w 1115"/>
                <a:gd name="T67" fmla="*/ 111148 h 538"/>
                <a:gd name="T68" fmla="*/ 261268 w 1115"/>
                <a:gd name="T69" fmla="*/ 76890 h 538"/>
                <a:gd name="T70" fmla="*/ 155390 w 1115"/>
                <a:gd name="T71" fmla="*/ 101252 h 538"/>
                <a:gd name="T72" fmla="*/ 146249 w 1115"/>
                <a:gd name="T73" fmla="*/ 92116 h 538"/>
                <a:gd name="T74" fmla="*/ 128730 w 1115"/>
                <a:gd name="T75" fmla="*/ 0 h 538"/>
                <a:gd name="T76" fmla="*/ 0 w 1115"/>
                <a:gd name="T77" fmla="*/ 17510 h 538"/>
                <a:gd name="T78" fmla="*/ 18281 w 1115"/>
                <a:gd name="T79" fmla="*/ 409574 h 538"/>
                <a:gd name="T80" fmla="*/ 146249 w 1115"/>
                <a:gd name="T81" fmla="*/ 391303 h 538"/>
                <a:gd name="T82" fmla="*/ 150058 w 1115"/>
                <a:gd name="T83" fmla="*/ 332684 h 538"/>
                <a:gd name="T84" fmla="*/ 157675 w 1115"/>
                <a:gd name="T85" fmla="*/ 331161 h 538"/>
                <a:gd name="T86" fmla="*/ 823415 w 1115"/>
                <a:gd name="T87" fmla="*/ 285484 h 5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15"/>
                <a:gd name="T133" fmla="*/ 0 h 538"/>
                <a:gd name="T134" fmla="*/ 1115 w 1115"/>
                <a:gd name="T135" fmla="*/ 538 h 5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15" h="538">
                  <a:moveTo>
                    <a:pt x="1046" y="341"/>
                  </a:moveTo>
                  <a:cubicBezTo>
                    <a:pt x="952" y="395"/>
                    <a:pt x="677" y="491"/>
                    <a:pt x="613" y="491"/>
                  </a:cubicBezTo>
                  <a:cubicBezTo>
                    <a:pt x="532" y="491"/>
                    <a:pt x="234" y="394"/>
                    <a:pt x="200" y="383"/>
                  </a:cubicBezTo>
                  <a:cubicBezTo>
                    <a:pt x="196" y="382"/>
                    <a:pt x="192" y="377"/>
                    <a:pt x="192" y="372"/>
                  </a:cubicBezTo>
                  <a:lnTo>
                    <a:pt x="192" y="199"/>
                  </a:lnTo>
                  <a:cubicBezTo>
                    <a:pt x="192" y="195"/>
                    <a:pt x="195" y="191"/>
                    <a:pt x="198" y="189"/>
                  </a:cubicBezTo>
                  <a:cubicBezTo>
                    <a:pt x="244" y="164"/>
                    <a:pt x="301" y="148"/>
                    <a:pt x="343" y="148"/>
                  </a:cubicBezTo>
                  <a:cubicBezTo>
                    <a:pt x="361" y="148"/>
                    <a:pt x="375" y="151"/>
                    <a:pt x="387" y="156"/>
                  </a:cubicBezTo>
                  <a:cubicBezTo>
                    <a:pt x="393" y="160"/>
                    <a:pt x="400" y="167"/>
                    <a:pt x="407" y="176"/>
                  </a:cubicBezTo>
                  <a:cubicBezTo>
                    <a:pt x="428" y="201"/>
                    <a:pt x="456" y="234"/>
                    <a:pt x="530" y="234"/>
                  </a:cubicBezTo>
                  <a:cubicBezTo>
                    <a:pt x="542" y="234"/>
                    <a:pt x="555" y="233"/>
                    <a:pt x="569" y="232"/>
                  </a:cubicBezTo>
                  <a:cubicBezTo>
                    <a:pt x="580" y="230"/>
                    <a:pt x="590" y="230"/>
                    <a:pt x="600" y="230"/>
                  </a:cubicBezTo>
                  <a:cubicBezTo>
                    <a:pt x="638" y="230"/>
                    <a:pt x="667" y="240"/>
                    <a:pt x="684" y="260"/>
                  </a:cubicBezTo>
                  <a:cubicBezTo>
                    <a:pt x="694" y="272"/>
                    <a:pt x="697" y="285"/>
                    <a:pt x="698" y="291"/>
                  </a:cubicBezTo>
                  <a:cubicBezTo>
                    <a:pt x="698" y="297"/>
                    <a:pt x="695" y="301"/>
                    <a:pt x="690" y="303"/>
                  </a:cubicBezTo>
                  <a:cubicBezTo>
                    <a:pt x="686" y="305"/>
                    <a:pt x="681" y="307"/>
                    <a:pt x="676" y="309"/>
                  </a:cubicBezTo>
                  <a:cubicBezTo>
                    <a:pt x="644" y="321"/>
                    <a:pt x="611" y="333"/>
                    <a:pt x="591" y="333"/>
                  </a:cubicBezTo>
                  <a:cubicBezTo>
                    <a:pt x="588" y="333"/>
                    <a:pt x="585" y="333"/>
                    <a:pt x="583" y="332"/>
                  </a:cubicBezTo>
                  <a:cubicBezTo>
                    <a:pt x="565" y="328"/>
                    <a:pt x="513" y="314"/>
                    <a:pt x="427" y="292"/>
                  </a:cubicBezTo>
                  <a:cubicBezTo>
                    <a:pt x="427" y="292"/>
                    <a:pt x="427" y="292"/>
                    <a:pt x="427" y="292"/>
                  </a:cubicBezTo>
                  <a:lnTo>
                    <a:pt x="373" y="278"/>
                  </a:lnTo>
                  <a:cubicBezTo>
                    <a:pt x="372" y="278"/>
                    <a:pt x="371" y="278"/>
                    <a:pt x="371" y="278"/>
                  </a:cubicBezTo>
                  <a:cubicBezTo>
                    <a:pt x="359" y="276"/>
                    <a:pt x="348" y="284"/>
                    <a:pt x="345" y="295"/>
                  </a:cubicBezTo>
                  <a:cubicBezTo>
                    <a:pt x="342" y="307"/>
                    <a:pt x="348" y="319"/>
                    <a:pt x="359" y="323"/>
                  </a:cubicBezTo>
                  <a:cubicBezTo>
                    <a:pt x="371" y="326"/>
                    <a:pt x="391" y="332"/>
                    <a:pt x="415" y="338"/>
                  </a:cubicBezTo>
                  <a:lnTo>
                    <a:pt x="416" y="338"/>
                  </a:lnTo>
                  <a:cubicBezTo>
                    <a:pt x="473" y="353"/>
                    <a:pt x="549" y="372"/>
                    <a:pt x="571" y="378"/>
                  </a:cubicBezTo>
                  <a:cubicBezTo>
                    <a:pt x="577" y="379"/>
                    <a:pt x="584" y="380"/>
                    <a:pt x="591" y="380"/>
                  </a:cubicBezTo>
                  <a:cubicBezTo>
                    <a:pt x="623" y="380"/>
                    <a:pt x="662" y="365"/>
                    <a:pt x="693" y="353"/>
                  </a:cubicBezTo>
                  <a:lnTo>
                    <a:pt x="694" y="352"/>
                  </a:lnTo>
                  <a:cubicBezTo>
                    <a:pt x="702" y="349"/>
                    <a:pt x="711" y="346"/>
                    <a:pt x="717" y="344"/>
                  </a:cubicBezTo>
                  <a:cubicBezTo>
                    <a:pt x="718" y="343"/>
                    <a:pt x="719" y="343"/>
                    <a:pt x="720" y="343"/>
                  </a:cubicBezTo>
                  <a:cubicBezTo>
                    <a:pt x="721" y="342"/>
                    <a:pt x="722" y="342"/>
                    <a:pt x="723" y="342"/>
                  </a:cubicBezTo>
                  <a:cubicBezTo>
                    <a:pt x="785" y="337"/>
                    <a:pt x="845" y="321"/>
                    <a:pt x="912" y="303"/>
                  </a:cubicBezTo>
                  <a:cubicBezTo>
                    <a:pt x="935" y="296"/>
                    <a:pt x="954" y="291"/>
                    <a:pt x="973" y="286"/>
                  </a:cubicBezTo>
                  <a:cubicBezTo>
                    <a:pt x="986" y="283"/>
                    <a:pt x="997" y="281"/>
                    <a:pt x="1006" y="281"/>
                  </a:cubicBezTo>
                  <a:cubicBezTo>
                    <a:pt x="1034" y="281"/>
                    <a:pt x="1040" y="297"/>
                    <a:pt x="1044" y="305"/>
                  </a:cubicBezTo>
                  <a:cubicBezTo>
                    <a:pt x="1048" y="314"/>
                    <a:pt x="1050" y="322"/>
                    <a:pt x="1052" y="328"/>
                  </a:cubicBezTo>
                  <a:cubicBezTo>
                    <a:pt x="1053" y="333"/>
                    <a:pt x="1051" y="338"/>
                    <a:pt x="1046" y="341"/>
                  </a:cubicBezTo>
                  <a:close/>
                  <a:moveTo>
                    <a:pt x="145" y="479"/>
                  </a:moveTo>
                  <a:cubicBezTo>
                    <a:pt x="145" y="486"/>
                    <a:pt x="140" y="491"/>
                    <a:pt x="134" y="491"/>
                  </a:cubicBezTo>
                  <a:lnTo>
                    <a:pt x="59" y="491"/>
                  </a:lnTo>
                  <a:cubicBezTo>
                    <a:pt x="52" y="491"/>
                    <a:pt x="47" y="486"/>
                    <a:pt x="47" y="479"/>
                  </a:cubicBezTo>
                  <a:lnTo>
                    <a:pt x="47" y="58"/>
                  </a:lnTo>
                  <a:cubicBezTo>
                    <a:pt x="47" y="52"/>
                    <a:pt x="52" y="47"/>
                    <a:pt x="59" y="47"/>
                  </a:cubicBezTo>
                  <a:lnTo>
                    <a:pt x="134" y="47"/>
                  </a:lnTo>
                  <a:cubicBezTo>
                    <a:pt x="140" y="47"/>
                    <a:pt x="145" y="52"/>
                    <a:pt x="145" y="58"/>
                  </a:cubicBezTo>
                  <a:lnTo>
                    <a:pt x="145" y="479"/>
                  </a:lnTo>
                  <a:close/>
                  <a:moveTo>
                    <a:pt x="1087" y="287"/>
                  </a:moveTo>
                  <a:cubicBezTo>
                    <a:pt x="1073" y="252"/>
                    <a:pt x="1045" y="234"/>
                    <a:pt x="1006" y="234"/>
                  </a:cubicBezTo>
                  <a:cubicBezTo>
                    <a:pt x="993" y="234"/>
                    <a:pt x="978" y="236"/>
                    <a:pt x="962" y="240"/>
                  </a:cubicBezTo>
                  <a:cubicBezTo>
                    <a:pt x="941" y="245"/>
                    <a:pt x="920" y="251"/>
                    <a:pt x="900" y="257"/>
                  </a:cubicBezTo>
                  <a:lnTo>
                    <a:pt x="899" y="257"/>
                  </a:lnTo>
                  <a:cubicBezTo>
                    <a:pt x="853" y="270"/>
                    <a:pt x="805" y="284"/>
                    <a:pt x="757" y="291"/>
                  </a:cubicBezTo>
                  <a:cubicBezTo>
                    <a:pt x="756" y="291"/>
                    <a:pt x="755" y="291"/>
                    <a:pt x="755" y="291"/>
                  </a:cubicBezTo>
                  <a:cubicBezTo>
                    <a:pt x="749" y="291"/>
                    <a:pt x="744" y="287"/>
                    <a:pt x="744" y="281"/>
                  </a:cubicBezTo>
                  <a:lnTo>
                    <a:pt x="743" y="279"/>
                  </a:lnTo>
                  <a:cubicBezTo>
                    <a:pt x="743" y="277"/>
                    <a:pt x="743" y="276"/>
                    <a:pt x="742" y="274"/>
                  </a:cubicBezTo>
                  <a:cubicBezTo>
                    <a:pt x="732" y="230"/>
                    <a:pt x="689" y="182"/>
                    <a:pt x="600" y="182"/>
                  </a:cubicBezTo>
                  <a:cubicBezTo>
                    <a:pt x="588" y="182"/>
                    <a:pt x="576" y="183"/>
                    <a:pt x="563" y="185"/>
                  </a:cubicBezTo>
                  <a:cubicBezTo>
                    <a:pt x="551" y="186"/>
                    <a:pt x="540" y="187"/>
                    <a:pt x="530" y="187"/>
                  </a:cubicBezTo>
                  <a:cubicBezTo>
                    <a:pt x="478" y="187"/>
                    <a:pt x="460" y="166"/>
                    <a:pt x="444" y="146"/>
                  </a:cubicBezTo>
                  <a:cubicBezTo>
                    <a:pt x="434" y="135"/>
                    <a:pt x="423" y="122"/>
                    <a:pt x="407" y="114"/>
                  </a:cubicBezTo>
                  <a:cubicBezTo>
                    <a:pt x="389" y="105"/>
                    <a:pt x="368" y="101"/>
                    <a:pt x="343" y="101"/>
                  </a:cubicBezTo>
                  <a:cubicBezTo>
                    <a:pt x="289" y="101"/>
                    <a:pt x="236" y="120"/>
                    <a:pt x="208" y="132"/>
                  </a:cubicBezTo>
                  <a:cubicBezTo>
                    <a:pt x="207" y="133"/>
                    <a:pt x="205" y="133"/>
                    <a:pt x="204" y="133"/>
                  </a:cubicBezTo>
                  <a:cubicBezTo>
                    <a:pt x="202" y="133"/>
                    <a:pt x="199" y="132"/>
                    <a:pt x="198" y="131"/>
                  </a:cubicBezTo>
                  <a:cubicBezTo>
                    <a:pt x="194" y="129"/>
                    <a:pt x="192" y="125"/>
                    <a:pt x="192" y="121"/>
                  </a:cubicBezTo>
                  <a:lnTo>
                    <a:pt x="192" y="23"/>
                  </a:lnTo>
                  <a:cubicBezTo>
                    <a:pt x="192" y="10"/>
                    <a:pt x="182" y="0"/>
                    <a:pt x="169" y="0"/>
                  </a:cubicBezTo>
                  <a:lnTo>
                    <a:pt x="24" y="0"/>
                  </a:lnTo>
                  <a:cubicBezTo>
                    <a:pt x="11" y="0"/>
                    <a:pt x="0" y="10"/>
                    <a:pt x="0" y="23"/>
                  </a:cubicBezTo>
                  <a:lnTo>
                    <a:pt x="0" y="514"/>
                  </a:lnTo>
                  <a:cubicBezTo>
                    <a:pt x="0" y="527"/>
                    <a:pt x="11" y="538"/>
                    <a:pt x="24" y="538"/>
                  </a:cubicBezTo>
                  <a:lnTo>
                    <a:pt x="169" y="538"/>
                  </a:lnTo>
                  <a:cubicBezTo>
                    <a:pt x="182" y="538"/>
                    <a:pt x="192" y="527"/>
                    <a:pt x="192" y="514"/>
                  </a:cubicBezTo>
                  <a:lnTo>
                    <a:pt x="192" y="446"/>
                  </a:lnTo>
                  <a:cubicBezTo>
                    <a:pt x="192" y="442"/>
                    <a:pt x="194" y="439"/>
                    <a:pt x="197" y="437"/>
                  </a:cubicBezTo>
                  <a:cubicBezTo>
                    <a:pt x="199" y="435"/>
                    <a:pt x="202" y="435"/>
                    <a:pt x="204" y="435"/>
                  </a:cubicBezTo>
                  <a:cubicBezTo>
                    <a:pt x="205" y="435"/>
                    <a:pt x="206" y="435"/>
                    <a:pt x="207" y="435"/>
                  </a:cubicBezTo>
                  <a:cubicBezTo>
                    <a:pt x="303" y="466"/>
                    <a:pt x="535" y="538"/>
                    <a:pt x="613" y="538"/>
                  </a:cubicBezTo>
                  <a:cubicBezTo>
                    <a:pt x="697" y="538"/>
                    <a:pt x="995" y="430"/>
                    <a:pt x="1081" y="375"/>
                  </a:cubicBezTo>
                  <a:cubicBezTo>
                    <a:pt x="1090" y="369"/>
                    <a:pt x="1115" y="353"/>
                    <a:pt x="1087" y="287"/>
                  </a:cubicBezTo>
                </a:path>
              </a:pathLst>
            </a:custGeom>
            <a:solidFill>
              <a:schemeClr val="accent2"/>
            </a:solidFill>
            <a:ln w="9525">
              <a:noFill/>
              <a:miter lim="800000"/>
              <a:headEnd/>
              <a:tailEnd/>
            </a:ln>
          </p:spPr>
          <p:txBody>
            <a:bodyPr lIns="68577" tIns="34288" rIns="68577" bIns="34288"/>
            <a:lstStyle/>
            <a:p>
              <a:endParaRPr lang="en-US"/>
            </a:p>
          </p:txBody>
        </p:sp>
      </p:grpSp>
      <p:cxnSp>
        <p:nvCxnSpPr>
          <p:cNvPr id="172" name="Straight Connector 171">
            <a:extLst>
              <a:ext uri="{FF2B5EF4-FFF2-40B4-BE49-F238E27FC236}"/>
            </a:extLst>
          </p:cNvPr>
          <p:cNvCxnSpPr>
            <a:cxnSpLocks/>
          </p:cNvCxnSpPr>
          <p:nvPr/>
        </p:nvCxnSpPr>
        <p:spPr>
          <a:xfrm>
            <a:off x="1419225" y="995363"/>
            <a:ext cx="0" cy="4899025"/>
          </a:xfrm>
          <a:prstGeom prst="line">
            <a:avLst/>
          </a:prstGeom>
          <a:ln w="28575"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extLst>
          </p:cNvPr>
          <p:cNvCxnSpPr>
            <a:cxnSpLocks/>
          </p:cNvCxnSpPr>
          <p:nvPr/>
        </p:nvCxnSpPr>
        <p:spPr>
          <a:xfrm>
            <a:off x="1620838" y="1584325"/>
            <a:ext cx="7277100" cy="0"/>
          </a:xfrm>
          <a:prstGeom prst="line">
            <a:avLst/>
          </a:prstGeom>
          <a:ln w="6350">
            <a:solidFill>
              <a:schemeClr val="accent6">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spTree>
    <p:custDataLst>
      <p:tags r:id="rId2"/>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AutoShape 136"/>
          <p:cNvGraphicFramePr>
            <a:graphicFrameLocks/>
          </p:cNvGraphicFramePr>
          <p:nvPr/>
        </p:nvGraphicFramePr>
        <p:xfrm>
          <a:off x="0" y="0"/>
          <a:ext cx="155575" cy="155575"/>
        </p:xfrm>
        <a:graphic>
          <a:graphicData uri="http://schemas.openxmlformats.org/presentationml/2006/ole">
            <p:oleObj spid="_x0000_s7170" name="think-cell Slide" r:id="rId36" imgW="0" imgH="0" progId="">
              <p:embed/>
            </p:oleObj>
          </a:graphicData>
        </a:graphic>
      </p:graphicFrame>
      <p:sp>
        <p:nvSpPr>
          <p:cNvPr id="74851" name="Rectangle 99" hidden="1"/>
          <p:cNvSpPr>
            <a:spLocks noChangeArrowheads="1"/>
          </p:cNvSpPr>
          <p:nvPr>
            <p:custDataLst>
              <p:tags r:id="rId3"/>
            </p:custDataLst>
          </p:nvPr>
        </p:nvSpPr>
        <p:spPr bwMode="gray">
          <a:xfrm>
            <a:off x="0" y="0"/>
            <a:ext cx="155575" cy="155575"/>
          </a:xfrm>
          <a:prstGeom prst="rect">
            <a:avLst/>
          </a:prstGeom>
          <a:noFill/>
          <a:ln w="9525" algn="ctr">
            <a:solidFill>
              <a:schemeClr val="tx1"/>
            </a:solidFill>
            <a:miter lim="800000"/>
            <a:headEnd/>
            <a:tailEnd/>
          </a:ln>
          <a:effectLst/>
          <a:extLst>
            <a:ext uri="{909E8E84-426E-40DD-AFC4-6F175D3DCCD1}"/>
            <a:ext uri="{AF507438-7753-43E0-B8FC-AC1667EBCBE1}"/>
          </a:extLst>
        </p:spPr>
        <p:txBody>
          <a:bodyPr wrap="none" lIns="0" tIns="0" rIns="0" bIns="0" anchor="ctr"/>
          <a:lstStyle/>
          <a:p>
            <a:pPr>
              <a:defRPr/>
            </a:pPr>
            <a:endParaRPr lang="en-ZA" sz="1300" dirty="0">
              <a:ea typeface="+mj-ea"/>
              <a:cs typeface="+mj-cs"/>
              <a:sym typeface="Arial" panose="020B0604020202020204" pitchFamily="34" charset="0"/>
            </a:endParaRPr>
          </a:p>
        </p:txBody>
      </p:sp>
      <p:sp>
        <p:nvSpPr>
          <p:cNvPr id="74862" name="Rectangle 110"/>
          <p:cNvSpPr>
            <a:spLocks noGrp="1" noChangeArrowheads="1"/>
          </p:cNvSpPr>
          <p:nvPr>
            <p:ph type="title"/>
          </p:nvPr>
        </p:nvSpPr>
        <p:spPr bwMode="gray">
          <a:xfrm>
            <a:off x="119063" y="230188"/>
            <a:ext cx="9021762" cy="923925"/>
          </a:xfrm>
          <a:extLst>
            <a:ext uri="{909E8E84-426E-40DD-AFC4-6F175D3DCCD1}"/>
            <a:ext uri="{91240B29-F687-4F45-9708-019B960494DF}"/>
            <a:ext uri="{AF507438-7753-43E0-B8FC-AC1667EBCBE1}"/>
          </a:extLst>
        </p:spPr>
        <p:txBody>
          <a:bodyPr/>
          <a:lstStyle/>
          <a:p>
            <a:pPr>
              <a:tabLst>
                <a:tab pos="0" algn="l"/>
              </a:tabLst>
              <a:defRPr/>
            </a:pPr>
            <a:r>
              <a:rPr lang="en-US" dirty="0">
                <a:latin typeface="+mn-lt"/>
              </a:rPr>
              <a:t>The Human Capital Development (HCD) initiative is a response to</a:t>
            </a:r>
            <a:br>
              <a:rPr lang="en-US" dirty="0">
                <a:latin typeface="+mn-lt"/>
              </a:rPr>
            </a:br>
            <a:r>
              <a:rPr lang="en-US" dirty="0">
                <a:latin typeface="+mn-lt"/>
              </a:rPr>
              <a:t> Nigeria’s ranking as a country with low human capital development </a:t>
            </a:r>
            <a:br>
              <a:rPr lang="en-US" dirty="0">
                <a:latin typeface="+mn-lt"/>
              </a:rPr>
            </a:br>
            <a:r>
              <a:rPr lang="en-US" dirty="0">
                <a:latin typeface="+mn-lt"/>
              </a:rPr>
              <a:t>below sub-Saharan Africa average across major indices</a:t>
            </a:r>
          </a:p>
        </p:txBody>
      </p:sp>
      <p:sp>
        <p:nvSpPr>
          <p:cNvPr id="74865" name="5. Source"/>
          <p:cNvSpPr>
            <a:spLocks noChangeArrowheads="1"/>
          </p:cNvSpPr>
          <p:nvPr>
            <p:custDataLst>
              <p:tags r:id="rId4"/>
            </p:custDataLst>
          </p:nvPr>
        </p:nvSpPr>
        <p:spPr bwMode="gray">
          <a:xfrm>
            <a:off x="119063" y="6508750"/>
            <a:ext cx="7531100"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nchor="b">
            <a:spAutoFit/>
          </a:bodyPr>
          <a:lstStyle/>
          <a:p>
            <a:pPr marL="609600" indent="-609600" defTabSz="895350">
              <a:tabLst>
                <a:tab pos="612775" algn="l"/>
              </a:tabLst>
              <a:defRPr/>
            </a:pPr>
            <a:r>
              <a:rPr lang="en-US" sz="800" dirty="0">
                <a:solidFill>
                  <a:schemeClr val="accent6"/>
                </a:solidFill>
                <a:latin typeface="+mn-lt"/>
                <a:cs typeface="+mn-cs"/>
              </a:rPr>
              <a:t>SOURCE: United Nations Development </a:t>
            </a:r>
            <a:r>
              <a:rPr lang="en-US" sz="800" dirty="0" err="1">
                <a:solidFill>
                  <a:schemeClr val="accent6"/>
                </a:solidFill>
                <a:latin typeface="+mn-lt"/>
                <a:cs typeface="+mn-cs"/>
              </a:rPr>
              <a:t>Programme</a:t>
            </a:r>
            <a:r>
              <a:rPr lang="en-US" sz="800" dirty="0">
                <a:solidFill>
                  <a:schemeClr val="accent6"/>
                </a:solidFill>
                <a:latin typeface="+mn-lt"/>
                <a:cs typeface="+mn-cs"/>
              </a:rPr>
              <a:t> Human Development Reports,  Institute for Health Metrics and Evaluation, University of Washington Seattle, WA</a:t>
            </a:r>
          </a:p>
        </p:txBody>
      </p:sp>
      <p:sp>
        <p:nvSpPr>
          <p:cNvPr id="308" name="4. Footnote">
            <a:extLst>
              <a:ext uri="{FF2B5EF4-FFF2-40B4-BE49-F238E27FC236}"/>
            </a:extLst>
          </p:cNvPr>
          <p:cNvSpPr txBox="1">
            <a:spLocks noChangeArrowheads="1"/>
          </p:cNvSpPr>
          <p:nvPr/>
        </p:nvSpPr>
        <p:spPr bwMode="gray">
          <a:xfrm>
            <a:off x="119063" y="6061075"/>
            <a:ext cx="8618537" cy="368300"/>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chemeClr val="accent6"/>
                </a:solidFill>
                <a:latin typeface="+mn-lt"/>
                <a:cs typeface="+mn-cs"/>
              </a:rPr>
              <a:t>1 The Human Development Index is a summary measure of three dimensions of human development: health (life expectancy at birth), education (mean years of schooling for adults &lt;25 and</a:t>
            </a:r>
          </a:p>
          <a:p>
            <a:pPr>
              <a:defRPr/>
            </a:pPr>
            <a:r>
              <a:rPr lang="en-US" sz="800" dirty="0">
                <a:solidFill>
                  <a:schemeClr val="accent6"/>
                </a:solidFill>
                <a:latin typeface="+mn-lt"/>
                <a:cs typeface="+mn-cs"/>
              </a:rPr>
              <a:t> expected years of  schooling for children of school entering age), and standard of living  (gross national income per capita)</a:t>
            </a:r>
          </a:p>
          <a:p>
            <a:pPr>
              <a:defRPr/>
            </a:pPr>
            <a:r>
              <a:rPr lang="en-US" sz="800" dirty="0">
                <a:solidFill>
                  <a:schemeClr val="accent6"/>
                </a:solidFill>
                <a:latin typeface="+mn-lt"/>
                <a:cs typeface="+mn-cs"/>
              </a:rPr>
              <a:t>2 Defined as expected years lived from ages 20-64 and adjusted for educational attainment, learning, health, and survival</a:t>
            </a:r>
          </a:p>
        </p:txBody>
      </p:sp>
      <p:pic>
        <p:nvPicPr>
          <p:cNvPr id="7175" name="Picture 206"/>
          <p:cNvPicPr>
            <a:picLocks/>
          </p:cNvPicPr>
          <p:nvPr/>
        </p:nvPicPr>
        <p:blipFill>
          <a:blip r:embed="rId37"/>
          <a:srcRect t="89818" b="3566"/>
          <a:stretch>
            <a:fillRect/>
          </a:stretch>
        </p:blipFill>
        <p:spPr bwMode="auto">
          <a:xfrm>
            <a:off x="0" y="893763"/>
            <a:ext cx="8961438" cy="508000"/>
          </a:xfrm>
          <a:prstGeom prst="rect">
            <a:avLst/>
          </a:prstGeom>
          <a:noFill/>
          <a:ln w="9525">
            <a:noFill/>
            <a:miter lim="800000"/>
            <a:headEnd/>
            <a:tailEnd/>
          </a:ln>
        </p:spPr>
      </p:pic>
      <p:grpSp>
        <p:nvGrpSpPr>
          <p:cNvPr id="7176" name="Group 15"/>
          <p:cNvGrpSpPr>
            <a:grpSpLocks/>
          </p:cNvGrpSpPr>
          <p:nvPr/>
        </p:nvGrpSpPr>
        <p:grpSpPr bwMode="auto">
          <a:xfrm>
            <a:off x="0" y="893763"/>
            <a:ext cx="8961438" cy="508000"/>
            <a:chOff x="0" y="894453"/>
            <a:chExt cx="8961438" cy="506926"/>
          </a:xfrm>
        </p:grpSpPr>
        <p:sp>
          <p:nvSpPr>
            <p:cNvPr id="216" name="Rectangle 215">
              <a:extLst>
                <a:ext uri="{FF2B5EF4-FFF2-40B4-BE49-F238E27FC236}"/>
              </a:extLst>
            </p:cNvPr>
            <p:cNvSpPr>
              <a:spLocks/>
            </p:cNvSpPr>
            <p:nvPr/>
          </p:nvSpPr>
          <p:spPr>
            <a:xfrm>
              <a:off x="0" y="894453"/>
              <a:ext cx="8961438" cy="506926"/>
            </a:xfrm>
            <a:prstGeom prst="rect">
              <a:avLst/>
            </a:prstGeom>
            <a:solidFill>
              <a:schemeClr val="accent3">
                <a:alpha val="8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b="1" dirty="0">
                <a:solidFill>
                  <a:schemeClr val="tx1"/>
                </a:solidFill>
                <a:latin typeface="+mj-lt"/>
              </a:endParaRPr>
            </a:p>
          </p:txBody>
        </p:sp>
        <p:sp>
          <p:nvSpPr>
            <p:cNvPr id="163" name="Rectangle 4"/>
            <p:cNvSpPr>
              <a:spLocks noChangeArrowheads="1"/>
            </p:cNvSpPr>
            <p:nvPr/>
          </p:nvSpPr>
          <p:spPr bwMode="gray">
            <a:xfrm>
              <a:off x="119063" y="1052867"/>
              <a:ext cx="7473950" cy="190097"/>
            </a:xfrm>
            <a:prstGeom prst="rect">
              <a:avLst/>
            </a:prstGeom>
            <a:noFill/>
            <a:ln>
              <a:noFill/>
            </a:ln>
            <a:extLst>
              <a:ext uri="{909E8E84-426E-40DD-AFC4-6F175D3DCCD1}"/>
              <a:ext uri="{91240B29-F687-4F45-9708-019B960494DF}"/>
            </a:extLst>
          </p:spPr>
          <p:txBody>
            <a:bodyPr lIns="0" tIns="0" rIns="0" bIns="0" anchor="ctr">
              <a:spAutoFit/>
            </a:bodyPr>
            <a:lstStyle/>
            <a:p>
              <a:pPr defTabSz="895350">
                <a:lnSpc>
                  <a:spcPct val="95000"/>
                </a:lnSpc>
                <a:buClr>
                  <a:schemeClr val="bg1"/>
                </a:buClr>
                <a:buSzPct val="120000"/>
                <a:defRPr/>
              </a:pPr>
              <a:r>
                <a:rPr lang="en-US" sz="1300" b="1" dirty="0">
                  <a:solidFill>
                    <a:schemeClr val="bg1"/>
                  </a:solidFill>
                  <a:latin typeface="+mj-lt"/>
                  <a:cs typeface="Arial" charset="0"/>
                </a:rPr>
                <a:t>Overview of Nigeria’s human capital development performance and ranking</a:t>
              </a:r>
              <a:endParaRPr lang="en-US" sz="1300" b="1" dirty="0">
                <a:solidFill>
                  <a:schemeClr val="bg1">
                    <a:lumMod val="85000"/>
                  </a:schemeClr>
                </a:solidFill>
                <a:latin typeface="+mj-lt"/>
                <a:cs typeface="Arial" charset="0"/>
              </a:endParaRPr>
            </a:p>
          </p:txBody>
        </p:sp>
      </p:grpSp>
      <p:grpSp>
        <p:nvGrpSpPr>
          <p:cNvPr id="7177" name="Group 20"/>
          <p:cNvGrpSpPr>
            <a:grpSpLocks/>
          </p:cNvGrpSpPr>
          <p:nvPr/>
        </p:nvGrpSpPr>
        <p:grpSpPr bwMode="auto">
          <a:xfrm>
            <a:off x="7956550" y="230188"/>
            <a:ext cx="781050" cy="188912"/>
            <a:chOff x="7956753" y="622251"/>
            <a:chExt cx="780847" cy="189430"/>
          </a:xfrm>
        </p:grpSpPr>
        <p:sp>
          <p:nvSpPr>
            <p:cNvPr id="64" name="Legend1">
              <a:extLst>
                <a:ext uri="{FF2B5EF4-FFF2-40B4-BE49-F238E27FC236}"/>
              </a:extLst>
            </p:cNvPr>
            <p:cNvSpPr>
              <a:spLocks noChangeArrowheads="1"/>
            </p:cNvSpPr>
            <p:nvPr>
              <p:custDataLst>
                <p:tags r:id="rId32"/>
              </p:custDataLst>
            </p:nvPr>
          </p:nvSpPr>
          <p:spPr bwMode="gray">
            <a:xfrm>
              <a:off x="8369396" y="631802"/>
              <a:ext cx="368204" cy="17032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100" dirty="0">
                  <a:latin typeface="+mn-lt"/>
                  <a:cs typeface="+mn-cs"/>
                </a:rPr>
                <a:t>Rank </a:t>
              </a:r>
            </a:p>
          </p:txBody>
        </p:sp>
        <p:sp>
          <p:nvSpPr>
            <p:cNvPr id="7228" name="Oval 4"/>
            <p:cNvSpPr>
              <a:spLocks noChangeArrowheads="1"/>
            </p:cNvSpPr>
            <p:nvPr>
              <p:custDataLst>
                <p:tags r:id="rId33"/>
              </p:custDataLst>
            </p:nvPr>
          </p:nvSpPr>
          <p:spPr bwMode="auto">
            <a:xfrm>
              <a:off x="7956753" y="622251"/>
              <a:ext cx="351183" cy="189430"/>
            </a:xfrm>
            <a:prstGeom prst="ellipse">
              <a:avLst/>
            </a:prstGeom>
            <a:solidFill>
              <a:schemeClr val="accent1"/>
            </a:solidFill>
            <a:ln w="9525">
              <a:noFill/>
              <a:round/>
              <a:headEnd/>
              <a:tailEnd/>
            </a:ln>
          </p:spPr>
          <p:txBody>
            <a:bodyPr lIns="3810" tIns="0" rIns="3810" bIns="0" anchor="ctr" anchorCtr="1"/>
            <a:lstStyle/>
            <a:p>
              <a:pPr algn="ctr" defTabSz="895350">
                <a:buClr>
                  <a:schemeClr val="tx2"/>
                </a:buClr>
                <a:buSzPct val="100000"/>
              </a:pPr>
              <a:endParaRPr lang="en-ZA" sz="1400"/>
            </a:p>
          </p:txBody>
        </p:sp>
      </p:grpSp>
      <p:sp>
        <p:nvSpPr>
          <p:cNvPr id="58" name="Line 106">
            <a:extLst>
              <a:ext uri="{FF2B5EF4-FFF2-40B4-BE49-F238E27FC236}"/>
            </a:extLst>
          </p:cNvPr>
          <p:cNvSpPr>
            <a:spLocks noChangeShapeType="1"/>
          </p:cNvSpPr>
          <p:nvPr/>
        </p:nvSpPr>
        <p:spPr bwMode="gray">
          <a:xfrm>
            <a:off x="290513" y="3554413"/>
            <a:ext cx="8210550" cy="0"/>
          </a:xfrm>
          <a:prstGeom prst="line">
            <a:avLst/>
          </a:prstGeom>
          <a:solidFill>
            <a:schemeClr val="accent4"/>
          </a:solidFill>
          <a:ln w="9525">
            <a:noFill/>
            <a:miter lim="800000"/>
            <a:headEnd/>
            <a:tailEnd/>
          </a:ln>
          <a:effectLst/>
          <a:extLst/>
        </p:spPr>
        <p:txBody>
          <a:bodyPr lIns="76192" tIns="76192" rIns="76192" bIns="76192" anchor="ctr"/>
          <a:lstStyle/>
          <a:p>
            <a:pPr algn="ctr" defTabSz="895350">
              <a:buClr>
                <a:schemeClr val="lt1"/>
              </a:buClr>
              <a:defRPr/>
            </a:pPr>
            <a:endParaRPr lang="en-US" sz="1300" b="1" dirty="0">
              <a:solidFill>
                <a:schemeClr val="lt1"/>
              </a:solidFill>
              <a:latin typeface="+mj-lt"/>
              <a:cs typeface="+mn-cs"/>
            </a:endParaRPr>
          </a:p>
        </p:txBody>
      </p:sp>
      <p:graphicFrame>
        <p:nvGraphicFramePr>
          <p:cNvPr id="7179" name="Chart 94"/>
          <p:cNvGraphicFramePr>
            <a:graphicFrameLocks/>
          </p:cNvGraphicFramePr>
          <p:nvPr/>
        </p:nvGraphicFramePr>
        <p:xfrm>
          <a:off x="2144713" y="1555750"/>
          <a:ext cx="6713537" cy="655638"/>
        </p:xfrm>
        <a:graphic>
          <a:graphicData uri="http://schemas.openxmlformats.org/presentationml/2006/ole">
            <p:oleObj spid="_x0000_s7179" r:id="rId38" imgW="6712278" imgH="658425" progId="Excel.Sheet.8">
              <p:embed/>
            </p:oleObj>
          </a:graphicData>
        </a:graphic>
      </p:graphicFrame>
      <p:sp>
        <p:nvSpPr>
          <p:cNvPr id="74" name="Text Placeholder 2">
            <a:extLst>
              <a:ext uri="{FF2B5EF4-FFF2-40B4-BE49-F238E27FC236}"/>
            </a:extLst>
          </p:cNvPr>
          <p:cNvSpPr>
            <a:spLocks noGrp="1"/>
          </p:cNvSpPr>
          <p:nvPr>
            <p:custDataLst>
              <p:tags r:id="rId5"/>
            </p:custDataLst>
          </p:nvPr>
        </p:nvSpPr>
        <p:spPr bwMode="auto">
          <a:xfrm>
            <a:off x="2490788" y="2184400"/>
            <a:ext cx="1108075" cy="396875"/>
          </a:xfrm>
          <a:prstGeom prst="rect">
            <a:avLst/>
          </a:prstGeom>
          <a:noFill/>
          <a:ln>
            <a:noFill/>
          </a:ln>
          <a:extLst>
            <a:ext uri="{909E8E84-426E-40DD-AFC4-6F175D3DCCD1}"/>
          </a:extLst>
        </p:spPr>
        <p:txBody>
          <a:bodyPr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6A2C9E41-7A65-4B3B-BCB3-C67D2F9FDA58}" type="datetime'Bes''''''t ''p''e''r''''''''''fo''r''''mer'' (''Norw''a''y)'">
              <a:rPr lang="en-ZA" altLang="en-US" sz="1300" smtClean="0">
                <a:latin typeface="+mj-lt"/>
                <a:ea typeface="+mj-ea"/>
                <a:cs typeface="+mj-cs"/>
                <a:sym typeface="+mj-lt"/>
              </a:rPr>
              <a:pPr algn="ctr">
                <a:defRPr/>
              </a:pPr>
              <a:t>Best performer (Norway)</a:t>
            </a:fld>
            <a:endParaRPr lang="en-ZA" sz="1300" dirty="0">
              <a:latin typeface="+mj-lt"/>
              <a:ea typeface="+mj-ea"/>
              <a:cs typeface="+mj-cs"/>
              <a:sym typeface="+mj-lt"/>
            </a:endParaRPr>
          </a:p>
        </p:txBody>
      </p:sp>
      <p:sp>
        <p:nvSpPr>
          <p:cNvPr id="62" name="Text Placeholder 2">
            <a:extLst>
              <a:ext uri="{FF2B5EF4-FFF2-40B4-BE49-F238E27FC236}"/>
            </a:extLst>
          </p:cNvPr>
          <p:cNvSpPr>
            <a:spLocks noGrp="1"/>
          </p:cNvSpPr>
          <p:nvPr>
            <p:custDataLst>
              <p:tags r:id="rId6"/>
            </p:custDataLst>
          </p:nvPr>
        </p:nvSpPr>
        <p:spPr bwMode="auto">
          <a:xfrm>
            <a:off x="4191000" y="2184400"/>
            <a:ext cx="985838" cy="198438"/>
          </a:xfrm>
          <a:prstGeom prst="rect">
            <a:avLst/>
          </a:prstGeom>
          <a:noFill/>
          <a:ln>
            <a:noFill/>
          </a:ln>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9597A9CD-D825-44C8-856A-25F57D7B69E0}" type="datetime'S''''''''''''''''''''''''SA'' ''''a''ve''ra''ge'''''">
              <a:rPr lang="en-ZA" altLang="en-US" sz="1300" smtClean="0">
                <a:latin typeface="+mj-lt"/>
                <a:ea typeface="+mj-ea"/>
                <a:cs typeface="+mj-cs"/>
                <a:sym typeface="+mj-lt"/>
              </a:rPr>
              <a:pPr algn="ctr">
                <a:defRPr/>
              </a:pPr>
              <a:t>SSA average</a:t>
            </a:fld>
            <a:endParaRPr lang="en-ZA" sz="1300" dirty="0">
              <a:latin typeface="+mj-lt"/>
              <a:ea typeface="+mj-ea"/>
              <a:cs typeface="+mj-cs"/>
              <a:sym typeface="+mj-lt"/>
            </a:endParaRPr>
          </a:p>
        </p:txBody>
      </p:sp>
      <p:sp>
        <p:nvSpPr>
          <p:cNvPr id="61" name="Text Placeholder 2">
            <a:extLst>
              <a:ext uri="{FF2B5EF4-FFF2-40B4-BE49-F238E27FC236}"/>
            </a:extLst>
          </p:cNvPr>
          <p:cNvSpPr>
            <a:spLocks noGrp="1"/>
          </p:cNvSpPr>
          <p:nvPr>
            <p:custDataLst>
              <p:tags r:id="rId7"/>
            </p:custDataLst>
          </p:nvPr>
        </p:nvSpPr>
        <p:spPr bwMode="auto">
          <a:xfrm>
            <a:off x="6051550" y="2184400"/>
            <a:ext cx="536575" cy="198438"/>
          </a:xfrm>
          <a:prstGeom prst="rect">
            <a:avLst/>
          </a:prstGeom>
          <a:noFill/>
          <a:ln>
            <a:noFill/>
          </a:ln>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260F5E72-9B2B-42F7-AFC6-796D27D69BCD}" type="datetime'N''''''''''''''i''g''e''''''r''i''''''''''''''''a'''''''''">
              <a:rPr lang="en-ZA" altLang="en-US" sz="1300" smtClean="0">
                <a:latin typeface="+mj-lt"/>
                <a:ea typeface="+mj-ea"/>
                <a:cs typeface="+mj-cs"/>
                <a:sym typeface="+mj-lt"/>
              </a:rPr>
              <a:pPr algn="ctr">
                <a:defRPr/>
              </a:pPr>
              <a:t>Nigeria</a:t>
            </a:fld>
            <a:endParaRPr lang="en-ZA" sz="1300" dirty="0">
              <a:latin typeface="+mj-lt"/>
              <a:ea typeface="+mj-ea"/>
              <a:cs typeface="+mj-cs"/>
              <a:sym typeface="+mj-lt"/>
            </a:endParaRPr>
          </a:p>
        </p:txBody>
      </p:sp>
      <p:sp>
        <p:nvSpPr>
          <p:cNvPr id="78" name="Text Placeholder 2">
            <a:extLst>
              <a:ext uri="{FF2B5EF4-FFF2-40B4-BE49-F238E27FC236}"/>
            </a:extLst>
          </p:cNvPr>
          <p:cNvSpPr>
            <a:spLocks noGrp="1"/>
          </p:cNvSpPr>
          <p:nvPr>
            <p:custDataLst>
              <p:tags r:id="rId8"/>
            </p:custDataLst>
          </p:nvPr>
        </p:nvSpPr>
        <p:spPr bwMode="auto">
          <a:xfrm>
            <a:off x="7315200" y="2184400"/>
            <a:ext cx="1284288" cy="396875"/>
          </a:xfrm>
          <a:prstGeom prst="rect">
            <a:avLst/>
          </a:prstGeom>
          <a:noFill/>
          <a:ln>
            <a:noFill/>
          </a:ln>
          <a:extLst>
            <a:ext uri="{909E8E84-426E-40DD-AFC4-6F175D3DCCD1}"/>
          </a:extLst>
        </p:spPr>
        <p:txBody>
          <a:bodyPr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F290F486-842D-4278-8A1B-22712ABB4980}" type="datetime'''Lo''''w''est'''' p''erfo''r''m''''''''e''''r ''(N''i''ger)'">
              <a:rPr lang="en-ZA" altLang="en-US" sz="1300" smtClean="0">
                <a:latin typeface="+mj-lt"/>
                <a:ea typeface="+mj-ea"/>
                <a:cs typeface="+mj-cs"/>
                <a:sym typeface="+mj-lt"/>
              </a:rPr>
              <a:pPr algn="ctr">
                <a:defRPr/>
              </a:pPr>
              <a:t>Lowest performer (Niger)</a:t>
            </a:fld>
            <a:endParaRPr lang="en-ZA" sz="1300" dirty="0">
              <a:latin typeface="+mj-lt"/>
              <a:ea typeface="+mj-ea"/>
              <a:cs typeface="+mj-cs"/>
              <a:sym typeface="+mj-lt"/>
            </a:endParaRPr>
          </a:p>
        </p:txBody>
      </p:sp>
      <p:graphicFrame>
        <p:nvGraphicFramePr>
          <p:cNvPr id="7184" name="Chart 101"/>
          <p:cNvGraphicFramePr>
            <a:graphicFrameLocks/>
          </p:cNvGraphicFramePr>
          <p:nvPr/>
        </p:nvGraphicFramePr>
        <p:xfrm>
          <a:off x="2144713" y="3067050"/>
          <a:ext cx="6713537" cy="655638"/>
        </p:xfrm>
        <a:graphic>
          <a:graphicData uri="http://schemas.openxmlformats.org/presentationml/2006/ole">
            <p:oleObj spid="_x0000_s7184" r:id="rId39" imgW="6712278" imgH="658425" progId="Excel.Sheet.8">
              <p:embed/>
            </p:oleObj>
          </a:graphicData>
        </a:graphic>
      </p:graphicFrame>
      <p:sp>
        <p:nvSpPr>
          <p:cNvPr id="82" name="Text Placeholder 2">
            <a:extLst>
              <a:ext uri="{FF2B5EF4-FFF2-40B4-BE49-F238E27FC236}"/>
            </a:extLst>
          </p:cNvPr>
          <p:cNvSpPr>
            <a:spLocks noGrp="1"/>
          </p:cNvSpPr>
          <p:nvPr>
            <p:custDataLst>
              <p:tags r:id="rId9"/>
            </p:custDataLst>
          </p:nvPr>
        </p:nvSpPr>
        <p:spPr bwMode="auto">
          <a:xfrm>
            <a:off x="4191000" y="3695700"/>
            <a:ext cx="985838" cy="198438"/>
          </a:xfrm>
          <a:prstGeom prst="rect">
            <a:avLst/>
          </a:prstGeom>
          <a:noFill/>
          <a:ln>
            <a:noFill/>
          </a:ln>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9DAA8992-CBE1-4B12-B654-400E0B3EF7B8}" type="datetime'''''S''S''''''A'''' ''a''''''''v''''''''e''r''''''''ag''e'">
              <a:rPr lang="en-ZA" altLang="en-US" sz="1300" smtClean="0">
                <a:latin typeface="+mj-lt"/>
                <a:ea typeface="+mj-ea"/>
                <a:cs typeface="+mj-cs"/>
                <a:sym typeface="+mj-lt"/>
              </a:rPr>
              <a:pPr algn="ctr">
                <a:defRPr/>
              </a:pPr>
              <a:t>SSA average</a:t>
            </a:fld>
            <a:endParaRPr lang="en-ZA" sz="1300" dirty="0">
              <a:latin typeface="+mj-lt"/>
              <a:ea typeface="+mj-ea"/>
              <a:cs typeface="+mj-cs"/>
              <a:sym typeface="+mj-lt"/>
            </a:endParaRPr>
          </a:p>
        </p:txBody>
      </p:sp>
      <p:sp>
        <p:nvSpPr>
          <p:cNvPr id="81" name="Text Placeholder 2">
            <a:extLst>
              <a:ext uri="{FF2B5EF4-FFF2-40B4-BE49-F238E27FC236}"/>
            </a:extLst>
          </p:cNvPr>
          <p:cNvSpPr>
            <a:spLocks noGrp="1"/>
          </p:cNvSpPr>
          <p:nvPr>
            <p:custDataLst>
              <p:tags r:id="rId10"/>
            </p:custDataLst>
          </p:nvPr>
        </p:nvSpPr>
        <p:spPr bwMode="auto">
          <a:xfrm>
            <a:off x="2490788" y="3695700"/>
            <a:ext cx="1108075" cy="396875"/>
          </a:xfrm>
          <a:prstGeom prst="rect">
            <a:avLst/>
          </a:prstGeom>
          <a:noFill/>
          <a:ln>
            <a:noFill/>
          </a:ln>
          <a:extLst>
            <a:ext uri="{909E8E84-426E-40DD-AFC4-6F175D3DCCD1}"/>
          </a:extLst>
        </p:spPr>
        <p:txBody>
          <a:bodyPr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656AA10A-702B-40E5-8B13-DB21DA9D0C2F}" type="datetime'''Best pe''''rfo''rm''er ''''''(F''in''l''''''''''and)'''''''">
              <a:rPr lang="en-ZA" altLang="en-US" sz="1300" smtClean="0">
                <a:latin typeface="+mj-lt"/>
                <a:ea typeface="+mj-ea"/>
                <a:cs typeface="+mj-cs"/>
                <a:sym typeface="+mj-lt"/>
              </a:rPr>
              <a:pPr algn="ctr">
                <a:defRPr/>
              </a:pPr>
              <a:t>Best performer (Finland)</a:t>
            </a:fld>
            <a:endParaRPr lang="en-ZA" sz="1300" dirty="0">
              <a:latin typeface="+mj-lt"/>
              <a:ea typeface="+mj-ea"/>
              <a:cs typeface="+mj-cs"/>
              <a:sym typeface="+mj-lt"/>
            </a:endParaRPr>
          </a:p>
        </p:txBody>
      </p:sp>
      <p:sp>
        <p:nvSpPr>
          <p:cNvPr id="83" name="Text Placeholder 2">
            <a:extLst>
              <a:ext uri="{FF2B5EF4-FFF2-40B4-BE49-F238E27FC236}"/>
            </a:extLst>
          </p:cNvPr>
          <p:cNvSpPr>
            <a:spLocks noGrp="1"/>
          </p:cNvSpPr>
          <p:nvPr>
            <p:custDataLst>
              <p:tags r:id="rId11"/>
            </p:custDataLst>
          </p:nvPr>
        </p:nvSpPr>
        <p:spPr bwMode="auto">
          <a:xfrm>
            <a:off x="6051550" y="3695700"/>
            <a:ext cx="536575" cy="198438"/>
          </a:xfrm>
          <a:prstGeom prst="rect">
            <a:avLst/>
          </a:prstGeom>
          <a:noFill/>
          <a:ln>
            <a:noFill/>
          </a:ln>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6742E204-BB7C-4CFD-8489-6C5EA01295EC}" type="datetime'N''i''ge''''r''''''i''''a'''''''''''''''''''''''">
              <a:rPr lang="en-ZA" altLang="en-US" sz="1300" smtClean="0">
                <a:latin typeface="+mj-lt"/>
                <a:ea typeface="+mj-ea"/>
                <a:cs typeface="+mj-cs"/>
                <a:sym typeface="+mj-lt"/>
              </a:rPr>
              <a:pPr algn="ctr">
                <a:defRPr/>
              </a:pPr>
              <a:t>Nigeria</a:t>
            </a:fld>
            <a:endParaRPr lang="en-ZA" sz="1300" dirty="0">
              <a:latin typeface="+mj-lt"/>
              <a:ea typeface="+mj-ea"/>
              <a:cs typeface="+mj-cs"/>
              <a:sym typeface="+mj-lt"/>
            </a:endParaRPr>
          </a:p>
        </p:txBody>
      </p:sp>
      <p:sp>
        <p:nvSpPr>
          <p:cNvPr id="80" name="Text Placeholder 2">
            <a:extLst>
              <a:ext uri="{FF2B5EF4-FFF2-40B4-BE49-F238E27FC236}"/>
            </a:extLst>
          </p:cNvPr>
          <p:cNvSpPr>
            <a:spLocks noGrp="1"/>
          </p:cNvSpPr>
          <p:nvPr>
            <p:custDataLst>
              <p:tags r:id="rId12"/>
            </p:custDataLst>
          </p:nvPr>
        </p:nvSpPr>
        <p:spPr bwMode="auto">
          <a:xfrm>
            <a:off x="7315200" y="3695700"/>
            <a:ext cx="1284288" cy="396875"/>
          </a:xfrm>
          <a:prstGeom prst="rect">
            <a:avLst/>
          </a:prstGeom>
          <a:noFill/>
          <a:ln>
            <a:noFill/>
          </a:ln>
          <a:extLst>
            <a:ext uri="{909E8E84-426E-40DD-AFC4-6F175D3DCCD1}"/>
          </a:extLst>
        </p:spPr>
        <p:txBody>
          <a:bodyPr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48DB3028-AFED-49BE-B6AF-314BED9C08E4}" type="datetime'Low''e''st p''e''r''f''orm''''er ''''''(Nig''e''''r)'''''">
              <a:rPr lang="en-ZA" altLang="en-US" sz="1300" smtClean="0">
                <a:latin typeface="+mj-lt"/>
                <a:ea typeface="+mj-ea"/>
                <a:cs typeface="+mj-cs"/>
                <a:sym typeface="+mj-lt"/>
              </a:rPr>
              <a:pPr algn="ctr">
                <a:defRPr/>
              </a:pPr>
              <a:t>Lowest performer (Niger)</a:t>
            </a:fld>
            <a:endParaRPr lang="en-ZA" sz="1300" dirty="0">
              <a:latin typeface="+mj-lt"/>
              <a:ea typeface="+mj-ea"/>
              <a:cs typeface="+mj-cs"/>
              <a:sym typeface="+mj-lt"/>
            </a:endParaRPr>
          </a:p>
        </p:txBody>
      </p:sp>
      <p:sp>
        <p:nvSpPr>
          <p:cNvPr id="84" name="Oval 4">
            <a:extLst>
              <a:ext uri="{FF2B5EF4-FFF2-40B4-BE49-F238E27FC236}"/>
            </a:extLst>
          </p:cNvPr>
          <p:cNvSpPr txBox="1">
            <a:spLocks/>
          </p:cNvSpPr>
          <p:nvPr>
            <p:custDataLst>
              <p:tags r:id="rId13"/>
            </p:custDataLst>
          </p:nvPr>
        </p:nvSpPr>
        <p:spPr>
          <a:xfrm>
            <a:off x="6007100" y="2641600"/>
            <a:ext cx="631825" cy="219075"/>
          </a:xfrm>
          <a:prstGeom prst="ellipse">
            <a:avLst/>
          </a:prstGeom>
          <a:solidFill>
            <a:schemeClr val="accent4"/>
          </a:solidFill>
          <a:ln>
            <a:solidFill>
              <a:schemeClr val="accent4"/>
            </a:solidFill>
          </a:ln>
        </p:spPr>
        <p:txBody>
          <a:bodyPr lIns="72009" tIns="72009" rIns="72009" bIns="72009" anchor="ct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chemeClr val="lt1"/>
              </a:buClr>
              <a:defRPr/>
            </a:pPr>
            <a:r>
              <a:rPr lang="en-ZA" sz="1300" b="1" dirty="0">
                <a:solidFill>
                  <a:schemeClr val="lt1"/>
                </a:solidFill>
                <a:latin typeface="+mj-lt"/>
                <a:cs typeface="+mn-cs"/>
              </a:rPr>
              <a:t>157</a:t>
            </a:r>
          </a:p>
        </p:txBody>
      </p:sp>
      <p:sp>
        <p:nvSpPr>
          <p:cNvPr id="85" name="Oval 4">
            <a:extLst>
              <a:ext uri="{FF2B5EF4-FFF2-40B4-BE49-F238E27FC236}"/>
            </a:extLst>
          </p:cNvPr>
          <p:cNvSpPr txBox="1">
            <a:spLocks/>
          </p:cNvSpPr>
          <p:nvPr>
            <p:custDataLst>
              <p:tags r:id="rId14"/>
            </p:custDataLst>
          </p:nvPr>
        </p:nvSpPr>
        <p:spPr>
          <a:xfrm>
            <a:off x="6007100" y="4160838"/>
            <a:ext cx="631825" cy="219075"/>
          </a:xfrm>
          <a:prstGeom prst="ellipse">
            <a:avLst/>
          </a:prstGeom>
          <a:solidFill>
            <a:schemeClr val="accent4"/>
          </a:solidFill>
          <a:ln>
            <a:solidFill>
              <a:schemeClr val="accent4"/>
            </a:solidFill>
          </a:ln>
        </p:spPr>
        <p:txBody>
          <a:bodyPr lIns="72009" tIns="72009" rIns="72009" bIns="72009" anchor="ctr"/>
          <a:lstStyle>
            <a:defPPr>
              <a:defRPr lang="en-US"/>
            </a:defPPr>
            <a:lvl1pPr marL="0" lvl="0" indent="0" algn="ctr"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lt1"/>
              </a:buClr>
              <a:defRPr/>
            </a:pPr>
            <a:r>
              <a:rPr lang="en-ZA" sz="1300" b="1" dirty="0">
                <a:solidFill>
                  <a:schemeClr val="lt1"/>
                </a:solidFill>
                <a:latin typeface="+mj-lt"/>
                <a:cs typeface="+mn-cs"/>
              </a:rPr>
              <a:t>171</a:t>
            </a:r>
          </a:p>
        </p:txBody>
      </p:sp>
      <p:sp>
        <p:nvSpPr>
          <p:cNvPr id="86" name="Oval 4">
            <a:extLst>
              <a:ext uri="{FF2B5EF4-FFF2-40B4-BE49-F238E27FC236}"/>
            </a:extLst>
          </p:cNvPr>
          <p:cNvSpPr txBox="1">
            <a:spLocks/>
          </p:cNvSpPr>
          <p:nvPr>
            <p:custDataLst>
              <p:tags r:id="rId15"/>
            </p:custDataLst>
          </p:nvPr>
        </p:nvSpPr>
        <p:spPr>
          <a:xfrm>
            <a:off x="7648575" y="2641600"/>
            <a:ext cx="631825" cy="219075"/>
          </a:xfrm>
          <a:prstGeom prst="ellipse">
            <a:avLst/>
          </a:prstGeom>
          <a:solidFill>
            <a:schemeClr val="accent1"/>
          </a:solidFill>
          <a:ln>
            <a:solidFill>
              <a:schemeClr val="accent1"/>
            </a:solidFill>
          </a:ln>
        </p:spPr>
        <p:txBody>
          <a:bodyPr lIns="3810" tIns="0" rIns="3810" bIns="0" anchor="ctr" anchorCtr="1"/>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ZA" sz="1300" dirty="0">
                <a:latin typeface="+mj-lt"/>
                <a:cs typeface="+mn-cs"/>
              </a:rPr>
              <a:t>189</a:t>
            </a:r>
          </a:p>
        </p:txBody>
      </p:sp>
      <p:sp>
        <p:nvSpPr>
          <p:cNvPr id="87" name="Oval 4">
            <a:extLst>
              <a:ext uri="{FF2B5EF4-FFF2-40B4-BE49-F238E27FC236}"/>
            </a:extLst>
          </p:cNvPr>
          <p:cNvSpPr txBox="1">
            <a:spLocks/>
          </p:cNvSpPr>
          <p:nvPr>
            <p:custDataLst>
              <p:tags r:id="rId16"/>
            </p:custDataLst>
          </p:nvPr>
        </p:nvSpPr>
        <p:spPr>
          <a:xfrm>
            <a:off x="7648575" y="4160838"/>
            <a:ext cx="631825" cy="219075"/>
          </a:xfrm>
          <a:prstGeom prst="ellipse">
            <a:avLst/>
          </a:prstGeom>
          <a:solidFill>
            <a:schemeClr val="accent1"/>
          </a:solidFill>
          <a:ln>
            <a:solidFill>
              <a:schemeClr val="accent1"/>
            </a:solidFill>
          </a:ln>
        </p:spPr>
        <p:txBody>
          <a:bodyPr lIns="3810" tIns="0" rIns="3810" bIns="0" anchor="ctr" anchorCtr="1"/>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ZA" sz="1300" dirty="0">
                <a:latin typeface="+mj-lt"/>
                <a:cs typeface="+mn-cs"/>
              </a:rPr>
              <a:t>195</a:t>
            </a:r>
          </a:p>
        </p:txBody>
      </p:sp>
      <p:sp>
        <p:nvSpPr>
          <p:cNvPr id="88" name="Oval 4">
            <a:extLst>
              <a:ext uri="{FF2B5EF4-FFF2-40B4-BE49-F238E27FC236}"/>
            </a:extLst>
          </p:cNvPr>
          <p:cNvSpPr txBox="1">
            <a:spLocks/>
          </p:cNvSpPr>
          <p:nvPr>
            <p:custDataLst>
              <p:tags r:id="rId17"/>
            </p:custDataLst>
          </p:nvPr>
        </p:nvSpPr>
        <p:spPr>
          <a:xfrm>
            <a:off x="2725738" y="2641600"/>
            <a:ext cx="631825" cy="219075"/>
          </a:xfrm>
          <a:prstGeom prst="ellipse">
            <a:avLst/>
          </a:prstGeom>
          <a:solidFill>
            <a:schemeClr val="accent1"/>
          </a:solidFill>
          <a:ln>
            <a:solidFill>
              <a:schemeClr val="accent1"/>
            </a:solidFill>
          </a:ln>
        </p:spPr>
        <p:txBody>
          <a:bodyPr lIns="3810" tIns="0" rIns="3810" bIns="0" anchor="ctr" anchorCtr="1"/>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ZA" sz="1300" dirty="0">
                <a:latin typeface="+mj-lt"/>
                <a:cs typeface="+mn-cs"/>
              </a:rPr>
              <a:t>1</a:t>
            </a:r>
          </a:p>
        </p:txBody>
      </p:sp>
      <p:sp>
        <p:nvSpPr>
          <p:cNvPr id="89" name="Oval 4">
            <a:extLst>
              <a:ext uri="{FF2B5EF4-FFF2-40B4-BE49-F238E27FC236}"/>
            </a:extLst>
          </p:cNvPr>
          <p:cNvSpPr txBox="1">
            <a:spLocks/>
          </p:cNvSpPr>
          <p:nvPr>
            <p:custDataLst>
              <p:tags r:id="rId18"/>
            </p:custDataLst>
          </p:nvPr>
        </p:nvSpPr>
        <p:spPr>
          <a:xfrm>
            <a:off x="2725738" y="4160838"/>
            <a:ext cx="631825" cy="219075"/>
          </a:xfrm>
          <a:prstGeom prst="ellipse">
            <a:avLst/>
          </a:prstGeom>
          <a:solidFill>
            <a:schemeClr val="accent1"/>
          </a:solidFill>
          <a:ln>
            <a:solidFill>
              <a:schemeClr val="accent1"/>
            </a:solidFill>
          </a:ln>
        </p:spPr>
        <p:txBody>
          <a:bodyPr lIns="3810" tIns="0" rIns="3810" bIns="0" anchor="ctr" anchorCtr="1"/>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ZA" sz="1300" dirty="0">
                <a:latin typeface="+mj-lt"/>
                <a:cs typeface="+mn-cs"/>
              </a:rPr>
              <a:t>1</a:t>
            </a:r>
          </a:p>
        </p:txBody>
      </p:sp>
      <p:sp>
        <p:nvSpPr>
          <p:cNvPr id="90" name="Oval 4">
            <a:extLst>
              <a:ext uri="{FF2B5EF4-FFF2-40B4-BE49-F238E27FC236}"/>
            </a:extLst>
          </p:cNvPr>
          <p:cNvSpPr txBox="1">
            <a:spLocks/>
          </p:cNvSpPr>
          <p:nvPr>
            <p:custDataLst>
              <p:tags r:id="rId19"/>
            </p:custDataLst>
          </p:nvPr>
        </p:nvSpPr>
        <p:spPr>
          <a:xfrm>
            <a:off x="4367213" y="2641600"/>
            <a:ext cx="631825" cy="219075"/>
          </a:xfrm>
          <a:prstGeom prst="ellipse">
            <a:avLst/>
          </a:prstGeom>
          <a:solidFill>
            <a:schemeClr val="accent1"/>
          </a:solidFill>
          <a:ln>
            <a:solidFill>
              <a:schemeClr val="accent1"/>
            </a:solidFill>
          </a:ln>
        </p:spPr>
        <p:txBody>
          <a:bodyPr lIns="3810" tIns="0" rIns="3810" bIns="0" anchor="ctr" anchorCtr="1"/>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ZA" sz="1300" dirty="0">
                <a:latin typeface="+mj-lt"/>
                <a:cs typeface="+mn-cs"/>
              </a:rPr>
              <a:t>N/A</a:t>
            </a:r>
          </a:p>
        </p:txBody>
      </p:sp>
      <p:sp>
        <p:nvSpPr>
          <p:cNvPr id="91" name="Oval 4">
            <a:extLst>
              <a:ext uri="{FF2B5EF4-FFF2-40B4-BE49-F238E27FC236}"/>
            </a:extLst>
          </p:cNvPr>
          <p:cNvSpPr txBox="1">
            <a:spLocks/>
          </p:cNvSpPr>
          <p:nvPr>
            <p:custDataLst>
              <p:tags r:id="rId20"/>
            </p:custDataLst>
          </p:nvPr>
        </p:nvSpPr>
        <p:spPr>
          <a:xfrm>
            <a:off x="4367213" y="4160838"/>
            <a:ext cx="631825" cy="219075"/>
          </a:xfrm>
          <a:prstGeom prst="ellipse">
            <a:avLst/>
          </a:prstGeom>
          <a:solidFill>
            <a:schemeClr val="accent1"/>
          </a:solidFill>
          <a:ln>
            <a:solidFill>
              <a:schemeClr val="accent1"/>
            </a:solidFill>
          </a:ln>
        </p:spPr>
        <p:txBody>
          <a:bodyPr lIns="3810" tIns="0" rIns="3810" bIns="0" anchor="ctr" anchorCtr="1"/>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ZA" sz="1300" dirty="0">
                <a:latin typeface="+mj-lt"/>
                <a:cs typeface="+mn-cs"/>
              </a:rPr>
              <a:t>N/A</a:t>
            </a:r>
          </a:p>
        </p:txBody>
      </p:sp>
      <p:cxnSp>
        <p:nvCxnSpPr>
          <p:cNvPr id="98" name="Straight Connector 97">
            <a:extLst>
              <a:ext uri="{FF2B5EF4-FFF2-40B4-BE49-F238E27FC236}"/>
            </a:extLst>
          </p:cNvPr>
          <p:cNvCxnSpPr>
            <a:cxnSpLocks/>
          </p:cNvCxnSpPr>
          <p:nvPr/>
        </p:nvCxnSpPr>
        <p:spPr>
          <a:xfrm>
            <a:off x="228600" y="2971800"/>
            <a:ext cx="85471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7198" name="Group 16"/>
          <p:cNvGrpSpPr>
            <a:grpSpLocks/>
          </p:cNvGrpSpPr>
          <p:nvPr/>
        </p:nvGrpSpPr>
        <p:grpSpPr bwMode="auto">
          <a:xfrm>
            <a:off x="228600" y="1563688"/>
            <a:ext cx="1916113" cy="1296987"/>
            <a:chOff x="228600" y="1563688"/>
            <a:chExt cx="1916113" cy="1296988"/>
          </a:xfrm>
        </p:grpSpPr>
        <p:grpSp>
          <p:nvGrpSpPr>
            <p:cNvPr id="7223" name="Group 10"/>
            <p:cNvGrpSpPr>
              <a:grpSpLocks/>
            </p:cNvGrpSpPr>
            <p:nvPr/>
          </p:nvGrpSpPr>
          <p:grpSpPr bwMode="auto">
            <a:xfrm>
              <a:off x="228600" y="1684403"/>
              <a:ext cx="1765300" cy="1011700"/>
              <a:chOff x="228600" y="1733166"/>
              <a:chExt cx="1765300" cy="1011700"/>
            </a:xfrm>
          </p:grpSpPr>
          <p:sp>
            <p:nvSpPr>
              <p:cNvPr id="93" name="Rectangle 92">
                <a:extLst>
                  <a:ext uri="{FF2B5EF4-FFF2-40B4-BE49-F238E27FC236}"/>
                </a:extLst>
              </p:cNvPr>
              <p:cNvSpPr>
                <a:spLocks/>
              </p:cNvSpPr>
              <p:nvPr/>
            </p:nvSpPr>
            <p:spPr bwMode="auto">
              <a:xfrm>
                <a:off x="228600" y="2174426"/>
                <a:ext cx="1765300" cy="569913"/>
              </a:xfrm>
              <a:prstGeom prst="rect">
                <a:avLst/>
              </a:prstGeom>
              <a:noFill/>
              <a:ln>
                <a:noFill/>
              </a:ln>
              <a:extLst>
                <a:ext uri="{909E8E84-426E-40DD-AFC4-6F175D3DCCD1}"/>
                <a:ext uri="{91240B29-F687-4F45-9708-019B960494DF}"/>
              </a:extLst>
            </p:spPr>
            <p:txBody>
              <a:bodyPr lIns="0" tIns="0" rIns="0" bIns="0">
                <a:spAutoFit/>
              </a:bodyPr>
              <a:lstStyle/>
              <a:p>
                <a:pPr algn="ctr" defTabSz="895350">
                  <a:lnSpc>
                    <a:spcPct val="95000"/>
                  </a:lnSpc>
                  <a:buSzPct val="120000"/>
                  <a:defRPr/>
                </a:pPr>
                <a:r>
                  <a:rPr lang="en-US" sz="1300" b="1" dirty="0">
                    <a:solidFill>
                      <a:schemeClr val="tx2"/>
                    </a:solidFill>
                    <a:latin typeface="+mj-lt"/>
                    <a:cs typeface="Arial" charset="0"/>
                  </a:rPr>
                  <a:t>United Nations Human Development Index (2017)</a:t>
                </a:r>
                <a:r>
                  <a:rPr lang="en-US" sz="1300" b="1" baseline="30000" dirty="0">
                    <a:solidFill>
                      <a:schemeClr val="tx2"/>
                    </a:solidFill>
                    <a:latin typeface="+mj-lt"/>
                    <a:cs typeface="Arial" charset="0"/>
                  </a:rPr>
                  <a:t>1</a:t>
                </a:r>
                <a:endParaRPr lang="en-US" sz="1300" b="1" dirty="0">
                  <a:solidFill>
                    <a:schemeClr val="tx2"/>
                  </a:solidFill>
                  <a:latin typeface="+mj-lt"/>
                  <a:cs typeface="Arial" charset="0"/>
                </a:endParaRPr>
              </a:p>
            </p:txBody>
          </p:sp>
          <p:pic>
            <p:nvPicPr>
              <p:cNvPr id="7226" name="Picture 93"/>
              <p:cNvPicPr>
                <a:picLocks noChangeAspect="1"/>
              </p:cNvPicPr>
              <p:nvPr/>
            </p:nvPicPr>
            <p:blipFill>
              <a:blip r:embed="rId40"/>
              <a:srcRect l="-5357" r="-5357"/>
              <a:stretch>
                <a:fillRect/>
              </a:stretch>
            </p:blipFill>
            <p:spPr bwMode="auto">
              <a:xfrm>
                <a:off x="857783" y="1733166"/>
                <a:ext cx="506935" cy="388439"/>
              </a:xfrm>
              <a:prstGeom prst="rect">
                <a:avLst/>
              </a:prstGeom>
              <a:noFill/>
              <a:ln w="9525">
                <a:noFill/>
                <a:miter lim="800000"/>
                <a:headEnd/>
                <a:tailEnd/>
              </a:ln>
            </p:spPr>
          </p:pic>
        </p:grpSp>
        <p:cxnSp>
          <p:nvCxnSpPr>
            <p:cNvPr id="99" name="Straight Connector 98">
              <a:extLst>
                <a:ext uri="{FF2B5EF4-FFF2-40B4-BE49-F238E27FC236}"/>
              </a:extLst>
            </p:cNvPr>
            <p:cNvCxnSpPr>
              <a:cxnSpLocks/>
            </p:cNvCxnSpPr>
            <p:nvPr/>
          </p:nvCxnSpPr>
          <p:spPr>
            <a:xfrm>
              <a:off x="2144713" y="1563688"/>
              <a:ext cx="0" cy="1296988"/>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7199" name="Group 12"/>
          <p:cNvGrpSpPr>
            <a:grpSpLocks/>
          </p:cNvGrpSpPr>
          <p:nvPr/>
        </p:nvGrpSpPr>
        <p:grpSpPr bwMode="auto">
          <a:xfrm>
            <a:off x="228600" y="3082925"/>
            <a:ext cx="1916113" cy="1296988"/>
            <a:chOff x="228600" y="3017838"/>
            <a:chExt cx="1916113" cy="1296988"/>
          </a:xfrm>
        </p:grpSpPr>
        <p:grpSp>
          <p:nvGrpSpPr>
            <p:cNvPr id="7219" name="Group 9"/>
            <p:cNvGrpSpPr>
              <a:grpSpLocks/>
            </p:cNvGrpSpPr>
            <p:nvPr/>
          </p:nvGrpSpPr>
          <p:grpSpPr bwMode="auto">
            <a:xfrm>
              <a:off x="228600" y="3183907"/>
              <a:ext cx="1765300" cy="920992"/>
              <a:chOff x="228600" y="3256884"/>
              <a:chExt cx="1765300" cy="920992"/>
            </a:xfrm>
          </p:grpSpPr>
          <p:sp>
            <p:nvSpPr>
              <p:cNvPr id="96" name="Rectangle 95">
                <a:extLst>
                  <a:ext uri="{FF2B5EF4-FFF2-40B4-BE49-F238E27FC236}"/>
                </a:extLst>
              </p:cNvPr>
              <p:cNvSpPr>
                <a:spLocks/>
              </p:cNvSpPr>
              <p:nvPr/>
            </p:nvSpPr>
            <p:spPr bwMode="auto">
              <a:xfrm>
                <a:off x="228600" y="3608340"/>
                <a:ext cx="1765300" cy="569913"/>
              </a:xfrm>
              <a:prstGeom prst="rect">
                <a:avLst/>
              </a:prstGeom>
              <a:noFill/>
              <a:ln>
                <a:noFill/>
              </a:ln>
              <a:extLst>
                <a:ext uri="{909E8E84-426E-40DD-AFC4-6F175D3DCCD1}"/>
                <a:ext uri="{91240B29-F687-4F45-9708-019B960494DF}"/>
              </a:extLst>
            </p:spPr>
            <p:txBody>
              <a:bodyPr lIns="0" tIns="0" rIns="0" bIns="0">
                <a:spAutoFit/>
              </a:bodyPr>
              <a:lstStyle/>
              <a:p>
                <a:pPr algn="ctr" defTabSz="895350">
                  <a:lnSpc>
                    <a:spcPct val="95000"/>
                  </a:lnSpc>
                  <a:buSzPct val="120000"/>
                  <a:defRPr/>
                </a:pPr>
                <a:r>
                  <a:rPr lang="en-US" sz="1300" b="1" dirty="0">
                    <a:solidFill>
                      <a:schemeClr val="tx2"/>
                    </a:solidFill>
                    <a:latin typeface="+mj-lt"/>
                    <a:cs typeface="Arial" charset="0"/>
                  </a:rPr>
                  <a:t>Expected Human Capital Index </a:t>
                </a:r>
                <a:br>
                  <a:rPr lang="en-US" sz="1300" b="1" dirty="0">
                    <a:solidFill>
                      <a:schemeClr val="tx2"/>
                    </a:solidFill>
                    <a:latin typeface="+mj-lt"/>
                    <a:cs typeface="Arial" charset="0"/>
                  </a:rPr>
                </a:br>
                <a:r>
                  <a:rPr lang="en-US" sz="1300" b="1" dirty="0">
                    <a:solidFill>
                      <a:schemeClr val="tx2"/>
                    </a:solidFill>
                    <a:latin typeface="+mj-lt"/>
                    <a:cs typeface="Arial" charset="0"/>
                  </a:rPr>
                  <a:t>(2016)</a:t>
                </a:r>
                <a:r>
                  <a:rPr lang="en-US" sz="1300" b="1" baseline="30000" dirty="0">
                    <a:solidFill>
                      <a:schemeClr val="tx2"/>
                    </a:solidFill>
                    <a:latin typeface="+mj-lt"/>
                    <a:cs typeface="Arial" charset="0"/>
                  </a:rPr>
                  <a:t>2</a:t>
                </a:r>
                <a:endParaRPr lang="en-US" sz="1300" b="1" dirty="0">
                  <a:solidFill>
                    <a:schemeClr val="tx2"/>
                  </a:solidFill>
                  <a:latin typeface="+mj-lt"/>
                  <a:cs typeface="Arial" charset="0"/>
                </a:endParaRPr>
              </a:p>
            </p:txBody>
          </p:sp>
          <p:pic>
            <p:nvPicPr>
              <p:cNvPr id="7222" name="Picture 17" descr="Home"/>
              <p:cNvPicPr>
                <a:picLocks noChangeAspect="1" noChangeArrowheads="1"/>
              </p:cNvPicPr>
              <p:nvPr/>
            </p:nvPicPr>
            <p:blipFill>
              <a:blip r:embed="rId41"/>
              <a:srcRect l="-13567" r="-13567"/>
              <a:stretch>
                <a:fillRect/>
              </a:stretch>
            </p:blipFill>
            <p:spPr bwMode="auto">
              <a:xfrm>
                <a:off x="513936" y="3256884"/>
                <a:ext cx="1194629" cy="338276"/>
              </a:xfrm>
              <a:prstGeom prst="rect">
                <a:avLst/>
              </a:prstGeom>
              <a:noFill/>
              <a:ln w="9525">
                <a:noFill/>
                <a:miter lim="800000"/>
                <a:headEnd/>
                <a:tailEnd/>
              </a:ln>
            </p:spPr>
          </p:pic>
        </p:grpSp>
        <p:cxnSp>
          <p:nvCxnSpPr>
            <p:cNvPr id="100" name="Straight Connector 99">
              <a:extLst>
                <a:ext uri="{FF2B5EF4-FFF2-40B4-BE49-F238E27FC236}"/>
              </a:extLst>
            </p:cNvPr>
            <p:cNvCxnSpPr>
              <a:cxnSpLocks/>
            </p:cNvCxnSpPr>
            <p:nvPr/>
          </p:nvCxnSpPr>
          <p:spPr>
            <a:xfrm>
              <a:off x="2144713" y="3017838"/>
              <a:ext cx="0" cy="1296988"/>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01" name="Line 106">
            <a:extLst>
              <a:ext uri="{FF2B5EF4-FFF2-40B4-BE49-F238E27FC236}"/>
            </a:extLst>
          </p:cNvPr>
          <p:cNvSpPr>
            <a:spLocks noChangeShapeType="1"/>
          </p:cNvSpPr>
          <p:nvPr/>
        </p:nvSpPr>
        <p:spPr bwMode="gray">
          <a:xfrm>
            <a:off x="327025" y="5056188"/>
            <a:ext cx="8212138" cy="0"/>
          </a:xfrm>
          <a:prstGeom prst="line">
            <a:avLst/>
          </a:prstGeom>
          <a:solidFill>
            <a:schemeClr val="accent4"/>
          </a:solidFill>
          <a:ln w="9525">
            <a:noFill/>
            <a:miter lim="800000"/>
            <a:headEnd/>
            <a:tailEnd/>
          </a:ln>
          <a:effectLst/>
          <a:extLst/>
        </p:spPr>
        <p:txBody>
          <a:bodyPr lIns="76192" tIns="76192" rIns="76192" bIns="76192" anchor="ctr"/>
          <a:lstStyle/>
          <a:p>
            <a:pPr algn="ctr" defTabSz="895350">
              <a:buClr>
                <a:schemeClr val="lt1"/>
              </a:buClr>
              <a:defRPr/>
            </a:pPr>
            <a:endParaRPr lang="en-US" sz="1300" b="1" dirty="0">
              <a:solidFill>
                <a:schemeClr val="lt1"/>
              </a:solidFill>
              <a:latin typeface="+mj-lt"/>
              <a:cs typeface="+mn-cs"/>
            </a:endParaRPr>
          </a:p>
        </p:txBody>
      </p:sp>
      <p:graphicFrame>
        <p:nvGraphicFramePr>
          <p:cNvPr id="7201" name="Chart 104"/>
          <p:cNvGraphicFramePr>
            <a:graphicFrameLocks/>
          </p:cNvGraphicFramePr>
          <p:nvPr/>
        </p:nvGraphicFramePr>
        <p:xfrm>
          <a:off x="2182813" y="4684713"/>
          <a:ext cx="6713537" cy="492125"/>
        </p:xfrm>
        <a:graphic>
          <a:graphicData uri="http://schemas.openxmlformats.org/presentationml/2006/ole">
            <p:oleObj spid="_x0000_s7201" r:id="rId42" imgW="6712278" imgH="493819" progId="Excel.Sheet.8">
              <p:embed/>
            </p:oleObj>
          </a:graphicData>
        </a:graphic>
      </p:graphicFrame>
      <p:sp>
        <p:nvSpPr>
          <p:cNvPr id="104" name="Text Placeholder 2">
            <a:extLst>
              <a:ext uri="{FF2B5EF4-FFF2-40B4-BE49-F238E27FC236}"/>
            </a:extLst>
          </p:cNvPr>
          <p:cNvSpPr>
            <a:spLocks noGrp="1"/>
          </p:cNvSpPr>
          <p:nvPr>
            <p:custDataLst>
              <p:tags r:id="rId21"/>
            </p:custDataLst>
          </p:nvPr>
        </p:nvSpPr>
        <p:spPr bwMode="auto">
          <a:xfrm>
            <a:off x="4229100" y="5149850"/>
            <a:ext cx="985838" cy="198438"/>
          </a:xfrm>
          <a:prstGeom prst="rect">
            <a:avLst/>
          </a:prstGeom>
          <a:noFill/>
          <a:ln>
            <a:noFill/>
          </a:ln>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CC8C8B37-08A7-434B-B537-0D8DC9434671}" type="datetime'''S''S''''A'''''''' ''''av''''''''er''''''a''''''''''''''ge'">
              <a:rPr lang="en-ZA" altLang="en-US" sz="1300" smtClean="0">
                <a:latin typeface="+mj-lt"/>
                <a:ea typeface="+mj-ea"/>
                <a:cs typeface="+mj-cs"/>
                <a:sym typeface="+mj-lt"/>
              </a:rPr>
              <a:pPr algn="ctr">
                <a:defRPr/>
              </a:pPr>
              <a:t>SSA average</a:t>
            </a:fld>
            <a:endParaRPr lang="en-ZA" sz="1300" dirty="0">
              <a:latin typeface="+mj-lt"/>
              <a:ea typeface="+mj-ea"/>
              <a:cs typeface="+mj-cs"/>
              <a:sym typeface="+mj-lt"/>
            </a:endParaRPr>
          </a:p>
        </p:txBody>
      </p:sp>
      <p:sp>
        <p:nvSpPr>
          <p:cNvPr id="140" name="Text Placeholder 2">
            <a:extLst>
              <a:ext uri="{FF2B5EF4-FFF2-40B4-BE49-F238E27FC236}"/>
            </a:extLst>
          </p:cNvPr>
          <p:cNvSpPr>
            <a:spLocks noGrp="1"/>
          </p:cNvSpPr>
          <p:nvPr>
            <p:custDataLst>
              <p:tags r:id="rId22"/>
            </p:custDataLst>
          </p:nvPr>
        </p:nvSpPr>
        <p:spPr bwMode="gray">
          <a:xfrm>
            <a:off x="6223000" y="4743450"/>
            <a:ext cx="271463" cy="198438"/>
          </a:xfrm>
          <a:prstGeom prst="rect">
            <a:avLst/>
          </a:prstGeom>
          <a:noFill/>
          <a:ln>
            <a:noFill/>
          </a:ln>
          <a:extLst>
            <a:ext uri="{909E8E84-426E-40DD-AFC4-6F175D3DCCD1}"/>
          </a:extLst>
        </p:spPr>
        <p:txBody>
          <a:bodyPr wrap="none" lIns="20638" tIns="0" rIns="20638" bIns="0" anchor="b"/>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r>
              <a:rPr lang="en-ZA" altLang="en-US" sz="1300" dirty="0">
                <a:ea typeface="+mj-ea"/>
                <a:cs typeface="+mj-cs"/>
                <a:sym typeface="+mn-lt"/>
              </a:rPr>
              <a:t>.</a:t>
            </a:r>
            <a:fld id="{F99F0C63-C3BB-4088-8377-BF40AA64E0BD}" type="datetime'''''''''''''''''3''''''''''''''4'''''">
              <a:rPr lang="en-ZA" altLang="en-US" sz="1300" smtClean="0">
                <a:ea typeface="+mj-ea"/>
                <a:cs typeface="+mj-cs"/>
                <a:sym typeface="+mn-lt"/>
              </a:rPr>
              <a:pPr algn="ctr">
                <a:defRPr/>
              </a:pPr>
              <a:t>34</a:t>
            </a:fld>
            <a:endParaRPr lang="en-ZA" sz="1300" dirty="0">
              <a:ea typeface="+mj-ea"/>
              <a:cs typeface="+mj-cs"/>
              <a:sym typeface="+mn-lt"/>
            </a:endParaRPr>
          </a:p>
        </p:txBody>
      </p:sp>
      <p:sp>
        <p:nvSpPr>
          <p:cNvPr id="106" name="Text Placeholder 2">
            <a:extLst>
              <a:ext uri="{FF2B5EF4-FFF2-40B4-BE49-F238E27FC236}"/>
            </a:extLst>
          </p:cNvPr>
          <p:cNvSpPr>
            <a:spLocks noGrp="1"/>
          </p:cNvSpPr>
          <p:nvPr>
            <p:custDataLst>
              <p:tags r:id="rId23"/>
            </p:custDataLst>
          </p:nvPr>
        </p:nvSpPr>
        <p:spPr bwMode="auto">
          <a:xfrm>
            <a:off x="7353300" y="5149850"/>
            <a:ext cx="1284288" cy="396875"/>
          </a:xfrm>
          <a:prstGeom prst="rect">
            <a:avLst/>
          </a:prstGeom>
          <a:noFill/>
          <a:ln>
            <a:noFill/>
          </a:ln>
          <a:extLst>
            <a:ext uri="{909E8E84-426E-40DD-AFC4-6F175D3DCCD1}"/>
          </a:extLst>
        </p:spPr>
        <p:txBody>
          <a:bodyPr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CED506C2-27B2-45A6-A0AF-8CDB069CCB62}" type="datetime'L''''owe''''st'' ''''pe''''''rf''or''me''r'' (C''ha''''d'''')'">
              <a:rPr lang="en-ZA" altLang="en-US" sz="1300" smtClean="0">
                <a:ea typeface="+mj-ea"/>
                <a:cs typeface="+mj-cs"/>
              </a:rPr>
              <a:pPr algn="ctr">
                <a:defRPr/>
              </a:pPr>
              <a:t>Lowest performer (Chad)</a:t>
            </a:fld>
            <a:endParaRPr lang="en-ZA" sz="1300" dirty="0">
              <a:latin typeface="+mj-lt"/>
              <a:ea typeface="+mj-ea"/>
              <a:cs typeface="+mj-cs"/>
              <a:sym typeface="+mj-lt"/>
            </a:endParaRPr>
          </a:p>
        </p:txBody>
      </p:sp>
      <p:sp>
        <p:nvSpPr>
          <p:cNvPr id="103" name="Text Placeholder 2">
            <a:extLst>
              <a:ext uri="{FF2B5EF4-FFF2-40B4-BE49-F238E27FC236}"/>
            </a:extLst>
          </p:cNvPr>
          <p:cNvSpPr>
            <a:spLocks noGrp="1"/>
          </p:cNvSpPr>
          <p:nvPr>
            <p:custDataLst>
              <p:tags r:id="rId24"/>
            </p:custDataLst>
          </p:nvPr>
        </p:nvSpPr>
        <p:spPr bwMode="auto">
          <a:xfrm>
            <a:off x="6089650" y="5149850"/>
            <a:ext cx="536575" cy="198438"/>
          </a:xfrm>
          <a:prstGeom prst="rect">
            <a:avLst/>
          </a:prstGeom>
          <a:noFill/>
          <a:ln>
            <a:noFill/>
          </a:ln>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6A9C13CA-51F6-45C2-9404-D9097D1154B6}" type="datetime'''''N''''ig''e''''''r''''''''ia'''''''''''''''''''''''''">
              <a:rPr lang="en-ZA" altLang="en-US" sz="1300" smtClean="0">
                <a:latin typeface="+mj-lt"/>
                <a:ea typeface="+mj-ea"/>
                <a:cs typeface="+mj-cs"/>
                <a:sym typeface="+mj-lt"/>
              </a:rPr>
              <a:pPr algn="ctr">
                <a:defRPr/>
              </a:pPr>
              <a:t>Nigeria</a:t>
            </a:fld>
            <a:endParaRPr lang="en-ZA" sz="1300" dirty="0">
              <a:latin typeface="+mj-lt"/>
              <a:ea typeface="+mj-ea"/>
              <a:cs typeface="+mj-cs"/>
              <a:sym typeface="+mj-lt"/>
            </a:endParaRPr>
          </a:p>
        </p:txBody>
      </p:sp>
      <p:sp>
        <p:nvSpPr>
          <p:cNvPr id="143" name="Text Placeholder 2">
            <a:extLst>
              <a:ext uri="{FF2B5EF4-FFF2-40B4-BE49-F238E27FC236}"/>
            </a:extLst>
          </p:cNvPr>
          <p:cNvSpPr>
            <a:spLocks noGrp="1"/>
          </p:cNvSpPr>
          <p:nvPr>
            <p:custDataLst>
              <p:tags r:id="rId25"/>
            </p:custDataLst>
          </p:nvPr>
        </p:nvSpPr>
        <p:spPr bwMode="gray">
          <a:xfrm>
            <a:off x="7859713" y="4762500"/>
            <a:ext cx="271462" cy="198438"/>
          </a:xfrm>
          <a:prstGeom prst="rect">
            <a:avLst/>
          </a:prstGeom>
          <a:noFill/>
          <a:ln>
            <a:noFill/>
          </a:ln>
          <a:extLst>
            <a:ext uri="{909E8E84-426E-40DD-AFC4-6F175D3DCCD1}"/>
          </a:extLst>
        </p:spPr>
        <p:txBody>
          <a:bodyPr wrap="none" lIns="20638" tIns="0" rIns="20638" bIns="0" anchor="b"/>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r>
              <a:rPr lang="en-ZA" altLang="en-US" sz="1300" dirty="0">
                <a:ea typeface="+mj-ea"/>
                <a:cs typeface="+mj-cs"/>
                <a:sym typeface="+mn-lt"/>
              </a:rPr>
              <a:t>.</a:t>
            </a:r>
            <a:fld id="{BB549963-06EC-41CC-A947-82551821F6AF}" type="datetime'''''''''''''''''''''''''''''''''''''''2''''''9'''''">
              <a:rPr lang="en-ZA" altLang="en-US" sz="1300" smtClean="0">
                <a:ea typeface="+mj-ea"/>
                <a:cs typeface="+mj-cs"/>
                <a:sym typeface="+mn-lt"/>
              </a:rPr>
              <a:pPr algn="ctr">
                <a:defRPr/>
              </a:pPr>
              <a:t>29</a:t>
            </a:fld>
            <a:endParaRPr lang="en-ZA" sz="1300" dirty="0">
              <a:ea typeface="+mj-ea"/>
              <a:cs typeface="+mj-cs"/>
              <a:sym typeface="+mn-lt"/>
            </a:endParaRPr>
          </a:p>
        </p:txBody>
      </p:sp>
      <p:sp>
        <p:nvSpPr>
          <p:cNvPr id="136" name="Text Placeholder 2">
            <a:extLst>
              <a:ext uri="{FF2B5EF4-FFF2-40B4-BE49-F238E27FC236}"/>
            </a:extLst>
          </p:cNvPr>
          <p:cNvSpPr>
            <a:spLocks noGrp="1"/>
          </p:cNvSpPr>
          <p:nvPr>
            <p:custDataLst>
              <p:tags r:id="rId26"/>
            </p:custDataLst>
          </p:nvPr>
        </p:nvSpPr>
        <p:spPr bwMode="gray">
          <a:xfrm>
            <a:off x="2947988" y="4543425"/>
            <a:ext cx="271462" cy="198438"/>
          </a:xfrm>
          <a:prstGeom prst="rect">
            <a:avLst/>
          </a:prstGeom>
          <a:noFill/>
          <a:ln>
            <a:noFill/>
          </a:ln>
          <a:extLst>
            <a:ext uri="{909E8E84-426E-40DD-AFC4-6F175D3DCCD1}"/>
          </a:extLst>
        </p:spPr>
        <p:txBody>
          <a:bodyPr wrap="none" lIns="20638" tIns="0" rIns="20638" bIns="0" anchor="b"/>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r>
              <a:rPr lang="en-ZA" altLang="en-US" sz="1300" dirty="0">
                <a:ea typeface="+mj-ea"/>
                <a:cs typeface="+mj-cs"/>
                <a:sym typeface="+mn-lt"/>
              </a:rPr>
              <a:t>.</a:t>
            </a:r>
            <a:fld id="{8042878F-4620-41C4-8C84-7AAAC2DC9C18}" type="datetime'''''8''''''''''''''''''''''''''''8'''''''''''''''''''">
              <a:rPr lang="en-ZA" altLang="en-US" sz="1300" smtClean="0">
                <a:ea typeface="+mj-ea"/>
                <a:cs typeface="+mj-cs"/>
                <a:sym typeface="+mn-lt"/>
              </a:rPr>
              <a:pPr algn="ctr">
                <a:defRPr/>
              </a:pPr>
              <a:t>88</a:t>
            </a:fld>
            <a:endParaRPr lang="en-ZA" sz="1300" dirty="0">
              <a:ea typeface="+mj-ea"/>
              <a:cs typeface="+mj-cs"/>
              <a:sym typeface="+mn-lt"/>
            </a:endParaRPr>
          </a:p>
        </p:txBody>
      </p:sp>
      <p:sp>
        <p:nvSpPr>
          <p:cNvPr id="129" name="Text Placeholder 2">
            <a:extLst>
              <a:ext uri="{FF2B5EF4-FFF2-40B4-BE49-F238E27FC236}"/>
            </a:extLst>
          </p:cNvPr>
          <p:cNvSpPr>
            <a:spLocks noGrp="1"/>
          </p:cNvSpPr>
          <p:nvPr>
            <p:custDataLst>
              <p:tags r:id="rId27"/>
            </p:custDataLst>
          </p:nvPr>
        </p:nvSpPr>
        <p:spPr bwMode="gray">
          <a:xfrm>
            <a:off x="4586288" y="4718050"/>
            <a:ext cx="271462" cy="198438"/>
          </a:xfrm>
          <a:prstGeom prst="rect">
            <a:avLst/>
          </a:prstGeom>
          <a:noFill/>
          <a:ln>
            <a:noFill/>
          </a:ln>
          <a:extLst>
            <a:ext uri="{909E8E84-426E-40DD-AFC4-6F175D3DCCD1}"/>
          </a:extLst>
        </p:spPr>
        <p:txBody>
          <a:bodyPr wrap="none" lIns="20638" tIns="0" rIns="20638" bIns="0" anchor="b"/>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r>
              <a:rPr lang="en-US" sz="1300" dirty="0">
                <a:latin typeface="+mj-lt"/>
                <a:ea typeface="+mj-ea"/>
                <a:cs typeface="+mj-cs"/>
                <a:sym typeface="+mj-lt"/>
              </a:rPr>
              <a:t>.41</a:t>
            </a:r>
          </a:p>
        </p:txBody>
      </p:sp>
      <p:sp>
        <p:nvSpPr>
          <p:cNvPr id="107" name="Oval 4">
            <a:extLst>
              <a:ext uri="{FF2B5EF4-FFF2-40B4-BE49-F238E27FC236}"/>
            </a:extLst>
          </p:cNvPr>
          <p:cNvSpPr txBox="1">
            <a:spLocks/>
          </p:cNvSpPr>
          <p:nvPr>
            <p:custDataLst>
              <p:tags r:id="rId28"/>
            </p:custDataLst>
          </p:nvPr>
        </p:nvSpPr>
        <p:spPr>
          <a:xfrm>
            <a:off x="6045200" y="5680075"/>
            <a:ext cx="631825" cy="219075"/>
          </a:xfrm>
          <a:prstGeom prst="ellipse">
            <a:avLst/>
          </a:prstGeom>
          <a:solidFill>
            <a:schemeClr val="accent4"/>
          </a:solidFill>
          <a:ln>
            <a:solidFill>
              <a:schemeClr val="accent4"/>
            </a:solidFill>
          </a:ln>
        </p:spPr>
        <p:txBody>
          <a:bodyPr lIns="72009" tIns="72009" rIns="72009" bIns="72009" anchor="ctr"/>
          <a:lstStyle>
            <a:defPPr>
              <a:defRPr lang="en-US"/>
            </a:defPPr>
            <a:lvl1pPr marL="0" lvl="0" indent="0" algn="ctr"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lt1"/>
              </a:buClr>
              <a:defRPr/>
            </a:pPr>
            <a:r>
              <a:rPr lang="en-ZA" sz="1300" b="1" dirty="0">
                <a:solidFill>
                  <a:schemeClr val="lt1"/>
                </a:solidFill>
                <a:latin typeface="+mj-lt"/>
                <a:cs typeface="+mn-cs"/>
              </a:rPr>
              <a:t>152</a:t>
            </a:r>
          </a:p>
        </p:txBody>
      </p:sp>
      <p:sp>
        <p:nvSpPr>
          <p:cNvPr id="108" name="Oval 4">
            <a:extLst>
              <a:ext uri="{FF2B5EF4-FFF2-40B4-BE49-F238E27FC236}"/>
            </a:extLst>
          </p:cNvPr>
          <p:cNvSpPr txBox="1">
            <a:spLocks/>
          </p:cNvSpPr>
          <p:nvPr>
            <p:custDataLst>
              <p:tags r:id="rId29"/>
            </p:custDataLst>
          </p:nvPr>
        </p:nvSpPr>
        <p:spPr>
          <a:xfrm>
            <a:off x="7680325" y="5680075"/>
            <a:ext cx="631825" cy="219075"/>
          </a:xfrm>
          <a:prstGeom prst="ellipse">
            <a:avLst/>
          </a:prstGeom>
          <a:solidFill>
            <a:schemeClr val="accent1"/>
          </a:solidFill>
          <a:ln>
            <a:solidFill>
              <a:schemeClr val="accent1"/>
            </a:solidFill>
          </a:ln>
        </p:spPr>
        <p:txBody>
          <a:bodyPr lIns="3810" tIns="0" rIns="3810" bIns="0" anchor="ctr" anchorCtr="1"/>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ZA" sz="1300" dirty="0">
                <a:latin typeface="+mj-lt"/>
                <a:cs typeface="+mn-cs"/>
              </a:rPr>
              <a:t>157</a:t>
            </a:r>
          </a:p>
        </p:txBody>
      </p:sp>
      <p:sp>
        <p:nvSpPr>
          <p:cNvPr id="109" name="Oval 4">
            <a:extLst>
              <a:ext uri="{FF2B5EF4-FFF2-40B4-BE49-F238E27FC236}"/>
            </a:extLst>
          </p:cNvPr>
          <p:cNvSpPr txBox="1">
            <a:spLocks/>
          </p:cNvSpPr>
          <p:nvPr>
            <p:custDataLst>
              <p:tags r:id="rId30"/>
            </p:custDataLst>
          </p:nvPr>
        </p:nvSpPr>
        <p:spPr>
          <a:xfrm>
            <a:off x="2763838" y="5680075"/>
            <a:ext cx="631825" cy="219075"/>
          </a:xfrm>
          <a:prstGeom prst="ellipse">
            <a:avLst/>
          </a:prstGeom>
          <a:solidFill>
            <a:schemeClr val="accent1"/>
          </a:solidFill>
          <a:ln>
            <a:solidFill>
              <a:schemeClr val="accent1"/>
            </a:solidFill>
          </a:ln>
        </p:spPr>
        <p:txBody>
          <a:bodyPr lIns="3810" tIns="0" rIns="3810" bIns="0" anchor="ctr" anchorCtr="1"/>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ZA" sz="1300" dirty="0">
                <a:latin typeface="+mj-lt"/>
                <a:cs typeface="+mn-cs"/>
              </a:rPr>
              <a:t>1</a:t>
            </a:r>
          </a:p>
        </p:txBody>
      </p:sp>
      <p:sp>
        <p:nvSpPr>
          <p:cNvPr id="110" name="Oval 4">
            <a:extLst>
              <a:ext uri="{FF2B5EF4-FFF2-40B4-BE49-F238E27FC236}"/>
            </a:extLst>
          </p:cNvPr>
          <p:cNvSpPr txBox="1">
            <a:spLocks/>
          </p:cNvSpPr>
          <p:nvPr>
            <p:custDataLst>
              <p:tags r:id="rId31"/>
            </p:custDataLst>
          </p:nvPr>
        </p:nvSpPr>
        <p:spPr>
          <a:xfrm>
            <a:off x="4405313" y="5680075"/>
            <a:ext cx="631825" cy="209550"/>
          </a:xfrm>
          <a:prstGeom prst="ellipse">
            <a:avLst/>
          </a:prstGeom>
          <a:solidFill>
            <a:schemeClr val="accent1"/>
          </a:solidFill>
          <a:ln>
            <a:solidFill>
              <a:schemeClr val="accent1"/>
            </a:solidFill>
          </a:ln>
        </p:spPr>
        <p:txBody>
          <a:bodyPr lIns="3810" tIns="0" rIns="3810" bIns="0" anchor="ctr" anchorCtr="1"/>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ZA" sz="1300" dirty="0">
                <a:latin typeface="+mj-lt"/>
                <a:cs typeface="+mn-cs"/>
              </a:rPr>
              <a:t>N/A</a:t>
            </a:r>
          </a:p>
        </p:txBody>
      </p:sp>
      <p:cxnSp>
        <p:nvCxnSpPr>
          <p:cNvPr id="114" name="Straight Connector 113">
            <a:extLst>
              <a:ext uri="{FF2B5EF4-FFF2-40B4-BE49-F238E27FC236}"/>
            </a:extLst>
          </p:cNvPr>
          <p:cNvCxnSpPr>
            <a:cxnSpLocks/>
          </p:cNvCxnSpPr>
          <p:nvPr/>
        </p:nvCxnSpPr>
        <p:spPr>
          <a:xfrm>
            <a:off x="228600" y="4492625"/>
            <a:ext cx="85471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7214" name="Group 14"/>
          <p:cNvGrpSpPr>
            <a:grpSpLocks/>
          </p:cNvGrpSpPr>
          <p:nvPr/>
        </p:nvGrpSpPr>
        <p:grpSpPr bwMode="auto">
          <a:xfrm>
            <a:off x="228600" y="4602163"/>
            <a:ext cx="1954213" cy="1296987"/>
            <a:chOff x="228600" y="4519613"/>
            <a:chExt cx="1954213" cy="1296988"/>
          </a:xfrm>
        </p:grpSpPr>
        <p:cxnSp>
          <p:nvCxnSpPr>
            <p:cNvPr id="115" name="Straight Connector 114">
              <a:extLst>
                <a:ext uri="{FF2B5EF4-FFF2-40B4-BE49-F238E27FC236}"/>
              </a:extLst>
            </p:cNvPr>
            <p:cNvCxnSpPr>
              <a:cxnSpLocks/>
            </p:cNvCxnSpPr>
            <p:nvPr/>
          </p:nvCxnSpPr>
          <p:spPr>
            <a:xfrm>
              <a:off x="2182813" y="4519613"/>
              <a:ext cx="0" cy="1296988"/>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7216" name="Group 8"/>
            <p:cNvGrpSpPr>
              <a:grpSpLocks/>
            </p:cNvGrpSpPr>
            <p:nvPr/>
          </p:nvGrpSpPr>
          <p:grpSpPr bwMode="auto">
            <a:xfrm>
              <a:off x="228600" y="4606057"/>
              <a:ext cx="1765300" cy="1080242"/>
              <a:chOff x="228600" y="4599409"/>
              <a:chExt cx="1765300" cy="1080242"/>
            </a:xfrm>
          </p:grpSpPr>
          <p:sp>
            <p:nvSpPr>
              <p:cNvPr id="112" name="Rectangle 111">
                <a:extLst>
                  <a:ext uri="{FF2B5EF4-FFF2-40B4-BE49-F238E27FC236}"/>
                </a:extLst>
              </p:cNvPr>
              <p:cNvSpPr>
                <a:spLocks/>
              </p:cNvSpPr>
              <p:nvPr/>
            </p:nvSpPr>
            <p:spPr bwMode="auto">
              <a:xfrm>
                <a:off x="228600" y="5109865"/>
                <a:ext cx="1765300" cy="569913"/>
              </a:xfrm>
              <a:prstGeom prst="rect">
                <a:avLst/>
              </a:prstGeom>
              <a:noFill/>
              <a:ln>
                <a:noFill/>
              </a:ln>
              <a:extLst>
                <a:ext uri="{909E8E84-426E-40DD-AFC4-6F175D3DCCD1}"/>
                <a:ext uri="{91240B29-F687-4F45-9708-019B960494DF}"/>
              </a:extLst>
            </p:spPr>
            <p:txBody>
              <a:bodyPr lIns="0" tIns="0" rIns="0" bIns="0">
                <a:spAutoFit/>
              </a:bodyPr>
              <a:lstStyle/>
              <a:p>
                <a:pPr algn="ctr" defTabSz="895350">
                  <a:lnSpc>
                    <a:spcPct val="95000"/>
                  </a:lnSpc>
                  <a:buSzPct val="120000"/>
                  <a:defRPr/>
                </a:pPr>
                <a:r>
                  <a:rPr lang="en-US" sz="1300" b="1" dirty="0">
                    <a:solidFill>
                      <a:schemeClr val="tx2"/>
                    </a:solidFill>
                    <a:latin typeface="+mj-lt"/>
                    <a:cs typeface="Arial" charset="0"/>
                  </a:rPr>
                  <a:t>World Bank Human capital Index (launched Oct. 2018)</a:t>
                </a:r>
              </a:p>
            </p:txBody>
          </p:sp>
          <p:pic>
            <p:nvPicPr>
              <p:cNvPr id="7218" name="Picture 5"/>
              <p:cNvPicPr>
                <a:picLocks noChangeAspect="1"/>
              </p:cNvPicPr>
              <p:nvPr/>
            </p:nvPicPr>
            <p:blipFill>
              <a:blip r:embed="rId43"/>
              <a:srcRect l="14359" t="14359" r="14359" b="14359"/>
              <a:stretch>
                <a:fillRect/>
              </a:stretch>
            </p:blipFill>
            <p:spPr bwMode="auto">
              <a:xfrm>
                <a:off x="673319" y="4599409"/>
                <a:ext cx="875862" cy="492122"/>
              </a:xfrm>
              <a:prstGeom prst="rect">
                <a:avLst/>
              </a:prstGeom>
              <a:noFill/>
              <a:ln w="9525">
                <a:noFill/>
                <a:miter lim="800000"/>
                <a:headEnd/>
                <a:tailEnd/>
              </a:ln>
            </p:spPr>
          </p:pic>
        </p:grpSp>
      </p:grpSp>
    </p:spTree>
    <p:custDataLst>
      <p:tags r:id="rId2"/>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8"/>
          <p:cNvGraphicFramePr>
            <a:graphicFrameLocks noChangeAspect="1"/>
          </p:cNvGraphicFramePr>
          <p:nvPr/>
        </p:nvGraphicFramePr>
        <p:xfrm>
          <a:off x="0" y="0"/>
          <a:ext cx="158750" cy="158750"/>
        </p:xfrm>
        <a:graphic>
          <a:graphicData uri="http://schemas.openxmlformats.org/presentationml/2006/ole">
            <p:oleObj spid="_x0000_s25602" name="think-cell Slide" r:id="rId8" imgW="360" imgH="360" progId="">
              <p:embed/>
            </p:oleObj>
          </a:graphicData>
        </a:graphic>
      </p:graphicFrame>
      <p:sp>
        <p:nvSpPr>
          <p:cNvPr id="3" name="Rectangle 2" hidden="1">
            <a:extLst>
              <a:ext uri="{FF2B5EF4-FFF2-40B4-BE49-F238E27FC236}"/>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sp>
        <p:nvSpPr>
          <p:cNvPr id="572750" name="Rectangle 5"/>
          <p:cNvSpPr>
            <a:spLocks noGrp="1" noChangeArrowheads="1"/>
          </p:cNvSpPr>
          <p:nvPr>
            <p:ph type="title"/>
            <p:custDataLst>
              <p:tags r:id="rId4"/>
            </p:custDataLst>
          </p:nvPr>
        </p:nvSpPr>
        <p:spPr bwMode="gray">
          <a:extLst>
            <a:ext uri="{909E8E84-426E-40DD-AFC4-6F175D3DCCD1}"/>
            <a:ext uri="{91240B29-F687-4F45-9708-019B960494DF}"/>
            <a:ext uri="{AF507438-7753-43E0-B8FC-AC1667EBCBE1}"/>
          </a:extLst>
        </p:spPr>
        <p:txBody>
          <a:bodyPr/>
          <a:lstStyle/>
          <a:p>
            <a:pPr>
              <a:defRPr/>
            </a:pPr>
            <a:r>
              <a:rPr lang="en-US" spc="-10" dirty="0">
                <a:latin typeface="+mn-lt"/>
              </a:rPr>
              <a:t>The CWG will </a:t>
            </a:r>
            <a:r>
              <a:rPr lang="en-US" spc="-10" dirty="0" smtClean="0">
                <a:latin typeface="+mn-lt"/>
              </a:rPr>
              <a:t>support </a:t>
            </a:r>
            <a:r>
              <a:rPr lang="en-US" spc="-10" dirty="0">
                <a:latin typeface="+mn-lt"/>
              </a:rPr>
              <a:t>the States in…</a:t>
            </a:r>
          </a:p>
        </p:txBody>
      </p:sp>
      <p:sp>
        <p:nvSpPr>
          <p:cNvPr id="46"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a:solidFill>
                  <a:schemeClr val="accent6"/>
                </a:solidFill>
                <a:latin typeface="+mn-lt"/>
                <a:cs typeface="+mn-cs"/>
              </a:rPr>
              <a:t>SOURCE: Core Working Group</a:t>
            </a:r>
            <a:endParaRPr lang="en-US" sz="800" dirty="0">
              <a:solidFill>
                <a:schemeClr val="accent6"/>
              </a:solidFill>
              <a:latin typeface="+mn-lt"/>
              <a:cs typeface="+mn-cs"/>
            </a:endParaRPr>
          </a:p>
        </p:txBody>
      </p:sp>
      <p:cxnSp>
        <p:nvCxnSpPr>
          <p:cNvPr id="42" name="Straight Connector 41">
            <a:extLst>
              <a:ext uri="{FF2B5EF4-FFF2-40B4-BE49-F238E27FC236}"/>
            </a:extLst>
          </p:cNvPr>
          <p:cNvCxnSpPr>
            <a:cxnSpLocks/>
          </p:cNvCxnSpPr>
          <p:nvPr/>
        </p:nvCxnSpPr>
        <p:spPr>
          <a:xfrm flipH="1">
            <a:off x="4038600" y="839788"/>
            <a:ext cx="1114425" cy="501967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extLst>
          </p:cNvPr>
          <p:cNvCxnSpPr>
            <a:cxnSpLocks/>
            <a:endCxn id="0" idx="3"/>
          </p:cNvCxnSpPr>
          <p:nvPr/>
        </p:nvCxnSpPr>
        <p:spPr>
          <a:xfrm flipH="1">
            <a:off x="4105275" y="839788"/>
            <a:ext cx="1098550" cy="503872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Freeform: Shape 43">
            <a:extLst>
              <a:ext uri="{FF2B5EF4-FFF2-40B4-BE49-F238E27FC236}"/>
            </a:extLst>
          </p:cNvPr>
          <p:cNvSpPr/>
          <p:nvPr/>
        </p:nvSpPr>
        <p:spPr>
          <a:xfrm>
            <a:off x="4105094" y="830771"/>
            <a:ext cx="4867059" cy="5076600"/>
          </a:xfrm>
          <a:custGeom>
            <a:avLst/>
            <a:gdLst>
              <a:gd name="connsiteX0" fmla="*/ 1473200 w 6781800"/>
              <a:gd name="connsiteY0" fmla="*/ 0 h 6464300"/>
              <a:gd name="connsiteX1" fmla="*/ 6781800 w 6781800"/>
              <a:gd name="connsiteY1" fmla="*/ 0 h 6464300"/>
              <a:gd name="connsiteX2" fmla="*/ 6781800 w 6781800"/>
              <a:gd name="connsiteY2" fmla="*/ 6464300 h 6464300"/>
              <a:gd name="connsiteX3" fmla="*/ 0 w 6781800"/>
              <a:gd name="connsiteY3" fmla="*/ 6464300 h 6464300"/>
              <a:gd name="connsiteX4" fmla="*/ 1473200 w 6781800"/>
              <a:gd name="connsiteY4" fmla="*/ 0 h 6464300"/>
              <a:gd name="connsiteX0" fmla="*/ 1536700 w 6845300"/>
              <a:gd name="connsiteY0" fmla="*/ 0 h 6464300"/>
              <a:gd name="connsiteX1" fmla="*/ 6845300 w 6845300"/>
              <a:gd name="connsiteY1" fmla="*/ 0 h 6464300"/>
              <a:gd name="connsiteX2" fmla="*/ 6845300 w 6845300"/>
              <a:gd name="connsiteY2" fmla="*/ 6464300 h 6464300"/>
              <a:gd name="connsiteX3" fmla="*/ 0 w 6845300"/>
              <a:gd name="connsiteY3" fmla="*/ 6452109 h 6464300"/>
              <a:gd name="connsiteX4" fmla="*/ 1536700 w 6845300"/>
              <a:gd name="connsiteY4" fmla="*/ 0 h 6464300"/>
              <a:gd name="connsiteX0" fmla="*/ 1536700 w 6845300"/>
              <a:gd name="connsiteY0" fmla="*/ 0 h 6464300"/>
              <a:gd name="connsiteX1" fmla="*/ 6845300 w 6845300"/>
              <a:gd name="connsiteY1" fmla="*/ 0 h 6464300"/>
              <a:gd name="connsiteX2" fmla="*/ 6845300 w 6845300"/>
              <a:gd name="connsiteY2" fmla="*/ 6464300 h 6464300"/>
              <a:gd name="connsiteX3" fmla="*/ 0 w 6845300"/>
              <a:gd name="connsiteY3" fmla="*/ 6427727 h 6464300"/>
              <a:gd name="connsiteX4" fmla="*/ 1536700 w 6845300"/>
              <a:gd name="connsiteY4" fmla="*/ 0 h 646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5300" h="6464300">
                <a:moveTo>
                  <a:pt x="1536700" y="0"/>
                </a:moveTo>
                <a:lnTo>
                  <a:pt x="6845300" y="0"/>
                </a:lnTo>
                <a:lnTo>
                  <a:pt x="6845300" y="6464300"/>
                </a:lnTo>
                <a:lnTo>
                  <a:pt x="0" y="6427727"/>
                </a:lnTo>
                <a:lnTo>
                  <a:pt x="1536700" y="0"/>
                </a:lnTo>
                <a:close/>
              </a:path>
            </a:pathLst>
          </a:custGeom>
          <a:blipFill dpi="0" rotWithShape="1">
            <a:blip r:embed="rId9">
              <a:extLst>
                <a:ext uri="{28A0092B-C50C-407E-A947-70E740481C1C}"/>
              </a:extLst>
            </a:blip>
            <a:srcRect/>
            <a:stretch>
              <a:fillRect t="-9215" b="-13349"/>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err="1">
              <a:solidFill>
                <a:schemeClr val="tx1"/>
              </a:solidFill>
            </a:endParaRPr>
          </a:p>
        </p:txBody>
      </p:sp>
      <p:sp>
        <p:nvSpPr>
          <p:cNvPr id="45" name="Slide Number">
            <a:extLst>
              <a:ext uri="{FF2B5EF4-FFF2-40B4-BE49-F238E27FC236}"/>
            </a:extLst>
          </p:cNvPr>
          <p:cNvSpPr txBox="1">
            <a:spLocks/>
          </p:cNvSpPr>
          <p:nvPr/>
        </p:nvSpPr>
        <p:spPr bwMode="gray">
          <a:xfrm>
            <a:off x="8564563" y="5721350"/>
            <a:ext cx="42862" cy="92075"/>
          </a:xfrm>
          <a:prstGeom prst="rect">
            <a:avLst/>
          </a:prstGeom>
        </p:spPr>
        <p:txBody>
          <a:bodyPr wrap="none" lIns="0" tIns="0" rIns="0" bIns="0" anchor="ctr">
            <a:spAutoFit/>
          </a:bodyPr>
          <a:lstStyle>
            <a:defPPr>
              <a:defRPr lang="en-US"/>
            </a:defPPr>
            <a:lvl1pPr>
              <a:defRPr sz="1000" baseline="0">
                <a:latin typeface="+mn-lt"/>
              </a:defRPr>
            </a:lvl1pPr>
          </a:lstStyle>
          <a:p>
            <a:pPr>
              <a:defRPr/>
            </a:pPr>
            <a:fld id="{FE130A56-DA78-49AD-9981-AE3BCB0768ED}" type="slidenum">
              <a:rPr lang="en-AU" sz="600">
                <a:solidFill>
                  <a:schemeClr val="accent6"/>
                </a:solidFill>
                <a:cs typeface="+mn-cs"/>
              </a:rPr>
              <a:pPr>
                <a:defRPr/>
              </a:pPr>
              <a:t>20</a:t>
            </a:fld>
            <a:endParaRPr lang="en-AU" sz="600" dirty="0">
              <a:solidFill>
                <a:schemeClr val="accent6"/>
              </a:solidFill>
              <a:cs typeface="+mn-cs"/>
            </a:endParaRPr>
          </a:p>
        </p:txBody>
      </p:sp>
      <p:sp>
        <p:nvSpPr>
          <p:cNvPr id="47" name="SlideLogoText">
            <a:extLst>
              <a:ext uri="{FF2B5EF4-FFF2-40B4-BE49-F238E27FC236}"/>
            </a:extLst>
          </p:cNvPr>
          <p:cNvSpPr>
            <a:spLocks noChangeArrowheads="1"/>
          </p:cNvSpPr>
          <p:nvPr>
            <p:custDataLst>
              <p:tags r:id="rId5"/>
            </p:custDataLst>
          </p:nvPr>
        </p:nvSpPr>
        <p:spPr bwMode="gray">
          <a:xfrm>
            <a:off x="7704138" y="5721350"/>
            <a:ext cx="760412" cy="92075"/>
          </a:xfrm>
          <a:prstGeom prst="rect">
            <a:avLst/>
          </a:prstGeom>
          <a:noFill/>
          <a:ln>
            <a:noFill/>
          </a:ln>
          <a:effectLst/>
          <a:extLst>
            <a:ext uri="{909E8E84-426E-40DD-AFC4-6F175D3DCCD1}"/>
            <a:ext uri="{91240B29-F687-4F45-9708-019B960494DF}"/>
            <a:ext uri="{AF507438-7753-43E0-B8FC-AC1667EBCBE1}"/>
          </a:extLst>
        </p:spPr>
        <p:txBody>
          <a:bodyPr wrap="none" lIns="0" tIns="0" rIns="0" bIns="0" anchor="ctr">
            <a:spAutoFit/>
          </a:bodyPr>
          <a:lstStyle/>
          <a:p>
            <a:pPr algn="r" defTabSz="895395">
              <a:defRPr/>
            </a:pPr>
            <a:r>
              <a:rPr lang="en-AU" sz="600" dirty="0">
                <a:solidFill>
                  <a:schemeClr val="accent6"/>
                </a:solidFill>
                <a:latin typeface="+mn-lt"/>
                <a:cs typeface="+mn-cs"/>
              </a:rPr>
              <a:t>McKinsey &amp; Company</a:t>
            </a:r>
          </a:p>
        </p:txBody>
      </p:sp>
      <p:grpSp>
        <p:nvGrpSpPr>
          <p:cNvPr id="25613" name="Group 47"/>
          <p:cNvGrpSpPr>
            <a:grpSpLocks/>
          </p:cNvGrpSpPr>
          <p:nvPr/>
        </p:nvGrpSpPr>
        <p:grpSpPr bwMode="auto">
          <a:xfrm>
            <a:off x="119063" y="1228725"/>
            <a:ext cx="4567237" cy="692150"/>
            <a:chOff x="666929" y="1115448"/>
            <a:chExt cx="4839959" cy="923330"/>
          </a:xfrm>
        </p:grpSpPr>
        <p:sp>
          <p:nvSpPr>
            <p:cNvPr id="25626" name="TextBox 48"/>
            <p:cNvSpPr txBox="1">
              <a:spLocks/>
            </p:cNvSpPr>
            <p:nvPr/>
          </p:nvSpPr>
          <p:spPr bwMode="white">
            <a:xfrm>
              <a:off x="1389212" y="1115448"/>
              <a:ext cx="4117676" cy="923330"/>
            </a:xfrm>
            <a:prstGeom prst="rect">
              <a:avLst/>
            </a:prstGeom>
            <a:noFill/>
            <a:ln w="9525">
              <a:noFill/>
              <a:miter lim="800000"/>
              <a:headEnd/>
              <a:tailEnd/>
            </a:ln>
          </p:spPr>
          <p:txBody>
            <a:bodyPr lIns="0" tIns="0" rIns="0" bIns="0" anchor="ctr"/>
            <a:lstStyle/>
            <a:p>
              <a:pPr defTabSz="1193800">
                <a:spcBef>
                  <a:spcPts val="600"/>
                </a:spcBef>
                <a:spcAft>
                  <a:spcPts val="450"/>
                </a:spcAft>
                <a:buClr>
                  <a:schemeClr val="accent2"/>
                </a:buClr>
                <a:buSzPct val="100000"/>
              </a:pPr>
              <a:r>
                <a:rPr lang="en-US" sz="2100" b="1">
                  <a:solidFill>
                    <a:schemeClr val="accent2"/>
                  </a:solidFill>
                </a:rPr>
                <a:t>Setting up </a:t>
              </a:r>
              <a:r>
                <a:rPr lang="en-US" sz="2100"/>
                <a:t>their HCD implementation structure</a:t>
              </a:r>
            </a:p>
          </p:txBody>
        </p:sp>
        <p:sp>
          <p:nvSpPr>
            <p:cNvPr id="50" name="Rectangle 49">
              <a:extLst>
                <a:ext uri="{FF2B5EF4-FFF2-40B4-BE49-F238E27FC236}"/>
              </a:extLst>
            </p:cNvPr>
            <p:cNvSpPr>
              <a:spLocks/>
            </p:cNvSpPr>
            <p:nvPr/>
          </p:nvSpPr>
          <p:spPr>
            <a:xfrm>
              <a:off x="666929" y="1115448"/>
              <a:ext cx="465995" cy="92333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100" dirty="0">
                  <a:solidFill>
                    <a:schemeClr val="bg1"/>
                  </a:solidFill>
                  <a:latin typeface="Georgia" panose="02040502050405020303" pitchFamily="18" charset="0"/>
                </a:rPr>
                <a:t>1</a:t>
              </a:r>
            </a:p>
          </p:txBody>
        </p:sp>
      </p:grpSp>
      <p:grpSp>
        <p:nvGrpSpPr>
          <p:cNvPr id="25614" name="Group 50"/>
          <p:cNvGrpSpPr>
            <a:grpSpLocks/>
          </p:cNvGrpSpPr>
          <p:nvPr/>
        </p:nvGrpSpPr>
        <p:grpSpPr bwMode="auto">
          <a:xfrm>
            <a:off x="119063" y="2298700"/>
            <a:ext cx="4567237" cy="968375"/>
            <a:chOff x="666929" y="2356150"/>
            <a:chExt cx="4839959" cy="1292662"/>
          </a:xfrm>
        </p:grpSpPr>
        <p:sp>
          <p:nvSpPr>
            <p:cNvPr id="25624" name="TextBox 51"/>
            <p:cNvSpPr txBox="1">
              <a:spLocks/>
            </p:cNvSpPr>
            <p:nvPr/>
          </p:nvSpPr>
          <p:spPr bwMode="white">
            <a:xfrm>
              <a:off x="1389212" y="2356150"/>
              <a:ext cx="4117676" cy="1292662"/>
            </a:xfrm>
            <a:prstGeom prst="rect">
              <a:avLst/>
            </a:prstGeom>
            <a:noFill/>
            <a:ln w="9525">
              <a:noFill/>
              <a:miter lim="800000"/>
              <a:headEnd/>
              <a:tailEnd/>
            </a:ln>
          </p:spPr>
          <p:txBody>
            <a:bodyPr lIns="0" tIns="0" rIns="0" bIns="0" anchor="ctr"/>
            <a:lstStyle/>
            <a:p>
              <a:pPr defTabSz="1193800">
                <a:spcBef>
                  <a:spcPts val="600"/>
                </a:spcBef>
                <a:spcAft>
                  <a:spcPts val="450"/>
                </a:spcAft>
                <a:buClr>
                  <a:schemeClr val="accent2"/>
                </a:buClr>
                <a:buSzPct val="100000"/>
              </a:pPr>
              <a:r>
                <a:rPr lang="en-US" sz="2100" b="1">
                  <a:solidFill>
                    <a:schemeClr val="accent2"/>
                  </a:solidFill>
                </a:rPr>
                <a:t>Setting their own goals </a:t>
              </a:r>
              <a:r>
                <a:rPr lang="en-US" sz="2100"/>
                <a:t>for HCD</a:t>
              </a:r>
            </a:p>
          </p:txBody>
        </p:sp>
        <p:sp>
          <p:nvSpPr>
            <p:cNvPr id="53" name="Rectangle 52">
              <a:extLst>
                <a:ext uri="{FF2B5EF4-FFF2-40B4-BE49-F238E27FC236}"/>
              </a:extLst>
            </p:cNvPr>
            <p:cNvSpPr>
              <a:spLocks/>
            </p:cNvSpPr>
            <p:nvPr/>
          </p:nvSpPr>
          <p:spPr>
            <a:xfrm>
              <a:off x="666929" y="2356150"/>
              <a:ext cx="465995" cy="129266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100" dirty="0">
                  <a:solidFill>
                    <a:schemeClr val="bg1"/>
                  </a:solidFill>
                  <a:latin typeface="Georgia" panose="02040502050405020303" pitchFamily="18" charset="0"/>
                </a:rPr>
                <a:t>2</a:t>
              </a:r>
            </a:p>
          </p:txBody>
        </p:sp>
      </p:grpSp>
      <p:grpSp>
        <p:nvGrpSpPr>
          <p:cNvPr id="25615" name="Group 53"/>
          <p:cNvGrpSpPr>
            <a:grpSpLocks/>
          </p:cNvGrpSpPr>
          <p:nvPr/>
        </p:nvGrpSpPr>
        <p:grpSpPr bwMode="auto">
          <a:xfrm>
            <a:off x="119063" y="3695700"/>
            <a:ext cx="4567237" cy="646113"/>
            <a:chOff x="666929" y="3996963"/>
            <a:chExt cx="4839959" cy="861774"/>
          </a:xfrm>
        </p:grpSpPr>
        <p:sp>
          <p:nvSpPr>
            <p:cNvPr id="25622" name="TextBox 54"/>
            <p:cNvSpPr txBox="1">
              <a:spLocks/>
            </p:cNvSpPr>
            <p:nvPr/>
          </p:nvSpPr>
          <p:spPr bwMode="white">
            <a:xfrm>
              <a:off x="1389212" y="3996963"/>
              <a:ext cx="4117676" cy="861774"/>
            </a:xfrm>
            <a:prstGeom prst="rect">
              <a:avLst/>
            </a:prstGeom>
            <a:noFill/>
            <a:ln w="9525">
              <a:noFill/>
              <a:miter lim="800000"/>
              <a:headEnd/>
              <a:tailEnd/>
            </a:ln>
          </p:spPr>
          <p:txBody>
            <a:bodyPr lIns="0" tIns="0" rIns="0" bIns="0" anchor="ctr"/>
            <a:lstStyle/>
            <a:p>
              <a:pPr defTabSz="1193800">
                <a:spcBef>
                  <a:spcPts val="600"/>
                </a:spcBef>
                <a:spcAft>
                  <a:spcPts val="450"/>
                </a:spcAft>
                <a:buClr>
                  <a:schemeClr val="accent2"/>
                </a:buClr>
                <a:buSzPct val="100000"/>
              </a:pPr>
              <a:r>
                <a:rPr lang="en-US" sz="2100" b="1">
                  <a:solidFill>
                    <a:schemeClr val="accent2"/>
                  </a:solidFill>
                </a:rPr>
                <a:t>Driving donor coordination </a:t>
              </a:r>
              <a:r>
                <a:rPr lang="en-US" sz="2100"/>
                <a:t>and providing technical assistance</a:t>
              </a:r>
            </a:p>
          </p:txBody>
        </p:sp>
        <p:sp>
          <p:nvSpPr>
            <p:cNvPr id="56" name="Rectangle 55">
              <a:extLst>
                <a:ext uri="{FF2B5EF4-FFF2-40B4-BE49-F238E27FC236}"/>
              </a:extLst>
            </p:cNvPr>
            <p:cNvSpPr>
              <a:spLocks/>
            </p:cNvSpPr>
            <p:nvPr/>
          </p:nvSpPr>
          <p:spPr>
            <a:xfrm>
              <a:off x="666929" y="3996963"/>
              <a:ext cx="465995" cy="86177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100">
                  <a:solidFill>
                    <a:schemeClr val="bg1"/>
                  </a:solidFill>
                  <a:latin typeface="Georgia" panose="02040502050405020303" pitchFamily="18" charset="0"/>
                </a:rPr>
                <a:t>3</a:t>
              </a:r>
              <a:endParaRPr lang="en-US" sz="2100" dirty="0">
                <a:solidFill>
                  <a:schemeClr val="bg1"/>
                </a:solidFill>
                <a:latin typeface="Georgia" panose="02040502050405020303" pitchFamily="18" charset="0"/>
              </a:endParaRPr>
            </a:p>
          </p:txBody>
        </p:sp>
      </p:grpSp>
      <p:grpSp>
        <p:nvGrpSpPr>
          <p:cNvPr id="25616" name="Group 56"/>
          <p:cNvGrpSpPr>
            <a:grpSpLocks/>
          </p:cNvGrpSpPr>
          <p:nvPr/>
        </p:nvGrpSpPr>
        <p:grpSpPr bwMode="auto">
          <a:xfrm>
            <a:off x="119063" y="4895850"/>
            <a:ext cx="4567237" cy="646113"/>
            <a:chOff x="666929" y="5191498"/>
            <a:chExt cx="4839959" cy="861774"/>
          </a:xfrm>
        </p:grpSpPr>
        <p:sp>
          <p:nvSpPr>
            <p:cNvPr id="25620" name="TextBox 57"/>
            <p:cNvSpPr txBox="1">
              <a:spLocks/>
            </p:cNvSpPr>
            <p:nvPr/>
          </p:nvSpPr>
          <p:spPr bwMode="white">
            <a:xfrm>
              <a:off x="1389212" y="5191498"/>
              <a:ext cx="4117676" cy="861774"/>
            </a:xfrm>
            <a:prstGeom prst="rect">
              <a:avLst/>
            </a:prstGeom>
            <a:noFill/>
            <a:ln w="9525">
              <a:noFill/>
              <a:miter lim="800000"/>
              <a:headEnd/>
              <a:tailEnd/>
            </a:ln>
          </p:spPr>
          <p:txBody>
            <a:bodyPr lIns="0" tIns="0" rIns="0" bIns="0" anchor="ctr"/>
            <a:lstStyle/>
            <a:p>
              <a:pPr defTabSz="1193800">
                <a:spcBef>
                  <a:spcPts val="600"/>
                </a:spcBef>
                <a:spcAft>
                  <a:spcPts val="450"/>
                </a:spcAft>
                <a:buClr>
                  <a:schemeClr val="accent2"/>
                </a:buClr>
                <a:buSzPct val="100000"/>
              </a:pPr>
              <a:r>
                <a:rPr lang="en-US" sz="2100" b="1">
                  <a:solidFill>
                    <a:schemeClr val="accent2"/>
                  </a:solidFill>
                </a:rPr>
                <a:t>Monitoring and reporting </a:t>
              </a:r>
              <a:r>
                <a:rPr lang="en-US" sz="2100"/>
                <a:t>performance</a:t>
              </a:r>
            </a:p>
          </p:txBody>
        </p:sp>
        <p:sp>
          <p:nvSpPr>
            <p:cNvPr id="59" name="Rectangle 58">
              <a:extLst>
                <a:ext uri="{FF2B5EF4-FFF2-40B4-BE49-F238E27FC236}"/>
              </a:extLst>
            </p:cNvPr>
            <p:cNvSpPr>
              <a:spLocks/>
            </p:cNvSpPr>
            <p:nvPr/>
          </p:nvSpPr>
          <p:spPr>
            <a:xfrm>
              <a:off x="666929" y="5191498"/>
              <a:ext cx="465995" cy="86177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100" dirty="0">
                  <a:solidFill>
                    <a:schemeClr val="bg1"/>
                  </a:solidFill>
                  <a:latin typeface="Georgia" panose="02040502050405020303" pitchFamily="18" charset="0"/>
                </a:rPr>
                <a:t>4</a:t>
              </a:r>
            </a:p>
          </p:txBody>
        </p:sp>
      </p:grpSp>
      <p:cxnSp>
        <p:nvCxnSpPr>
          <p:cNvPr id="60" name="Straight Connector 59">
            <a:extLst>
              <a:ext uri="{FF2B5EF4-FFF2-40B4-BE49-F238E27FC236}"/>
            </a:extLst>
          </p:cNvPr>
          <p:cNvCxnSpPr>
            <a:cxnSpLocks/>
          </p:cNvCxnSpPr>
          <p:nvPr/>
        </p:nvCxnSpPr>
        <p:spPr>
          <a:xfrm>
            <a:off x="119063" y="2109788"/>
            <a:ext cx="3629025"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extLst>
          </p:cNvPr>
          <p:cNvCxnSpPr>
            <a:cxnSpLocks/>
          </p:cNvCxnSpPr>
          <p:nvPr/>
        </p:nvCxnSpPr>
        <p:spPr>
          <a:xfrm>
            <a:off x="119063" y="3443288"/>
            <a:ext cx="3629025"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extLst>
          </p:cNvPr>
          <p:cNvCxnSpPr>
            <a:cxnSpLocks/>
          </p:cNvCxnSpPr>
          <p:nvPr/>
        </p:nvCxnSpPr>
        <p:spPr>
          <a:xfrm>
            <a:off x="119063" y="4643438"/>
            <a:ext cx="3629025"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custDataLst>
      <p:tags r:id="rId2"/>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Object 139"/>
          <p:cNvGraphicFramePr>
            <a:graphicFrameLocks noChangeAspect="1"/>
          </p:cNvGraphicFramePr>
          <p:nvPr/>
        </p:nvGraphicFramePr>
        <p:xfrm>
          <a:off x="1588" y="1588"/>
          <a:ext cx="1587" cy="1587"/>
        </p:xfrm>
        <a:graphic>
          <a:graphicData uri="http://schemas.openxmlformats.org/presentationml/2006/ole">
            <p:oleObj spid="_x0000_s26626" name="think-cell Slide" r:id="rId5" imgW="360" imgH="360" progId="">
              <p:embed/>
            </p:oleObj>
          </a:graphicData>
        </a:graphic>
      </p:graphicFrame>
      <p:sp>
        <p:nvSpPr>
          <p:cNvPr id="5" name="Rectangle 4"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grpSp>
        <p:nvGrpSpPr>
          <p:cNvPr id="26628" name="Group 40"/>
          <p:cNvGrpSpPr>
            <a:grpSpLocks/>
          </p:cNvGrpSpPr>
          <p:nvPr/>
        </p:nvGrpSpPr>
        <p:grpSpPr bwMode="auto">
          <a:xfrm>
            <a:off x="0" y="854075"/>
            <a:ext cx="8961438" cy="441325"/>
            <a:chOff x="8967" y="1120062"/>
            <a:chExt cx="8961436" cy="440622"/>
          </a:xfrm>
        </p:grpSpPr>
        <p:sp>
          <p:nvSpPr>
            <p:cNvPr id="42" name="Rectangle 41">
              <a:extLst>
                <a:ext uri="{FF2B5EF4-FFF2-40B4-BE49-F238E27FC236}"/>
              </a:extLst>
            </p:cNvPr>
            <p:cNvSpPr>
              <a:spLocks/>
            </p:cNvSpPr>
            <p:nvPr/>
          </p:nvSpPr>
          <p:spPr>
            <a:xfrm>
              <a:off x="8967" y="1120062"/>
              <a:ext cx="8961436" cy="440622"/>
            </a:xfrm>
            <a:prstGeom prst="rect">
              <a:avLst/>
            </a:prstGeom>
            <a:gradFill>
              <a:gsLst>
                <a:gs pos="0">
                  <a:schemeClr val="accent6">
                    <a:lumMod val="20000"/>
                    <a:lumOff val="80000"/>
                  </a:schemeClr>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rgbClr val="000000"/>
                </a:solidFill>
              </a:endParaRPr>
            </a:p>
          </p:txBody>
        </p:sp>
        <p:cxnSp>
          <p:nvCxnSpPr>
            <p:cNvPr id="43" name="Straight Connector 42">
              <a:extLst>
                <a:ext uri="{FF2B5EF4-FFF2-40B4-BE49-F238E27FC236}"/>
              </a:extLst>
            </p:cNvPr>
            <p:cNvCxnSpPr>
              <a:cxnSpLocks/>
            </p:cNvCxnSpPr>
            <p:nvPr/>
          </p:nvCxnSpPr>
          <p:spPr>
            <a:xfrm>
              <a:off x="8967" y="1120062"/>
              <a:ext cx="896143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26629" name="Picture 22" descr="Image result for nigerian business environment"/>
          <p:cNvPicPr>
            <a:picLocks noChangeArrowheads="1"/>
          </p:cNvPicPr>
          <p:nvPr/>
        </p:nvPicPr>
        <p:blipFill>
          <a:blip r:embed="rId6"/>
          <a:srcRect l="48677" t="-238" r="26653" b="238"/>
          <a:stretch>
            <a:fillRect/>
          </a:stretch>
        </p:blipFill>
        <p:spPr bwMode="auto">
          <a:xfrm>
            <a:off x="6284913" y="1112838"/>
            <a:ext cx="2387600" cy="4938712"/>
          </a:xfrm>
          <a:prstGeom prst="rect">
            <a:avLst/>
          </a:prstGeom>
          <a:noFill/>
          <a:ln w="9525">
            <a:noFill/>
            <a:miter lim="800000"/>
            <a:headEnd/>
            <a:tailEnd/>
          </a:ln>
        </p:spPr>
      </p:pic>
      <p:sp>
        <p:nvSpPr>
          <p:cNvPr id="26630" name="Title 1"/>
          <p:cNvSpPr>
            <a:spLocks noGrp="1"/>
          </p:cNvSpPr>
          <p:nvPr>
            <p:ph type="title"/>
          </p:nvPr>
        </p:nvSpPr>
        <p:spPr>
          <a:xfrm>
            <a:off x="119063" y="349250"/>
            <a:ext cx="8618537" cy="307975"/>
          </a:xfrm>
        </p:spPr>
        <p:txBody>
          <a:bodyPr/>
          <a:lstStyle/>
          <a:p>
            <a:r>
              <a:rPr lang="en-US" smtClean="0"/>
              <a:t>Call to action: charge to Nigerians to own the development of human capital</a:t>
            </a:r>
          </a:p>
        </p:txBody>
      </p:sp>
      <p:sp>
        <p:nvSpPr>
          <p:cNvPr id="4" name="RoundedRectangle 11">
            <a:extLst>
              <a:ext uri="{FF2B5EF4-FFF2-40B4-BE49-F238E27FC236}"/>
            </a:extLst>
          </p:cNvPr>
          <p:cNvSpPr txBox="1">
            <a:spLocks/>
          </p:cNvSpPr>
          <p:nvPr>
            <p:custDataLst>
              <p:tags r:id="rId3"/>
            </p:custDataLst>
          </p:nvPr>
        </p:nvSpPr>
        <p:spPr>
          <a:xfrm>
            <a:off x="6256338" y="1112838"/>
            <a:ext cx="2416175" cy="4938712"/>
          </a:xfrm>
          <a:prstGeom prst="rect">
            <a:avLst/>
          </a:prstGeom>
          <a:solidFill>
            <a:schemeClr val="accent4">
              <a:alpha val="70000"/>
            </a:schemeClr>
          </a:solidFill>
          <a:ln>
            <a:noFill/>
          </a:ln>
        </p:spPr>
        <p:txBody>
          <a:bodyPr lIns="76200" tIns="76200" rIns="76200" bIns="76200" anchor="ct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ct val="150000"/>
              </a:lnSpc>
              <a:defRPr/>
            </a:pPr>
            <a:r>
              <a:rPr lang="en-US" dirty="0">
                <a:solidFill>
                  <a:schemeClr val="bg1"/>
                </a:solidFill>
                <a:cs typeface="+mn-cs"/>
              </a:rPr>
              <a:t>We encourage all stakeholders to engage the Core Working Group on HCD via the following dedicated email address:</a:t>
            </a:r>
          </a:p>
          <a:p>
            <a:pPr>
              <a:lnSpc>
                <a:spcPct val="150000"/>
              </a:lnSpc>
              <a:defRPr/>
            </a:pPr>
            <a:endParaRPr lang="en-US" dirty="0">
              <a:solidFill>
                <a:schemeClr val="bg1"/>
              </a:solidFill>
              <a:cs typeface="+mn-cs"/>
            </a:endParaRPr>
          </a:p>
          <a:p>
            <a:pPr>
              <a:lnSpc>
                <a:spcPct val="150000"/>
              </a:lnSpc>
              <a:defRPr/>
            </a:pPr>
            <a:r>
              <a:rPr lang="en-US" dirty="0">
                <a:solidFill>
                  <a:schemeClr val="bg1"/>
                </a:solidFill>
                <a:cs typeface="+mn-cs"/>
              </a:rPr>
              <a:t> </a:t>
            </a:r>
            <a:r>
              <a:rPr lang="en-US" b="1" dirty="0" err="1">
                <a:solidFill>
                  <a:schemeClr val="bg1"/>
                </a:solidFill>
                <a:cs typeface="+mn-cs"/>
              </a:rPr>
              <a:t>hcdvision</a:t>
            </a:r>
            <a:r>
              <a:rPr lang="en-US" b="1" dirty="0">
                <a:solidFill>
                  <a:schemeClr val="bg1"/>
                </a:solidFill>
                <a:cs typeface="+mn-cs"/>
              </a:rPr>
              <a:t>@ gmail.com</a:t>
            </a:r>
          </a:p>
        </p:txBody>
      </p:sp>
      <p:grpSp>
        <p:nvGrpSpPr>
          <p:cNvPr id="26632" name="Group 45"/>
          <p:cNvGrpSpPr>
            <a:grpSpLocks/>
          </p:cNvGrpSpPr>
          <p:nvPr/>
        </p:nvGrpSpPr>
        <p:grpSpPr bwMode="auto">
          <a:xfrm>
            <a:off x="365125" y="941388"/>
            <a:ext cx="5395913" cy="5280025"/>
            <a:chOff x="365158" y="941551"/>
            <a:chExt cx="5395530" cy="5280282"/>
          </a:xfrm>
        </p:grpSpPr>
        <p:sp>
          <p:nvSpPr>
            <p:cNvPr id="21" name="Rectangle 20">
              <a:extLst>
                <a:ext uri="{FF2B5EF4-FFF2-40B4-BE49-F238E27FC236}"/>
              </a:extLst>
            </p:cNvPr>
            <p:cNvSpPr>
              <a:spLocks/>
            </p:cNvSpPr>
            <p:nvPr/>
          </p:nvSpPr>
          <p:spPr>
            <a:xfrm>
              <a:off x="1354101" y="2343381"/>
              <a:ext cx="4378014" cy="1124005"/>
            </a:xfrm>
            <a:prstGeom prst="rect">
              <a:avLst/>
            </a:prstGeom>
            <a:gradFill flip="none" rotWithShape="1">
              <a:gsLst>
                <a:gs pos="0">
                  <a:schemeClr val="accent2"/>
                </a:gs>
                <a:gs pos="78000">
                  <a:schemeClr val="accent3"/>
                </a:gs>
              </a:gsLst>
              <a:lin ang="10800000" scaled="1"/>
              <a:tileRect/>
            </a:gradFill>
            <a:ln>
              <a:noFill/>
            </a:ln>
          </p:spPr>
          <p:txBody>
            <a:bodyPr lIns="72009" tIns="72009" rIns="72009" bIns="72009" anchor="ctr"/>
            <a:lstStyle/>
            <a:p>
              <a:pPr defTabSz="895350">
                <a:spcAft>
                  <a:spcPts val="0"/>
                </a:spcAft>
                <a:buClr>
                  <a:schemeClr val="tx2"/>
                </a:buClr>
                <a:buSzPct val="100000"/>
                <a:defRPr/>
              </a:pPr>
              <a:endParaRPr lang="en-US" sz="1400" b="1" dirty="0" err="1">
                <a:solidFill>
                  <a:schemeClr val="bg1"/>
                </a:solidFill>
                <a:latin typeface="Dubai" panose="020B0503030403030204" pitchFamily="34" charset="-78"/>
                <a:cs typeface="Dubai" panose="020B0503030403030204" pitchFamily="34" charset="-78"/>
              </a:endParaRPr>
            </a:p>
          </p:txBody>
        </p:sp>
        <p:sp>
          <p:nvSpPr>
            <p:cNvPr id="26635" name="TextBox 21"/>
            <p:cNvSpPr txBox="1">
              <a:spLocks/>
            </p:cNvSpPr>
            <p:nvPr/>
          </p:nvSpPr>
          <p:spPr bwMode="auto">
            <a:xfrm flipH="1">
              <a:off x="1840385" y="2668216"/>
              <a:ext cx="3863477" cy="473983"/>
            </a:xfrm>
            <a:prstGeom prst="rect">
              <a:avLst/>
            </a:prstGeom>
            <a:noFill/>
            <a:ln w="9525">
              <a:noFill/>
              <a:miter lim="800000"/>
              <a:headEnd/>
              <a:tailEnd/>
            </a:ln>
          </p:spPr>
          <p:txBody>
            <a:bodyPr lIns="0" tIns="0" rIns="0" bIns="0"/>
            <a:lstStyle/>
            <a:p>
              <a:pPr defTabSz="912813">
                <a:buClr>
                  <a:schemeClr val="tx2"/>
                </a:buClr>
                <a:buSzPct val="100000"/>
              </a:pPr>
              <a:r>
                <a:rPr lang="en-US" sz="1400" b="1">
                  <a:solidFill>
                    <a:schemeClr val="bg1"/>
                  </a:solidFill>
                  <a:ea typeface="Dubai"/>
                  <a:cs typeface="Dubai"/>
                </a:rPr>
                <a:t>Generate, Release and Increase funding </a:t>
              </a:r>
              <a:r>
                <a:rPr lang="en-US" sz="1400">
                  <a:solidFill>
                    <a:schemeClr val="bg1"/>
                  </a:solidFill>
                  <a:ea typeface="Dubai"/>
                  <a:cs typeface="Dubai"/>
                </a:rPr>
                <a:t>needed to drive service delivery</a:t>
              </a:r>
            </a:p>
          </p:txBody>
        </p:sp>
        <p:sp>
          <p:nvSpPr>
            <p:cNvPr id="23" name="Hexagon 22">
              <a:extLst>
                <a:ext uri="{FF2B5EF4-FFF2-40B4-BE49-F238E27FC236}"/>
              </a:extLst>
            </p:cNvPr>
            <p:cNvSpPr>
              <a:spLocks/>
            </p:cNvSpPr>
            <p:nvPr/>
          </p:nvSpPr>
          <p:spPr>
            <a:xfrm>
              <a:off x="465164" y="2297342"/>
              <a:ext cx="1357216" cy="1220846"/>
            </a:xfrm>
            <a:prstGeom prst="hexagon">
              <a:avLst/>
            </a:prstGeom>
            <a:solidFill>
              <a:schemeClr val="accent3"/>
            </a:solidFill>
            <a:ln>
              <a:solidFill>
                <a:schemeClr val="bg1"/>
              </a:solidFill>
            </a:ln>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1400" dirty="0" err="1">
                <a:solidFill>
                  <a:schemeClr val="tx1"/>
                </a:solidFill>
                <a:cs typeface="Dubai" panose="020B0503030403030204" pitchFamily="34" charset="-78"/>
              </a:endParaRPr>
            </a:p>
          </p:txBody>
        </p:sp>
        <p:sp>
          <p:nvSpPr>
            <p:cNvPr id="24" name="Hexagon 23">
              <a:extLst>
                <a:ext uri="{FF2B5EF4-FFF2-40B4-BE49-F238E27FC236}"/>
              </a:extLst>
            </p:cNvPr>
            <p:cNvSpPr>
              <a:spLocks/>
            </p:cNvSpPr>
            <p:nvPr/>
          </p:nvSpPr>
          <p:spPr>
            <a:xfrm>
              <a:off x="365158" y="2297342"/>
              <a:ext cx="1357217" cy="1220846"/>
            </a:xfrm>
            <a:prstGeom prst="hexagon">
              <a:avLst/>
            </a:prstGeom>
            <a:solidFill>
              <a:schemeClr val="accent1"/>
            </a:solidFill>
            <a:ln>
              <a:solidFill>
                <a:schemeClr val="bg1"/>
              </a:solidFill>
            </a:ln>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1400" dirty="0" err="1">
                <a:solidFill>
                  <a:schemeClr val="tx1"/>
                </a:solidFill>
                <a:cs typeface="Dubai" panose="020B0503030403030204" pitchFamily="34" charset="-78"/>
              </a:endParaRPr>
            </a:p>
          </p:txBody>
        </p:sp>
        <p:sp>
          <p:nvSpPr>
            <p:cNvPr id="17" name="Rectangle 16">
              <a:extLst>
                <a:ext uri="{FF2B5EF4-FFF2-40B4-BE49-F238E27FC236}"/>
              </a:extLst>
            </p:cNvPr>
            <p:cNvSpPr>
              <a:spLocks/>
            </p:cNvSpPr>
            <p:nvPr/>
          </p:nvSpPr>
          <p:spPr>
            <a:xfrm>
              <a:off x="1257270" y="992353"/>
              <a:ext cx="4503418" cy="1125592"/>
            </a:xfrm>
            <a:prstGeom prst="rect">
              <a:avLst/>
            </a:prstGeom>
            <a:gradFill flip="none" rotWithShape="1">
              <a:gsLst>
                <a:gs pos="0">
                  <a:schemeClr val="accent2"/>
                </a:gs>
                <a:gs pos="78000">
                  <a:schemeClr val="accent3"/>
                </a:gs>
              </a:gsLst>
              <a:lin ang="10800000" scaled="1"/>
              <a:tileRect/>
            </a:gradFill>
            <a:ln>
              <a:noFill/>
            </a:ln>
          </p:spPr>
          <p:txBody>
            <a:bodyPr lIns="72009" tIns="72009" rIns="72009" bIns="72009" anchor="ctr"/>
            <a:lstStyle/>
            <a:p>
              <a:pPr defTabSz="895350">
                <a:spcAft>
                  <a:spcPts val="0"/>
                </a:spcAft>
                <a:buClr>
                  <a:schemeClr val="tx2"/>
                </a:buClr>
                <a:buSzPct val="100000"/>
                <a:defRPr/>
              </a:pPr>
              <a:endParaRPr lang="en-US" sz="1400" b="1" dirty="0" err="1">
                <a:solidFill>
                  <a:schemeClr val="bg1"/>
                </a:solidFill>
                <a:latin typeface="Dubai" panose="020B0503030403030204" pitchFamily="34" charset="-78"/>
                <a:cs typeface="Dubai" panose="020B0503030403030204" pitchFamily="34" charset="-78"/>
              </a:endParaRPr>
            </a:p>
          </p:txBody>
        </p:sp>
        <p:sp>
          <p:nvSpPr>
            <p:cNvPr id="19" name="Hexagon 18">
              <a:extLst>
                <a:ext uri="{FF2B5EF4-FFF2-40B4-BE49-F238E27FC236}"/>
              </a:extLst>
            </p:cNvPr>
            <p:cNvSpPr>
              <a:spLocks/>
            </p:cNvSpPr>
            <p:nvPr/>
          </p:nvSpPr>
          <p:spPr>
            <a:xfrm>
              <a:off x="465164" y="941551"/>
              <a:ext cx="1357216" cy="1220846"/>
            </a:xfrm>
            <a:prstGeom prst="hexagon">
              <a:avLst/>
            </a:prstGeom>
            <a:solidFill>
              <a:schemeClr val="accent3"/>
            </a:solidFill>
            <a:ln>
              <a:solidFill>
                <a:schemeClr val="bg1"/>
              </a:solidFill>
            </a:ln>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1400" dirty="0" err="1">
                <a:solidFill>
                  <a:schemeClr val="tx1"/>
                </a:solidFill>
                <a:cs typeface="Dubai" panose="020B0503030403030204" pitchFamily="34" charset="-78"/>
              </a:endParaRPr>
            </a:p>
          </p:txBody>
        </p:sp>
        <p:sp>
          <p:nvSpPr>
            <p:cNvPr id="26640" name="TextBox 17"/>
            <p:cNvSpPr txBox="1">
              <a:spLocks/>
            </p:cNvSpPr>
            <p:nvPr/>
          </p:nvSpPr>
          <p:spPr bwMode="auto">
            <a:xfrm flipH="1">
              <a:off x="1840385" y="1124303"/>
              <a:ext cx="3863477" cy="861774"/>
            </a:xfrm>
            <a:prstGeom prst="rect">
              <a:avLst/>
            </a:prstGeom>
            <a:noFill/>
            <a:ln w="9525">
              <a:noFill/>
              <a:miter lim="800000"/>
              <a:headEnd/>
              <a:tailEnd/>
            </a:ln>
          </p:spPr>
          <p:txBody>
            <a:bodyPr lIns="0" tIns="0" rIns="0" bIns="0"/>
            <a:lstStyle/>
            <a:p>
              <a:pPr defTabSz="912813">
                <a:buClr>
                  <a:schemeClr val="tx2"/>
                </a:buClr>
                <a:buSzPct val="100000"/>
              </a:pPr>
              <a:r>
                <a:rPr lang="en-US" sz="1400">
                  <a:solidFill>
                    <a:schemeClr val="bg1"/>
                  </a:solidFill>
                  <a:ea typeface="Dubai"/>
                  <a:cs typeface="Dubai"/>
                </a:rPr>
                <a:t>Commit to attaining our collective goal of </a:t>
              </a:r>
              <a:r>
                <a:rPr lang="en-US" sz="1400" b="1">
                  <a:solidFill>
                    <a:schemeClr val="bg1"/>
                  </a:solidFill>
                  <a:ea typeface="Dubai"/>
                  <a:cs typeface="Dubai"/>
                </a:rPr>
                <a:t>Healthy, Educated, and Productive Nigerians for a globally competitive nation by 2030</a:t>
              </a:r>
            </a:p>
          </p:txBody>
        </p:sp>
        <p:sp>
          <p:nvSpPr>
            <p:cNvPr id="20" name="Hexagon 19">
              <a:extLst>
                <a:ext uri="{FF2B5EF4-FFF2-40B4-BE49-F238E27FC236}"/>
              </a:extLst>
            </p:cNvPr>
            <p:cNvSpPr>
              <a:spLocks/>
            </p:cNvSpPr>
            <p:nvPr/>
          </p:nvSpPr>
          <p:spPr>
            <a:xfrm>
              <a:off x="365158" y="947901"/>
              <a:ext cx="1357217" cy="1220846"/>
            </a:xfrm>
            <a:prstGeom prst="hexagon">
              <a:avLst/>
            </a:prstGeom>
            <a:solidFill>
              <a:schemeClr val="accent1"/>
            </a:solidFill>
            <a:ln>
              <a:solidFill>
                <a:schemeClr val="bg1"/>
              </a:solidFill>
            </a:ln>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1400" dirty="0" err="1">
                <a:solidFill>
                  <a:schemeClr val="tx1"/>
                </a:solidFill>
                <a:cs typeface="Dubai" panose="020B0503030403030204" pitchFamily="34" charset="-78"/>
              </a:endParaRPr>
            </a:p>
          </p:txBody>
        </p:sp>
        <p:sp>
          <p:nvSpPr>
            <p:cNvPr id="25" name="Rectangle 24">
              <a:extLst>
                <a:ext uri="{FF2B5EF4-FFF2-40B4-BE49-F238E27FC236}"/>
              </a:extLst>
            </p:cNvPr>
            <p:cNvSpPr>
              <a:spLocks/>
            </p:cNvSpPr>
            <p:nvPr/>
          </p:nvSpPr>
          <p:spPr>
            <a:xfrm>
              <a:off x="1354101" y="3694410"/>
              <a:ext cx="4378014" cy="1124005"/>
            </a:xfrm>
            <a:prstGeom prst="rect">
              <a:avLst/>
            </a:prstGeom>
            <a:gradFill flip="none" rotWithShape="1">
              <a:gsLst>
                <a:gs pos="0">
                  <a:schemeClr val="accent2"/>
                </a:gs>
                <a:gs pos="78000">
                  <a:schemeClr val="accent3"/>
                </a:gs>
              </a:gsLst>
              <a:lin ang="10800000" scaled="1"/>
              <a:tileRect/>
            </a:gradFill>
            <a:ln>
              <a:noFill/>
            </a:ln>
          </p:spPr>
          <p:txBody>
            <a:bodyPr lIns="72009" tIns="72009" rIns="72009" bIns="72009" anchor="ctr"/>
            <a:lstStyle/>
            <a:p>
              <a:pPr defTabSz="895350">
                <a:spcAft>
                  <a:spcPts val="0"/>
                </a:spcAft>
                <a:buClr>
                  <a:schemeClr val="tx2"/>
                </a:buClr>
                <a:buSzPct val="100000"/>
                <a:defRPr/>
              </a:pPr>
              <a:endParaRPr lang="en-US" sz="1400" b="1" dirty="0" err="1">
                <a:solidFill>
                  <a:schemeClr val="bg1"/>
                </a:solidFill>
                <a:latin typeface="Dubai" panose="020B0503030403030204" pitchFamily="34" charset="-78"/>
                <a:cs typeface="Dubai" panose="020B0503030403030204" pitchFamily="34" charset="-78"/>
              </a:endParaRPr>
            </a:p>
          </p:txBody>
        </p:sp>
        <p:sp>
          <p:nvSpPr>
            <p:cNvPr id="26643" name="TextBox 25"/>
            <p:cNvSpPr txBox="1">
              <a:spLocks/>
            </p:cNvSpPr>
            <p:nvPr/>
          </p:nvSpPr>
          <p:spPr bwMode="auto">
            <a:xfrm flipH="1">
              <a:off x="1840385" y="3927181"/>
              <a:ext cx="3863477" cy="659483"/>
            </a:xfrm>
            <a:prstGeom prst="rect">
              <a:avLst/>
            </a:prstGeom>
            <a:noFill/>
            <a:ln w="9525">
              <a:noFill/>
              <a:miter lim="800000"/>
              <a:headEnd/>
              <a:tailEnd/>
            </a:ln>
          </p:spPr>
          <p:txBody>
            <a:bodyPr lIns="0" tIns="0" rIns="0" bIns="0"/>
            <a:lstStyle/>
            <a:p>
              <a:pPr defTabSz="912813">
                <a:buClr>
                  <a:schemeClr val="tx2"/>
                </a:buClr>
                <a:buSzPct val="100000"/>
              </a:pPr>
              <a:r>
                <a:rPr lang="en-US" sz="1400" b="1">
                  <a:solidFill>
                    <a:schemeClr val="bg1"/>
                  </a:solidFill>
                  <a:ea typeface="Dubai"/>
                  <a:cs typeface="Dubai"/>
                </a:rPr>
                <a:t>Be proactive and continually identify high impact HCD opportunities in our communities</a:t>
              </a:r>
            </a:p>
          </p:txBody>
        </p:sp>
        <p:sp>
          <p:nvSpPr>
            <p:cNvPr id="27" name="Hexagon 26">
              <a:extLst>
                <a:ext uri="{FF2B5EF4-FFF2-40B4-BE49-F238E27FC236}"/>
              </a:extLst>
            </p:cNvPr>
            <p:cNvSpPr>
              <a:spLocks/>
            </p:cNvSpPr>
            <p:nvPr/>
          </p:nvSpPr>
          <p:spPr>
            <a:xfrm>
              <a:off x="457226" y="3646783"/>
              <a:ext cx="1357217" cy="1220846"/>
            </a:xfrm>
            <a:prstGeom prst="hexagon">
              <a:avLst/>
            </a:prstGeom>
            <a:solidFill>
              <a:schemeClr val="accent3"/>
            </a:solidFill>
            <a:ln>
              <a:solidFill>
                <a:schemeClr val="bg1"/>
              </a:solidFill>
            </a:ln>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1400" dirty="0" err="1">
                <a:solidFill>
                  <a:schemeClr val="tx1"/>
                </a:solidFill>
                <a:cs typeface="Dubai" panose="020B0503030403030204" pitchFamily="34" charset="-78"/>
              </a:endParaRPr>
            </a:p>
          </p:txBody>
        </p:sp>
        <p:sp>
          <p:nvSpPr>
            <p:cNvPr id="28" name="Hexagon 27">
              <a:extLst>
                <a:ext uri="{FF2B5EF4-FFF2-40B4-BE49-F238E27FC236}"/>
              </a:extLst>
            </p:cNvPr>
            <p:cNvSpPr>
              <a:spLocks/>
            </p:cNvSpPr>
            <p:nvPr/>
          </p:nvSpPr>
          <p:spPr>
            <a:xfrm>
              <a:off x="365158" y="3648370"/>
              <a:ext cx="1357217" cy="1222434"/>
            </a:xfrm>
            <a:prstGeom prst="hexagon">
              <a:avLst/>
            </a:prstGeom>
            <a:solidFill>
              <a:schemeClr val="accent1"/>
            </a:solidFill>
            <a:ln>
              <a:solidFill>
                <a:schemeClr val="bg1"/>
              </a:solidFill>
            </a:ln>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1400" dirty="0" err="1">
                <a:solidFill>
                  <a:schemeClr val="tx1"/>
                </a:solidFill>
                <a:cs typeface="Dubai" panose="020B0503030403030204" pitchFamily="34" charset="-78"/>
              </a:endParaRPr>
            </a:p>
          </p:txBody>
        </p:sp>
        <p:pic>
          <p:nvPicPr>
            <p:cNvPr id="31" name="Picture 71" descr="Related image">
              <a:extLst>
                <a:ext uri="{FF2B5EF4-FFF2-40B4-BE49-F238E27FC236}"/>
              </a:extLst>
            </p:cNvPr>
            <p:cNvPicPr>
              <a:picLocks noChangeAspect="1" noChangeArrowheads="1"/>
            </p:cNvPicPr>
            <p:nvPr/>
          </p:nvPicPr>
          <p:blipFill>
            <a:blip r:embed="rId7" cstate="print">
              <a:clrChange>
                <a:clrFrom>
                  <a:srgbClr val="FFFFFF"/>
                </a:clrFrom>
                <a:clrTo>
                  <a:srgbClr val="FFFFFF">
                    <a:alpha val="0"/>
                  </a:srgbClr>
                </a:clrTo>
              </a:clrChange>
              <a:duotone>
                <a:schemeClr val="accent3">
                  <a:shade val="45000"/>
                  <a:satMod val="135000"/>
                </a:schemeClr>
                <a:prstClr val="white"/>
              </a:duotone>
              <a:extLst>
                <a:ext uri="{28A0092B-C50C-407E-A947-70E740481C1C}"/>
              </a:extLst>
            </a:blip>
            <a:srcRect/>
            <a:stretch>
              <a:fillRect/>
            </a:stretch>
          </p:blipFill>
          <p:spPr bwMode="auto">
            <a:xfrm>
              <a:off x="758919" y="3981449"/>
              <a:ext cx="569883" cy="555737"/>
            </a:xfrm>
            <a:prstGeom prst="rect">
              <a:avLst/>
            </a:prstGeom>
            <a:noFill/>
            <a:extLst>
              <a:ext uri="{909E8E84-426E-40DD-AFC4-6F175D3DCCD1}"/>
            </a:extLst>
          </p:spPr>
        </p:pic>
        <p:sp>
          <p:nvSpPr>
            <p:cNvPr id="32" name="Rectangle 31">
              <a:extLst>
                <a:ext uri="{FF2B5EF4-FFF2-40B4-BE49-F238E27FC236}"/>
              </a:extLst>
            </p:cNvPr>
            <p:cNvSpPr>
              <a:spLocks/>
            </p:cNvSpPr>
            <p:nvPr/>
          </p:nvSpPr>
          <p:spPr>
            <a:xfrm>
              <a:off x="1354101" y="5047026"/>
              <a:ext cx="4378014" cy="1124005"/>
            </a:xfrm>
            <a:prstGeom prst="rect">
              <a:avLst/>
            </a:prstGeom>
            <a:gradFill flip="none" rotWithShape="1">
              <a:gsLst>
                <a:gs pos="0">
                  <a:schemeClr val="accent2"/>
                </a:gs>
                <a:gs pos="78000">
                  <a:schemeClr val="accent3"/>
                </a:gs>
              </a:gsLst>
              <a:lin ang="10800000" scaled="1"/>
              <a:tileRect/>
            </a:gradFill>
            <a:ln>
              <a:noFill/>
            </a:ln>
          </p:spPr>
          <p:txBody>
            <a:bodyPr lIns="72009" tIns="72009" rIns="72009" bIns="72009" anchor="ctr"/>
            <a:lstStyle/>
            <a:p>
              <a:pPr defTabSz="895350">
                <a:spcAft>
                  <a:spcPts val="0"/>
                </a:spcAft>
                <a:buClr>
                  <a:schemeClr val="tx2"/>
                </a:buClr>
                <a:buSzPct val="100000"/>
                <a:defRPr/>
              </a:pPr>
              <a:endParaRPr lang="en-US" sz="1400" b="1" dirty="0" err="1">
                <a:solidFill>
                  <a:schemeClr val="bg1"/>
                </a:solidFill>
                <a:latin typeface="Dubai" panose="020B0503030403030204" pitchFamily="34" charset="-78"/>
                <a:cs typeface="Dubai" panose="020B0503030403030204" pitchFamily="34" charset="-78"/>
              </a:endParaRPr>
            </a:p>
          </p:txBody>
        </p:sp>
        <p:sp>
          <p:nvSpPr>
            <p:cNvPr id="26648" name="TextBox 32"/>
            <p:cNvSpPr txBox="1">
              <a:spLocks/>
            </p:cNvSpPr>
            <p:nvPr/>
          </p:nvSpPr>
          <p:spPr bwMode="auto">
            <a:xfrm flipH="1">
              <a:off x="1840385" y="5278896"/>
              <a:ext cx="3863477" cy="659483"/>
            </a:xfrm>
            <a:prstGeom prst="rect">
              <a:avLst/>
            </a:prstGeom>
            <a:noFill/>
            <a:ln w="9525">
              <a:noFill/>
              <a:miter lim="800000"/>
              <a:headEnd/>
              <a:tailEnd/>
            </a:ln>
          </p:spPr>
          <p:txBody>
            <a:bodyPr lIns="0" tIns="0" rIns="0" bIns="0"/>
            <a:lstStyle/>
            <a:p>
              <a:pPr defTabSz="912813">
                <a:buClr>
                  <a:schemeClr val="tx2"/>
                </a:buClr>
                <a:buSzPct val="100000"/>
              </a:pPr>
              <a:r>
                <a:rPr lang="en-US" sz="1400">
                  <a:solidFill>
                    <a:schemeClr val="bg1"/>
                  </a:solidFill>
                  <a:ea typeface="Dubai"/>
                  <a:cs typeface="Dubai"/>
                </a:rPr>
                <a:t>Enhance</a:t>
              </a:r>
              <a:r>
                <a:rPr lang="en-US" sz="1400" b="1">
                  <a:solidFill>
                    <a:schemeClr val="bg1"/>
                  </a:solidFill>
                  <a:ea typeface="Dubai"/>
                  <a:cs typeface="Dubai"/>
                </a:rPr>
                <a:t> social accountability and improve service delivery </a:t>
              </a:r>
              <a:r>
                <a:rPr lang="en-US" sz="1400">
                  <a:solidFill>
                    <a:schemeClr val="bg1"/>
                  </a:solidFill>
                  <a:ea typeface="Dubai"/>
                  <a:cs typeface="Dubai"/>
                </a:rPr>
                <a:t>through collaboration and dialogue between all stakeholders</a:t>
              </a:r>
            </a:p>
          </p:txBody>
        </p:sp>
        <p:sp>
          <p:nvSpPr>
            <p:cNvPr id="34" name="Hexagon 33">
              <a:extLst>
                <a:ext uri="{FF2B5EF4-FFF2-40B4-BE49-F238E27FC236}"/>
              </a:extLst>
            </p:cNvPr>
            <p:cNvSpPr>
              <a:spLocks/>
            </p:cNvSpPr>
            <p:nvPr/>
          </p:nvSpPr>
          <p:spPr>
            <a:xfrm>
              <a:off x="457226" y="4997810"/>
              <a:ext cx="1357217" cy="1222434"/>
            </a:xfrm>
            <a:prstGeom prst="hexagon">
              <a:avLst/>
            </a:prstGeom>
            <a:solidFill>
              <a:schemeClr val="accent3"/>
            </a:solidFill>
            <a:ln>
              <a:solidFill>
                <a:schemeClr val="bg1"/>
              </a:solidFill>
            </a:ln>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1400" dirty="0" err="1">
                <a:solidFill>
                  <a:schemeClr val="tx1"/>
                </a:solidFill>
                <a:cs typeface="Dubai" panose="020B0503030403030204" pitchFamily="34" charset="-78"/>
              </a:endParaRPr>
            </a:p>
          </p:txBody>
        </p:sp>
        <p:sp>
          <p:nvSpPr>
            <p:cNvPr id="35" name="Hexagon 34">
              <a:extLst>
                <a:ext uri="{FF2B5EF4-FFF2-40B4-BE49-F238E27FC236}"/>
              </a:extLst>
            </p:cNvPr>
            <p:cNvSpPr>
              <a:spLocks/>
            </p:cNvSpPr>
            <p:nvPr/>
          </p:nvSpPr>
          <p:spPr>
            <a:xfrm>
              <a:off x="365158" y="5000986"/>
              <a:ext cx="1357217" cy="1220847"/>
            </a:xfrm>
            <a:prstGeom prst="hexagon">
              <a:avLst/>
            </a:prstGeom>
            <a:solidFill>
              <a:schemeClr val="accent1"/>
            </a:solidFill>
            <a:ln>
              <a:solidFill>
                <a:schemeClr val="bg1"/>
              </a:solidFill>
            </a:ln>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1400" dirty="0" err="1">
                <a:solidFill>
                  <a:schemeClr val="tx1"/>
                </a:solidFill>
                <a:cs typeface="Dubai" panose="020B0503030403030204" pitchFamily="34" charset="-78"/>
              </a:endParaRPr>
            </a:p>
          </p:txBody>
        </p:sp>
        <p:pic>
          <p:nvPicPr>
            <p:cNvPr id="8203" name="Picture 11" descr="Related image">
              <a:extLst>
                <a:ext uri="{FF2B5EF4-FFF2-40B4-BE49-F238E27FC236}"/>
              </a:extLst>
            </p:cNvPr>
            <p:cNvPicPr>
              <a:picLocks noChangeArrowheads="1"/>
            </p:cNvPicPr>
            <p:nvPr/>
          </p:nvPicPr>
          <p:blipFill rotWithShape="1">
            <a:blip r:embed="rId8" cstate="print">
              <a:extLst>
                <a:ext uri="{28A0092B-C50C-407E-A947-70E740481C1C}"/>
              </a:extLst>
            </a:blip>
            <a:srcRect l="12148" t="-254" r="31362" b="254"/>
            <a:stretch/>
          </p:blipFill>
          <p:spPr bwMode="auto">
            <a:xfrm>
              <a:off x="365158" y="947226"/>
              <a:ext cx="1357404" cy="1221601"/>
            </a:xfrm>
            <a:prstGeom prst="hexagon">
              <a:avLst/>
            </a:prstGeom>
            <a:noFill/>
            <a:extLst>
              <a:ext uri="{909E8E84-426E-40DD-AFC4-6F175D3DCCD1}"/>
            </a:extLst>
          </p:spPr>
        </p:pic>
        <p:pic>
          <p:nvPicPr>
            <p:cNvPr id="8205" name="Picture 13" descr="Image result for funding">
              <a:extLst>
                <a:ext uri="{FF2B5EF4-FFF2-40B4-BE49-F238E27FC236}"/>
              </a:extLst>
            </p:cNvPr>
            <p:cNvPicPr>
              <a:picLocks noChangeArrowheads="1"/>
            </p:cNvPicPr>
            <p:nvPr/>
          </p:nvPicPr>
          <p:blipFill rotWithShape="1">
            <a:blip r:embed="rId9">
              <a:extLst>
                <a:ext uri="{28A0092B-C50C-407E-A947-70E740481C1C}"/>
              </a:extLst>
            </a:blip>
            <a:srcRect l="15461" r="28593"/>
            <a:stretch/>
          </p:blipFill>
          <p:spPr bwMode="auto">
            <a:xfrm>
              <a:off x="365158" y="2296802"/>
              <a:ext cx="1357404" cy="1221601"/>
            </a:xfrm>
            <a:prstGeom prst="hexagon">
              <a:avLst/>
            </a:prstGeom>
            <a:noFill/>
            <a:extLst>
              <a:ext uri="{909E8E84-426E-40DD-AFC4-6F175D3DCCD1}"/>
            </a:extLst>
          </p:spPr>
        </p:pic>
        <p:pic>
          <p:nvPicPr>
            <p:cNvPr id="8209" name="Picture 17" descr="Image result for african human development capital">
              <a:extLst>
                <a:ext uri="{FF2B5EF4-FFF2-40B4-BE49-F238E27FC236}"/>
              </a:extLst>
            </p:cNvPr>
            <p:cNvPicPr>
              <a:picLocks noChangeArrowheads="1"/>
            </p:cNvPicPr>
            <p:nvPr/>
          </p:nvPicPr>
          <p:blipFill rotWithShape="1">
            <a:blip r:embed="rId10">
              <a:extLst>
                <a:ext uri="{28A0092B-C50C-407E-A947-70E740481C1C}"/>
              </a:extLst>
            </a:blip>
            <a:srcRect r="17165"/>
            <a:stretch/>
          </p:blipFill>
          <p:spPr bwMode="auto">
            <a:xfrm>
              <a:off x="365158" y="3648517"/>
              <a:ext cx="1357404" cy="1221601"/>
            </a:xfrm>
            <a:prstGeom prst="hexagon">
              <a:avLst/>
            </a:prstGeom>
            <a:noFill/>
            <a:extLst>
              <a:ext uri="{909E8E84-426E-40DD-AFC4-6F175D3DCCD1}"/>
            </a:extLst>
          </p:spPr>
        </p:pic>
        <p:pic>
          <p:nvPicPr>
            <p:cNvPr id="8211" name="Picture 19" descr="Image result for social accountability">
              <a:extLst>
                <a:ext uri="{FF2B5EF4-FFF2-40B4-BE49-F238E27FC236}"/>
              </a:extLst>
            </p:cNvPr>
            <p:cNvPicPr>
              <a:picLocks noChangeArrowheads="1"/>
            </p:cNvPicPr>
            <p:nvPr/>
          </p:nvPicPr>
          <p:blipFill>
            <a:blip r:embed="rId11">
              <a:extLst>
                <a:ext uri="{28A0092B-C50C-407E-A947-70E740481C1C}"/>
              </a:extLst>
            </a:blip>
            <a:srcRect/>
            <a:stretch>
              <a:fillRect/>
            </a:stretch>
          </p:blipFill>
          <p:spPr bwMode="auto">
            <a:xfrm>
              <a:off x="365158" y="5000232"/>
              <a:ext cx="1357404" cy="1221601"/>
            </a:xfrm>
            <a:prstGeom prst="hexagon">
              <a:avLst/>
            </a:prstGeom>
            <a:noFill/>
            <a:extLst>
              <a:ext uri="{909E8E84-426E-40DD-AFC4-6F175D3DCCD1}"/>
            </a:extLst>
          </p:spPr>
        </p:pic>
      </p:grpSp>
      <p:sp>
        <p:nvSpPr>
          <p:cNvPr id="6" name="Rectangle 5">
            <a:extLst>
              <a:ext uri="{FF2B5EF4-FFF2-40B4-BE49-F238E27FC236}"/>
            </a:extLst>
          </p:cNvPr>
          <p:cNvSpPr/>
          <p:nvPr/>
        </p:nvSpPr>
        <p:spPr>
          <a:xfrm>
            <a:off x="6284913" y="4314825"/>
            <a:ext cx="2219325" cy="552450"/>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err="1">
              <a:solidFill>
                <a:schemeClr val="tx1"/>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ct 63"/>
          <p:cNvGraphicFramePr>
            <a:graphicFrameLocks noChangeAspect="1"/>
          </p:cNvGraphicFramePr>
          <p:nvPr/>
        </p:nvGraphicFramePr>
        <p:xfrm>
          <a:off x="1588" y="841375"/>
          <a:ext cx="1587" cy="1588"/>
        </p:xfrm>
        <a:graphic>
          <a:graphicData uri="http://schemas.openxmlformats.org/presentationml/2006/ole">
            <p:oleObj spid="_x0000_s27650" name="think-cell Slide" r:id="rId6" imgW="360" imgH="360" progId="">
              <p:embed/>
            </p:oleObj>
          </a:graphicData>
        </a:graphic>
      </p:graphicFrame>
      <p:sp>
        <p:nvSpPr>
          <p:cNvPr id="4" name="Rectangle 3" hidden="1">
            <a:extLst>
              <a:ext uri="{FF2B5EF4-FFF2-40B4-BE49-F238E27FC236}"/>
            </a:extLst>
          </p:cNvPr>
          <p:cNvSpPr/>
          <p:nvPr>
            <p:custDataLst>
              <p:tags r:id="rId2"/>
            </p:custDataLst>
          </p:nvPr>
        </p:nvSpPr>
        <p:spPr>
          <a:xfrm>
            <a:off x="0" y="839788"/>
            <a:ext cx="119063" cy="11906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b="1" dirty="0" err="1">
              <a:solidFill>
                <a:srgbClr val="000000"/>
              </a:solidFill>
              <a:ea typeface="+mj-ea"/>
              <a:cs typeface="+mj-cs"/>
              <a:sym typeface="Arial" panose="020B0604020202020204" pitchFamily="34" charset="0"/>
            </a:endParaRPr>
          </a:p>
        </p:txBody>
      </p:sp>
      <p:grpSp>
        <p:nvGrpSpPr>
          <p:cNvPr id="27652" name="Group 39"/>
          <p:cNvGrpSpPr>
            <a:grpSpLocks/>
          </p:cNvGrpSpPr>
          <p:nvPr/>
        </p:nvGrpSpPr>
        <p:grpSpPr bwMode="auto">
          <a:xfrm>
            <a:off x="0" y="1128713"/>
            <a:ext cx="8961438" cy="295275"/>
            <a:chOff x="0" y="1001697"/>
            <a:chExt cx="11949112" cy="392659"/>
          </a:xfrm>
        </p:grpSpPr>
        <p:sp>
          <p:nvSpPr>
            <p:cNvPr id="41" name="Rectangle 40">
              <a:extLst>
                <a:ext uri="{FF2B5EF4-FFF2-40B4-BE49-F238E27FC236}"/>
              </a:extLst>
            </p:cNvPr>
            <p:cNvSpPr>
              <a:spLocks/>
            </p:cNvSpPr>
            <p:nvPr/>
          </p:nvSpPr>
          <p:spPr>
            <a:xfrm>
              <a:off x="0" y="1001697"/>
              <a:ext cx="11949112" cy="392659"/>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825" dirty="0">
                <a:solidFill>
                  <a:schemeClr val="tx1"/>
                </a:solidFill>
              </a:endParaRPr>
            </a:p>
          </p:txBody>
        </p:sp>
        <p:cxnSp>
          <p:nvCxnSpPr>
            <p:cNvPr id="43" name="Straight Connector 42">
              <a:extLst>
                <a:ext uri="{FF2B5EF4-FFF2-40B4-BE49-F238E27FC236}"/>
              </a:extLst>
            </p:cNvPr>
            <p:cNvCxnSpPr>
              <a:cxnSpLocks/>
            </p:cNvCxnSpPr>
            <p:nvPr/>
          </p:nvCxnSpPr>
          <p:spPr>
            <a:xfrm>
              <a:off x="0" y="1001697"/>
              <a:ext cx="11949112"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7653" name="Title 1"/>
          <p:cNvSpPr>
            <a:spLocks noGrp="1"/>
          </p:cNvSpPr>
          <p:nvPr>
            <p:ph type="title"/>
          </p:nvPr>
        </p:nvSpPr>
        <p:spPr bwMode="gray">
          <a:xfrm>
            <a:off x="200025" y="203200"/>
            <a:ext cx="8472488" cy="331788"/>
          </a:xfrm>
        </p:spPr>
        <p:txBody>
          <a:bodyPr/>
          <a:lstStyle/>
          <a:p>
            <a:pPr marL="88900">
              <a:tabLst/>
            </a:pPr>
            <a:r>
              <a:rPr lang="en-US" smtClean="0"/>
              <a:t>The various stakeholders have pledged unwavering commitment to the HCD vision of “</a:t>
            </a:r>
            <a:r>
              <a:rPr lang="en-US" b="1" smtClean="0"/>
              <a:t>Healthy, Educated, and Productive Nigerians for a </a:t>
            </a:r>
            <a:br>
              <a:rPr lang="en-US" b="1" smtClean="0"/>
            </a:br>
            <a:r>
              <a:rPr lang="en-US" b="1" smtClean="0"/>
              <a:t>globally competitive nation by 2030”</a:t>
            </a:r>
            <a:br>
              <a:rPr lang="en-US" b="1" smtClean="0"/>
            </a:br>
            <a:endParaRPr lang="en-ZA" smtClean="0"/>
          </a:p>
        </p:txBody>
      </p:sp>
      <p:sp>
        <p:nvSpPr>
          <p:cNvPr id="16" name="5. Source">
            <a:extLst>
              <a:ext uri="{FF2B5EF4-FFF2-40B4-BE49-F238E27FC236}"/>
            </a:extLst>
          </p:cNvPr>
          <p:cNvSpPr>
            <a:spLocks noChangeArrowheads="1"/>
          </p:cNvSpPr>
          <p:nvPr/>
        </p:nvSpPr>
        <p:spPr bwMode="gray">
          <a:xfrm>
            <a:off x="211138" y="6567488"/>
            <a:ext cx="7396162" cy="93662"/>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391716" indent="-391716" defTabSz="895395">
              <a:defRPr/>
            </a:pPr>
            <a:r>
              <a:rPr lang="en-US" sz="600" dirty="0">
                <a:solidFill>
                  <a:schemeClr val="accent6"/>
                </a:solidFill>
                <a:latin typeface="+mn-lt"/>
                <a:cs typeface="+mn-cs"/>
              </a:rPr>
              <a:t>SOURCE: HCD Dialogue</a:t>
            </a:r>
          </a:p>
        </p:txBody>
      </p:sp>
      <p:sp>
        <p:nvSpPr>
          <p:cNvPr id="44" name="1. On-page tracker">
            <a:extLst>
              <a:ext uri="{FF2B5EF4-FFF2-40B4-BE49-F238E27FC236}"/>
            </a:extLst>
          </p:cNvPr>
          <p:cNvSpPr>
            <a:spLocks noChangeArrowheads="1"/>
          </p:cNvSpPr>
          <p:nvPr/>
        </p:nvSpPr>
        <p:spPr bwMode="gray">
          <a:xfrm>
            <a:off x="244475" y="60325"/>
            <a:ext cx="4237038" cy="15398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p>
            <a:pPr marL="300038" indent="-300038">
              <a:defRPr/>
            </a:pPr>
            <a:r>
              <a:rPr lang="en-US" sz="1000" cap="all" dirty="0">
                <a:solidFill>
                  <a:srgbClr val="808080"/>
                </a:solidFill>
                <a:latin typeface="Arial"/>
                <a:cs typeface="+mn-cs"/>
              </a:rPr>
              <a:t>COMMITMENTS OF STAKEHOLDERS at the national dialogue</a:t>
            </a:r>
          </a:p>
        </p:txBody>
      </p:sp>
      <p:pic>
        <p:nvPicPr>
          <p:cNvPr id="27656" name="Picture 28" descr="Ausriss-gross"/>
          <p:cNvPicPr>
            <a:picLocks noChangeArrowheads="1"/>
          </p:cNvPicPr>
          <p:nvPr/>
        </p:nvPicPr>
        <p:blipFill>
          <a:blip r:embed="rId7"/>
          <a:srcRect/>
          <a:stretch>
            <a:fillRect/>
          </a:stretch>
        </p:blipFill>
        <p:spPr bwMode="gray">
          <a:xfrm>
            <a:off x="77788" y="2130425"/>
            <a:ext cx="8793162" cy="795338"/>
          </a:xfrm>
          <a:prstGeom prst="rect">
            <a:avLst/>
          </a:prstGeom>
          <a:noFill/>
          <a:ln w="9525">
            <a:noFill/>
            <a:miter lim="800000"/>
            <a:headEnd/>
            <a:tailEnd/>
          </a:ln>
        </p:spPr>
      </p:pic>
      <p:sp>
        <p:nvSpPr>
          <p:cNvPr id="27657" name="Rectangle 7"/>
          <p:cNvSpPr>
            <a:spLocks/>
          </p:cNvSpPr>
          <p:nvPr/>
        </p:nvSpPr>
        <p:spPr bwMode="auto">
          <a:xfrm>
            <a:off x="366713" y="2200275"/>
            <a:ext cx="8129587" cy="655638"/>
          </a:xfrm>
          <a:prstGeom prst="rect">
            <a:avLst/>
          </a:prstGeom>
          <a:noFill/>
          <a:ln w="9525">
            <a:noFill/>
            <a:miter lim="800000"/>
            <a:headEnd/>
            <a:tailEnd/>
          </a:ln>
        </p:spPr>
        <p:txBody>
          <a:bodyPr/>
          <a:lstStyle/>
          <a:p>
            <a:pPr defTabSz="671513">
              <a:buClr>
                <a:srgbClr val="002960"/>
              </a:buClr>
            </a:pPr>
            <a:r>
              <a:rPr lang="en-ZA" sz="1200">
                <a:solidFill>
                  <a:srgbClr val="000000"/>
                </a:solidFill>
              </a:rPr>
              <a:t>“</a:t>
            </a:r>
            <a:r>
              <a:rPr lang="en-ZA" sz="1200" b="1">
                <a:solidFill>
                  <a:srgbClr val="000000"/>
                </a:solidFill>
              </a:rPr>
              <a:t>We are committed to supporting the Government of Nigeria, at the federal and state levels in its efforts to transform the society and economy by investing better and investing more into human capital</a:t>
            </a:r>
            <a:r>
              <a:rPr lang="en-ZA" sz="1200">
                <a:solidFill>
                  <a:srgbClr val="000000"/>
                </a:solidFill>
              </a:rPr>
              <a:t>” </a:t>
            </a:r>
          </a:p>
          <a:p>
            <a:pPr defTabSz="671513">
              <a:buClr>
                <a:srgbClr val="002960"/>
              </a:buClr>
            </a:pPr>
            <a:r>
              <a:rPr lang="en-ZA" sz="1200">
                <a:solidFill>
                  <a:srgbClr val="000000"/>
                </a:solidFill>
              </a:rPr>
              <a:t>–</a:t>
            </a:r>
            <a:r>
              <a:rPr lang="en-ZA" sz="1200" i="1">
                <a:solidFill>
                  <a:srgbClr val="000000"/>
                </a:solidFill>
              </a:rPr>
              <a:t>Country Director, World Bank </a:t>
            </a:r>
          </a:p>
        </p:txBody>
      </p:sp>
      <p:pic>
        <p:nvPicPr>
          <p:cNvPr id="27658" name="Picture 28" descr="Ausriss-gross"/>
          <p:cNvPicPr>
            <a:picLocks noChangeArrowheads="1"/>
          </p:cNvPicPr>
          <p:nvPr/>
        </p:nvPicPr>
        <p:blipFill>
          <a:blip r:embed="rId7"/>
          <a:srcRect/>
          <a:stretch>
            <a:fillRect/>
          </a:stretch>
        </p:blipFill>
        <p:spPr bwMode="gray">
          <a:xfrm>
            <a:off x="161925" y="3840163"/>
            <a:ext cx="4738688" cy="874712"/>
          </a:xfrm>
          <a:prstGeom prst="rect">
            <a:avLst/>
          </a:prstGeom>
          <a:noFill/>
          <a:ln w="9525">
            <a:noFill/>
            <a:miter lim="800000"/>
            <a:headEnd/>
            <a:tailEnd/>
          </a:ln>
        </p:spPr>
      </p:pic>
      <p:sp>
        <p:nvSpPr>
          <p:cNvPr id="27659" name="Rectangle 9"/>
          <p:cNvSpPr>
            <a:spLocks/>
          </p:cNvSpPr>
          <p:nvPr/>
        </p:nvSpPr>
        <p:spPr bwMode="auto">
          <a:xfrm>
            <a:off x="341313" y="3876675"/>
            <a:ext cx="4465637" cy="722313"/>
          </a:xfrm>
          <a:prstGeom prst="rect">
            <a:avLst/>
          </a:prstGeom>
          <a:noFill/>
          <a:ln w="9525">
            <a:noFill/>
            <a:miter lim="800000"/>
            <a:headEnd/>
            <a:tailEnd/>
          </a:ln>
        </p:spPr>
        <p:txBody>
          <a:bodyPr/>
          <a:lstStyle/>
          <a:p>
            <a:pPr defTabSz="671513">
              <a:buClr>
                <a:srgbClr val="002960"/>
              </a:buClr>
            </a:pPr>
            <a:r>
              <a:rPr lang="en-ZA" sz="1200">
                <a:solidFill>
                  <a:srgbClr val="000000"/>
                </a:solidFill>
              </a:rPr>
              <a:t>“</a:t>
            </a:r>
            <a:r>
              <a:rPr lang="en-US" sz="1200" b="1">
                <a:solidFill>
                  <a:srgbClr val="000000"/>
                </a:solidFill>
              </a:rPr>
              <a:t>We will work closely with various states, continue our existing partnerships and use this platform to ensure positive outcomes on HCD intervention in Nigeria</a:t>
            </a:r>
            <a:r>
              <a:rPr lang="en-US" sz="1200">
                <a:solidFill>
                  <a:srgbClr val="000000"/>
                </a:solidFill>
              </a:rPr>
              <a:t>”</a:t>
            </a:r>
          </a:p>
          <a:p>
            <a:pPr defTabSz="671513">
              <a:buClr>
                <a:srgbClr val="002960"/>
              </a:buClr>
            </a:pPr>
            <a:r>
              <a:rPr lang="en-ZA" sz="1200">
                <a:solidFill>
                  <a:srgbClr val="000000"/>
                </a:solidFill>
              </a:rPr>
              <a:t> – </a:t>
            </a:r>
            <a:r>
              <a:rPr lang="en-ZA" sz="1200" i="1">
                <a:solidFill>
                  <a:srgbClr val="000000"/>
                </a:solidFill>
              </a:rPr>
              <a:t>Bill and Melinda Gates Foundation</a:t>
            </a:r>
          </a:p>
        </p:txBody>
      </p:sp>
      <p:grpSp>
        <p:nvGrpSpPr>
          <p:cNvPr id="27660" name="Group 25"/>
          <p:cNvGrpSpPr>
            <a:grpSpLocks/>
          </p:cNvGrpSpPr>
          <p:nvPr/>
        </p:nvGrpSpPr>
        <p:grpSpPr bwMode="auto">
          <a:xfrm>
            <a:off x="77788" y="1276350"/>
            <a:ext cx="8793162" cy="766763"/>
            <a:chOff x="439989" y="1390406"/>
            <a:chExt cx="2640297" cy="1184940"/>
          </a:xfrm>
        </p:grpSpPr>
        <p:pic>
          <p:nvPicPr>
            <p:cNvPr id="27677" name="Picture 28" descr="Ausriss-gross"/>
            <p:cNvPicPr>
              <a:picLocks noChangeArrowheads="1"/>
            </p:cNvPicPr>
            <p:nvPr/>
          </p:nvPicPr>
          <p:blipFill>
            <a:blip r:embed="rId7"/>
            <a:srcRect/>
            <a:stretch>
              <a:fillRect/>
            </a:stretch>
          </p:blipFill>
          <p:spPr bwMode="gray">
            <a:xfrm>
              <a:off x="439989" y="1390406"/>
              <a:ext cx="2640297" cy="1184940"/>
            </a:xfrm>
            <a:prstGeom prst="rect">
              <a:avLst/>
            </a:prstGeom>
            <a:noFill/>
            <a:ln w="9525">
              <a:noFill/>
              <a:miter lim="800000"/>
              <a:headEnd/>
              <a:tailEnd/>
            </a:ln>
          </p:spPr>
        </p:pic>
        <p:sp>
          <p:nvSpPr>
            <p:cNvPr id="5" name="TextBox 4">
              <a:extLst>
                <a:ext uri="{FF2B5EF4-FFF2-40B4-BE49-F238E27FC236}"/>
              </a:extLst>
            </p:cNvPr>
            <p:cNvSpPr txBox="1"/>
            <p:nvPr/>
          </p:nvSpPr>
          <p:spPr>
            <a:xfrm>
              <a:off x="528650" y="1446832"/>
              <a:ext cx="2362396" cy="826758"/>
            </a:xfrm>
            <a:prstGeom prst="rect">
              <a:avLst/>
            </a:prstGeom>
          </p:spPr>
          <p:txBody>
            <a:bodyPr lIns="0" tIns="0" rIns="0" bIns="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defTabSz="671513">
                <a:buClr>
                  <a:srgbClr val="002960"/>
                </a:buClr>
                <a:defRPr/>
              </a:pPr>
              <a:r>
                <a:rPr lang="en-ZA" sz="1200">
                  <a:solidFill>
                    <a:srgbClr val="000000"/>
                  </a:solidFill>
                  <a:cs typeface="+mn-cs"/>
                </a:rPr>
                <a:t>“</a:t>
              </a:r>
              <a:r>
                <a:rPr lang="en-ZA" sz="1200" b="1">
                  <a:solidFill>
                    <a:srgbClr val="000000"/>
                  </a:solidFill>
                  <a:cs typeface="+mn-cs"/>
                </a:rPr>
                <a:t>The Governors are committed to the HCD vision and we will take up a political decision next year on how to diversify the economy of the States to generate revenue for the HCD interventions</a:t>
              </a:r>
              <a:r>
                <a:rPr lang="en-ZA" sz="1200">
                  <a:solidFill>
                    <a:srgbClr val="000000"/>
                  </a:solidFill>
                  <a:cs typeface="+mn-cs"/>
                </a:rPr>
                <a:t>.” </a:t>
              </a:r>
            </a:p>
            <a:p>
              <a:pPr defTabSz="671513">
                <a:buClr>
                  <a:srgbClr val="002960"/>
                </a:buClr>
                <a:defRPr/>
              </a:pPr>
              <a:r>
                <a:rPr lang="en-ZA" sz="1200">
                  <a:solidFill>
                    <a:srgbClr val="000000"/>
                  </a:solidFill>
                  <a:cs typeface="+mn-cs"/>
                </a:rPr>
                <a:t>– </a:t>
              </a:r>
              <a:r>
                <a:rPr sz="1200" i="1">
                  <a:solidFill>
                    <a:schemeClr val="tx1">
                      <a:lumMod val="65000"/>
                      <a:lumOff val="35000"/>
                    </a:schemeClr>
                  </a:solidFill>
                  <a:ea typeface="Gulim" panose="020B0600000101010101" pitchFamily="34" charset="-127"/>
                  <a:cs typeface="+mn-cs"/>
                </a:rPr>
                <a:t>Chairman Nigerian Governors forum</a:t>
              </a:r>
              <a:endParaRPr lang="en-ZA" sz="1200" i="1">
                <a:solidFill>
                  <a:srgbClr val="000000"/>
                </a:solidFill>
                <a:cs typeface="+mn-cs"/>
              </a:endParaRPr>
            </a:p>
          </p:txBody>
        </p:sp>
      </p:grpSp>
      <p:grpSp>
        <p:nvGrpSpPr>
          <p:cNvPr id="27661" name="Group 31"/>
          <p:cNvGrpSpPr>
            <a:grpSpLocks/>
          </p:cNvGrpSpPr>
          <p:nvPr/>
        </p:nvGrpSpPr>
        <p:grpSpPr bwMode="auto">
          <a:xfrm>
            <a:off x="77788" y="2963863"/>
            <a:ext cx="8793162" cy="793750"/>
            <a:chOff x="439989" y="1357142"/>
            <a:chExt cx="2640297" cy="1184940"/>
          </a:xfrm>
        </p:grpSpPr>
        <p:pic>
          <p:nvPicPr>
            <p:cNvPr id="27675" name="Picture 28" descr="Ausriss-gross"/>
            <p:cNvPicPr>
              <a:picLocks noChangeArrowheads="1"/>
            </p:cNvPicPr>
            <p:nvPr/>
          </p:nvPicPr>
          <p:blipFill>
            <a:blip r:embed="rId7"/>
            <a:srcRect/>
            <a:stretch>
              <a:fillRect/>
            </a:stretch>
          </p:blipFill>
          <p:spPr bwMode="gray">
            <a:xfrm>
              <a:off x="439989" y="1357142"/>
              <a:ext cx="2640297" cy="1184940"/>
            </a:xfrm>
            <a:prstGeom prst="rect">
              <a:avLst/>
            </a:prstGeom>
            <a:noFill/>
            <a:ln w="9525">
              <a:noFill/>
              <a:miter lim="800000"/>
              <a:headEnd/>
              <a:tailEnd/>
            </a:ln>
          </p:spPr>
        </p:pic>
        <p:sp>
          <p:nvSpPr>
            <p:cNvPr id="27676" name="TextBox 33"/>
            <p:cNvSpPr txBox="1">
              <a:spLocks noChangeArrowheads="1"/>
            </p:cNvSpPr>
            <p:nvPr/>
          </p:nvSpPr>
          <p:spPr bwMode="auto">
            <a:xfrm>
              <a:off x="519040" y="1541398"/>
              <a:ext cx="2467690" cy="826303"/>
            </a:xfrm>
            <a:prstGeom prst="rect">
              <a:avLst/>
            </a:prstGeom>
            <a:noFill/>
            <a:ln w="9525">
              <a:noFill/>
              <a:miter lim="800000"/>
              <a:headEnd/>
              <a:tailEnd/>
            </a:ln>
          </p:spPr>
          <p:txBody>
            <a:bodyPr lIns="0" tIns="0" rIns="0" bIns="0" anchor="ctr">
              <a:spAutoFit/>
            </a:bodyPr>
            <a:lstStyle/>
            <a:p>
              <a:pPr defTabSz="671513">
                <a:buClr>
                  <a:srgbClr val="002960"/>
                </a:buClr>
                <a:buSzPct val="100000"/>
              </a:pPr>
              <a:r>
                <a:rPr lang="en-ZA" sz="1200">
                  <a:solidFill>
                    <a:srgbClr val="000000"/>
                  </a:solidFill>
                </a:rPr>
                <a:t>“</a:t>
              </a:r>
              <a:r>
                <a:rPr lang="en-ZA" sz="1200" b="1">
                  <a:solidFill>
                    <a:srgbClr val="000000"/>
                  </a:solidFill>
                </a:rPr>
                <a:t>As a business leader, I have been, and continue to be committed to helping Nigeria solve some of our biggest human capital challenges and believe we must all work together</a:t>
              </a:r>
              <a:r>
                <a:rPr lang="en-ZA" sz="1200">
                  <a:solidFill>
                    <a:srgbClr val="000000"/>
                  </a:solidFill>
                </a:rPr>
                <a:t>” </a:t>
              </a:r>
            </a:p>
            <a:p>
              <a:pPr defTabSz="671513">
                <a:buClr>
                  <a:srgbClr val="002960"/>
                </a:buClr>
                <a:buSzPct val="100000"/>
              </a:pPr>
              <a:r>
                <a:rPr lang="en-ZA" sz="1200">
                  <a:solidFill>
                    <a:srgbClr val="000000"/>
                  </a:solidFill>
                </a:rPr>
                <a:t>– </a:t>
              </a:r>
              <a:r>
                <a:rPr lang="en-ZA" sz="1200" i="1">
                  <a:solidFill>
                    <a:srgbClr val="000000"/>
                  </a:solidFill>
                </a:rPr>
                <a:t>CEO, Aliko Dangote Foundation</a:t>
              </a:r>
            </a:p>
          </p:txBody>
        </p:sp>
      </p:grpSp>
      <p:pic>
        <p:nvPicPr>
          <p:cNvPr id="27662" name="Picture 28" descr="Ausriss-gross"/>
          <p:cNvPicPr>
            <a:picLocks noChangeArrowheads="1"/>
          </p:cNvPicPr>
          <p:nvPr/>
        </p:nvPicPr>
        <p:blipFill>
          <a:blip r:embed="rId7"/>
          <a:srcRect/>
          <a:stretch>
            <a:fillRect/>
          </a:stretch>
        </p:blipFill>
        <p:spPr bwMode="gray">
          <a:xfrm>
            <a:off x="161925" y="4797425"/>
            <a:ext cx="8709025" cy="795338"/>
          </a:xfrm>
          <a:prstGeom prst="rect">
            <a:avLst/>
          </a:prstGeom>
          <a:noFill/>
          <a:ln w="9525">
            <a:noFill/>
            <a:miter lim="800000"/>
            <a:headEnd/>
            <a:tailEnd/>
          </a:ln>
        </p:spPr>
      </p:pic>
      <p:sp>
        <p:nvSpPr>
          <p:cNvPr id="27663" name="Rectangle 29"/>
          <p:cNvSpPr>
            <a:spLocks/>
          </p:cNvSpPr>
          <p:nvPr/>
        </p:nvSpPr>
        <p:spPr bwMode="auto">
          <a:xfrm>
            <a:off x="500063" y="4867275"/>
            <a:ext cx="7996237" cy="655638"/>
          </a:xfrm>
          <a:prstGeom prst="rect">
            <a:avLst/>
          </a:prstGeom>
          <a:noFill/>
          <a:ln w="9525">
            <a:noFill/>
            <a:miter lim="800000"/>
            <a:headEnd/>
            <a:tailEnd/>
          </a:ln>
        </p:spPr>
        <p:txBody>
          <a:bodyPr/>
          <a:lstStyle/>
          <a:p>
            <a:pPr defTabSz="685800"/>
            <a:endParaRPr lang="en-ZA" sz="1200" i="1">
              <a:solidFill>
                <a:srgbClr val="000000"/>
              </a:solidFill>
            </a:endParaRPr>
          </a:p>
        </p:txBody>
      </p:sp>
      <p:grpSp>
        <p:nvGrpSpPr>
          <p:cNvPr id="27664" name="Group 48"/>
          <p:cNvGrpSpPr>
            <a:grpSpLocks/>
          </p:cNvGrpSpPr>
          <p:nvPr/>
        </p:nvGrpSpPr>
        <p:grpSpPr bwMode="auto">
          <a:xfrm>
            <a:off x="244475" y="5694363"/>
            <a:ext cx="4049713" cy="795337"/>
            <a:chOff x="439989" y="1390406"/>
            <a:chExt cx="2640297" cy="1184940"/>
          </a:xfrm>
        </p:grpSpPr>
        <p:pic>
          <p:nvPicPr>
            <p:cNvPr id="27673" name="Picture 28" descr="Ausriss-gross"/>
            <p:cNvPicPr>
              <a:picLocks noChangeArrowheads="1"/>
            </p:cNvPicPr>
            <p:nvPr/>
          </p:nvPicPr>
          <p:blipFill>
            <a:blip r:embed="rId7"/>
            <a:srcRect/>
            <a:stretch>
              <a:fillRect/>
            </a:stretch>
          </p:blipFill>
          <p:spPr bwMode="gray">
            <a:xfrm>
              <a:off x="439989" y="1390406"/>
              <a:ext cx="2640297" cy="1184940"/>
            </a:xfrm>
            <a:prstGeom prst="rect">
              <a:avLst/>
            </a:prstGeom>
            <a:noFill/>
            <a:ln w="9525">
              <a:noFill/>
              <a:miter lim="800000"/>
              <a:headEnd/>
              <a:tailEnd/>
            </a:ln>
          </p:spPr>
        </p:pic>
        <p:sp>
          <p:nvSpPr>
            <p:cNvPr id="27674" name="TextBox 50"/>
            <p:cNvSpPr txBox="1">
              <a:spLocks noChangeArrowheads="1"/>
            </p:cNvSpPr>
            <p:nvPr/>
          </p:nvSpPr>
          <p:spPr bwMode="auto">
            <a:xfrm>
              <a:off x="629385" y="1569725"/>
              <a:ext cx="2261504" cy="826303"/>
            </a:xfrm>
            <a:prstGeom prst="rect">
              <a:avLst/>
            </a:prstGeom>
            <a:noFill/>
            <a:ln w="9525">
              <a:noFill/>
              <a:miter lim="800000"/>
              <a:headEnd/>
              <a:tailEnd/>
            </a:ln>
          </p:spPr>
          <p:txBody>
            <a:bodyPr lIns="0" tIns="0" rIns="0" bIns="0" anchor="ctr">
              <a:spAutoFit/>
            </a:bodyPr>
            <a:lstStyle/>
            <a:p>
              <a:pPr defTabSz="671513">
                <a:buClr>
                  <a:srgbClr val="002960"/>
                </a:buClr>
                <a:buSzPct val="100000"/>
              </a:pPr>
              <a:r>
                <a:rPr lang="en-ZA" sz="1200">
                  <a:solidFill>
                    <a:srgbClr val="000000"/>
                  </a:solidFill>
                </a:rPr>
                <a:t>“</a:t>
              </a:r>
              <a:r>
                <a:rPr lang="en-ZA" sz="1200" b="1">
                  <a:solidFill>
                    <a:srgbClr val="000000"/>
                  </a:solidFill>
                </a:rPr>
                <a:t>We all share a common concern on how to tackle development challenges in Nigeria</a:t>
              </a:r>
              <a:r>
                <a:rPr lang="en-ZA" sz="1200">
                  <a:solidFill>
                    <a:srgbClr val="000000"/>
                  </a:solidFill>
                </a:rPr>
                <a:t>” </a:t>
              </a:r>
            </a:p>
            <a:p>
              <a:pPr defTabSz="671513">
                <a:buClr>
                  <a:srgbClr val="002960"/>
                </a:buClr>
                <a:buSzPct val="100000"/>
              </a:pPr>
              <a:r>
                <a:rPr lang="en-ZA" sz="1200">
                  <a:solidFill>
                    <a:srgbClr val="000000"/>
                  </a:solidFill>
                </a:rPr>
                <a:t>– </a:t>
              </a:r>
              <a:r>
                <a:rPr lang="en-ZA" sz="1200" i="1">
                  <a:solidFill>
                    <a:srgbClr val="000000"/>
                  </a:solidFill>
                </a:rPr>
                <a:t>Deputy Country Representative, UNICEF</a:t>
              </a:r>
            </a:p>
          </p:txBody>
        </p:sp>
      </p:grpSp>
      <p:grpSp>
        <p:nvGrpSpPr>
          <p:cNvPr id="27665" name="Group 51"/>
          <p:cNvGrpSpPr>
            <a:grpSpLocks/>
          </p:cNvGrpSpPr>
          <p:nvPr/>
        </p:nvGrpSpPr>
        <p:grpSpPr bwMode="auto">
          <a:xfrm>
            <a:off x="488950" y="4908550"/>
            <a:ext cx="8310563" cy="1547813"/>
            <a:chOff x="-1822696" y="267860"/>
            <a:chExt cx="4942811" cy="2307486"/>
          </a:xfrm>
        </p:grpSpPr>
        <p:pic>
          <p:nvPicPr>
            <p:cNvPr id="27670" name="Picture 28" descr="Ausriss-gross"/>
            <p:cNvPicPr>
              <a:picLocks noChangeArrowheads="1"/>
            </p:cNvPicPr>
            <p:nvPr/>
          </p:nvPicPr>
          <p:blipFill>
            <a:blip r:embed="rId7"/>
            <a:srcRect/>
            <a:stretch>
              <a:fillRect/>
            </a:stretch>
          </p:blipFill>
          <p:spPr bwMode="gray">
            <a:xfrm>
              <a:off x="439988" y="1390405"/>
              <a:ext cx="2680127" cy="1184941"/>
            </a:xfrm>
            <a:prstGeom prst="rect">
              <a:avLst/>
            </a:prstGeom>
            <a:noFill/>
            <a:ln w="9525">
              <a:noFill/>
              <a:miter lim="800000"/>
              <a:headEnd/>
              <a:tailEnd/>
            </a:ln>
          </p:spPr>
        </p:pic>
        <p:sp>
          <p:nvSpPr>
            <p:cNvPr id="27671" name="TextBox 53"/>
            <p:cNvSpPr txBox="1">
              <a:spLocks noChangeArrowheads="1"/>
            </p:cNvSpPr>
            <p:nvPr/>
          </p:nvSpPr>
          <p:spPr bwMode="auto">
            <a:xfrm>
              <a:off x="629385" y="1432009"/>
              <a:ext cx="2261504" cy="1101737"/>
            </a:xfrm>
            <a:prstGeom prst="rect">
              <a:avLst/>
            </a:prstGeom>
            <a:noFill/>
            <a:ln w="9525">
              <a:noFill/>
              <a:miter lim="800000"/>
              <a:headEnd/>
              <a:tailEnd/>
            </a:ln>
          </p:spPr>
          <p:txBody>
            <a:bodyPr lIns="0" tIns="0" rIns="0" bIns="0" anchor="ctr">
              <a:spAutoFit/>
            </a:bodyPr>
            <a:lstStyle/>
            <a:p>
              <a:pPr defTabSz="685800">
                <a:buClr>
                  <a:schemeClr val="tx2"/>
                </a:buClr>
                <a:buSzPct val="100000"/>
              </a:pPr>
              <a:r>
                <a:rPr lang="en-ZA" sz="1200">
                  <a:solidFill>
                    <a:srgbClr val="000000"/>
                  </a:solidFill>
                </a:rPr>
                <a:t>“</a:t>
              </a:r>
              <a:r>
                <a:rPr lang="en-ZA" sz="1200" b="1">
                  <a:solidFill>
                    <a:srgbClr val="000000"/>
                  </a:solidFill>
                </a:rPr>
                <a:t>We </a:t>
              </a:r>
              <a:r>
                <a:rPr lang="en-US" sz="1200" b="1">
                  <a:solidFill>
                    <a:srgbClr val="000000"/>
                  </a:solidFill>
                </a:rPr>
                <a:t>in the US government will continue to partner with our Nigerian counterparts and we stress the importance of the mutual commitments we make</a:t>
              </a:r>
              <a:r>
                <a:rPr lang="en-ZA" sz="1200" b="1">
                  <a:solidFill>
                    <a:srgbClr val="000000"/>
                  </a:solidFill>
                </a:rPr>
                <a:t> </a:t>
              </a:r>
              <a:r>
                <a:rPr lang="en-ZA" sz="1200">
                  <a:solidFill>
                    <a:srgbClr val="000000"/>
                  </a:solidFill>
                </a:rPr>
                <a:t>”</a:t>
              </a:r>
            </a:p>
            <a:p>
              <a:pPr defTabSz="685800">
                <a:buClr>
                  <a:schemeClr val="tx2"/>
                </a:buClr>
                <a:buSzPct val="100000"/>
              </a:pPr>
              <a:r>
                <a:rPr lang="en-ZA" sz="1200" i="1">
                  <a:solidFill>
                    <a:srgbClr val="000000"/>
                  </a:solidFill>
                </a:rPr>
                <a:t>- US Mission Director, USAID</a:t>
              </a:r>
            </a:p>
          </p:txBody>
        </p:sp>
        <p:sp>
          <p:nvSpPr>
            <p:cNvPr id="27672" name="TextBox 44"/>
            <p:cNvSpPr txBox="1">
              <a:spLocks noChangeArrowheads="1"/>
            </p:cNvSpPr>
            <p:nvPr/>
          </p:nvSpPr>
          <p:spPr bwMode="auto">
            <a:xfrm>
              <a:off x="-1822696" y="267860"/>
              <a:ext cx="4869552" cy="826303"/>
            </a:xfrm>
            <a:prstGeom prst="rect">
              <a:avLst/>
            </a:prstGeom>
            <a:noFill/>
            <a:ln w="9525">
              <a:noFill/>
              <a:miter lim="800000"/>
              <a:headEnd/>
              <a:tailEnd/>
            </a:ln>
          </p:spPr>
          <p:txBody>
            <a:bodyPr lIns="0" tIns="0" rIns="0" bIns="0" anchor="ctr">
              <a:spAutoFit/>
            </a:bodyPr>
            <a:lstStyle/>
            <a:p>
              <a:pPr defTabSz="671513">
                <a:buClr>
                  <a:srgbClr val="002960"/>
                </a:buClr>
                <a:buSzPct val="100000"/>
              </a:pPr>
              <a:r>
                <a:rPr lang="en-ZA" sz="1200">
                  <a:solidFill>
                    <a:srgbClr val="000000"/>
                  </a:solidFill>
                </a:rPr>
                <a:t>“</a:t>
              </a:r>
              <a:r>
                <a:rPr lang="en-ZA" sz="1200" b="1">
                  <a:solidFill>
                    <a:srgbClr val="000000"/>
                  </a:solidFill>
                </a:rPr>
                <a:t>We believe that t</a:t>
              </a:r>
              <a:r>
                <a:rPr lang="en-US" sz="1200" b="1">
                  <a:solidFill>
                    <a:srgbClr val="000000"/>
                  </a:solidFill>
                </a:rPr>
                <a:t>o achieve economic progress in Nigeria,  we need the children of today to be nourished, healthy, educated and skilled so they can move into jobs to drive the economic progress of this nation</a:t>
              </a:r>
              <a:r>
                <a:rPr lang="en-US" sz="1200">
                  <a:solidFill>
                    <a:srgbClr val="000000"/>
                  </a:solidFill>
                </a:rPr>
                <a:t>”</a:t>
              </a:r>
              <a:endParaRPr lang="en-ZA" sz="1200">
                <a:solidFill>
                  <a:srgbClr val="000000"/>
                </a:solidFill>
              </a:endParaRPr>
            </a:p>
            <a:p>
              <a:pPr defTabSz="671513">
                <a:buClr>
                  <a:srgbClr val="002960"/>
                </a:buClr>
                <a:buSzPct val="100000"/>
              </a:pPr>
              <a:r>
                <a:rPr lang="en-ZA" sz="1200">
                  <a:solidFill>
                    <a:srgbClr val="000000"/>
                  </a:solidFill>
                </a:rPr>
                <a:t>- Country Director, </a:t>
              </a:r>
              <a:r>
                <a:rPr lang="en-ZA" sz="1200" i="1">
                  <a:solidFill>
                    <a:srgbClr val="000000"/>
                  </a:solidFill>
                </a:rPr>
                <a:t>DFID</a:t>
              </a:r>
            </a:p>
          </p:txBody>
        </p:sp>
      </p:grpSp>
      <p:sp>
        <p:nvSpPr>
          <p:cNvPr id="39" name="Marvinsticker">
            <a:extLst>
              <a:ext uri="{FF2B5EF4-FFF2-40B4-BE49-F238E27FC236}"/>
            </a:extLst>
          </p:cNvPr>
          <p:cNvSpPr/>
          <p:nvPr>
            <p:custDataLst>
              <p:tags r:id="rId3"/>
            </p:custDataLst>
          </p:nvPr>
        </p:nvSpPr>
        <p:spPr>
          <a:xfrm>
            <a:off x="8008938" y="19867563"/>
            <a:ext cx="1905000" cy="455612"/>
          </a:xfrm>
          <a:prstGeom prst="foldedCorner">
            <a:avLst/>
          </a:prstGeom>
          <a:solidFill>
            <a:srgbClr val="F8C673"/>
          </a:solidFill>
          <a:ln w="9525" cap="flat" cmpd="sng" algn="ctr">
            <a:noFill/>
            <a:prstDash val="solid"/>
          </a:ln>
          <a:effectLst/>
          <a:extLst>
            <a:ext uri="{91240B29-F687-4F45-9708-019B960494DF}"/>
          </a:extLst>
        </p:spPr>
        <p:style>
          <a:lnRef idx="2">
            <a:schemeClr val="accent1">
              <a:shade val="50000"/>
            </a:schemeClr>
          </a:lnRef>
          <a:fillRef idx="1">
            <a:schemeClr val="accent1"/>
          </a:fillRef>
          <a:effectRef idx="0">
            <a:schemeClr val="accent1"/>
          </a:effectRef>
          <a:fontRef idx="minor">
            <a:schemeClr val="lt1"/>
          </a:fontRef>
        </p:style>
        <p:txBody>
          <a:bodyPr lIns="63500" tIns="70759" rIns="63500" bIns="63500">
            <a:spAutoFit/>
          </a:bodyPr>
          <a:lstStyle/>
          <a:p>
            <a:pPr>
              <a:defRPr/>
            </a:pPr>
            <a:r>
              <a:rPr lang="en-US" dirty="0">
                <a:solidFill>
                  <a:srgbClr val="000000"/>
                </a:solidFill>
              </a:rPr>
              <a:t>Kebbi state</a:t>
            </a:r>
            <a:endParaRPr lang="en-GB" dirty="0" err="1">
              <a:solidFill>
                <a:srgbClr val="000000"/>
              </a:solidFill>
            </a:endParaRPr>
          </a:p>
        </p:txBody>
      </p:sp>
      <p:sp>
        <p:nvSpPr>
          <p:cNvPr id="42" name="Marvinsticker">
            <a:extLst>
              <a:ext uri="{FF2B5EF4-FFF2-40B4-BE49-F238E27FC236}"/>
            </a:extLst>
          </p:cNvPr>
          <p:cNvSpPr/>
          <p:nvPr>
            <p:custDataLst>
              <p:tags r:id="rId4"/>
            </p:custDataLst>
          </p:nvPr>
        </p:nvSpPr>
        <p:spPr>
          <a:xfrm>
            <a:off x="8161338" y="20019963"/>
            <a:ext cx="1905000" cy="455612"/>
          </a:xfrm>
          <a:prstGeom prst="foldedCorner">
            <a:avLst/>
          </a:prstGeom>
          <a:solidFill>
            <a:srgbClr val="F8C673"/>
          </a:solidFill>
          <a:ln w="9525" cap="flat" cmpd="sng" algn="ctr">
            <a:noFill/>
            <a:prstDash val="solid"/>
          </a:ln>
          <a:effectLst/>
          <a:extLst>
            <a:ext uri="{91240B29-F687-4F45-9708-019B960494DF}"/>
          </a:extLst>
        </p:spPr>
        <p:style>
          <a:lnRef idx="2">
            <a:schemeClr val="accent1">
              <a:shade val="50000"/>
            </a:schemeClr>
          </a:lnRef>
          <a:fillRef idx="1">
            <a:schemeClr val="accent1"/>
          </a:fillRef>
          <a:effectRef idx="0">
            <a:schemeClr val="accent1"/>
          </a:effectRef>
          <a:fontRef idx="minor">
            <a:schemeClr val="lt1"/>
          </a:fontRef>
        </p:style>
        <p:txBody>
          <a:bodyPr lIns="63500" tIns="70759" rIns="63500" bIns="63500">
            <a:spAutoFit/>
          </a:bodyPr>
          <a:lstStyle/>
          <a:p>
            <a:pPr>
              <a:defRPr/>
            </a:pPr>
            <a:r>
              <a:rPr lang="en-US" dirty="0">
                <a:solidFill>
                  <a:srgbClr val="000000"/>
                </a:solidFill>
              </a:rPr>
              <a:t>Kebbi state</a:t>
            </a:r>
            <a:endParaRPr lang="en-GB" dirty="0" err="1">
              <a:solidFill>
                <a:srgbClr val="000000"/>
              </a:solidFill>
            </a:endParaRPr>
          </a:p>
        </p:txBody>
      </p:sp>
      <p:pic>
        <p:nvPicPr>
          <p:cNvPr id="27668" name="Picture 28" descr="Ausriss-gross"/>
          <p:cNvPicPr>
            <a:picLocks noChangeArrowheads="1"/>
          </p:cNvPicPr>
          <p:nvPr/>
        </p:nvPicPr>
        <p:blipFill>
          <a:blip r:embed="rId7"/>
          <a:srcRect/>
          <a:stretch>
            <a:fillRect/>
          </a:stretch>
        </p:blipFill>
        <p:spPr bwMode="gray">
          <a:xfrm>
            <a:off x="4900613" y="3840163"/>
            <a:ext cx="3905250" cy="874712"/>
          </a:xfrm>
          <a:prstGeom prst="rect">
            <a:avLst/>
          </a:prstGeom>
          <a:noFill/>
          <a:ln w="9525">
            <a:noFill/>
            <a:miter lim="800000"/>
            <a:headEnd/>
            <a:tailEnd/>
          </a:ln>
        </p:spPr>
      </p:pic>
      <p:sp>
        <p:nvSpPr>
          <p:cNvPr id="27669" name="Rectangle 46"/>
          <p:cNvSpPr>
            <a:spLocks/>
          </p:cNvSpPr>
          <p:nvPr/>
        </p:nvSpPr>
        <p:spPr bwMode="auto">
          <a:xfrm>
            <a:off x="5033963" y="3876675"/>
            <a:ext cx="3765550" cy="722313"/>
          </a:xfrm>
          <a:prstGeom prst="rect">
            <a:avLst/>
          </a:prstGeom>
          <a:noFill/>
          <a:ln w="9525">
            <a:noFill/>
            <a:miter lim="800000"/>
            <a:headEnd/>
            <a:tailEnd/>
          </a:ln>
        </p:spPr>
        <p:txBody>
          <a:bodyPr/>
          <a:lstStyle/>
          <a:p>
            <a:pPr defTabSz="671513">
              <a:buClr>
                <a:srgbClr val="002960"/>
              </a:buClr>
            </a:pPr>
            <a:r>
              <a:rPr lang="en-ZA" sz="1200">
                <a:solidFill>
                  <a:srgbClr val="000000"/>
                </a:solidFill>
              </a:rPr>
              <a:t>“</a:t>
            </a:r>
            <a:r>
              <a:rPr lang="en-US" sz="1200" b="1">
                <a:solidFill>
                  <a:srgbClr val="000000"/>
                </a:solidFill>
              </a:rPr>
              <a:t>We in the national assembly are doing our bit as we have approved  1% of the consolidated revenue fund equaling N55bn for health.</a:t>
            </a:r>
            <a:r>
              <a:rPr lang="en-US" sz="1200">
                <a:solidFill>
                  <a:srgbClr val="000000"/>
                </a:solidFill>
              </a:rPr>
              <a:t>”</a:t>
            </a:r>
          </a:p>
          <a:p>
            <a:pPr defTabSz="671513">
              <a:buClr>
                <a:srgbClr val="002960"/>
              </a:buClr>
            </a:pPr>
            <a:r>
              <a:rPr lang="en-ZA" sz="1200">
                <a:solidFill>
                  <a:srgbClr val="000000"/>
                </a:solidFill>
              </a:rPr>
              <a:t> – </a:t>
            </a:r>
            <a:r>
              <a:rPr lang="en-US" sz="1200" i="1">
                <a:solidFill>
                  <a:srgbClr val="000000"/>
                </a:solidFill>
              </a:rPr>
              <a:t>Chair of senate committee of health</a:t>
            </a:r>
            <a:endParaRPr lang="en-ZA" sz="1200" i="1">
              <a:solidFill>
                <a:srgbClr val="000000"/>
              </a:solidFill>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137"/>
          <p:cNvGraphicFramePr>
            <a:graphicFrameLocks noChangeAspect="1"/>
          </p:cNvGraphicFramePr>
          <p:nvPr/>
        </p:nvGraphicFramePr>
        <p:xfrm>
          <a:off x="1588" y="1588"/>
          <a:ext cx="1587" cy="1587"/>
        </p:xfrm>
        <a:graphic>
          <a:graphicData uri="http://schemas.openxmlformats.org/presentationml/2006/ole">
            <p:oleObj spid="_x0000_s8194" name="think-cell Slide" r:id="rId6" imgW="360" imgH="360" progId="">
              <p:embed/>
            </p:oleObj>
          </a:graphicData>
        </a:graphic>
      </p:graphicFrame>
      <p:sp>
        <p:nvSpPr>
          <p:cNvPr id="5" name="Rectangle 4"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grpSp>
        <p:nvGrpSpPr>
          <p:cNvPr id="8196" name="Group 40"/>
          <p:cNvGrpSpPr>
            <a:grpSpLocks/>
          </p:cNvGrpSpPr>
          <p:nvPr/>
        </p:nvGrpSpPr>
        <p:grpSpPr bwMode="auto">
          <a:xfrm>
            <a:off x="0" y="1285875"/>
            <a:ext cx="8961438" cy="439738"/>
            <a:chOff x="8967" y="1120062"/>
            <a:chExt cx="8961436" cy="440622"/>
          </a:xfrm>
        </p:grpSpPr>
        <p:sp>
          <p:nvSpPr>
            <p:cNvPr id="42" name="Rectangle 41">
              <a:extLst>
                <a:ext uri="{FF2B5EF4-FFF2-40B4-BE49-F238E27FC236}"/>
              </a:extLst>
            </p:cNvPr>
            <p:cNvSpPr>
              <a:spLocks/>
            </p:cNvSpPr>
            <p:nvPr/>
          </p:nvSpPr>
          <p:spPr>
            <a:xfrm>
              <a:off x="8967" y="1120062"/>
              <a:ext cx="8961436" cy="440622"/>
            </a:xfrm>
            <a:prstGeom prst="rect">
              <a:avLst/>
            </a:prstGeom>
            <a:gradFill>
              <a:gsLst>
                <a:gs pos="0">
                  <a:schemeClr val="accent6">
                    <a:lumMod val="20000"/>
                    <a:lumOff val="80000"/>
                  </a:schemeClr>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000000"/>
                </a:solidFill>
              </a:endParaRPr>
            </a:p>
          </p:txBody>
        </p:sp>
        <p:cxnSp>
          <p:nvCxnSpPr>
            <p:cNvPr id="43" name="Straight Connector 42">
              <a:extLst>
                <a:ext uri="{FF2B5EF4-FFF2-40B4-BE49-F238E27FC236}"/>
              </a:extLst>
            </p:cNvPr>
            <p:cNvCxnSpPr>
              <a:cxnSpLocks/>
            </p:cNvCxnSpPr>
            <p:nvPr/>
          </p:nvCxnSpPr>
          <p:spPr>
            <a:xfrm>
              <a:off x="8967" y="1120062"/>
              <a:ext cx="896143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8197" name="Title 1"/>
          <p:cNvSpPr>
            <a:spLocks noGrp="1"/>
          </p:cNvSpPr>
          <p:nvPr>
            <p:ph type="title"/>
          </p:nvPr>
        </p:nvSpPr>
        <p:spPr>
          <a:xfrm>
            <a:off x="119063" y="157163"/>
            <a:ext cx="8618537" cy="922337"/>
          </a:xfrm>
        </p:spPr>
        <p:txBody>
          <a:bodyPr/>
          <a:lstStyle/>
          <a:p>
            <a:r>
              <a:rPr lang="en-US" smtClean="0"/>
              <a:t>The HCD initiative is driven by the core working group (CWG) consisting of representatives from government, development partners and the private sector</a:t>
            </a:r>
          </a:p>
        </p:txBody>
      </p:sp>
      <p:sp>
        <p:nvSpPr>
          <p:cNvPr id="8198" name="TextBox 13"/>
          <p:cNvSpPr txBox="1">
            <a:spLocks/>
          </p:cNvSpPr>
          <p:nvPr/>
        </p:nvSpPr>
        <p:spPr bwMode="auto">
          <a:xfrm>
            <a:off x="119063" y="1039813"/>
            <a:ext cx="4910137" cy="215900"/>
          </a:xfrm>
          <a:prstGeom prst="rect">
            <a:avLst/>
          </a:prstGeom>
          <a:noFill/>
          <a:ln w="9525">
            <a:noFill/>
            <a:miter lim="800000"/>
            <a:headEnd/>
            <a:tailEnd/>
          </a:ln>
        </p:spPr>
        <p:txBody>
          <a:bodyPr lIns="0" tIns="0" rIns="0" bIns="0"/>
          <a:lstStyle/>
          <a:p>
            <a:pPr defTabSz="893763">
              <a:buClr>
                <a:srgbClr val="002960"/>
              </a:buClr>
              <a:buSzPct val="100000"/>
            </a:pPr>
            <a:r>
              <a:rPr lang="en-US" b="1">
                <a:solidFill>
                  <a:schemeClr val="tx2"/>
                </a:solidFill>
                <a:ea typeface="Argumentum Light"/>
                <a:cs typeface="Argumentum Light"/>
                <a:sym typeface="Argumentum Light"/>
              </a:rPr>
              <a:t>Composition of the core working group (CWG)</a:t>
            </a:r>
          </a:p>
        </p:txBody>
      </p:sp>
      <p:sp>
        <p:nvSpPr>
          <p:cNvPr id="8199" name="TextBox 14"/>
          <p:cNvSpPr txBox="1">
            <a:spLocks/>
          </p:cNvSpPr>
          <p:nvPr/>
        </p:nvSpPr>
        <p:spPr bwMode="auto">
          <a:xfrm>
            <a:off x="5387975" y="1039813"/>
            <a:ext cx="3349625" cy="246062"/>
          </a:xfrm>
          <a:prstGeom prst="rect">
            <a:avLst/>
          </a:prstGeom>
          <a:noFill/>
          <a:ln w="9525">
            <a:noFill/>
            <a:miter lim="800000"/>
            <a:headEnd/>
            <a:tailEnd/>
          </a:ln>
        </p:spPr>
        <p:txBody>
          <a:bodyPr lIns="0" tIns="0" rIns="0" bIns="0">
            <a:spAutoFit/>
          </a:bodyPr>
          <a:lstStyle/>
          <a:p>
            <a:pPr defTabSz="893763">
              <a:buClr>
                <a:srgbClr val="002960"/>
              </a:buClr>
              <a:buSzPct val="100000"/>
            </a:pPr>
            <a:r>
              <a:rPr lang="en-US" b="1">
                <a:solidFill>
                  <a:schemeClr val="tx2"/>
                </a:solidFill>
                <a:ea typeface="Argumentum Light"/>
                <a:cs typeface="Argumentum Light"/>
                <a:sym typeface="Argumentum Light"/>
              </a:rPr>
              <a:t>Objectives of the CWG</a:t>
            </a:r>
          </a:p>
        </p:txBody>
      </p:sp>
      <p:grpSp>
        <p:nvGrpSpPr>
          <p:cNvPr id="8200" name="Group 28"/>
          <p:cNvGrpSpPr>
            <a:grpSpLocks/>
          </p:cNvGrpSpPr>
          <p:nvPr/>
        </p:nvGrpSpPr>
        <p:grpSpPr bwMode="auto">
          <a:xfrm>
            <a:off x="5073650" y="1120775"/>
            <a:ext cx="269875" cy="363538"/>
            <a:chOff x="1069050" y="749079"/>
            <a:chExt cx="152672" cy="204871"/>
          </a:xfrm>
        </p:grpSpPr>
        <p:sp>
          <p:nvSpPr>
            <p:cNvPr id="39" name="Arrow: Pentagon 38">
              <a:extLst>
                <a:ext uri="{FF2B5EF4-FFF2-40B4-BE49-F238E27FC236}"/>
              </a:extLst>
            </p:cNvPr>
            <p:cNvSpPr/>
            <p:nvPr/>
          </p:nvSpPr>
          <p:spPr bwMode="gray">
            <a:xfrm>
              <a:off x="1120240" y="749079"/>
              <a:ext cx="101482" cy="204871"/>
            </a:xfrm>
            <a:prstGeom prst="homePlate">
              <a:avLst>
                <a:gd name="adj" fmla="val 100000"/>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chemeClr val="bg1"/>
                </a:solidFill>
              </a:endParaRPr>
            </a:p>
          </p:txBody>
        </p:sp>
        <p:sp>
          <p:nvSpPr>
            <p:cNvPr id="40" name="Arrow: Pentagon 39">
              <a:extLst>
                <a:ext uri="{FF2B5EF4-FFF2-40B4-BE49-F238E27FC236}"/>
              </a:extLst>
            </p:cNvPr>
            <p:cNvSpPr/>
            <p:nvPr/>
          </p:nvSpPr>
          <p:spPr bwMode="gray">
            <a:xfrm>
              <a:off x="1069050" y="749079"/>
              <a:ext cx="101482" cy="204871"/>
            </a:xfrm>
            <a:prstGeom prst="homePlate">
              <a:avLst>
                <a:gd name="adj" fmla="val 10000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chemeClr val="bg1"/>
                </a:solidFill>
              </a:endParaRPr>
            </a:p>
          </p:txBody>
        </p:sp>
      </p:grpSp>
      <p:cxnSp>
        <p:nvCxnSpPr>
          <p:cNvPr id="30" name="Straight Connector 29">
            <a:extLst>
              <a:ext uri="{FF2B5EF4-FFF2-40B4-BE49-F238E27FC236}"/>
            </a:extLst>
          </p:cNvPr>
          <p:cNvCxnSpPr/>
          <p:nvPr/>
        </p:nvCxnSpPr>
        <p:spPr>
          <a:xfrm>
            <a:off x="5173663" y="1531938"/>
            <a:ext cx="0" cy="4922837"/>
          </a:xfrm>
          <a:prstGeom prst="line">
            <a:avLst/>
          </a:prstGeom>
          <a:ln w="317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extLst>
          </p:cNvPr>
          <p:cNvSpPr>
            <a:spLocks/>
          </p:cNvSpPr>
          <p:nvPr/>
        </p:nvSpPr>
        <p:spPr bwMode="auto">
          <a:xfrm>
            <a:off x="119063" y="1360488"/>
            <a:ext cx="1028700" cy="2597150"/>
          </a:xfrm>
          <a:prstGeom prst="rect">
            <a:avLst/>
          </a:prstGeom>
          <a:solidFill>
            <a:schemeClr val="accent1"/>
          </a:solidFill>
          <a:ln w="19050" cap="flat" cmpd="sng" algn="ctr">
            <a:noFill/>
            <a:prstDash val="solid"/>
            <a:round/>
            <a:headEnd type="none" w="med" len="med"/>
            <a:tailEnd type="none" w="med" len="med"/>
          </a:ln>
          <a:effectLst/>
          <a:extLst/>
        </p:spPr>
        <p:txBody>
          <a:bodyPr lIns="45720" tIns="27432" rIns="27432" bIns="27432" anchor="ctr"/>
          <a:lstStyle/>
          <a:p>
            <a:pPr>
              <a:defRPr/>
            </a:pPr>
            <a:r>
              <a:rPr lang="en-US" b="1" dirty="0">
                <a:solidFill>
                  <a:schemeClr val="tx2"/>
                </a:solidFill>
                <a:latin typeface="+mn-lt"/>
                <a:cs typeface="+mn-cs"/>
              </a:rPr>
              <a:t>Govern-</a:t>
            </a:r>
            <a:r>
              <a:rPr lang="en-US" b="1" dirty="0" err="1">
                <a:solidFill>
                  <a:schemeClr val="tx2"/>
                </a:solidFill>
                <a:latin typeface="+mn-lt"/>
                <a:cs typeface="+mn-cs"/>
              </a:rPr>
              <a:t>ment</a:t>
            </a:r>
            <a:endParaRPr lang="en-US" b="1" dirty="0">
              <a:solidFill>
                <a:schemeClr val="tx2"/>
              </a:solidFill>
              <a:latin typeface="+mn-lt"/>
              <a:cs typeface="+mn-cs"/>
            </a:endParaRPr>
          </a:p>
        </p:txBody>
      </p:sp>
      <p:sp>
        <p:nvSpPr>
          <p:cNvPr id="38" name="Rectangle 37">
            <a:extLst>
              <a:ext uri="{FF2B5EF4-FFF2-40B4-BE49-F238E27FC236}"/>
            </a:extLst>
          </p:cNvPr>
          <p:cNvSpPr>
            <a:spLocks/>
          </p:cNvSpPr>
          <p:nvPr/>
        </p:nvSpPr>
        <p:spPr bwMode="auto">
          <a:xfrm>
            <a:off x="119063" y="4086225"/>
            <a:ext cx="1028700" cy="1655763"/>
          </a:xfrm>
          <a:prstGeom prst="rect">
            <a:avLst/>
          </a:prstGeom>
          <a:solidFill>
            <a:schemeClr val="accent1"/>
          </a:solidFill>
          <a:ln w="19050" cap="flat" cmpd="sng" algn="ctr">
            <a:noFill/>
            <a:prstDash val="solid"/>
            <a:round/>
            <a:headEnd type="none" w="med" len="med"/>
            <a:tailEnd type="none" w="med" len="med"/>
          </a:ln>
          <a:effectLst/>
          <a:extLst/>
        </p:spPr>
        <p:txBody>
          <a:bodyPr lIns="45720" tIns="27432" rIns="27432" bIns="27432" anchor="ctr"/>
          <a:lstStyle/>
          <a:p>
            <a:pPr>
              <a:defRPr/>
            </a:pPr>
            <a:r>
              <a:rPr lang="en-US" b="1" dirty="0">
                <a:solidFill>
                  <a:schemeClr val="tx2"/>
                </a:solidFill>
                <a:latin typeface="+mn-lt"/>
                <a:cs typeface="+mn-cs"/>
              </a:rPr>
              <a:t>Donors,  partners, and NGOs</a:t>
            </a:r>
          </a:p>
        </p:txBody>
      </p:sp>
      <p:pic>
        <p:nvPicPr>
          <p:cNvPr id="8204" name="Picture 34" descr="Related image"/>
          <p:cNvPicPr>
            <a:picLocks noChangeArrowheads="1"/>
          </p:cNvPicPr>
          <p:nvPr/>
        </p:nvPicPr>
        <p:blipFill>
          <a:blip r:embed="rId7"/>
          <a:srcRect t="15068" b="15068"/>
          <a:stretch>
            <a:fillRect/>
          </a:stretch>
        </p:blipFill>
        <p:spPr bwMode="auto">
          <a:xfrm>
            <a:off x="2327275" y="4919663"/>
            <a:ext cx="1106488" cy="773112"/>
          </a:xfrm>
          <a:prstGeom prst="rect">
            <a:avLst/>
          </a:prstGeom>
          <a:noFill/>
          <a:ln w="9525">
            <a:noFill/>
            <a:miter lim="800000"/>
            <a:headEnd/>
            <a:tailEnd/>
          </a:ln>
        </p:spPr>
      </p:pic>
      <p:pic>
        <p:nvPicPr>
          <p:cNvPr id="8205" name="Picture 30"/>
          <p:cNvPicPr>
            <a:picLocks noChangeAspect="1"/>
          </p:cNvPicPr>
          <p:nvPr/>
        </p:nvPicPr>
        <p:blipFill>
          <a:blip r:embed="rId8"/>
          <a:srcRect t="21091" b="30637"/>
          <a:stretch>
            <a:fillRect/>
          </a:stretch>
        </p:blipFill>
        <p:spPr bwMode="auto">
          <a:xfrm>
            <a:off x="3533775" y="5203825"/>
            <a:ext cx="1485900" cy="361950"/>
          </a:xfrm>
          <a:prstGeom prst="rect">
            <a:avLst/>
          </a:prstGeom>
          <a:noFill/>
          <a:ln w="9525">
            <a:noFill/>
            <a:miter lim="800000"/>
            <a:headEnd/>
            <a:tailEnd/>
          </a:ln>
        </p:spPr>
      </p:pic>
      <p:pic>
        <p:nvPicPr>
          <p:cNvPr id="8206" name="Picture 32"/>
          <p:cNvPicPr>
            <a:picLocks noChangeAspect="1"/>
          </p:cNvPicPr>
          <p:nvPr/>
        </p:nvPicPr>
        <p:blipFill>
          <a:blip r:embed="rId9"/>
          <a:srcRect l="13371" t="16966" r="13371" b="18379"/>
          <a:stretch>
            <a:fillRect/>
          </a:stretch>
        </p:blipFill>
        <p:spPr bwMode="auto">
          <a:xfrm>
            <a:off x="1177925" y="5008563"/>
            <a:ext cx="1138238" cy="563562"/>
          </a:xfrm>
          <a:prstGeom prst="rect">
            <a:avLst/>
          </a:prstGeom>
          <a:noFill/>
          <a:ln w="9525">
            <a:noFill/>
            <a:miter lim="800000"/>
            <a:headEnd/>
            <a:tailEnd/>
          </a:ln>
        </p:spPr>
      </p:pic>
      <p:pic>
        <p:nvPicPr>
          <p:cNvPr id="8207" name="Picture 33"/>
          <p:cNvPicPr>
            <a:picLocks/>
          </p:cNvPicPr>
          <p:nvPr/>
        </p:nvPicPr>
        <p:blipFill>
          <a:blip r:embed="rId10"/>
          <a:srcRect t="27596" b="27596"/>
          <a:stretch>
            <a:fillRect/>
          </a:stretch>
        </p:blipFill>
        <p:spPr bwMode="auto">
          <a:xfrm>
            <a:off x="3595688" y="4100513"/>
            <a:ext cx="1390650" cy="600075"/>
          </a:xfrm>
          <a:prstGeom prst="rect">
            <a:avLst/>
          </a:prstGeom>
          <a:noFill/>
          <a:ln w="9525">
            <a:noFill/>
            <a:miter lim="800000"/>
            <a:headEnd/>
            <a:tailEnd/>
          </a:ln>
        </p:spPr>
      </p:pic>
      <p:pic>
        <p:nvPicPr>
          <p:cNvPr id="8208" name="Picture 2" descr="image001"/>
          <p:cNvPicPr>
            <a:picLocks noChangeAspect="1" noChangeArrowheads="1"/>
          </p:cNvPicPr>
          <p:nvPr/>
        </p:nvPicPr>
        <p:blipFill>
          <a:blip r:embed="rId11"/>
          <a:srcRect l="5569" t="14648" r="4396" b="12810"/>
          <a:stretch>
            <a:fillRect/>
          </a:stretch>
        </p:blipFill>
        <p:spPr bwMode="auto">
          <a:xfrm>
            <a:off x="1241425" y="4048125"/>
            <a:ext cx="1562100" cy="496888"/>
          </a:xfrm>
          <a:prstGeom prst="rect">
            <a:avLst/>
          </a:prstGeom>
          <a:noFill/>
          <a:ln w="9525">
            <a:noFill/>
            <a:miter lim="800000"/>
            <a:headEnd/>
            <a:tailEnd/>
          </a:ln>
        </p:spPr>
      </p:pic>
      <p:cxnSp>
        <p:nvCxnSpPr>
          <p:cNvPr id="44" name="Straight Connector 43">
            <a:extLst>
              <a:ext uri="{FF2B5EF4-FFF2-40B4-BE49-F238E27FC236}"/>
            </a:extLst>
          </p:cNvPr>
          <p:cNvCxnSpPr>
            <a:cxnSpLocks/>
          </p:cNvCxnSpPr>
          <p:nvPr/>
        </p:nvCxnSpPr>
        <p:spPr>
          <a:xfrm>
            <a:off x="1201738" y="4021138"/>
            <a:ext cx="3894137"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 name="RoundedRectangle 11">
            <a:extLst>
              <a:ext uri="{FF2B5EF4-FFF2-40B4-BE49-F238E27FC236}"/>
            </a:extLst>
          </p:cNvPr>
          <p:cNvSpPr txBox="1">
            <a:spLocks/>
          </p:cNvSpPr>
          <p:nvPr>
            <p:custDataLst>
              <p:tags r:id="rId3"/>
            </p:custDataLst>
          </p:nvPr>
        </p:nvSpPr>
        <p:spPr>
          <a:xfrm>
            <a:off x="119063" y="5810250"/>
            <a:ext cx="4910137" cy="892175"/>
          </a:xfrm>
          <a:prstGeom prst="rect">
            <a:avLst/>
          </a:prstGeom>
          <a:solidFill>
            <a:schemeClr val="accent3"/>
          </a:solidFill>
          <a:ln>
            <a:noFill/>
          </a:ln>
        </p:spPr>
        <p:txBody>
          <a:bodyPr lIns="76200" tIns="76200" rIns="76200" bIns="7620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defRPr/>
            </a:pPr>
            <a:r>
              <a:rPr lang="en-US" sz="1600" b="1" dirty="0">
                <a:solidFill>
                  <a:schemeClr val="bg1"/>
                </a:solidFill>
                <a:cs typeface="+mn-cs"/>
              </a:rPr>
              <a:t>The CWG will also collaborate with other development partners and civil society representatives</a:t>
            </a:r>
          </a:p>
        </p:txBody>
      </p:sp>
      <p:sp>
        <p:nvSpPr>
          <p:cNvPr id="8211" name="TextBox 5"/>
          <p:cNvSpPr txBox="1">
            <a:spLocks/>
          </p:cNvSpPr>
          <p:nvPr>
            <p:custDataLst>
              <p:tags r:id="rId4"/>
            </p:custDataLst>
          </p:nvPr>
        </p:nvSpPr>
        <p:spPr bwMode="auto">
          <a:xfrm>
            <a:off x="5387975" y="1360488"/>
            <a:ext cx="3349625" cy="3741737"/>
          </a:xfrm>
          <a:prstGeom prst="rect">
            <a:avLst/>
          </a:prstGeom>
          <a:noFill/>
          <a:ln w="9525">
            <a:noFill/>
            <a:miter lim="800000"/>
            <a:headEnd/>
            <a:tailEnd/>
          </a:ln>
        </p:spPr>
        <p:txBody>
          <a:bodyPr lIns="0" tIns="0" rIns="0" bIns="0">
            <a:spAutoFit/>
          </a:bodyPr>
          <a:lstStyle/>
          <a:p>
            <a:pPr marL="193675" lvl="1" indent="-192088" defTabSz="895350">
              <a:spcBef>
                <a:spcPct val="40000"/>
              </a:spcBef>
              <a:buClr>
                <a:schemeClr val="tx2"/>
              </a:buClr>
              <a:buSzPct val="125000"/>
              <a:buFont typeface="Arial" pitchFamily="34" charset="0"/>
              <a:buChar char="▪"/>
            </a:pPr>
            <a:r>
              <a:rPr lang="en-US"/>
              <a:t>Develop a </a:t>
            </a:r>
            <a:r>
              <a:rPr lang="en-US" b="1">
                <a:solidFill>
                  <a:schemeClr val="tx2"/>
                </a:solidFill>
              </a:rPr>
              <a:t>strategy and action plan </a:t>
            </a:r>
            <a:r>
              <a:rPr lang="en-US"/>
              <a:t>to increase countrywide HCD investment</a:t>
            </a:r>
          </a:p>
          <a:p>
            <a:pPr marL="193675" lvl="1" indent="-192088" defTabSz="895350">
              <a:spcBef>
                <a:spcPct val="40000"/>
              </a:spcBef>
              <a:buClr>
                <a:schemeClr val="tx2"/>
              </a:buClr>
              <a:buSzPct val="125000"/>
              <a:buFont typeface="Arial" pitchFamily="34" charset="0"/>
              <a:buChar char="▪"/>
            </a:pPr>
            <a:r>
              <a:rPr lang="en-US" b="1">
                <a:solidFill>
                  <a:schemeClr val="tx2"/>
                </a:solidFill>
              </a:rPr>
              <a:t>Engage State Governments </a:t>
            </a:r>
            <a:r>
              <a:rPr lang="en-US"/>
              <a:t>to ensure prioritization of HCD investment</a:t>
            </a:r>
          </a:p>
          <a:p>
            <a:pPr marL="193675" lvl="1" indent="-192088" defTabSz="895350">
              <a:spcBef>
                <a:spcPct val="40000"/>
              </a:spcBef>
              <a:buClr>
                <a:schemeClr val="tx2"/>
              </a:buClr>
              <a:buSzPct val="125000"/>
              <a:buFont typeface="Arial" pitchFamily="34" charset="0"/>
              <a:buChar char="▪"/>
            </a:pPr>
            <a:r>
              <a:rPr lang="en-US" b="1">
                <a:solidFill>
                  <a:schemeClr val="tx2"/>
                </a:solidFill>
              </a:rPr>
              <a:t>Highlight quick wins at State and Federal Levels</a:t>
            </a:r>
            <a:r>
              <a:rPr lang="en-US"/>
              <a:t> to improve the HCD indices of the country</a:t>
            </a:r>
          </a:p>
          <a:p>
            <a:pPr marL="193675" lvl="1" indent="-192088" defTabSz="895350">
              <a:spcBef>
                <a:spcPct val="40000"/>
              </a:spcBef>
              <a:buClr>
                <a:schemeClr val="tx2"/>
              </a:buClr>
              <a:buSzPct val="125000"/>
              <a:buFont typeface="Arial" pitchFamily="34" charset="0"/>
              <a:buChar char="▪"/>
            </a:pPr>
            <a:r>
              <a:rPr lang="en-US"/>
              <a:t>Institute a </a:t>
            </a:r>
            <a:r>
              <a:rPr lang="en-US" b="1">
                <a:solidFill>
                  <a:schemeClr val="tx2"/>
                </a:solidFill>
              </a:rPr>
              <a:t>robust country wide monitoring and evaluation framework </a:t>
            </a:r>
            <a:r>
              <a:rPr lang="en-US"/>
              <a:t>to assess implementation of  interventions and impact</a:t>
            </a:r>
          </a:p>
        </p:txBody>
      </p:sp>
      <p:grpSp>
        <p:nvGrpSpPr>
          <p:cNvPr id="8212" name="Group 7"/>
          <p:cNvGrpSpPr>
            <a:grpSpLocks/>
          </p:cNvGrpSpPr>
          <p:nvPr/>
        </p:nvGrpSpPr>
        <p:grpSpPr bwMode="auto">
          <a:xfrm>
            <a:off x="1201738" y="1470025"/>
            <a:ext cx="3894137" cy="2376488"/>
            <a:chOff x="1202285" y="1633279"/>
            <a:chExt cx="3893075" cy="2376741"/>
          </a:xfrm>
        </p:grpSpPr>
        <p:pic>
          <p:nvPicPr>
            <p:cNvPr id="8215" name="Picture 32" descr="Image result for federal ministry of finance nigeria logo"/>
            <p:cNvPicPr>
              <a:picLocks noChangeAspect="1" noChangeArrowheads="1"/>
            </p:cNvPicPr>
            <p:nvPr/>
          </p:nvPicPr>
          <p:blipFill>
            <a:blip r:embed="rId12"/>
            <a:srcRect/>
            <a:stretch>
              <a:fillRect/>
            </a:stretch>
          </p:blipFill>
          <p:spPr bwMode="auto">
            <a:xfrm>
              <a:off x="4185866" y="2311273"/>
              <a:ext cx="909494" cy="909494"/>
            </a:xfrm>
            <a:prstGeom prst="rect">
              <a:avLst/>
            </a:prstGeom>
            <a:noFill/>
            <a:ln w="9525">
              <a:noFill/>
              <a:miter lim="800000"/>
              <a:headEnd/>
              <a:tailEnd/>
            </a:ln>
          </p:spPr>
        </p:pic>
        <p:pic>
          <p:nvPicPr>
            <p:cNvPr id="8216" name="Picture 18"/>
            <p:cNvPicPr>
              <a:picLocks noChangeAspect="1"/>
            </p:cNvPicPr>
            <p:nvPr/>
          </p:nvPicPr>
          <p:blipFill>
            <a:blip r:embed="rId13"/>
            <a:srcRect t="16852" r="5647" b="18832"/>
            <a:stretch>
              <a:fillRect/>
            </a:stretch>
          </p:blipFill>
          <p:spPr bwMode="auto">
            <a:xfrm>
              <a:off x="3818359" y="1687897"/>
              <a:ext cx="1255284" cy="640914"/>
            </a:xfrm>
            <a:prstGeom prst="rect">
              <a:avLst/>
            </a:prstGeom>
            <a:noFill/>
            <a:ln w="9525">
              <a:noFill/>
              <a:miter lim="800000"/>
              <a:headEnd/>
              <a:tailEnd/>
            </a:ln>
          </p:spPr>
        </p:pic>
        <p:pic>
          <p:nvPicPr>
            <p:cNvPr id="8217" name="Picture 8" descr="http://sdgs.gov.ng/wp-content/uploads/2017/01/logo3.png"/>
            <p:cNvPicPr>
              <a:picLocks noChangeAspect="1" noChangeArrowheads="1"/>
            </p:cNvPicPr>
            <p:nvPr/>
          </p:nvPicPr>
          <p:blipFill>
            <a:blip r:embed="rId14"/>
            <a:srcRect/>
            <a:stretch>
              <a:fillRect/>
            </a:stretch>
          </p:blipFill>
          <p:spPr bwMode="auto">
            <a:xfrm>
              <a:off x="2894875" y="3588039"/>
              <a:ext cx="1898444" cy="344475"/>
            </a:xfrm>
            <a:prstGeom prst="rect">
              <a:avLst/>
            </a:prstGeom>
            <a:noFill/>
            <a:ln w="9525">
              <a:noFill/>
              <a:miter lim="800000"/>
              <a:headEnd/>
              <a:tailEnd/>
            </a:ln>
          </p:spPr>
        </p:pic>
        <p:pic>
          <p:nvPicPr>
            <p:cNvPr id="8218" name="Picture 12"/>
            <p:cNvPicPr>
              <a:picLocks noChangeAspect="1"/>
            </p:cNvPicPr>
            <p:nvPr/>
          </p:nvPicPr>
          <p:blipFill>
            <a:blip r:embed="rId15"/>
            <a:srcRect/>
            <a:stretch>
              <a:fillRect/>
            </a:stretch>
          </p:blipFill>
          <p:spPr bwMode="auto">
            <a:xfrm>
              <a:off x="1273211" y="2346731"/>
              <a:ext cx="1325281" cy="881914"/>
            </a:xfrm>
            <a:prstGeom prst="rect">
              <a:avLst/>
            </a:prstGeom>
            <a:noFill/>
            <a:ln w="9525">
              <a:noFill/>
              <a:miter lim="800000"/>
              <a:headEnd/>
              <a:tailEnd/>
            </a:ln>
          </p:spPr>
        </p:pic>
        <p:pic>
          <p:nvPicPr>
            <p:cNvPr id="8219" name="Picture 8"/>
            <p:cNvPicPr>
              <a:picLocks noChangeAspect="1"/>
            </p:cNvPicPr>
            <p:nvPr/>
          </p:nvPicPr>
          <p:blipFill>
            <a:blip r:embed="rId16"/>
            <a:srcRect/>
            <a:stretch>
              <a:fillRect/>
            </a:stretch>
          </p:blipFill>
          <p:spPr bwMode="auto">
            <a:xfrm>
              <a:off x="2916018" y="1633279"/>
              <a:ext cx="769981" cy="769981"/>
            </a:xfrm>
            <a:prstGeom prst="rect">
              <a:avLst/>
            </a:prstGeom>
            <a:noFill/>
            <a:ln w="9525">
              <a:noFill/>
              <a:miter lim="800000"/>
              <a:headEnd/>
              <a:tailEnd/>
            </a:ln>
          </p:spPr>
        </p:pic>
        <p:pic>
          <p:nvPicPr>
            <p:cNvPr id="8220" name="Picture 4" descr="Image result for federal ministry of labour and employment"/>
            <p:cNvPicPr>
              <a:picLocks noChangeArrowheads="1"/>
            </p:cNvPicPr>
            <p:nvPr/>
          </p:nvPicPr>
          <p:blipFill>
            <a:blip r:embed="rId17"/>
            <a:srcRect/>
            <a:stretch>
              <a:fillRect/>
            </a:stretch>
          </p:blipFill>
          <p:spPr bwMode="auto">
            <a:xfrm>
              <a:off x="1202285" y="1707981"/>
              <a:ext cx="1396207" cy="527682"/>
            </a:xfrm>
            <a:prstGeom prst="rect">
              <a:avLst/>
            </a:prstGeom>
            <a:noFill/>
            <a:ln w="9525">
              <a:noFill/>
              <a:miter lim="800000"/>
              <a:headEnd/>
              <a:tailEnd/>
            </a:ln>
          </p:spPr>
        </p:pic>
        <p:pic>
          <p:nvPicPr>
            <p:cNvPr id="8221" name="Picture 19"/>
            <p:cNvPicPr>
              <a:picLocks noChangeAspect="1"/>
            </p:cNvPicPr>
            <p:nvPr/>
          </p:nvPicPr>
          <p:blipFill>
            <a:blip r:embed="rId18"/>
            <a:srcRect t="5646" b="19020"/>
            <a:stretch>
              <a:fillRect/>
            </a:stretch>
          </p:blipFill>
          <p:spPr bwMode="auto">
            <a:xfrm>
              <a:off x="1217966" y="3333620"/>
              <a:ext cx="1198700" cy="676400"/>
            </a:xfrm>
            <a:prstGeom prst="rect">
              <a:avLst/>
            </a:prstGeom>
            <a:noFill/>
            <a:ln w="9525">
              <a:noFill/>
              <a:miter lim="800000"/>
              <a:headEnd/>
              <a:tailEnd/>
            </a:ln>
          </p:spPr>
        </p:pic>
        <p:pic>
          <p:nvPicPr>
            <p:cNvPr id="8222" name="Picture 12" descr="Teline V"/>
            <p:cNvPicPr>
              <a:picLocks noChangeAspect="1" noChangeArrowheads="1"/>
            </p:cNvPicPr>
            <p:nvPr/>
          </p:nvPicPr>
          <p:blipFill>
            <a:blip r:embed="rId19"/>
            <a:srcRect/>
            <a:stretch>
              <a:fillRect/>
            </a:stretch>
          </p:blipFill>
          <p:spPr bwMode="auto">
            <a:xfrm>
              <a:off x="2803680" y="2554547"/>
              <a:ext cx="1297542" cy="446466"/>
            </a:xfrm>
            <a:prstGeom prst="rect">
              <a:avLst/>
            </a:prstGeom>
            <a:noFill/>
            <a:ln w="9525">
              <a:noFill/>
              <a:miter lim="800000"/>
              <a:headEnd/>
              <a:tailEnd/>
            </a:ln>
          </p:spPr>
        </p:pic>
        <p:sp>
          <p:nvSpPr>
            <p:cNvPr id="8223" name="TextBox 34"/>
            <p:cNvSpPr txBox="1">
              <a:spLocks/>
            </p:cNvSpPr>
            <p:nvPr/>
          </p:nvSpPr>
          <p:spPr bwMode="auto">
            <a:xfrm>
              <a:off x="2135397" y="3191153"/>
              <a:ext cx="2152624" cy="492443"/>
            </a:xfrm>
            <a:prstGeom prst="rect">
              <a:avLst/>
            </a:prstGeom>
            <a:noFill/>
            <a:ln w="9525">
              <a:noFill/>
              <a:miter lim="800000"/>
              <a:headEnd/>
              <a:tailEnd/>
            </a:ln>
          </p:spPr>
          <p:txBody>
            <a:bodyPr lIns="0" tIns="0" rIns="0" bIns="0">
              <a:spAutoFit/>
            </a:bodyPr>
            <a:lstStyle/>
            <a:p>
              <a:pPr defTabSz="895350">
                <a:buClr>
                  <a:schemeClr val="tx2"/>
                </a:buClr>
                <a:buSzPct val="100000"/>
              </a:pPr>
              <a:r>
                <a:rPr lang="en-US" i="1"/>
                <a:t>ERGP implementation unit</a:t>
              </a:r>
            </a:p>
          </p:txBody>
        </p:sp>
      </p:grpSp>
      <p:pic>
        <p:nvPicPr>
          <p:cNvPr id="8213" name="Picture 1" descr="cid:image002.png@01D2B394.0AE24B60"/>
          <p:cNvPicPr>
            <a:picLocks noChangeAspect="1" noChangeArrowheads="1"/>
          </p:cNvPicPr>
          <p:nvPr/>
        </p:nvPicPr>
        <p:blipFill>
          <a:blip r:embed="rId20"/>
          <a:srcRect/>
          <a:stretch>
            <a:fillRect/>
          </a:stretch>
        </p:blipFill>
        <p:spPr bwMode="auto">
          <a:xfrm>
            <a:off x="1169988" y="4554538"/>
            <a:ext cx="2347912" cy="304800"/>
          </a:xfrm>
          <a:prstGeom prst="rect">
            <a:avLst/>
          </a:prstGeom>
          <a:noFill/>
          <a:ln w="9525">
            <a:noFill/>
            <a:miter lim="800000"/>
            <a:headEnd/>
            <a:tailEnd/>
          </a:ln>
        </p:spPr>
      </p:pic>
      <p:pic>
        <p:nvPicPr>
          <p:cNvPr id="8214" name="Picture 10"/>
          <p:cNvPicPr>
            <a:picLocks noChangeAspect="1"/>
          </p:cNvPicPr>
          <p:nvPr/>
        </p:nvPicPr>
        <p:blipFill>
          <a:blip r:embed="rId21"/>
          <a:srcRect/>
          <a:stretch>
            <a:fillRect/>
          </a:stretch>
        </p:blipFill>
        <p:spPr bwMode="auto">
          <a:xfrm>
            <a:off x="3462338" y="4835525"/>
            <a:ext cx="1611312" cy="328613"/>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138"/>
          <p:cNvGraphicFramePr>
            <a:graphicFrameLocks noChangeAspect="1"/>
          </p:cNvGraphicFramePr>
          <p:nvPr/>
        </p:nvGraphicFramePr>
        <p:xfrm>
          <a:off x="1588" y="1588"/>
          <a:ext cx="1587" cy="1587"/>
        </p:xfrm>
        <a:graphic>
          <a:graphicData uri="http://schemas.openxmlformats.org/presentationml/2006/ole">
            <p:oleObj spid="_x0000_s9218" name="think-cell Slide" r:id="rId6" imgW="360" imgH="360" progId="">
              <p:embed/>
            </p:oleObj>
          </a:graphicData>
        </a:graphic>
      </p:graphicFrame>
      <p:sp>
        <p:nvSpPr>
          <p:cNvPr id="4" name="Rectangle 3"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grpSp>
        <p:nvGrpSpPr>
          <p:cNvPr id="9220" name="Group 64"/>
          <p:cNvGrpSpPr>
            <a:grpSpLocks/>
          </p:cNvGrpSpPr>
          <p:nvPr/>
        </p:nvGrpSpPr>
        <p:grpSpPr bwMode="auto">
          <a:xfrm>
            <a:off x="-1588" y="868363"/>
            <a:ext cx="8961438" cy="485775"/>
            <a:chOff x="-794" y="1298519"/>
            <a:chExt cx="8961437" cy="485775"/>
          </a:xfrm>
        </p:grpSpPr>
        <p:sp>
          <p:nvSpPr>
            <p:cNvPr id="9261" name="Rectangle 69"/>
            <p:cNvSpPr>
              <a:spLocks/>
            </p:cNvSpPr>
            <p:nvPr/>
          </p:nvSpPr>
          <p:spPr bwMode="auto">
            <a:xfrm>
              <a:off x="-794" y="1298519"/>
              <a:ext cx="8961437" cy="485775"/>
            </a:xfrm>
            <a:prstGeom prst="rect">
              <a:avLst/>
            </a:prstGeom>
            <a:gradFill rotWithShape="1">
              <a:gsLst>
                <a:gs pos="0">
                  <a:srgbClr val="EEEEEE"/>
                </a:gs>
                <a:gs pos="100000">
                  <a:srgbClr val="FFFFFF"/>
                </a:gs>
              </a:gsLst>
              <a:lin ang="5400000" scaled="1"/>
            </a:gradFill>
            <a:ln w="9525">
              <a:noFill/>
              <a:miter lim="800000"/>
              <a:headEnd/>
              <a:tailEnd/>
            </a:ln>
          </p:spPr>
          <p:txBody>
            <a:bodyPr wrap="none" anchor="ctr"/>
            <a:lstStyle/>
            <a:p>
              <a:pPr algn="ctr"/>
              <a:endParaRPr lang="en-US" sz="1400"/>
            </a:p>
          </p:txBody>
        </p:sp>
        <p:cxnSp>
          <p:nvCxnSpPr>
            <p:cNvPr id="71" name="Straight Connector 70">
              <a:extLst>
                <a:ext uri="{FF2B5EF4-FFF2-40B4-BE49-F238E27FC236}"/>
              </a:extLst>
            </p:cNvPr>
            <p:cNvCxnSpPr>
              <a:cxnSpLocks/>
            </p:cNvCxnSpPr>
            <p:nvPr/>
          </p:nvCxnSpPr>
          <p:spPr>
            <a:xfrm>
              <a:off x="-794" y="1298519"/>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9221" name="Title 1"/>
          <p:cNvSpPr>
            <a:spLocks noGrp="1"/>
          </p:cNvSpPr>
          <p:nvPr>
            <p:ph type="title"/>
          </p:nvPr>
        </p:nvSpPr>
        <p:spPr bwMode="gray">
          <a:xfrm>
            <a:off x="119063" y="230188"/>
            <a:ext cx="8651875" cy="615950"/>
          </a:xfrm>
        </p:spPr>
        <p:txBody>
          <a:bodyPr/>
          <a:lstStyle/>
          <a:p>
            <a:r>
              <a:rPr lang="en-US" smtClean="0"/>
              <a:t>The CWG has selected 6 outcomes and several proxy measures to assess and track progress across HCD thematic areas </a:t>
            </a:r>
          </a:p>
        </p:txBody>
      </p:sp>
      <p:grpSp>
        <p:nvGrpSpPr>
          <p:cNvPr id="9222" name="Group 28"/>
          <p:cNvGrpSpPr>
            <a:grpSpLocks/>
          </p:cNvGrpSpPr>
          <p:nvPr/>
        </p:nvGrpSpPr>
        <p:grpSpPr bwMode="auto">
          <a:xfrm>
            <a:off x="2511425" y="1041400"/>
            <a:ext cx="1647825" cy="185738"/>
            <a:chOff x="7090514" y="676464"/>
            <a:chExt cx="1647086" cy="184666"/>
          </a:xfrm>
        </p:grpSpPr>
        <p:sp>
          <p:nvSpPr>
            <p:cNvPr id="69" name="Legend1">
              <a:extLst>
                <a:ext uri="{FF2B5EF4-FFF2-40B4-BE49-F238E27FC236}"/>
              </a:extLst>
            </p:cNvPr>
            <p:cNvSpPr>
              <a:spLocks noChangeArrowheads="1"/>
            </p:cNvSpPr>
            <p:nvPr>
              <p:custDataLst>
                <p:tags r:id="rId3"/>
              </p:custDataLst>
            </p:nvPr>
          </p:nvSpPr>
          <p:spPr bwMode="gray">
            <a:xfrm>
              <a:off x="7287276" y="676464"/>
              <a:ext cx="1450324" cy="184666"/>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defTabSz="895350">
                <a:buClr>
                  <a:schemeClr val="tx2"/>
                </a:buClr>
                <a:defRPr/>
              </a:pPr>
              <a:r>
                <a:rPr lang="en-US" sz="1200" dirty="0">
                  <a:latin typeface="+mn-lt"/>
                  <a:cs typeface="+mn-cs"/>
                </a:rPr>
                <a:t>Cross-cutting themes</a:t>
              </a:r>
            </a:p>
          </p:txBody>
        </p:sp>
        <p:sp>
          <p:nvSpPr>
            <p:cNvPr id="14" name="Oval 14">
              <a:extLst>
                <a:ext uri="{FF2B5EF4-FFF2-40B4-BE49-F238E27FC236}"/>
              </a:extLst>
            </p:cNvPr>
            <p:cNvSpPr txBox="1"/>
            <p:nvPr>
              <p:custDataLst>
                <p:tags r:id="rId4"/>
              </p:custDataLst>
            </p:nvPr>
          </p:nvSpPr>
          <p:spPr>
            <a:xfrm>
              <a:off x="7090514" y="692247"/>
              <a:ext cx="120596" cy="121532"/>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defRPr/>
              </a:pPr>
              <a:endParaRPr lang="en-US" sz="1200" dirty="0"/>
            </a:p>
          </p:txBody>
        </p:sp>
      </p:grpSp>
      <p:grpSp>
        <p:nvGrpSpPr>
          <p:cNvPr id="9223" name="Group 91"/>
          <p:cNvGrpSpPr>
            <a:grpSpLocks/>
          </p:cNvGrpSpPr>
          <p:nvPr/>
        </p:nvGrpSpPr>
        <p:grpSpPr bwMode="auto">
          <a:xfrm>
            <a:off x="306388" y="1571625"/>
            <a:ext cx="4297362" cy="4313238"/>
            <a:chOff x="119063" y="1730655"/>
            <a:chExt cx="4254967" cy="4269873"/>
          </a:xfrm>
        </p:grpSpPr>
        <p:sp>
          <p:nvSpPr>
            <p:cNvPr id="8" name="Oval 7">
              <a:extLst>
                <a:ext uri="{FF2B5EF4-FFF2-40B4-BE49-F238E27FC236}"/>
              </a:extLst>
            </p:cNvPr>
            <p:cNvSpPr/>
            <p:nvPr/>
          </p:nvSpPr>
          <p:spPr>
            <a:xfrm>
              <a:off x="119063" y="1730655"/>
              <a:ext cx="4254967" cy="4269873"/>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60" name="TextBox 59">
              <a:extLst>
                <a:ext uri="{FF2B5EF4-FFF2-40B4-BE49-F238E27FC236}"/>
              </a:extLst>
            </p:cNvPr>
            <p:cNvSpPr txBox="1"/>
            <p:nvPr/>
          </p:nvSpPr>
          <p:spPr>
            <a:xfrm rot="18094601">
              <a:off x="135701" y="2793778"/>
              <a:ext cx="1409671" cy="245207"/>
            </a:xfrm>
            <a:prstGeom prst="rect">
              <a:avLst/>
            </a:prstGeom>
          </p:spPr>
          <p:txBody>
            <a:bodyPr wrap="none"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1600" dirty="0">
                  <a:solidFill>
                    <a:schemeClr val="accent6"/>
                  </a:solidFill>
                  <a:cs typeface="+mn-cs"/>
                </a:rPr>
                <a:t>Social inclusion</a:t>
              </a:r>
            </a:p>
          </p:txBody>
        </p:sp>
        <p:sp>
          <p:nvSpPr>
            <p:cNvPr id="61" name="TextBox 60">
              <a:extLst>
                <a:ext uri="{FF2B5EF4-FFF2-40B4-BE49-F238E27FC236}"/>
              </a:extLst>
            </p:cNvPr>
            <p:cNvSpPr txBox="1"/>
            <p:nvPr/>
          </p:nvSpPr>
          <p:spPr>
            <a:xfrm>
              <a:off x="1187913" y="5474062"/>
              <a:ext cx="2041818" cy="246732"/>
            </a:xfrm>
            <a:prstGeom prst="rect">
              <a:avLst/>
            </a:prstGeom>
          </p:spPr>
          <p:txBody>
            <a:bodyPr wrap="none"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1600" dirty="0">
                  <a:solidFill>
                    <a:schemeClr val="accent6"/>
                  </a:solidFill>
                  <a:cs typeface="+mn-cs"/>
                </a:rPr>
                <a:t>Gender empowerment</a:t>
              </a:r>
            </a:p>
          </p:txBody>
        </p:sp>
        <p:sp>
          <p:nvSpPr>
            <p:cNvPr id="63" name="TextBox 62">
              <a:extLst>
                <a:ext uri="{FF2B5EF4-FFF2-40B4-BE49-F238E27FC236}"/>
              </a:extLst>
            </p:cNvPr>
            <p:cNvSpPr txBox="1"/>
            <p:nvPr/>
          </p:nvSpPr>
          <p:spPr>
            <a:xfrm rot="3575517">
              <a:off x="3067191" y="2957218"/>
              <a:ext cx="1514964" cy="246779"/>
            </a:xfrm>
            <a:prstGeom prst="rect">
              <a:avLst/>
            </a:prstGeom>
          </p:spPr>
          <p:txBody>
            <a:bodyPr wrap="none" lIns="0" tIns="0" rIns="0" bIns="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1600" dirty="0">
                  <a:solidFill>
                    <a:schemeClr val="accent6"/>
                  </a:solidFill>
                  <a:cs typeface="+mn-cs"/>
                </a:rPr>
                <a:t>Social protection</a:t>
              </a:r>
            </a:p>
          </p:txBody>
        </p:sp>
        <p:sp>
          <p:nvSpPr>
            <p:cNvPr id="37" name="Freeform 6">
              <a:extLst>
                <a:ext uri="{FF2B5EF4-FFF2-40B4-BE49-F238E27FC236}"/>
              </a:extLst>
            </p:cNvPr>
            <p:cNvSpPr>
              <a:spLocks/>
            </p:cNvSpPr>
            <p:nvPr/>
          </p:nvSpPr>
          <p:spPr bwMode="auto">
            <a:xfrm>
              <a:off x="280962" y="4213687"/>
              <a:ext cx="3923310" cy="1167654"/>
            </a:xfrm>
            <a:custGeom>
              <a:avLst/>
              <a:gdLst>
                <a:gd name="T0" fmla="*/ 0 w 2963"/>
                <a:gd name="T1" fmla="*/ 0 h 879"/>
                <a:gd name="T2" fmla="*/ 2963 w 2963"/>
                <a:gd name="T3" fmla="*/ 0 h 879"/>
                <a:gd name="T4" fmla="*/ 2479 w 2963"/>
                <a:gd name="T5" fmla="*/ 879 h 879"/>
                <a:gd name="T6" fmla="*/ 508 w 2963"/>
                <a:gd name="T7" fmla="*/ 879 h 879"/>
                <a:gd name="T8" fmla="*/ 0 w 2963"/>
                <a:gd name="T9" fmla="*/ 0 h 879"/>
              </a:gdLst>
              <a:ahLst/>
              <a:cxnLst>
                <a:cxn ang="0">
                  <a:pos x="T0" y="T1"/>
                </a:cxn>
                <a:cxn ang="0">
                  <a:pos x="T2" y="T3"/>
                </a:cxn>
                <a:cxn ang="0">
                  <a:pos x="T4" y="T5"/>
                </a:cxn>
                <a:cxn ang="0">
                  <a:pos x="T6" y="T7"/>
                </a:cxn>
                <a:cxn ang="0">
                  <a:pos x="T8" y="T9"/>
                </a:cxn>
              </a:cxnLst>
              <a:rect l="0" t="0" r="r" b="b"/>
              <a:pathLst>
                <a:path w="2963" h="879">
                  <a:moveTo>
                    <a:pt x="0" y="0"/>
                  </a:moveTo>
                  <a:lnTo>
                    <a:pt x="2963" y="0"/>
                  </a:lnTo>
                  <a:lnTo>
                    <a:pt x="2479" y="879"/>
                  </a:lnTo>
                  <a:lnTo>
                    <a:pt x="508" y="879"/>
                  </a:lnTo>
                  <a:lnTo>
                    <a:pt x="0" y="0"/>
                  </a:lnTo>
                  <a:close/>
                </a:path>
              </a:pathLst>
            </a:custGeom>
            <a:solidFill>
              <a:schemeClr val="accent4"/>
            </a:solidFill>
            <a:ln w="38100">
              <a:solidFill>
                <a:schemeClr val="bg1"/>
              </a:solidFill>
              <a:prstDash val="solid"/>
              <a:round/>
              <a:headEnd/>
              <a:tailEnd/>
            </a:ln>
          </p:spPr>
          <p:txBody>
            <a:bodyPr/>
            <a:lstStyle/>
            <a:p>
              <a:pPr>
                <a:defRPr/>
              </a:pPr>
              <a:endParaRPr lang="en-US" dirty="0">
                <a:latin typeface="+mn-lt"/>
                <a:cs typeface="+mn-cs"/>
              </a:endParaRPr>
            </a:p>
          </p:txBody>
        </p:sp>
        <p:sp>
          <p:nvSpPr>
            <p:cNvPr id="38" name="Freeform 7">
              <a:extLst>
                <a:ext uri="{FF2B5EF4-FFF2-40B4-BE49-F238E27FC236}"/>
              </a:extLst>
            </p:cNvPr>
            <p:cNvSpPr>
              <a:spLocks/>
            </p:cNvSpPr>
            <p:nvPr/>
          </p:nvSpPr>
          <p:spPr bwMode="auto">
            <a:xfrm>
              <a:off x="280962" y="1952243"/>
              <a:ext cx="2640689" cy="3429099"/>
            </a:xfrm>
            <a:custGeom>
              <a:avLst/>
              <a:gdLst>
                <a:gd name="T0" fmla="*/ 983 w 1994"/>
                <a:gd name="T1" fmla="*/ 0 h 2580"/>
                <a:gd name="T2" fmla="*/ 0 w 1994"/>
                <a:gd name="T3" fmla="*/ 1701 h 2580"/>
                <a:gd name="T4" fmla="*/ 508 w 1994"/>
                <a:gd name="T5" fmla="*/ 2580 h 2580"/>
                <a:gd name="T6" fmla="*/ 1994 w 1994"/>
                <a:gd name="T7" fmla="*/ 0 h 2580"/>
                <a:gd name="T8" fmla="*/ 983 w 1994"/>
                <a:gd name="T9" fmla="*/ 0 h 2580"/>
              </a:gdLst>
              <a:ahLst/>
              <a:cxnLst>
                <a:cxn ang="0">
                  <a:pos x="T0" y="T1"/>
                </a:cxn>
                <a:cxn ang="0">
                  <a:pos x="T2" y="T3"/>
                </a:cxn>
                <a:cxn ang="0">
                  <a:pos x="T4" y="T5"/>
                </a:cxn>
                <a:cxn ang="0">
                  <a:pos x="T6" y="T7"/>
                </a:cxn>
                <a:cxn ang="0">
                  <a:pos x="T8" y="T9"/>
                </a:cxn>
              </a:cxnLst>
              <a:rect l="0" t="0" r="r" b="b"/>
              <a:pathLst>
                <a:path w="1994" h="2580">
                  <a:moveTo>
                    <a:pt x="983" y="0"/>
                  </a:moveTo>
                  <a:lnTo>
                    <a:pt x="0" y="1701"/>
                  </a:lnTo>
                  <a:lnTo>
                    <a:pt x="508" y="2580"/>
                  </a:lnTo>
                  <a:lnTo>
                    <a:pt x="1994" y="0"/>
                  </a:lnTo>
                  <a:lnTo>
                    <a:pt x="983" y="0"/>
                  </a:lnTo>
                  <a:close/>
                </a:path>
              </a:pathLst>
            </a:custGeom>
            <a:solidFill>
              <a:schemeClr val="accent2"/>
            </a:solidFill>
            <a:ln w="38100">
              <a:solidFill>
                <a:schemeClr val="bg1"/>
              </a:solidFill>
              <a:prstDash val="solid"/>
              <a:round/>
              <a:headEnd/>
              <a:tailEnd/>
            </a:ln>
          </p:spPr>
          <p:txBody>
            <a:bodyPr/>
            <a:lstStyle/>
            <a:p>
              <a:pPr>
                <a:defRPr/>
              </a:pPr>
              <a:endParaRPr lang="en-US" dirty="0">
                <a:latin typeface="+mn-lt"/>
                <a:cs typeface="+mn-cs"/>
              </a:endParaRPr>
            </a:p>
          </p:txBody>
        </p:sp>
        <p:sp>
          <p:nvSpPr>
            <p:cNvPr id="39" name="Freeform 8">
              <a:extLst>
                <a:ext uri="{FF2B5EF4-FFF2-40B4-BE49-F238E27FC236}"/>
              </a:extLst>
            </p:cNvPr>
            <p:cNvSpPr>
              <a:spLocks/>
            </p:cNvSpPr>
            <p:nvPr/>
          </p:nvSpPr>
          <p:spPr bwMode="auto">
            <a:xfrm>
              <a:off x="1590304" y="1952243"/>
              <a:ext cx="2621827" cy="3429099"/>
            </a:xfrm>
            <a:custGeom>
              <a:avLst/>
              <a:gdLst>
                <a:gd name="T0" fmla="*/ 0 w 1980"/>
                <a:gd name="T1" fmla="*/ 0 h 2580"/>
                <a:gd name="T2" fmla="*/ 1496 w 1980"/>
                <a:gd name="T3" fmla="*/ 2580 h 2580"/>
                <a:gd name="T4" fmla="*/ 1980 w 1980"/>
                <a:gd name="T5" fmla="*/ 1701 h 2580"/>
                <a:gd name="T6" fmla="*/ 1011 w 1980"/>
                <a:gd name="T7" fmla="*/ 0 h 2580"/>
                <a:gd name="T8" fmla="*/ 0 w 1980"/>
                <a:gd name="T9" fmla="*/ 0 h 2580"/>
              </a:gdLst>
              <a:ahLst/>
              <a:cxnLst>
                <a:cxn ang="0">
                  <a:pos x="T0" y="T1"/>
                </a:cxn>
                <a:cxn ang="0">
                  <a:pos x="T2" y="T3"/>
                </a:cxn>
                <a:cxn ang="0">
                  <a:pos x="T4" y="T5"/>
                </a:cxn>
                <a:cxn ang="0">
                  <a:pos x="T6" y="T7"/>
                </a:cxn>
                <a:cxn ang="0">
                  <a:pos x="T8" y="T9"/>
                </a:cxn>
              </a:cxnLst>
              <a:rect l="0" t="0" r="r" b="b"/>
              <a:pathLst>
                <a:path w="1980" h="2580">
                  <a:moveTo>
                    <a:pt x="0" y="0"/>
                  </a:moveTo>
                  <a:lnTo>
                    <a:pt x="1496" y="2580"/>
                  </a:lnTo>
                  <a:lnTo>
                    <a:pt x="1980" y="1701"/>
                  </a:lnTo>
                  <a:lnTo>
                    <a:pt x="1011" y="0"/>
                  </a:lnTo>
                  <a:lnTo>
                    <a:pt x="0" y="0"/>
                  </a:lnTo>
                  <a:close/>
                </a:path>
              </a:pathLst>
            </a:custGeom>
            <a:solidFill>
              <a:schemeClr val="accent3"/>
            </a:solidFill>
            <a:ln w="19050">
              <a:solidFill>
                <a:schemeClr val="bg1"/>
              </a:solidFill>
              <a:prstDash val="solid"/>
              <a:round/>
              <a:headEnd/>
              <a:tailEnd/>
            </a:ln>
          </p:spPr>
          <p:txBody>
            <a:bodyPr/>
            <a:lstStyle/>
            <a:p>
              <a:pPr>
                <a:defRPr/>
              </a:pPr>
              <a:endParaRPr lang="en-US" dirty="0">
                <a:latin typeface="+mn-lt"/>
                <a:cs typeface="+mn-cs"/>
              </a:endParaRPr>
            </a:p>
          </p:txBody>
        </p:sp>
        <p:sp>
          <p:nvSpPr>
            <p:cNvPr id="9253" name="TextBox 39"/>
            <p:cNvSpPr txBox="1">
              <a:spLocks noChangeArrowheads="1"/>
            </p:cNvSpPr>
            <p:nvPr/>
          </p:nvSpPr>
          <p:spPr bwMode="gray">
            <a:xfrm>
              <a:off x="668394" y="3577524"/>
              <a:ext cx="1097126" cy="492443"/>
            </a:xfrm>
            <a:prstGeom prst="rect">
              <a:avLst/>
            </a:prstGeom>
            <a:noFill/>
            <a:ln w="9525">
              <a:noFill/>
              <a:miter lim="800000"/>
              <a:headEnd/>
              <a:tailEnd/>
            </a:ln>
          </p:spPr>
          <p:txBody>
            <a:bodyPr lIns="0" tIns="0" rIns="0" bIns="0">
              <a:spAutoFit/>
            </a:bodyPr>
            <a:lstStyle/>
            <a:p>
              <a:pPr algn="ctr" defTabSz="895350">
                <a:buClr>
                  <a:schemeClr val="tx2"/>
                </a:buClr>
                <a:buSzPct val="100000"/>
              </a:pPr>
              <a:r>
                <a:rPr lang="en-US" b="1">
                  <a:solidFill>
                    <a:schemeClr val="bg1"/>
                  </a:solidFill>
                </a:rPr>
                <a:t>Health and nutrition</a:t>
              </a:r>
            </a:p>
          </p:txBody>
        </p:sp>
        <p:sp>
          <p:nvSpPr>
            <p:cNvPr id="9254" name="TextBox 43"/>
            <p:cNvSpPr txBox="1">
              <a:spLocks noChangeArrowheads="1"/>
            </p:cNvSpPr>
            <p:nvPr/>
          </p:nvSpPr>
          <p:spPr bwMode="gray">
            <a:xfrm>
              <a:off x="2765301" y="3577524"/>
              <a:ext cx="990657" cy="246221"/>
            </a:xfrm>
            <a:prstGeom prst="rect">
              <a:avLst/>
            </a:prstGeom>
            <a:noFill/>
            <a:ln w="9525">
              <a:noFill/>
              <a:miter lim="800000"/>
              <a:headEnd/>
              <a:tailEnd/>
            </a:ln>
          </p:spPr>
          <p:txBody>
            <a:bodyPr wrap="none" lIns="0" tIns="0" rIns="0" bIns="0">
              <a:spAutoFit/>
            </a:bodyPr>
            <a:lstStyle/>
            <a:p>
              <a:pPr algn="ctr" defTabSz="895350">
                <a:buClr>
                  <a:schemeClr val="tx2"/>
                </a:buClr>
                <a:buSzPct val="100000"/>
              </a:pPr>
              <a:r>
                <a:rPr lang="en-US" b="1">
                  <a:solidFill>
                    <a:schemeClr val="bg1"/>
                  </a:solidFill>
                </a:rPr>
                <a:t>Education</a:t>
              </a:r>
            </a:p>
          </p:txBody>
        </p:sp>
        <p:sp>
          <p:nvSpPr>
            <p:cNvPr id="45" name="Freeform 19">
              <a:extLst>
                <a:ext uri="{FF2B5EF4-FFF2-40B4-BE49-F238E27FC236}"/>
              </a:extLst>
            </p:cNvPr>
            <p:cNvSpPr>
              <a:spLocks noEditPoints="1"/>
            </p:cNvSpPr>
            <p:nvPr/>
          </p:nvSpPr>
          <p:spPr bwMode="gray">
            <a:xfrm>
              <a:off x="2899645" y="3115182"/>
              <a:ext cx="572149" cy="440031"/>
            </a:xfrm>
            <a:custGeom>
              <a:avLst/>
              <a:gdLst>
                <a:gd name="T0" fmla="*/ 98 w 748"/>
                <a:gd name="T1" fmla="*/ 338 h 573"/>
                <a:gd name="T2" fmla="*/ 98 w 748"/>
                <a:gd name="T3" fmla="*/ 389 h 573"/>
                <a:gd name="T4" fmla="*/ 109 w 748"/>
                <a:gd name="T5" fmla="*/ 363 h 573"/>
                <a:gd name="T6" fmla="*/ 592 w 748"/>
                <a:gd name="T7" fmla="*/ 288 h 573"/>
                <a:gd name="T8" fmla="*/ 61 w 748"/>
                <a:gd name="T9" fmla="*/ 333 h 573"/>
                <a:gd name="T10" fmla="*/ 101 w 748"/>
                <a:gd name="T11" fmla="*/ 439 h 573"/>
                <a:gd name="T12" fmla="*/ 262 w 748"/>
                <a:gd name="T13" fmla="*/ 543 h 573"/>
                <a:gd name="T14" fmla="*/ 328 w 748"/>
                <a:gd name="T15" fmla="*/ 573 h 573"/>
                <a:gd name="T16" fmla="*/ 385 w 748"/>
                <a:gd name="T17" fmla="*/ 573 h 573"/>
                <a:gd name="T18" fmla="*/ 451 w 748"/>
                <a:gd name="T19" fmla="*/ 543 h 573"/>
                <a:gd name="T20" fmla="*/ 591 w 748"/>
                <a:gd name="T21" fmla="*/ 439 h 573"/>
                <a:gd name="T22" fmla="*/ 592 w 748"/>
                <a:gd name="T23" fmla="*/ 288 h 573"/>
                <a:gd name="T24" fmla="*/ 101 w 748"/>
                <a:gd name="T25" fmla="*/ 419 h 573"/>
                <a:gd name="T26" fmla="*/ 102 w 748"/>
                <a:gd name="T27" fmla="*/ 308 h 573"/>
                <a:gd name="T28" fmla="*/ 126 w 748"/>
                <a:gd name="T29" fmla="*/ 363 h 573"/>
                <a:gd name="T30" fmla="*/ 314 w 748"/>
                <a:gd name="T31" fmla="*/ 419 h 573"/>
                <a:gd name="T32" fmla="*/ 146 w 748"/>
                <a:gd name="T33" fmla="*/ 364 h 573"/>
                <a:gd name="T34" fmla="*/ 314 w 748"/>
                <a:gd name="T35" fmla="*/ 308 h 573"/>
                <a:gd name="T36" fmla="*/ 314 w 748"/>
                <a:gd name="T37" fmla="*/ 419 h 573"/>
                <a:gd name="T38" fmla="*/ 405 w 748"/>
                <a:gd name="T39" fmla="*/ 419 h 573"/>
                <a:gd name="T40" fmla="*/ 405 w 748"/>
                <a:gd name="T41" fmla="*/ 308 h 573"/>
                <a:gd name="T42" fmla="*/ 616 w 748"/>
                <a:gd name="T43" fmla="*/ 363 h 573"/>
                <a:gd name="T44" fmla="*/ 748 w 748"/>
                <a:gd name="T45" fmla="*/ 360 h 573"/>
                <a:gd name="T46" fmla="*/ 734 w 748"/>
                <a:gd name="T47" fmla="*/ 279 h 573"/>
                <a:gd name="T48" fmla="*/ 719 w 748"/>
                <a:gd name="T49" fmla="*/ 220 h 573"/>
                <a:gd name="T50" fmla="*/ 715 w 748"/>
                <a:gd name="T51" fmla="*/ 128 h 573"/>
                <a:gd name="T52" fmla="*/ 580 w 748"/>
                <a:gd name="T53" fmla="*/ 66 h 573"/>
                <a:gd name="T54" fmla="*/ 358 w 748"/>
                <a:gd name="T55" fmla="*/ 0 h 573"/>
                <a:gd name="T56" fmla="*/ 136 w 748"/>
                <a:gd name="T57" fmla="*/ 66 h 573"/>
                <a:gd name="T58" fmla="*/ 0 w 748"/>
                <a:gd name="T59" fmla="*/ 128 h 573"/>
                <a:gd name="T60" fmla="*/ 153 w 748"/>
                <a:gd name="T61" fmla="*/ 174 h 573"/>
                <a:gd name="T62" fmla="*/ 171 w 748"/>
                <a:gd name="T63" fmla="*/ 250 h 573"/>
                <a:gd name="T64" fmla="*/ 544 w 748"/>
                <a:gd name="T65" fmla="*/ 179 h 573"/>
                <a:gd name="T66" fmla="*/ 580 w 748"/>
                <a:gd name="T67" fmla="*/ 169 h 573"/>
                <a:gd name="T68" fmla="*/ 690 w 748"/>
                <a:gd name="T69" fmla="*/ 223 h 573"/>
                <a:gd name="T70" fmla="*/ 683 w 748"/>
                <a:gd name="T71" fmla="*/ 280 h 573"/>
                <a:gd name="T72" fmla="*/ 667 w 748"/>
                <a:gd name="T73" fmla="*/ 36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8" h="573">
                  <a:moveTo>
                    <a:pt x="98" y="338"/>
                  </a:moveTo>
                  <a:cubicBezTo>
                    <a:pt x="98" y="338"/>
                    <a:pt x="98" y="338"/>
                    <a:pt x="98" y="338"/>
                  </a:cubicBezTo>
                  <a:cubicBezTo>
                    <a:pt x="92" y="338"/>
                    <a:pt x="87" y="349"/>
                    <a:pt x="87" y="363"/>
                  </a:cubicBezTo>
                  <a:cubicBezTo>
                    <a:pt x="87" y="377"/>
                    <a:pt x="92" y="388"/>
                    <a:pt x="98" y="389"/>
                  </a:cubicBezTo>
                  <a:cubicBezTo>
                    <a:pt x="98" y="389"/>
                    <a:pt x="98" y="389"/>
                    <a:pt x="98" y="389"/>
                  </a:cubicBezTo>
                  <a:cubicBezTo>
                    <a:pt x="104" y="389"/>
                    <a:pt x="109" y="377"/>
                    <a:pt x="109" y="363"/>
                  </a:cubicBezTo>
                  <a:cubicBezTo>
                    <a:pt x="109" y="349"/>
                    <a:pt x="104" y="338"/>
                    <a:pt x="98" y="338"/>
                  </a:cubicBezTo>
                  <a:close/>
                  <a:moveTo>
                    <a:pt x="592" y="288"/>
                  </a:moveTo>
                  <a:cubicBezTo>
                    <a:pt x="102" y="288"/>
                    <a:pt x="102" y="288"/>
                    <a:pt x="102" y="288"/>
                  </a:cubicBezTo>
                  <a:cubicBezTo>
                    <a:pt x="82" y="288"/>
                    <a:pt x="67" y="305"/>
                    <a:pt x="61" y="333"/>
                  </a:cubicBezTo>
                  <a:cubicBezTo>
                    <a:pt x="59" y="342"/>
                    <a:pt x="57" y="352"/>
                    <a:pt x="57" y="363"/>
                  </a:cubicBezTo>
                  <a:cubicBezTo>
                    <a:pt x="57" y="407"/>
                    <a:pt x="75" y="438"/>
                    <a:pt x="101" y="439"/>
                  </a:cubicBezTo>
                  <a:cubicBezTo>
                    <a:pt x="310" y="439"/>
                    <a:pt x="310" y="439"/>
                    <a:pt x="310" y="439"/>
                  </a:cubicBezTo>
                  <a:cubicBezTo>
                    <a:pt x="262" y="543"/>
                    <a:pt x="262" y="543"/>
                    <a:pt x="262" y="543"/>
                  </a:cubicBezTo>
                  <a:cubicBezTo>
                    <a:pt x="305" y="539"/>
                    <a:pt x="305" y="539"/>
                    <a:pt x="305" y="539"/>
                  </a:cubicBezTo>
                  <a:cubicBezTo>
                    <a:pt x="328" y="573"/>
                    <a:pt x="328" y="573"/>
                    <a:pt x="328" y="573"/>
                  </a:cubicBezTo>
                  <a:cubicBezTo>
                    <a:pt x="357" y="511"/>
                    <a:pt x="357" y="511"/>
                    <a:pt x="357" y="511"/>
                  </a:cubicBezTo>
                  <a:cubicBezTo>
                    <a:pt x="385" y="573"/>
                    <a:pt x="385" y="573"/>
                    <a:pt x="385" y="573"/>
                  </a:cubicBezTo>
                  <a:cubicBezTo>
                    <a:pt x="408" y="539"/>
                    <a:pt x="408" y="539"/>
                    <a:pt x="408" y="539"/>
                  </a:cubicBezTo>
                  <a:cubicBezTo>
                    <a:pt x="451" y="543"/>
                    <a:pt x="451" y="543"/>
                    <a:pt x="451" y="543"/>
                  </a:cubicBezTo>
                  <a:cubicBezTo>
                    <a:pt x="403" y="439"/>
                    <a:pt x="403" y="439"/>
                    <a:pt x="403" y="439"/>
                  </a:cubicBezTo>
                  <a:cubicBezTo>
                    <a:pt x="591" y="439"/>
                    <a:pt x="591" y="439"/>
                    <a:pt x="591" y="439"/>
                  </a:cubicBezTo>
                  <a:cubicBezTo>
                    <a:pt x="617" y="439"/>
                    <a:pt x="636" y="408"/>
                    <a:pt x="636" y="364"/>
                  </a:cubicBezTo>
                  <a:cubicBezTo>
                    <a:pt x="636" y="319"/>
                    <a:pt x="618" y="288"/>
                    <a:pt x="592" y="288"/>
                  </a:cubicBezTo>
                  <a:close/>
                  <a:moveTo>
                    <a:pt x="101" y="419"/>
                  </a:moveTo>
                  <a:cubicBezTo>
                    <a:pt x="101" y="419"/>
                    <a:pt x="101" y="419"/>
                    <a:pt x="101" y="419"/>
                  </a:cubicBezTo>
                  <a:cubicBezTo>
                    <a:pt x="88" y="419"/>
                    <a:pt x="77" y="394"/>
                    <a:pt x="77" y="363"/>
                  </a:cubicBezTo>
                  <a:cubicBezTo>
                    <a:pt x="77" y="332"/>
                    <a:pt x="88" y="308"/>
                    <a:pt x="102" y="308"/>
                  </a:cubicBezTo>
                  <a:cubicBezTo>
                    <a:pt x="102" y="308"/>
                    <a:pt x="102" y="308"/>
                    <a:pt x="102" y="308"/>
                  </a:cubicBezTo>
                  <a:cubicBezTo>
                    <a:pt x="115" y="308"/>
                    <a:pt x="126" y="333"/>
                    <a:pt x="126" y="363"/>
                  </a:cubicBezTo>
                  <a:cubicBezTo>
                    <a:pt x="126" y="394"/>
                    <a:pt x="115" y="419"/>
                    <a:pt x="101" y="419"/>
                  </a:cubicBezTo>
                  <a:close/>
                  <a:moveTo>
                    <a:pt x="314" y="419"/>
                  </a:moveTo>
                  <a:cubicBezTo>
                    <a:pt x="132" y="419"/>
                    <a:pt x="132" y="419"/>
                    <a:pt x="132" y="419"/>
                  </a:cubicBezTo>
                  <a:cubicBezTo>
                    <a:pt x="141" y="406"/>
                    <a:pt x="146" y="386"/>
                    <a:pt x="146" y="364"/>
                  </a:cubicBezTo>
                  <a:cubicBezTo>
                    <a:pt x="146" y="340"/>
                    <a:pt x="141" y="321"/>
                    <a:pt x="133" y="308"/>
                  </a:cubicBezTo>
                  <a:cubicBezTo>
                    <a:pt x="314" y="308"/>
                    <a:pt x="314" y="308"/>
                    <a:pt x="314" y="308"/>
                  </a:cubicBezTo>
                  <a:cubicBezTo>
                    <a:pt x="323" y="319"/>
                    <a:pt x="328" y="340"/>
                    <a:pt x="328" y="364"/>
                  </a:cubicBezTo>
                  <a:cubicBezTo>
                    <a:pt x="328" y="387"/>
                    <a:pt x="322" y="408"/>
                    <a:pt x="314" y="419"/>
                  </a:cubicBezTo>
                  <a:close/>
                  <a:moveTo>
                    <a:pt x="592" y="419"/>
                  </a:moveTo>
                  <a:cubicBezTo>
                    <a:pt x="405" y="419"/>
                    <a:pt x="405" y="419"/>
                    <a:pt x="405" y="419"/>
                  </a:cubicBezTo>
                  <a:cubicBezTo>
                    <a:pt x="413" y="408"/>
                    <a:pt x="419" y="387"/>
                    <a:pt x="419" y="364"/>
                  </a:cubicBezTo>
                  <a:cubicBezTo>
                    <a:pt x="419" y="340"/>
                    <a:pt x="414" y="319"/>
                    <a:pt x="405" y="308"/>
                  </a:cubicBezTo>
                  <a:cubicBezTo>
                    <a:pt x="592" y="308"/>
                    <a:pt x="592" y="308"/>
                    <a:pt x="592" y="308"/>
                  </a:cubicBezTo>
                  <a:cubicBezTo>
                    <a:pt x="605" y="308"/>
                    <a:pt x="616" y="333"/>
                    <a:pt x="616" y="363"/>
                  </a:cubicBezTo>
                  <a:cubicBezTo>
                    <a:pt x="616" y="394"/>
                    <a:pt x="605" y="419"/>
                    <a:pt x="592" y="419"/>
                  </a:cubicBezTo>
                  <a:close/>
                  <a:moveTo>
                    <a:pt x="748" y="360"/>
                  </a:moveTo>
                  <a:cubicBezTo>
                    <a:pt x="728" y="283"/>
                    <a:pt x="728" y="283"/>
                    <a:pt x="728" y="283"/>
                  </a:cubicBezTo>
                  <a:cubicBezTo>
                    <a:pt x="730" y="282"/>
                    <a:pt x="732" y="280"/>
                    <a:pt x="734" y="279"/>
                  </a:cubicBezTo>
                  <a:cubicBezTo>
                    <a:pt x="747" y="264"/>
                    <a:pt x="747" y="242"/>
                    <a:pt x="732" y="228"/>
                  </a:cubicBezTo>
                  <a:cubicBezTo>
                    <a:pt x="728" y="224"/>
                    <a:pt x="724" y="222"/>
                    <a:pt x="719" y="220"/>
                  </a:cubicBezTo>
                  <a:cubicBezTo>
                    <a:pt x="715" y="196"/>
                    <a:pt x="706" y="162"/>
                    <a:pt x="688" y="136"/>
                  </a:cubicBezTo>
                  <a:cubicBezTo>
                    <a:pt x="715" y="128"/>
                    <a:pt x="715" y="128"/>
                    <a:pt x="715" y="128"/>
                  </a:cubicBezTo>
                  <a:cubicBezTo>
                    <a:pt x="715" y="106"/>
                    <a:pt x="715" y="106"/>
                    <a:pt x="715" y="106"/>
                  </a:cubicBezTo>
                  <a:cubicBezTo>
                    <a:pt x="580" y="66"/>
                    <a:pt x="580" y="66"/>
                    <a:pt x="580" y="66"/>
                  </a:cubicBezTo>
                  <a:cubicBezTo>
                    <a:pt x="519" y="48"/>
                    <a:pt x="519" y="48"/>
                    <a:pt x="519" y="48"/>
                  </a:cubicBezTo>
                  <a:cubicBezTo>
                    <a:pt x="358" y="0"/>
                    <a:pt x="358" y="0"/>
                    <a:pt x="358" y="0"/>
                  </a:cubicBezTo>
                  <a:cubicBezTo>
                    <a:pt x="196" y="48"/>
                    <a:pt x="196" y="48"/>
                    <a:pt x="196" y="48"/>
                  </a:cubicBezTo>
                  <a:cubicBezTo>
                    <a:pt x="136" y="66"/>
                    <a:pt x="136" y="66"/>
                    <a:pt x="136" y="66"/>
                  </a:cubicBezTo>
                  <a:cubicBezTo>
                    <a:pt x="0" y="106"/>
                    <a:pt x="0" y="106"/>
                    <a:pt x="0" y="106"/>
                  </a:cubicBezTo>
                  <a:cubicBezTo>
                    <a:pt x="0" y="128"/>
                    <a:pt x="0" y="128"/>
                    <a:pt x="0" y="128"/>
                  </a:cubicBezTo>
                  <a:cubicBezTo>
                    <a:pt x="136" y="169"/>
                    <a:pt x="136" y="169"/>
                    <a:pt x="136" y="169"/>
                  </a:cubicBezTo>
                  <a:cubicBezTo>
                    <a:pt x="153" y="174"/>
                    <a:pt x="153" y="174"/>
                    <a:pt x="153" y="174"/>
                  </a:cubicBezTo>
                  <a:cubicBezTo>
                    <a:pt x="171" y="179"/>
                    <a:pt x="171" y="179"/>
                    <a:pt x="171" y="179"/>
                  </a:cubicBezTo>
                  <a:cubicBezTo>
                    <a:pt x="171" y="250"/>
                    <a:pt x="171" y="250"/>
                    <a:pt x="171" y="250"/>
                  </a:cubicBezTo>
                  <a:cubicBezTo>
                    <a:pt x="544" y="250"/>
                    <a:pt x="544" y="250"/>
                    <a:pt x="544" y="250"/>
                  </a:cubicBezTo>
                  <a:cubicBezTo>
                    <a:pt x="544" y="179"/>
                    <a:pt x="544" y="179"/>
                    <a:pt x="544" y="179"/>
                  </a:cubicBezTo>
                  <a:cubicBezTo>
                    <a:pt x="562" y="174"/>
                    <a:pt x="562" y="174"/>
                    <a:pt x="562" y="174"/>
                  </a:cubicBezTo>
                  <a:cubicBezTo>
                    <a:pt x="580" y="169"/>
                    <a:pt x="580" y="169"/>
                    <a:pt x="580" y="169"/>
                  </a:cubicBezTo>
                  <a:cubicBezTo>
                    <a:pt x="659" y="145"/>
                    <a:pt x="659" y="145"/>
                    <a:pt x="659" y="145"/>
                  </a:cubicBezTo>
                  <a:cubicBezTo>
                    <a:pt x="678" y="166"/>
                    <a:pt x="686" y="199"/>
                    <a:pt x="690" y="223"/>
                  </a:cubicBezTo>
                  <a:cubicBezTo>
                    <a:pt x="687" y="225"/>
                    <a:pt x="684" y="227"/>
                    <a:pt x="682" y="229"/>
                  </a:cubicBezTo>
                  <a:cubicBezTo>
                    <a:pt x="668" y="244"/>
                    <a:pt x="669" y="266"/>
                    <a:pt x="683" y="280"/>
                  </a:cubicBezTo>
                  <a:cubicBezTo>
                    <a:pt x="684" y="281"/>
                    <a:pt x="686" y="282"/>
                    <a:pt x="687" y="283"/>
                  </a:cubicBezTo>
                  <a:cubicBezTo>
                    <a:pt x="667" y="360"/>
                    <a:pt x="667" y="360"/>
                    <a:pt x="667" y="360"/>
                  </a:cubicBezTo>
                  <a:lnTo>
                    <a:pt x="748" y="360"/>
                  </a:lnTo>
                  <a:close/>
                </a:path>
              </a:pathLst>
            </a:custGeom>
            <a:noFill/>
            <a:ln>
              <a:solidFill>
                <a:schemeClr val="bg1"/>
              </a:solidFill>
            </a:ln>
            <a:extLst/>
          </p:spPr>
          <p:txBody>
            <a:bodyPr/>
            <a:lstStyle/>
            <a:p>
              <a:pPr>
                <a:defRPr/>
              </a:pPr>
              <a:endParaRPr lang="de-DE">
                <a:latin typeface="+mn-lt"/>
                <a:cs typeface="+mn-cs"/>
              </a:endParaRPr>
            </a:p>
          </p:txBody>
        </p:sp>
        <p:sp>
          <p:nvSpPr>
            <p:cNvPr id="9256" name="TextBox 45"/>
            <p:cNvSpPr txBox="1">
              <a:spLocks noChangeArrowheads="1"/>
            </p:cNvSpPr>
            <p:nvPr/>
          </p:nvSpPr>
          <p:spPr bwMode="gray">
            <a:xfrm>
              <a:off x="1479372" y="4773506"/>
              <a:ext cx="1544807" cy="492443"/>
            </a:xfrm>
            <a:prstGeom prst="rect">
              <a:avLst/>
            </a:prstGeom>
            <a:noFill/>
            <a:ln w="9525">
              <a:noFill/>
              <a:miter lim="800000"/>
              <a:headEnd/>
              <a:tailEnd/>
            </a:ln>
          </p:spPr>
          <p:txBody>
            <a:bodyPr lIns="0" tIns="0" rIns="0" bIns="0">
              <a:spAutoFit/>
            </a:bodyPr>
            <a:lstStyle/>
            <a:p>
              <a:pPr algn="ctr" defTabSz="895350">
                <a:buClr>
                  <a:schemeClr val="tx2"/>
                </a:buClr>
                <a:buSzPct val="100000"/>
              </a:pPr>
              <a:r>
                <a:rPr lang="en-US" b="1">
                  <a:solidFill>
                    <a:schemeClr val="bg1"/>
                  </a:solidFill>
                </a:rPr>
                <a:t>Labour force participation</a:t>
              </a:r>
            </a:p>
          </p:txBody>
        </p:sp>
        <p:grpSp>
          <p:nvGrpSpPr>
            <p:cNvPr id="11" name="Group 46">
              <a:extLst>
                <a:ext uri="{FF2B5EF4-FFF2-40B4-BE49-F238E27FC236}"/>
              </a:extLst>
            </p:cNvPr>
            <p:cNvGrpSpPr/>
            <p:nvPr/>
          </p:nvGrpSpPr>
          <p:grpSpPr bwMode="gray">
            <a:xfrm>
              <a:off x="2107100" y="4377296"/>
              <a:ext cx="316939" cy="334373"/>
              <a:chOff x="-7816851" y="1463676"/>
              <a:chExt cx="1020763" cy="1073150"/>
            </a:xfrm>
            <a:solidFill>
              <a:schemeClr val="bg1"/>
            </a:solidFill>
          </p:grpSpPr>
          <p:sp>
            <p:nvSpPr>
              <p:cNvPr id="48" name="Freeform 7026">
                <a:extLst>
                  <a:ext uri="{FF2B5EF4-FFF2-40B4-BE49-F238E27FC236}"/>
                </a:extLst>
              </p:cNvPr>
              <p:cNvSpPr>
                <a:spLocks noEditPoints="1"/>
              </p:cNvSpPr>
              <p:nvPr/>
            </p:nvSpPr>
            <p:spPr bwMode="gray">
              <a:xfrm>
                <a:off x="-7816851" y="1463676"/>
                <a:ext cx="873125" cy="1073150"/>
              </a:xfrm>
              <a:custGeom>
                <a:avLst/>
                <a:gdLst>
                  <a:gd name="T0" fmla="*/ 81 w 1063"/>
                  <a:gd name="T1" fmla="*/ 237 h 1305"/>
                  <a:gd name="T2" fmla="*/ 237 w 1063"/>
                  <a:gd name="T3" fmla="*/ 237 h 1305"/>
                  <a:gd name="T4" fmla="*/ 237 w 1063"/>
                  <a:gd name="T5" fmla="*/ 81 h 1305"/>
                  <a:gd name="T6" fmla="*/ 81 w 1063"/>
                  <a:gd name="T7" fmla="*/ 237 h 1305"/>
                  <a:gd name="T8" fmla="*/ 81 w 1063"/>
                  <a:gd name="T9" fmla="*/ 237 h 1305"/>
                  <a:gd name="T10" fmla="*/ 260 w 1063"/>
                  <a:gd name="T11" fmla="*/ 284 h 1305"/>
                  <a:gd name="T12" fmla="*/ 47 w 1063"/>
                  <a:gd name="T13" fmla="*/ 284 h 1305"/>
                  <a:gd name="T14" fmla="*/ 47 w 1063"/>
                  <a:gd name="T15" fmla="*/ 1257 h 1305"/>
                  <a:gd name="T16" fmla="*/ 1016 w 1063"/>
                  <a:gd name="T17" fmla="*/ 1257 h 1305"/>
                  <a:gd name="T18" fmla="*/ 1016 w 1063"/>
                  <a:gd name="T19" fmla="*/ 1184 h 1305"/>
                  <a:gd name="T20" fmla="*/ 1063 w 1063"/>
                  <a:gd name="T21" fmla="*/ 1180 h 1305"/>
                  <a:gd name="T22" fmla="*/ 1063 w 1063"/>
                  <a:gd name="T23" fmla="*/ 1281 h 1305"/>
                  <a:gd name="T24" fmla="*/ 1039 w 1063"/>
                  <a:gd name="T25" fmla="*/ 1305 h 1305"/>
                  <a:gd name="T26" fmla="*/ 24 w 1063"/>
                  <a:gd name="T27" fmla="*/ 1305 h 1305"/>
                  <a:gd name="T28" fmla="*/ 0 w 1063"/>
                  <a:gd name="T29" fmla="*/ 1281 h 1305"/>
                  <a:gd name="T30" fmla="*/ 0 w 1063"/>
                  <a:gd name="T31" fmla="*/ 260 h 1305"/>
                  <a:gd name="T32" fmla="*/ 7 w 1063"/>
                  <a:gd name="T33" fmla="*/ 244 h 1305"/>
                  <a:gd name="T34" fmla="*/ 244 w 1063"/>
                  <a:gd name="T35" fmla="*/ 7 h 1305"/>
                  <a:gd name="T36" fmla="*/ 260 w 1063"/>
                  <a:gd name="T37" fmla="*/ 0 h 1305"/>
                  <a:gd name="T38" fmla="*/ 1039 w 1063"/>
                  <a:gd name="T39" fmla="*/ 0 h 1305"/>
                  <a:gd name="T40" fmla="*/ 1063 w 1063"/>
                  <a:gd name="T41" fmla="*/ 24 h 1305"/>
                  <a:gd name="T42" fmla="*/ 1063 w 1063"/>
                  <a:gd name="T43" fmla="*/ 943 h 1305"/>
                  <a:gd name="T44" fmla="*/ 1016 w 1063"/>
                  <a:gd name="T45" fmla="*/ 947 h 1305"/>
                  <a:gd name="T46" fmla="*/ 1016 w 1063"/>
                  <a:gd name="T47" fmla="*/ 47 h 1305"/>
                  <a:gd name="T48" fmla="*/ 284 w 1063"/>
                  <a:gd name="T49" fmla="*/ 47 h 1305"/>
                  <a:gd name="T50" fmla="*/ 284 w 1063"/>
                  <a:gd name="T51" fmla="*/ 260 h 1305"/>
                  <a:gd name="T52" fmla="*/ 260 w 1063"/>
                  <a:gd name="T53" fmla="*/ 284 h 1305"/>
                  <a:gd name="T54" fmla="*/ 260 w 1063"/>
                  <a:gd name="T55" fmla="*/ 284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3" h="1305">
                    <a:moveTo>
                      <a:pt x="81" y="237"/>
                    </a:moveTo>
                    <a:lnTo>
                      <a:pt x="237" y="237"/>
                    </a:lnTo>
                    <a:lnTo>
                      <a:pt x="237" y="81"/>
                    </a:lnTo>
                    <a:lnTo>
                      <a:pt x="81" y="237"/>
                    </a:lnTo>
                    <a:lnTo>
                      <a:pt x="81" y="237"/>
                    </a:lnTo>
                    <a:close/>
                    <a:moveTo>
                      <a:pt x="260" y="284"/>
                    </a:moveTo>
                    <a:lnTo>
                      <a:pt x="47" y="284"/>
                    </a:lnTo>
                    <a:lnTo>
                      <a:pt x="47" y="1257"/>
                    </a:lnTo>
                    <a:lnTo>
                      <a:pt x="1016" y="1257"/>
                    </a:lnTo>
                    <a:lnTo>
                      <a:pt x="1016" y="1184"/>
                    </a:lnTo>
                    <a:lnTo>
                      <a:pt x="1063" y="1180"/>
                    </a:lnTo>
                    <a:lnTo>
                      <a:pt x="1063" y="1281"/>
                    </a:lnTo>
                    <a:cubicBezTo>
                      <a:pt x="1063" y="1294"/>
                      <a:pt x="1052" y="1305"/>
                      <a:pt x="1039" y="1305"/>
                    </a:cubicBezTo>
                    <a:lnTo>
                      <a:pt x="24" y="1305"/>
                    </a:lnTo>
                    <a:cubicBezTo>
                      <a:pt x="11" y="1305"/>
                      <a:pt x="0" y="1294"/>
                      <a:pt x="0" y="1281"/>
                    </a:cubicBezTo>
                    <a:lnTo>
                      <a:pt x="0" y="260"/>
                    </a:lnTo>
                    <a:cubicBezTo>
                      <a:pt x="0" y="254"/>
                      <a:pt x="3" y="248"/>
                      <a:pt x="7" y="244"/>
                    </a:cubicBezTo>
                    <a:lnTo>
                      <a:pt x="244" y="7"/>
                    </a:lnTo>
                    <a:lnTo>
                      <a:pt x="260" y="0"/>
                    </a:lnTo>
                    <a:lnTo>
                      <a:pt x="1039" y="0"/>
                    </a:lnTo>
                    <a:cubicBezTo>
                      <a:pt x="1052" y="0"/>
                      <a:pt x="1063" y="11"/>
                      <a:pt x="1063" y="24"/>
                    </a:cubicBezTo>
                    <a:lnTo>
                      <a:pt x="1063" y="943"/>
                    </a:lnTo>
                    <a:lnTo>
                      <a:pt x="1016" y="947"/>
                    </a:lnTo>
                    <a:lnTo>
                      <a:pt x="1016" y="47"/>
                    </a:lnTo>
                    <a:lnTo>
                      <a:pt x="284" y="47"/>
                    </a:lnTo>
                    <a:lnTo>
                      <a:pt x="284" y="260"/>
                    </a:lnTo>
                    <a:cubicBezTo>
                      <a:pt x="284" y="273"/>
                      <a:pt x="273" y="284"/>
                      <a:pt x="260" y="284"/>
                    </a:cubicBezTo>
                    <a:lnTo>
                      <a:pt x="260" y="284"/>
                    </a:lnTo>
                  </a:path>
                </a:pathLst>
              </a:custGeom>
              <a:grpFill/>
              <a:ln>
                <a:noFill/>
              </a:ln>
              <a:extLst>
                <a:ext uri="{91240B29-F687-4F45-9708-019B960494DF}"/>
              </a:extLst>
            </p:spPr>
            <p:txBody>
              <a:bodyPr/>
              <a:lstStyle/>
              <a:p>
                <a:pPr>
                  <a:defRPr/>
                </a:pPr>
                <a:endParaRPr lang="en-US" dirty="0">
                  <a:latin typeface="+mn-lt"/>
                  <a:cs typeface="+mn-cs"/>
                </a:endParaRPr>
              </a:p>
            </p:txBody>
          </p:sp>
          <p:sp>
            <p:nvSpPr>
              <p:cNvPr id="49" name="Freeform 7027">
                <a:extLst>
                  <a:ext uri="{FF2B5EF4-FFF2-40B4-BE49-F238E27FC236}"/>
                </a:extLst>
              </p:cNvPr>
              <p:cNvSpPr>
                <a:spLocks/>
              </p:cNvSpPr>
              <p:nvPr/>
            </p:nvSpPr>
            <p:spPr bwMode="gray">
              <a:xfrm>
                <a:off x="-7712076" y="2087563"/>
                <a:ext cx="661988" cy="38100"/>
              </a:xfrm>
              <a:custGeom>
                <a:avLst/>
                <a:gdLst>
                  <a:gd name="T0" fmla="*/ 24 w 807"/>
                  <a:gd name="T1" fmla="*/ 47 h 47"/>
                  <a:gd name="T2" fmla="*/ 0 w 807"/>
                  <a:gd name="T3" fmla="*/ 24 h 47"/>
                  <a:gd name="T4" fmla="*/ 24 w 807"/>
                  <a:gd name="T5" fmla="*/ 0 h 47"/>
                  <a:gd name="T6" fmla="*/ 783 w 807"/>
                  <a:gd name="T7" fmla="*/ 0 h 47"/>
                  <a:gd name="T8" fmla="*/ 807 w 807"/>
                  <a:gd name="T9" fmla="*/ 24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7"/>
                      <a:pt x="0" y="24"/>
                    </a:cubicBezTo>
                    <a:cubicBezTo>
                      <a:pt x="0" y="11"/>
                      <a:pt x="10" y="0"/>
                      <a:pt x="24" y="0"/>
                    </a:cubicBezTo>
                    <a:lnTo>
                      <a:pt x="783" y="0"/>
                    </a:lnTo>
                    <a:cubicBezTo>
                      <a:pt x="796" y="0"/>
                      <a:pt x="807" y="11"/>
                      <a:pt x="807" y="24"/>
                    </a:cubicBezTo>
                    <a:cubicBezTo>
                      <a:pt x="807" y="37"/>
                      <a:pt x="796" y="47"/>
                      <a:pt x="783" y="47"/>
                    </a:cubicBezTo>
                    <a:lnTo>
                      <a:pt x="24" y="47"/>
                    </a:lnTo>
                    <a:lnTo>
                      <a:pt x="24" y="47"/>
                    </a:lnTo>
                  </a:path>
                </a:pathLst>
              </a:custGeom>
              <a:grpFill/>
              <a:ln>
                <a:noFill/>
              </a:ln>
              <a:extLst>
                <a:ext uri="{91240B29-F687-4F45-9708-019B960494DF}"/>
              </a:extLst>
            </p:spPr>
            <p:txBody>
              <a:bodyPr/>
              <a:lstStyle/>
              <a:p>
                <a:pPr>
                  <a:defRPr/>
                </a:pPr>
                <a:endParaRPr lang="en-US" dirty="0">
                  <a:latin typeface="+mn-lt"/>
                  <a:cs typeface="+mn-cs"/>
                </a:endParaRPr>
              </a:p>
            </p:txBody>
          </p:sp>
          <p:sp>
            <p:nvSpPr>
              <p:cNvPr id="53" name="Freeform 7028">
                <a:extLst>
                  <a:ext uri="{FF2B5EF4-FFF2-40B4-BE49-F238E27FC236}"/>
                </a:extLst>
              </p:cNvPr>
              <p:cNvSpPr>
                <a:spLocks/>
              </p:cNvSpPr>
              <p:nvPr/>
            </p:nvSpPr>
            <p:spPr bwMode="gray">
              <a:xfrm>
                <a:off x="-7712076" y="2178051"/>
                <a:ext cx="661988" cy="38100"/>
              </a:xfrm>
              <a:custGeom>
                <a:avLst/>
                <a:gdLst>
                  <a:gd name="T0" fmla="*/ 24 w 807"/>
                  <a:gd name="T1" fmla="*/ 47 h 47"/>
                  <a:gd name="T2" fmla="*/ 0 w 807"/>
                  <a:gd name="T3" fmla="*/ 23 h 47"/>
                  <a:gd name="T4" fmla="*/ 24 w 807"/>
                  <a:gd name="T5" fmla="*/ 0 h 47"/>
                  <a:gd name="T6" fmla="*/ 783 w 807"/>
                  <a:gd name="T7" fmla="*/ 0 h 47"/>
                  <a:gd name="T8" fmla="*/ 807 w 807"/>
                  <a:gd name="T9" fmla="*/ 23 h 47"/>
                  <a:gd name="T10" fmla="*/ 783 w 807"/>
                  <a:gd name="T11" fmla="*/ 47 h 47"/>
                  <a:gd name="T12" fmla="*/ 24 w 807"/>
                  <a:gd name="T13" fmla="*/ 47 h 47"/>
                  <a:gd name="T14" fmla="*/ 24 w 807"/>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7" h="47">
                    <a:moveTo>
                      <a:pt x="24" y="47"/>
                    </a:moveTo>
                    <a:cubicBezTo>
                      <a:pt x="10" y="47"/>
                      <a:pt x="0" y="36"/>
                      <a:pt x="0" y="23"/>
                    </a:cubicBezTo>
                    <a:cubicBezTo>
                      <a:pt x="0" y="10"/>
                      <a:pt x="10" y="0"/>
                      <a:pt x="24" y="0"/>
                    </a:cubicBezTo>
                    <a:lnTo>
                      <a:pt x="783" y="0"/>
                    </a:lnTo>
                    <a:cubicBezTo>
                      <a:pt x="796" y="0"/>
                      <a:pt x="807" y="10"/>
                      <a:pt x="807" y="23"/>
                    </a:cubicBezTo>
                    <a:cubicBezTo>
                      <a:pt x="807" y="36"/>
                      <a:pt x="796" y="47"/>
                      <a:pt x="783" y="47"/>
                    </a:cubicBezTo>
                    <a:lnTo>
                      <a:pt x="24" y="47"/>
                    </a:lnTo>
                    <a:lnTo>
                      <a:pt x="24" y="47"/>
                    </a:lnTo>
                  </a:path>
                </a:pathLst>
              </a:custGeom>
              <a:grpFill/>
              <a:ln>
                <a:noFill/>
              </a:ln>
              <a:extLst>
                <a:ext uri="{91240B29-F687-4F45-9708-019B960494DF}"/>
              </a:extLst>
            </p:spPr>
            <p:txBody>
              <a:bodyPr/>
              <a:lstStyle/>
              <a:p>
                <a:pPr>
                  <a:defRPr/>
                </a:pPr>
                <a:endParaRPr lang="en-US" dirty="0">
                  <a:latin typeface="+mn-lt"/>
                  <a:cs typeface="+mn-cs"/>
                </a:endParaRPr>
              </a:p>
            </p:txBody>
          </p:sp>
          <p:sp>
            <p:nvSpPr>
              <p:cNvPr id="54" name="Freeform 7029">
                <a:extLst>
                  <a:ext uri="{FF2B5EF4-FFF2-40B4-BE49-F238E27FC236}"/>
                </a:extLst>
              </p:cNvPr>
              <p:cNvSpPr>
                <a:spLocks noEditPoints="1"/>
              </p:cNvSpPr>
              <p:nvPr/>
            </p:nvSpPr>
            <p:spPr bwMode="gray">
              <a:xfrm>
                <a:off x="-7526338" y="2266951"/>
                <a:ext cx="730250" cy="168275"/>
              </a:xfrm>
              <a:custGeom>
                <a:avLst/>
                <a:gdLst>
                  <a:gd name="T0" fmla="*/ 827 w 890"/>
                  <a:gd name="T1" fmla="*/ 21 h 204"/>
                  <a:gd name="T2" fmla="*/ 845 w 890"/>
                  <a:gd name="T3" fmla="*/ 36 h 204"/>
                  <a:gd name="T4" fmla="*/ 830 w 890"/>
                  <a:gd name="T5" fmla="*/ 53 h 204"/>
                  <a:gd name="T6" fmla="*/ 813 w 890"/>
                  <a:gd name="T7" fmla="*/ 39 h 204"/>
                  <a:gd name="T8" fmla="*/ 827 w 890"/>
                  <a:gd name="T9" fmla="*/ 21 h 204"/>
                  <a:gd name="T10" fmla="*/ 827 w 890"/>
                  <a:gd name="T11" fmla="*/ 21 h 204"/>
                  <a:gd name="T12" fmla="*/ 724 w 890"/>
                  <a:gd name="T13" fmla="*/ 11 h 204"/>
                  <a:gd name="T14" fmla="*/ 810 w 890"/>
                  <a:gd name="T15" fmla="*/ 3 h 204"/>
                  <a:gd name="T16" fmla="*/ 886 w 890"/>
                  <a:gd name="T17" fmla="*/ 68 h 204"/>
                  <a:gd name="T18" fmla="*/ 822 w 890"/>
                  <a:gd name="T19" fmla="*/ 144 h 204"/>
                  <a:gd name="T20" fmla="*/ 737 w 890"/>
                  <a:gd name="T21" fmla="*/ 152 h 204"/>
                  <a:gd name="T22" fmla="*/ 724 w 890"/>
                  <a:gd name="T23" fmla="*/ 11 h 204"/>
                  <a:gd name="T24" fmla="*/ 724 w 890"/>
                  <a:gd name="T25" fmla="*/ 11 h 204"/>
                  <a:gd name="T26" fmla="*/ 134 w 890"/>
                  <a:gd name="T27" fmla="*/ 204 h 204"/>
                  <a:gd name="T28" fmla="*/ 6 w 890"/>
                  <a:gd name="T29" fmla="*/ 153 h 204"/>
                  <a:gd name="T30" fmla="*/ 0 w 890"/>
                  <a:gd name="T31" fmla="*/ 145 h 204"/>
                  <a:gd name="T32" fmla="*/ 4 w 890"/>
                  <a:gd name="T33" fmla="*/ 136 h 204"/>
                  <a:gd name="T34" fmla="*/ 121 w 890"/>
                  <a:gd name="T35" fmla="*/ 65 h 204"/>
                  <a:gd name="T36" fmla="*/ 126 w 890"/>
                  <a:gd name="T37" fmla="*/ 63 h 204"/>
                  <a:gd name="T38" fmla="*/ 712 w 890"/>
                  <a:gd name="T39" fmla="*/ 12 h 204"/>
                  <a:gd name="T40" fmla="*/ 715 w 890"/>
                  <a:gd name="T41" fmla="*/ 39 h 204"/>
                  <a:gd name="T42" fmla="*/ 153 w 890"/>
                  <a:gd name="T43" fmla="*/ 89 h 204"/>
                  <a:gd name="T44" fmla="*/ 148 w 890"/>
                  <a:gd name="T45" fmla="*/ 94 h 204"/>
                  <a:gd name="T46" fmla="*/ 149 w 890"/>
                  <a:gd name="T47" fmla="*/ 96 h 204"/>
                  <a:gd name="T48" fmla="*/ 154 w 890"/>
                  <a:gd name="T49" fmla="*/ 101 h 204"/>
                  <a:gd name="T50" fmla="*/ 716 w 890"/>
                  <a:gd name="T51" fmla="*/ 51 h 204"/>
                  <a:gd name="T52" fmla="*/ 725 w 890"/>
                  <a:gd name="T53" fmla="*/ 153 h 204"/>
                  <a:gd name="T54" fmla="*/ 138 w 890"/>
                  <a:gd name="T55" fmla="*/ 204 h 204"/>
                  <a:gd name="T56" fmla="*/ 134 w 890"/>
                  <a:gd name="T57" fmla="*/ 204 h 204"/>
                  <a:gd name="T58" fmla="*/ 134 w 890"/>
                  <a:gd name="T59"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0" h="204">
                    <a:moveTo>
                      <a:pt x="827" y="21"/>
                    </a:moveTo>
                    <a:cubicBezTo>
                      <a:pt x="836" y="21"/>
                      <a:pt x="844" y="27"/>
                      <a:pt x="845" y="36"/>
                    </a:cubicBezTo>
                    <a:cubicBezTo>
                      <a:pt x="845" y="45"/>
                      <a:pt x="839" y="52"/>
                      <a:pt x="830" y="53"/>
                    </a:cubicBezTo>
                    <a:cubicBezTo>
                      <a:pt x="821" y="54"/>
                      <a:pt x="814" y="47"/>
                      <a:pt x="813" y="39"/>
                    </a:cubicBezTo>
                    <a:cubicBezTo>
                      <a:pt x="812" y="30"/>
                      <a:pt x="818" y="22"/>
                      <a:pt x="827" y="21"/>
                    </a:cubicBezTo>
                    <a:lnTo>
                      <a:pt x="827" y="21"/>
                    </a:lnTo>
                    <a:close/>
                    <a:moveTo>
                      <a:pt x="724" y="11"/>
                    </a:moveTo>
                    <a:lnTo>
                      <a:pt x="810" y="3"/>
                    </a:lnTo>
                    <a:cubicBezTo>
                      <a:pt x="849" y="0"/>
                      <a:pt x="883" y="29"/>
                      <a:pt x="886" y="68"/>
                    </a:cubicBezTo>
                    <a:cubicBezTo>
                      <a:pt x="890" y="107"/>
                      <a:pt x="861" y="141"/>
                      <a:pt x="822" y="144"/>
                    </a:cubicBezTo>
                    <a:lnTo>
                      <a:pt x="737" y="152"/>
                    </a:lnTo>
                    <a:lnTo>
                      <a:pt x="724" y="11"/>
                    </a:lnTo>
                    <a:lnTo>
                      <a:pt x="724" y="11"/>
                    </a:lnTo>
                    <a:close/>
                    <a:moveTo>
                      <a:pt x="134" y="204"/>
                    </a:moveTo>
                    <a:lnTo>
                      <a:pt x="6" y="153"/>
                    </a:lnTo>
                    <a:cubicBezTo>
                      <a:pt x="2" y="152"/>
                      <a:pt x="0" y="149"/>
                      <a:pt x="0" y="145"/>
                    </a:cubicBezTo>
                    <a:cubicBezTo>
                      <a:pt x="0" y="142"/>
                      <a:pt x="1" y="138"/>
                      <a:pt x="4" y="136"/>
                    </a:cubicBezTo>
                    <a:lnTo>
                      <a:pt x="121" y="65"/>
                    </a:lnTo>
                    <a:cubicBezTo>
                      <a:pt x="123" y="64"/>
                      <a:pt x="124" y="63"/>
                      <a:pt x="126" y="63"/>
                    </a:cubicBezTo>
                    <a:lnTo>
                      <a:pt x="712" y="12"/>
                    </a:lnTo>
                    <a:lnTo>
                      <a:pt x="715" y="39"/>
                    </a:lnTo>
                    <a:lnTo>
                      <a:pt x="153" y="89"/>
                    </a:lnTo>
                    <a:cubicBezTo>
                      <a:pt x="150" y="89"/>
                      <a:pt x="148" y="91"/>
                      <a:pt x="148" y="94"/>
                    </a:cubicBezTo>
                    <a:lnTo>
                      <a:pt x="149" y="96"/>
                    </a:lnTo>
                    <a:cubicBezTo>
                      <a:pt x="149" y="99"/>
                      <a:pt x="151" y="101"/>
                      <a:pt x="154" y="101"/>
                    </a:cubicBezTo>
                    <a:lnTo>
                      <a:pt x="716" y="51"/>
                    </a:lnTo>
                    <a:lnTo>
                      <a:pt x="725" y="153"/>
                    </a:lnTo>
                    <a:lnTo>
                      <a:pt x="138" y="204"/>
                    </a:lnTo>
                    <a:cubicBezTo>
                      <a:pt x="136" y="204"/>
                      <a:pt x="135" y="204"/>
                      <a:pt x="134" y="204"/>
                    </a:cubicBezTo>
                    <a:lnTo>
                      <a:pt x="134" y="204"/>
                    </a:lnTo>
                  </a:path>
                </a:pathLst>
              </a:custGeom>
              <a:grpFill/>
              <a:ln>
                <a:noFill/>
              </a:ln>
              <a:extLst>
                <a:ext uri="{91240B29-F687-4F45-9708-019B960494DF}"/>
              </a:extLst>
            </p:spPr>
            <p:txBody>
              <a:bodyPr/>
              <a:lstStyle/>
              <a:p>
                <a:pPr>
                  <a:defRPr/>
                </a:pPr>
                <a:endParaRPr lang="en-US" dirty="0">
                  <a:latin typeface="+mn-lt"/>
                  <a:cs typeface="+mn-cs"/>
                </a:endParaRPr>
              </a:p>
            </p:txBody>
          </p:sp>
          <p:sp>
            <p:nvSpPr>
              <p:cNvPr id="58" name="Freeform 7030">
                <a:extLst>
                  <a:ext uri="{FF2B5EF4-FFF2-40B4-BE49-F238E27FC236}"/>
                </a:extLst>
              </p:cNvPr>
              <p:cNvSpPr>
                <a:spLocks noEditPoints="1"/>
              </p:cNvSpPr>
              <p:nvPr/>
            </p:nvSpPr>
            <p:spPr bwMode="gray">
              <a:xfrm>
                <a:off x="-7510463" y="1612901"/>
                <a:ext cx="258763" cy="381000"/>
              </a:xfrm>
              <a:custGeom>
                <a:avLst/>
                <a:gdLst>
                  <a:gd name="T0" fmla="*/ 157 w 315"/>
                  <a:gd name="T1" fmla="*/ 0 h 464"/>
                  <a:gd name="T2" fmla="*/ 57 w 315"/>
                  <a:gd name="T3" fmla="*/ 100 h 464"/>
                  <a:gd name="T4" fmla="*/ 157 w 315"/>
                  <a:gd name="T5" fmla="*/ 200 h 464"/>
                  <a:gd name="T6" fmla="*/ 258 w 315"/>
                  <a:gd name="T7" fmla="*/ 100 h 464"/>
                  <a:gd name="T8" fmla="*/ 157 w 315"/>
                  <a:gd name="T9" fmla="*/ 0 h 464"/>
                  <a:gd name="T10" fmla="*/ 157 w 315"/>
                  <a:gd name="T11" fmla="*/ 0 h 464"/>
                  <a:gd name="T12" fmla="*/ 281 w 315"/>
                  <a:gd name="T13" fmla="*/ 298 h 464"/>
                  <a:gd name="T14" fmla="*/ 315 w 315"/>
                  <a:gd name="T15" fmla="*/ 464 h 464"/>
                  <a:gd name="T16" fmla="*/ 0 w 315"/>
                  <a:gd name="T17" fmla="*/ 464 h 464"/>
                  <a:gd name="T18" fmla="*/ 34 w 315"/>
                  <a:gd name="T19" fmla="*/ 298 h 464"/>
                  <a:gd name="T20" fmla="*/ 157 w 315"/>
                  <a:gd name="T21" fmla="*/ 222 h 464"/>
                  <a:gd name="T22" fmla="*/ 281 w 315"/>
                  <a:gd name="T23" fmla="*/ 298 h 464"/>
                  <a:gd name="T24" fmla="*/ 281 w 315"/>
                  <a:gd name="T25" fmla="*/ 29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464">
                    <a:moveTo>
                      <a:pt x="157" y="0"/>
                    </a:moveTo>
                    <a:cubicBezTo>
                      <a:pt x="102" y="0"/>
                      <a:pt x="57" y="45"/>
                      <a:pt x="57" y="100"/>
                    </a:cubicBezTo>
                    <a:cubicBezTo>
                      <a:pt x="57" y="155"/>
                      <a:pt x="102" y="200"/>
                      <a:pt x="157" y="200"/>
                    </a:cubicBezTo>
                    <a:cubicBezTo>
                      <a:pt x="213" y="200"/>
                      <a:pt x="258" y="155"/>
                      <a:pt x="258" y="100"/>
                    </a:cubicBezTo>
                    <a:cubicBezTo>
                      <a:pt x="258" y="45"/>
                      <a:pt x="213" y="0"/>
                      <a:pt x="157" y="0"/>
                    </a:cubicBezTo>
                    <a:lnTo>
                      <a:pt x="157" y="0"/>
                    </a:lnTo>
                    <a:close/>
                    <a:moveTo>
                      <a:pt x="281" y="298"/>
                    </a:moveTo>
                    <a:lnTo>
                      <a:pt x="315" y="464"/>
                    </a:lnTo>
                    <a:lnTo>
                      <a:pt x="0" y="464"/>
                    </a:lnTo>
                    <a:lnTo>
                      <a:pt x="34" y="298"/>
                    </a:lnTo>
                    <a:cubicBezTo>
                      <a:pt x="45" y="245"/>
                      <a:pt x="109" y="222"/>
                      <a:pt x="157" y="222"/>
                    </a:cubicBezTo>
                    <a:cubicBezTo>
                      <a:pt x="206" y="222"/>
                      <a:pt x="270" y="245"/>
                      <a:pt x="281" y="298"/>
                    </a:cubicBezTo>
                    <a:lnTo>
                      <a:pt x="281" y="298"/>
                    </a:lnTo>
                  </a:path>
                </a:pathLst>
              </a:custGeom>
              <a:grpFill/>
              <a:ln>
                <a:noFill/>
              </a:ln>
              <a:extLst>
                <a:ext uri="{91240B29-F687-4F45-9708-019B960494DF}"/>
              </a:extLst>
            </p:spPr>
            <p:txBody>
              <a:bodyPr/>
              <a:lstStyle/>
              <a:p>
                <a:pPr>
                  <a:defRPr/>
                </a:pPr>
                <a:endParaRPr lang="en-US" dirty="0">
                  <a:latin typeface="+mn-lt"/>
                  <a:cs typeface="+mn-cs"/>
                </a:endParaRPr>
              </a:p>
            </p:txBody>
          </p:sp>
        </p:grpSp>
        <p:grpSp>
          <p:nvGrpSpPr>
            <p:cNvPr id="13" name="Group 58">
              <a:extLst>
                <a:ext uri="{FF2B5EF4-FFF2-40B4-BE49-F238E27FC236}"/>
              </a:extLst>
            </p:cNvPr>
            <p:cNvGrpSpPr/>
            <p:nvPr/>
          </p:nvGrpSpPr>
          <p:grpSpPr>
            <a:xfrm>
              <a:off x="1086283" y="3122227"/>
              <a:ext cx="488000" cy="449414"/>
              <a:chOff x="2455464" y="2933511"/>
              <a:chExt cx="575368" cy="481703"/>
            </a:xfrm>
            <a:solidFill>
              <a:schemeClr val="bg2"/>
            </a:solidFill>
          </p:grpSpPr>
          <p:sp>
            <p:nvSpPr>
              <p:cNvPr id="62" name="Freeform 626">
                <a:extLst>
                  <a:ext uri="{FF2B5EF4-FFF2-40B4-BE49-F238E27FC236}"/>
                </a:extLst>
              </p:cNvPr>
              <p:cNvSpPr>
                <a:spLocks noEditPoints="1"/>
              </p:cNvSpPr>
              <p:nvPr/>
            </p:nvSpPr>
            <p:spPr bwMode="auto">
              <a:xfrm>
                <a:off x="2497518" y="2933511"/>
                <a:ext cx="533314" cy="481703"/>
              </a:xfrm>
              <a:custGeom>
                <a:avLst/>
                <a:gdLst>
                  <a:gd name="T0" fmla="*/ 23 w 279"/>
                  <a:gd name="T1" fmla="*/ 136 h 252"/>
                  <a:gd name="T2" fmla="*/ 23 w 279"/>
                  <a:gd name="T3" fmla="*/ 136 h 252"/>
                  <a:gd name="T4" fmla="*/ 100 w 279"/>
                  <a:gd name="T5" fmla="*/ 2 h 252"/>
                  <a:gd name="T6" fmla="*/ 136 w 279"/>
                  <a:gd name="T7" fmla="*/ 23 h 252"/>
                  <a:gd name="T8" fmla="*/ 143 w 279"/>
                  <a:gd name="T9" fmla="*/ 23 h 252"/>
                  <a:gd name="T10" fmla="*/ 179 w 279"/>
                  <a:gd name="T11" fmla="*/ 2 h 252"/>
                  <a:gd name="T12" fmla="*/ 218 w 279"/>
                  <a:gd name="T13" fmla="*/ 2 h 252"/>
                  <a:gd name="T14" fmla="*/ 254 w 279"/>
                  <a:gd name="T15" fmla="*/ 23 h 252"/>
                  <a:gd name="T16" fmla="*/ 256 w 279"/>
                  <a:gd name="T17" fmla="*/ 24 h 252"/>
                  <a:gd name="T18" fmla="*/ 268 w 279"/>
                  <a:gd name="T19" fmla="*/ 41 h 252"/>
                  <a:gd name="T20" fmla="*/ 279 w 279"/>
                  <a:gd name="T21" fmla="*/ 80 h 252"/>
                  <a:gd name="T22" fmla="*/ 268 w 279"/>
                  <a:gd name="T23" fmla="*/ 119 h 252"/>
                  <a:gd name="T24" fmla="*/ 248 w 279"/>
                  <a:gd name="T25" fmla="*/ 143 h 252"/>
                  <a:gd name="T26" fmla="*/ 31 w 279"/>
                  <a:gd name="T27" fmla="*/ 143 h 252"/>
                  <a:gd name="T28" fmla="*/ 17 w 279"/>
                  <a:gd name="T29" fmla="*/ 129 h 252"/>
                  <a:gd name="T30" fmla="*/ 27 w 279"/>
                  <a:gd name="T31" fmla="*/ 123 h 252"/>
                  <a:gd name="T32" fmla="*/ 31 w 279"/>
                  <a:gd name="T33" fmla="*/ 128 h 252"/>
                  <a:gd name="T34" fmla="*/ 139 w 279"/>
                  <a:gd name="T35" fmla="*/ 236 h 252"/>
                  <a:gd name="T36" fmla="*/ 248 w 279"/>
                  <a:gd name="T37" fmla="*/ 128 h 252"/>
                  <a:gd name="T38" fmla="*/ 265 w 279"/>
                  <a:gd name="T39" fmla="*/ 97 h 252"/>
                  <a:gd name="T40" fmla="*/ 265 w 279"/>
                  <a:gd name="T41" fmla="*/ 62 h 252"/>
                  <a:gd name="T42" fmla="*/ 248 w 279"/>
                  <a:gd name="T43" fmla="*/ 33 h 252"/>
                  <a:gd name="T44" fmla="*/ 247 w 279"/>
                  <a:gd name="T45" fmla="*/ 32 h 252"/>
                  <a:gd name="T46" fmla="*/ 216 w 279"/>
                  <a:gd name="T47" fmla="*/ 14 h 252"/>
                  <a:gd name="T48" fmla="*/ 182 w 279"/>
                  <a:gd name="T49" fmla="*/ 14 h 252"/>
                  <a:gd name="T50" fmla="*/ 152 w 279"/>
                  <a:gd name="T51" fmla="*/ 32 h 252"/>
                  <a:gd name="T52" fmla="*/ 127 w 279"/>
                  <a:gd name="T53" fmla="*/ 32 h 252"/>
                  <a:gd name="T54" fmla="*/ 96 w 279"/>
                  <a:gd name="T55" fmla="*/ 14 h 252"/>
                  <a:gd name="T56" fmla="*/ 63 w 279"/>
                  <a:gd name="T57" fmla="*/ 14 h 252"/>
                  <a:gd name="T58" fmla="*/ 32 w 279"/>
                  <a:gd name="T59" fmla="*/ 32 h 252"/>
                  <a:gd name="T60" fmla="*/ 21 w 279"/>
                  <a:gd name="T61" fmla="*/ 47 h 252"/>
                  <a:gd name="T62" fmla="*/ 12 w 279"/>
                  <a:gd name="T63" fmla="*/ 80 h 252"/>
                  <a:gd name="T64" fmla="*/ 3 w 279"/>
                  <a:gd name="T65" fmla="*/ 60 h 252"/>
                  <a:gd name="T66" fmla="*/ 23 w 279"/>
                  <a:gd name="T67" fmla="*/ 24 h 252"/>
                  <a:gd name="T68" fmla="*/ 41 w 279"/>
                  <a:gd name="T69" fmla="*/ 10 h 252"/>
                  <a:gd name="T70" fmla="*/ 80 w 279"/>
                  <a:gd name="T71"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9" h="252">
                    <a:moveTo>
                      <a:pt x="23" y="136"/>
                    </a:moveTo>
                    <a:lnTo>
                      <a:pt x="23" y="136"/>
                    </a:lnTo>
                    <a:lnTo>
                      <a:pt x="23" y="136"/>
                    </a:lnTo>
                    <a:lnTo>
                      <a:pt x="23" y="136"/>
                    </a:lnTo>
                    <a:close/>
                    <a:moveTo>
                      <a:pt x="80" y="0"/>
                    </a:moveTo>
                    <a:lnTo>
                      <a:pt x="100" y="2"/>
                    </a:lnTo>
                    <a:lnTo>
                      <a:pt x="120" y="10"/>
                    </a:lnTo>
                    <a:lnTo>
                      <a:pt x="136" y="23"/>
                    </a:lnTo>
                    <a:lnTo>
                      <a:pt x="139" y="26"/>
                    </a:lnTo>
                    <a:lnTo>
                      <a:pt x="143" y="23"/>
                    </a:lnTo>
                    <a:lnTo>
                      <a:pt x="159" y="10"/>
                    </a:lnTo>
                    <a:lnTo>
                      <a:pt x="179" y="2"/>
                    </a:lnTo>
                    <a:lnTo>
                      <a:pt x="199" y="0"/>
                    </a:lnTo>
                    <a:lnTo>
                      <a:pt x="218" y="2"/>
                    </a:lnTo>
                    <a:lnTo>
                      <a:pt x="238" y="10"/>
                    </a:lnTo>
                    <a:lnTo>
                      <a:pt x="254" y="23"/>
                    </a:lnTo>
                    <a:lnTo>
                      <a:pt x="254" y="23"/>
                    </a:lnTo>
                    <a:lnTo>
                      <a:pt x="256" y="24"/>
                    </a:lnTo>
                    <a:lnTo>
                      <a:pt x="256" y="24"/>
                    </a:lnTo>
                    <a:lnTo>
                      <a:pt x="268" y="41"/>
                    </a:lnTo>
                    <a:lnTo>
                      <a:pt x="276" y="60"/>
                    </a:lnTo>
                    <a:lnTo>
                      <a:pt x="279" y="80"/>
                    </a:lnTo>
                    <a:lnTo>
                      <a:pt x="276" y="100"/>
                    </a:lnTo>
                    <a:lnTo>
                      <a:pt x="268" y="119"/>
                    </a:lnTo>
                    <a:lnTo>
                      <a:pt x="256" y="136"/>
                    </a:lnTo>
                    <a:lnTo>
                      <a:pt x="248" y="143"/>
                    </a:lnTo>
                    <a:lnTo>
                      <a:pt x="139" y="252"/>
                    </a:lnTo>
                    <a:lnTo>
                      <a:pt x="31" y="143"/>
                    </a:lnTo>
                    <a:lnTo>
                      <a:pt x="23" y="136"/>
                    </a:lnTo>
                    <a:lnTo>
                      <a:pt x="17" y="129"/>
                    </a:lnTo>
                    <a:lnTo>
                      <a:pt x="17" y="129"/>
                    </a:lnTo>
                    <a:lnTo>
                      <a:pt x="27" y="123"/>
                    </a:lnTo>
                    <a:lnTo>
                      <a:pt x="31" y="128"/>
                    </a:lnTo>
                    <a:lnTo>
                      <a:pt x="31" y="128"/>
                    </a:lnTo>
                    <a:lnTo>
                      <a:pt x="40" y="136"/>
                    </a:lnTo>
                    <a:lnTo>
                      <a:pt x="139" y="236"/>
                    </a:lnTo>
                    <a:lnTo>
                      <a:pt x="239" y="136"/>
                    </a:lnTo>
                    <a:lnTo>
                      <a:pt x="248" y="128"/>
                    </a:lnTo>
                    <a:lnTo>
                      <a:pt x="258" y="112"/>
                    </a:lnTo>
                    <a:lnTo>
                      <a:pt x="265" y="97"/>
                    </a:lnTo>
                    <a:lnTo>
                      <a:pt x="267" y="80"/>
                    </a:lnTo>
                    <a:lnTo>
                      <a:pt x="265" y="62"/>
                    </a:lnTo>
                    <a:lnTo>
                      <a:pt x="258" y="47"/>
                    </a:lnTo>
                    <a:lnTo>
                      <a:pt x="248" y="33"/>
                    </a:lnTo>
                    <a:lnTo>
                      <a:pt x="247" y="33"/>
                    </a:lnTo>
                    <a:lnTo>
                      <a:pt x="247" y="32"/>
                    </a:lnTo>
                    <a:lnTo>
                      <a:pt x="232" y="20"/>
                    </a:lnTo>
                    <a:lnTo>
                      <a:pt x="216" y="14"/>
                    </a:lnTo>
                    <a:lnTo>
                      <a:pt x="199" y="12"/>
                    </a:lnTo>
                    <a:lnTo>
                      <a:pt x="182" y="14"/>
                    </a:lnTo>
                    <a:lnTo>
                      <a:pt x="166" y="20"/>
                    </a:lnTo>
                    <a:lnTo>
                      <a:pt x="152" y="32"/>
                    </a:lnTo>
                    <a:lnTo>
                      <a:pt x="139" y="43"/>
                    </a:lnTo>
                    <a:lnTo>
                      <a:pt x="127" y="32"/>
                    </a:lnTo>
                    <a:lnTo>
                      <a:pt x="113" y="20"/>
                    </a:lnTo>
                    <a:lnTo>
                      <a:pt x="96" y="14"/>
                    </a:lnTo>
                    <a:lnTo>
                      <a:pt x="80" y="12"/>
                    </a:lnTo>
                    <a:lnTo>
                      <a:pt x="63" y="14"/>
                    </a:lnTo>
                    <a:lnTo>
                      <a:pt x="46" y="20"/>
                    </a:lnTo>
                    <a:lnTo>
                      <a:pt x="32" y="32"/>
                    </a:lnTo>
                    <a:lnTo>
                      <a:pt x="31" y="33"/>
                    </a:lnTo>
                    <a:lnTo>
                      <a:pt x="21" y="47"/>
                    </a:lnTo>
                    <a:lnTo>
                      <a:pt x="14" y="62"/>
                    </a:lnTo>
                    <a:lnTo>
                      <a:pt x="12" y="80"/>
                    </a:lnTo>
                    <a:lnTo>
                      <a:pt x="0" y="80"/>
                    </a:lnTo>
                    <a:lnTo>
                      <a:pt x="3" y="60"/>
                    </a:lnTo>
                    <a:lnTo>
                      <a:pt x="10" y="41"/>
                    </a:lnTo>
                    <a:lnTo>
                      <a:pt x="23" y="24"/>
                    </a:lnTo>
                    <a:lnTo>
                      <a:pt x="25" y="23"/>
                    </a:lnTo>
                    <a:lnTo>
                      <a:pt x="41" y="10"/>
                    </a:lnTo>
                    <a:lnTo>
                      <a:pt x="60" y="2"/>
                    </a:lnTo>
                    <a:lnTo>
                      <a:pt x="80" y="0"/>
                    </a:lnTo>
                    <a:close/>
                  </a:path>
                </a:pathLst>
              </a:custGeom>
              <a:grpFill/>
              <a:ln w="0">
                <a:noFill/>
                <a:prstDash val="solid"/>
                <a:round/>
                <a:headEnd/>
                <a:tailEnd/>
              </a:ln>
            </p:spPr>
            <p:txBody>
              <a:bodyPr/>
              <a:lstStyle/>
              <a:p>
                <a:pPr>
                  <a:defRPr/>
                </a:pPr>
                <a:endParaRPr lang="en-US" dirty="0">
                  <a:latin typeface="Arial" charset="0"/>
                  <a:cs typeface="+mn-cs"/>
                </a:endParaRPr>
              </a:p>
            </p:txBody>
          </p:sp>
          <p:sp>
            <p:nvSpPr>
              <p:cNvPr id="64" name="Freeform 627">
                <a:extLst>
                  <a:ext uri="{FF2B5EF4-FFF2-40B4-BE49-F238E27FC236}"/>
                </a:extLst>
              </p:cNvPr>
              <p:cNvSpPr>
                <a:spLocks/>
              </p:cNvSpPr>
              <p:nvPr/>
            </p:nvSpPr>
            <p:spPr bwMode="auto">
              <a:xfrm>
                <a:off x="2455464" y="3017618"/>
                <a:ext cx="405242" cy="189241"/>
              </a:xfrm>
              <a:custGeom>
                <a:avLst/>
                <a:gdLst>
                  <a:gd name="T0" fmla="*/ 98 w 212"/>
                  <a:gd name="T1" fmla="*/ 0 h 99"/>
                  <a:gd name="T2" fmla="*/ 118 w 212"/>
                  <a:gd name="T3" fmla="*/ 68 h 99"/>
                  <a:gd name="T4" fmla="*/ 130 w 212"/>
                  <a:gd name="T5" fmla="*/ 49 h 99"/>
                  <a:gd name="T6" fmla="*/ 212 w 212"/>
                  <a:gd name="T7" fmla="*/ 49 h 99"/>
                  <a:gd name="T8" fmla="*/ 212 w 212"/>
                  <a:gd name="T9" fmla="*/ 61 h 99"/>
                  <a:gd name="T10" fmla="*/ 162 w 212"/>
                  <a:gd name="T11" fmla="*/ 61 h 99"/>
                  <a:gd name="T12" fmla="*/ 136 w 212"/>
                  <a:gd name="T13" fmla="*/ 61 h 99"/>
                  <a:gd name="T14" fmla="*/ 116 w 212"/>
                  <a:gd name="T15" fmla="*/ 99 h 99"/>
                  <a:gd name="T16" fmla="*/ 97 w 212"/>
                  <a:gd name="T17" fmla="*/ 35 h 99"/>
                  <a:gd name="T18" fmla="*/ 82 w 212"/>
                  <a:gd name="T19" fmla="*/ 65 h 99"/>
                  <a:gd name="T20" fmla="*/ 0 w 212"/>
                  <a:gd name="T21" fmla="*/ 65 h 99"/>
                  <a:gd name="T22" fmla="*/ 0 w 212"/>
                  <a:gd name="T23" fmla="*/ 53 h 99"/>
                  <a:gd name="T24" fmla="*/ 75 w 212"/>
                  <a:gd name="T25" fmla="*/ 53 h 99"/>
                  <a:gd name="T26" fmla="*/ 98 w 212"/>
                  <a:gd name="T2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99">
                    <a:moveTo>
                      <a:pt x="98" y="0"/>
                    </a:moveTo>
                    <a:lnTo>
                      <a:pt x="118" y="68"/>
                    </a:lnTo>
                    <a:lnTo>
                      <a:pt x="130" y="49"/>
                    </a:lnTo>
                    <a:lnTo>
                      <a:pt x="212" y="49"/>
                    </a:lnTo>
                    <a:lnTo>
                      <a:pt x="212" y="61"/>
                    </a:lnTo>
                    <a:lnTo>
                      <a:pt x="162" y="61"/>
                    </a:lnTo>
                    <a:lnTo>
                      <a:pt x="136" y="61"/>
                    </a:lnTo>
                    <a:lnTo>
                      <a:pt x="116" y="99"/>
                    </a:lnTo>
                    <a:lnTo>
                      <a:pt x="97" y="35"/>
                    </a:lnTo>
                    <a:lnTo>
                      <a:pt x="82" y="65"/>
                    </a:lnTo>
                    <a:lnTo>
                      <a:pt x="0" y="65"/>
                    </a:lnTo>
                    <a:lnTo>
                      <a:pt x="0" y="53"/>
                    </a:lnTo>
                    <a:lnTo>
                      <a:pt x="75" y="53"/>
                    </a:lnTo>
                    <a:lnTo>
                      <a:pt x="98" y="0"/>
                    </a:lnTo>
                    <a:close/>
                  </a:path>
                </a:pathLst>
              </a:custGeom>
              <a:grpFill/>
              <a:ln w="0">
                <a:noFill/>
                <a:prstDash val="solid"/>
                <a:round/>
                <a:headEnd/>
                <a:tailEnd/>
              </a:ln>
            </p:spPr>
            <p:txBody>
              <a:bodyPr/>
              <a:lstStyle/>
              <a:p>
                <a:pPr>
                  <a:defRPr/>
                </a:pPr>
                <a:endParaRPr lang="en-US" dirty="0">
                  <a:latin typeface="Arial" charset="0"/>
                  <a:cs typeface="+mn-cs"/>
                </a:endParaRPr>
              </a:p>
            </p:txBody>
          </p:sp>
        </p:grpSp>
      </p:grpSp>
      <p:pic>
        <p:nvPicPr>
          <p:cNvPr id="9224" name="Picture 89"/>
          <p:cNvPicPr>
            <a:picLocks/>
          </p:cNvPicPr>
          <p:nvPr/>
        </p:nvPicPr>
        <p:blipFill>
          <a:blip r:embed="rId7"/>
          <a:srcRect l="24513" r="24513"/>
          <a:stretch>
            <a:fillRect/>
          </a:stretch>
        </p:blipFill>
        <p:spPr bwMode="auto">
          <a:xfrm>
            <a:off x="5141913" y="893763"/>
            <a:ext cx="3819525" cy="5127625"/>
          </a:xfrm>
          <a:prstGeom prst="rect">
            <a:avLst/>
          </a:prstGeom>
          <a:noFill/>
          <a:ln w="9525">
            <a:noFill/>
            <a:miter lim="800000"/>
            <a:headEnd/>
            <a:tailEnd/>
          </a:ln>
        </p:spPr>
      </p:pic>
      <p:sp>
        <p:nvSpPr>
          <p:cNvPr id="9" name="Rectangle 8">
            <a:extLst>
              <a:ext uri="{FF2B5EF4-FFF2-40B4-BE49-F238E27FC236}"/>
            </a:extLst>
          </p:cNvPr>
          <p:cNvSpPr>
            <a:spLocks/>
          </p:cNvSpPr>
          <p:nvPr/>
        </p:nvSpPr>
        <p:spPr>
          <a:xfrm>
            <a:off x="5141913" y="893763"/>
            <a:ext cx="3819525" cy="5127625"/>
          </a:xfrm>
          <a:prstGeom prst="rect">
            <a:avLst/>
          </a:prstGeom>
          <a:solidFill>
            <a:schemeClr val="bg1">
              <a:alpha val="7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9226" name="TextBox 71"/>
          <p:cNvSpPr txBox="1">
            <a:spLocks/>
          </p:cNvSpPr>
          <p:nvPr/>
        </p:nvSpPr>
        <p:spPr bwMode="auto">
          <a:xfrm>
            <a:off x="4889500" y="4818063"/>
            <a:ext cx="252413" cy="376237"/>
          </a:xfrm>
          <a:prstGeom prst="rect">
            <a:avLst/>
          </a:prstGeom>
          <a:solidFill>
            <a:srgbClr val="009900"/>
          </a:solidFill>
          <a:ln w="9525">
            <a:noFill/>
            <a:miter lim="800000"/>
            <a:headEnd/>
            <a:tailEnd/>
          </a:ln>
        </p:spPr>
        <p:txBody>
          <a:bodyPr lIns="72009" tIns="72009" rIns="72009" bIns="72009" anchor="ctr"/>
          <a:lstStyle/>
          <a:p>
            <a:pPr defTabSz="895350">
              <a:buClr>
                <a:schemeClr val="tx2"/>
              </a:buClr>
              <a:buSzPct val="100000"/>
            </a:pPr>
            <a:r>
              <a:rPr lang="en-US" b="1">
                <a:solidFill>
                  <a:schemeClr val="bg1"/>
                </a:solidFill>
                <a:ea typeface="Argumentum Light"/>
                <a:cs typeface="Argumentum Light"/>
              </a:rPr>
              <a:t>6</a:t>
            </a:r>
          </a:p>
        </p:txBody>
      </p:sp>
      <p:sp>
        <p:nvSpPr>
          <p:cNvPr id="9227" name="TextBox 50"/>
          <p:cNvSpPr txBox="1">
            <a:spLocks/>
          </p:cNvSpPr>
          <p:nvPr/>
        </p:nvSpPr>
        <p:spPr bwMode="auto">
          <a:xfrm>
            <a:off x="5330825" y="4759325"/>
            <a:ext cx="3333750" cy="493713"/>
          </a:xfrm>
          <a:prstGeom prst="rect">
            <a:avLst/>
          </a:prstGeom>
          <a:noFill/>
          <a:ln w="9525">
            <a:noFill/>
            <a:miter lim="800000"/>
            <a:headEnd/>
            <a:tailEnd/>
          </a:ln>
        </p:spPr>
        <p:txBody>
          <a:bodyPr lIns="0" tIns="0" rIns="0" bIns="0" anchor="b">
            <a:spAutoFit/>
          </a:bodyPr>
          <a:lstStyle/>
          <a:p>
            <a:pPr defTabSz="895350">
              <a:buClr>
                <a:schemeClr val="tx2"/>
              </a:buClr>
              <a:buSzPct val="100000"/>
            </a:pPr>
            <a:r>
              <a:rPr lang="en-US">
                <a:ea typeface="Argumentum Light"/>
                <a:cs typeface="Argumentum Light"/>
              </a:rPr>
              <a:t>Labour force participation rate (particularly female and youth)</a:t>
            </a:r>
          </a:p>
        </p:txBody>
      </p:sp>
      <p:sp>
        <p:nvSpPr>
          <p:cNvPr id="9228" name="TextBox 54"/>
          <p:cNvSpPr txBox="1">
            <a:spLocks/>
          </p:cNvSpPr>
          <p:nvPr/>
        </p:nvSpPr>
        <p:spPr bwMode="auto">
          <a:xfrm>
            <a:off x="4889500" y="2455863"/>
            <a:ext cx="252413" cy="376237"/>
          </a:xfrm>
          <a:prstGeom prst="rect">
            <a:avLst/>
          </a:prstGeom>
          <a:solidFill>
            <a:srgbClr val="33CC33"/>
          </a:solidFill>
          <a:ln w="9525">
            <a:noFill/>
            <a:miter lim="800000"/>
            <a:headEnd/>
            <a:tailEnd/>
          </a:ln>
        </p:spPr>
        <p:txBody>
          <a:bodyPr lIns="72009" tIns="72009" rIns="72009" bIns="72009" anchor="ctr"/>
          <a:lstStyle/>
          <a:p>
            <a:pPr defTabSz="895350">
              <a:buClr>
                <a:schemeClr val="tx2"/>
              </a:buClr>
              <a:buSzPct val="100000"/>
            </a:pPr>
            <a:r>
              <a:rPr lang="en-US" b="1">
                <a:solidFill>
                  <a:schemeClr val="bg1"/>
                </a:solidFill>
                <a:ea typeface="Argumentum Light"/>
                <a:cs typeface="Argumentum Light"/>
              </a:rPr>
              <a:t>3</a:t>
            </a:r>
          </a:p>
        </p:txBody>
      </p:sp>
      <p:sp>
        <p:nvSpPr>
          <p:cNvPr id="9229" name="TextBox 34"/>
          <p:cNvSpPr txBox="1">
            <a:spLocks/>
          </p:cNvSpPr>
          <p:nvPr/>
        </p:nvSpPr>
        <p:spPr bwMode="auto">
          <a:xfrm>
            <a:off x="5330825" y="2520950"/>
            <a:ext cx="3333750" cy="246063"/>
          </a:xfrm>
          <a:prstGeom prst="rect">
            <a:avLst/>
          </a:prstGeom>
          <a:noFill/>
          <a:ln w="9525">
            <a:noFill/>
            <a:miter lim="800000"/>
            <a:headEnd/>
            <a:tailEnd/>
          </a:ln>
        </p:spPr>
        <p:txBody>
          <a:bodyPr lIns="0" tIns="0" rIns="0" bIns="0" anchor="b">
            <a:spAutoFit/>
          </a:bodyPr>
          <a:lstStyle/>
          <a:p>
            <a:pPr defTabSz="895350">
              <a:buClr>
                <a:schemeClr val="tx2"/>
              </a:buClr>
              <a:buSzPct val="100000"/>
            </a:pPr>
            <a:r>
              <a:rPr lang="en-US">
                <a:ea typeface="Argumentum Light"/>
                <a:cs typeface="Argumentum Light"/>
              </a:rPr>
              <a:t>Adult mortality</a:t>
            </a:r>
          </a:p>
        </p:txBody>
      </p:sp>
      <p:sp>
        <p:nvSpPr>
          <p:cNvPr id="9230" name="TextBox 55"/>
          <p:cNvSpPr txBox="1">
            <a:spLocks/>
          </p:cNvSpPr>
          <p:nvPr/>
        </p:nvSpPr>
        <p:spPr bwMode="auto">
          <a:xfrm>
            <a:off x="4889500" y="1695450"/>
            <a:ext cx="252413" cy="376238"/>
          </a:xfrm>
          <a:prstGeom prst="rect">
            <a:avLst/>
          </a:prstGeom>
          <a:solidFill>
            <a:srgbClr val="33CC33"/>
          </a:solidFill>
          <a:ln w="9525">
            <a:noFill/>
            <a:miter lim="800000"/>
            <a:headEnd/>
            <a:tailEnd/>
          </a:ln>
        </p:spPr>
        <p:txBody>
          <a:bodyPr lIns="72009" tIns="72009" rIns="72009" bIns="72009" anchor="ctr"/>
          <a:lstStyle/>
          <a:p>
            <a:pPr defTabSz="895350">
              <a:buClr>
                <a:schemeClr val="tx2"/>
              </a:buClr>
              <a:buSzPct val="100000"/>
            </a:pPr>
            <a:r>
              <a:rPr lang="en-US" b="1">
                <a:solidFill>
                  <a:schemeClr val="bg1"/>
                </a:solidFill>
                <a:ea typeface="Argumentum Light"/>
                <a:cs typeface="Argumentum Light"/>
              </a:rPr>
              <a:t>2</a:t>
            </a:r>
          </a:p>
        </p:txBody>
      </p:sp>
      <p:sp>
        <p:nvSpPr>
          <p:cNvPr id="9231" name="TextBox 35"/>
          <p:cNvSpPr txBox="1">
            <a:spLocks/>
          </p:cNvSpPr>
          <p:nvPr/>
        </p:nvSpPr>
        <p:spPr bwMode="auto">
          <a:xfrm>
            <a:off x="5330825" y="1760538"/>
            <a:ext cx="3333750" cy="246062"/>
          </a:xfrm>
          <a:prstGeom prst="rect">
            <a:avLst/>
          </a:prstGeom>
          <a:noFill/>
          <a:ln w="9525">
            <a:noFill/>
            <a:miter lim="800000"/>
            <a:headEnd/>
            <a:tailEnd/>
          </a:ln>
        </p:spPr>
        <p:txBody>
          <a:bodyPr lIns="0" tIns="0" rIns="0" bIns="0" anchor="b">
            <a:spAutoFit/>
          </a:bodyPr>
          <a:lstStyle/>
          <a:p>
            <a:pPr defTabSz="895350">
              <a:buClr>
                <a:schemeClr val="tx2"/>
              </a:buClr>
              <a:buSzPct val="100000"/>
            </a:pPr>
            <a:r>
              <a:rPr lang="en-US">
                <a:ea typeface="Argumentum Light"/>
                <a:cs typeface="Argumentum Light"/>
              </a:rPr>
              <a:t>Malnutrition (under-five stunting)</a:t>
            </a:r>
          </a:p>
        </p:txBody>
      </p:sp>
      <p:sp>
        <p:nvSpPr>
          <p:cNvPr id="9232" name="TextBox 56"/>
          <p:cNvSpPr txBox="1">
            <a:spLocks/>
          </p:cNvSpPr>
          <p:nvPr/>
        </p:nvSpPr>
        <p:spPr bwMode="auto">
          <a:xfrm>
            <a:off x="4889500" y="935038"/>
            <a:ext cx="252413" cy="376237"/>
          </a:xfrm>
          <a:prstGeom prst="rect">
            <a:avLst/>
          </a:prstGeom>
          <a:solidFill>
            <a:srgbClr val="33CC33"/>
          </a:solidFill>
          <a:ln w="9525">
            <a:noFill/>
            <a:miter lim="800000"/>
            <a:headEnd/>
            <a:tailEnd/>
          </a:ln>
        </p:spPr>
        <p:txBody>
          <a:bodyPr lIns="72009" tIns="72009" rIns="72009" bIns="72009" anchor="ctr"/>
          <a:lstStyle/>
          <a:p>
            <a:pPr defTabSz="895350">
              <a:buClr>
                <a:schemeClr val="tx2"/>
              </a:buClr>
              <a:buSzPct val="100000"/>
            </a:pPr>
            <a:r>
              <a:rPr lang="en-US" b="1">
                <a:solidFill>
                  <a:schemeClr val="bg1"/>
                </a:solidFill>
                <a:ea typeface="Argumentum Light"/>
                <a:cs typeface="Argumentum Light"/>
              </a:rPr>
              <a:t>1</a:t>
            </a:r>
          </a:p>
        </p:txBody>
      </p:sp>
      <p:sp>
        <p:nvSpPr>
          <p:cNvPr id="9233" name="TextBox 40"/>
          <p:cNvSpPr txBox="1">
            <a:spLocks/>
          </p:cNvSpPr>
          <p:nvPr/>
        </p:nvSpPr>
        <p:spPr bwMode="auto">
          <a:xfrm>
            <a:off x="5330825" y="1000125"/>
            <a:ext cx="3333750" cy="246063"/>
          </a:xfrm>
          <a:prstGeom prst="rect">
            <a:avLst/>
          </a:prstGeom>
          <a:noFill/>
          <a:ln w="9525">
            <a:noFill/>
            <a:miter lim="800000"/>
            <a:headEnd/>
            <a:tailEnd/>
          </a:ln>
        </p:spPr>
        <p:txBody>
          <a:bodyPr lIns="0" tIns="0" rIns="0" bIns="0" anchor="b">
            <a:spAutoFit/>
          </a:bodyPr>
          <a:lstStyle/>
          <a:p>
            <a:pPr defTabSz="895350">
              <a:buClr>
                <a:schemeClr val="tx2"/>
              </a:buClr>
              <a:buSzPct val="100000"/>
            </a:pPr>
            <a:r>
              <a:rPr lang="en-US">
                <a:ea typeface="Argumentum Light"/>
                <a:cs typeface="Argumentum Light"/>
              </a:rPr>
              <a:t>Under-five mortality rate</a:t>
            </a:r>
          </a:p>
        </p:txBody>
      </p:sp>
      <p:cxnSp>
        <p:nvCxnSpPr>
          <p:cNvPr id="12" name="Straight Connector 11">
            <a:extLst>
              <a:ext uri="{FF2B5EF4-FFF2-40B4-BE49-F238E27FC236}"/>
            </a:extLst>
          </p:cNvPr>
          <p:cNvCxnSpPr>
            <a:cxnSpLocks/>
          </p:cNvCxnSpPr>
          <p:nvPr/>
        </p:nvCxnSpPr>
        <p:spPr>
          <a:xfrm>
            <a:off x="5330825" y="1503363"/>
            <a:ext cx="3333750"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extLst>
          </p:cNvPr>
          <p:cNvCxnSpPr>
            <a:cxnSpLocks/>
          </p:cNvCxnSpPr>
          <p:nvPr/>
        </p:nvCxnSpPr>
        <p:spPr>
          <a:xfrm>
            <a:off x="5330825" y="2263775"/>
            <a:ext cx="3333750"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extLst>
          </p:cNvPr>
          <p:cNvCxnSpPr>
            <a:cxnSpLocks/>
          </p:cNvCxnSpPr>
          <p:nvPr/>
        </p:nvCxnSpPr>
        <p:spPr>
          <a:xfrm>
            <a:off x="5330825" y="2930525"/>
            <a:ext cx="3333750"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237" name="TextBox 66"/>
          <p:cNvSpPr txBox="1">
            <a:spLocks/>
          </p:cNvSpPr>
          <p:nvPr/>
        </p:nvSpPr>
        <p:spPr bwMode="auto">
          <a:xfrm>
            <a:off x="4889500" y="3181350"/>
            <a:ext cx="252413" cy="376238"/>
          </a:xfrm>
          <a:prstGeom prst="rect">
            <a:avLst/>
          </a:prstGeom>
          <a:solidFill>
            <a:srgbClr val="006600"/>
          </a:solidFill>
          <a:ln w="9525">
            <a:noFill/>
            <a:miter lim="800000"/>
            <a:headEnd/>
            <a:tailEnd/>
          </a:ln>
        </p:spPr>
        <p:txBody>
          <a:bodyPr lIns="72009" tIns="72009" rIns="72009" bIns="72009" anchor="ctr"/>
          <a:lstStyle/>
          <a:p>
            <a:pPr defTabSz="895350">
              <a:buClr>
                <a:schemeClr val="tx2"/>
              </a:buClr>
              <a:buSzPct val="100000"/>
            </a:pPr>
            <a:r>
              <a:rPr lang="en-US" b="1">
                <a:solidFill>
                  <a:schemeClr val="bg1"/>
                </a:solidFill>
                <a:ea typeface="Argumentum Light"/>
                <a:cs typeface="Argumentum Light"/>
              </a:rPr>
              <a:t>4</a:t>
            </a:r>
          </a:p>
        </p:txBody>
      </p:sp>
      <p:sp>
        <p:nvSpPr>
          <p:cNvPr id="9238" name="TextBox 42"/>
          <p:cNvSpPr txBox="1">
            <a:spLocks/>
          </p:cNvSpPr>
          <p:nvPr/>
        </p:nvSpPr>
        <p:spPr bwMode="auto">
          <a:xfrm>
            <a:off x="5330825" y="3122613"/>
            <a:ext cx="3333750" cy="492125"/>
          </a:xfrm>
          <a:prstGeom prst="rect">
            <a:avLst/>
          </a:prstGeom>
          <a:noFill/>
          <a:ln w="9525">
            <a:noFill/>
            <a:miter lim="800000"/>
            <a:headEnd/>
            <a:tailEnd/>
          </a:ln>
        </p:spPr>
        <p:txBody>
          <a:bodyPr lIns="0" tIns="0" rIns="0" bIns="0" anchor="b">
            <a:spAutoFit/>
          </a:bodyPr>
          <a:lstStyle/>
          <a:p>
            <a:pPr defTabSz="895350">
              <a:buClr>
                <a:schemeClr val="tx2"/>
              </a:buClr>
              <a:buSzPct val="100000"/>
            </a:pPr>
            <a:r>
              <a:rPr lang="en-US">
                <a:ea typeface="Argumentum Light"/>
                <a:cs typeface="Argumentum Light"/>
              </a:rPr>
              <a:t>Expected years of school (primary and secondary school completion)</a:t>
            </a:r>
          </a:p>
        </p:txBody>
      </p:sp>
      <p:sp>
        <p:nvSpPr>
          <p:cNvPr id="9239" name="TextBox 67"/>
          <p:cNvSpPr txBox="1">
            <a:spLocks/>
          </p:cNvSpPr>
          <p:nvPr/>
        </p:nvSpPr>
        <p:spPr bwMode="auto">
          <a:xfrm>
            <a:off x="4889500" y="3998913"/>
            <a:ext cx="252413" cy="376237"/>
          </a:xfrm>
          <a:prstGeom prst="rect">
            <a:avLst/>
          </a:prstGeom>
          <a:solidFill>
            <a:srgbClr val="006600"/>
          </a:solidFill>
          <a:ln w="9525">
            <a:noFill/>
            <a:miter lim="800000"/>
            <a:headEnd/>
            <a:tailEnd/>
          </a:ln>
        </p:spPr>
        <p:txBody>
          <a:bodyPr lIns="72009" tIns="72009" rIns="72009" bIns="72009" anchor="ctr"/>
          <a:lstStyle/>
          <a:p>
            <a:pPr defTabSz="895350">
              <a:buClr>
                <a:schemeClr val="tx2"/>
              </a:buClr>
              <a:buSzPct val="100000"/>
            </a:pPr>
            <a:r>
              <a:rPr lang="en-US" b="1">
                <a:solidFill>
                  <a:schemeClr val="bg1"/>
                </a:solidFill>
                <a:ea typeface="Argumentum Light"/>
                <a:cs typeface="Argumentum Light"/>
              </a:rPr>
              <a:t>5</a:t>
            </a:r>
          </a:p>
        </p:txBody>
      </p:sp>
      <p:sp>
        <p:nvSpPr>
          <p:cNvPr id="9240" name="TextBox 49"/>
          <p:cNvSpPr txBox="1">
            <a:spLocks/>
          </p:cNvSpPr>
          <p:nvPr/>
        </p:nvSpPr>
        <p:spPr bwMode="auto">
          <a:xfrm>
            <a:off x="5330825" y="4064000"/>
            <a:ext cx="3333750" cy="246063"/>
          </a:xfrm>
          <a:prstGeom prst="rect">
            <a:avLst/>
          </a:prstGeom>
          <a:noFill/>
          <a:ln w="9525">
            <a:noFill/>
            <a:miter lim="800000"/>
            <a:headEnd/>
            <a:tailEnd/>
          </a:ln>
        </p:spPr>
        <p:txBody>
          <a:bodyPr lIns="0" tIns="0" rIns="0" bIns="0" anchor="b">
            <a:spAutoFit/>
          </a:bodyPr>
          <a:lstStyle/>
          <a:p>
            <a:pPr defTabSz="895350">
              <a:buClr>
                <a:schemeClr val="tx2"/>
              </a:buClr>
              <a:buSzPct val="100000"/>
            </a:pPr>
            <a:r>
              <a:rPr lang="en-US">
                <a:ea typeface="Argumentum Light"/>
                <a:cs typeface="Argumentum Light"/>
              </a:rPr>
              <a:t>Quality of learning</a:t>
            </a:r>
          </a:p>
        </p:txBody>
      </p:sp>
      <p:cxnSp>
        <p:nvCxnSpPr>
          <p:cNvPr id="76" name="Straight Connector 75">
            <a:extLst>
              <a:ext uri="{FF2B5EF4-FFF2-40B4-BE49-F238E27FC236}"/>
            </a:extLst>
          </p:cNvPr>
          <p:cNvCxnSpPr>
            <a:cxnSpLocks/>
          </p:cNvCxnSpPr>
          <p:nvPr/>
        </p:nvCxnSpPr>
        <p:spPr>
          <a:xfrm>
            <a:off x="5330825" y="3806825"/>
            <a:ext cx="3333750"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extLst>
          </p:cNvPr>
          <p:cNvCxnSpPr>
            <a:cxnSpLocks/>
          </p:cNvCxnSpPr>
          <p:nvPr/>
        </p:nvCxnSpPr>
        <p:spPr>
          <a:xfrm>
            <a:off x="5330825" y="4567238"/>
            <a:ext cx="3333750"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243" name="Slide Number"/>
          <p:cNvSpPr txBox="1">
            <a:spLocks/>
          </p:cNvSpPr>
          <p:nvPr/>
        </p:nvSpPr>
        <p:spPr bwMode="auto">
          <a:xfrm>
            <a:off x="8564563" y="6508750"/>
            <a:ext cx="125412" cy="122238"/>
          </a:xfrm>
          <a:prstGeom prst="rect">
            <a:avLst/>
          </a:prstGeom>
          <a:noFill/>
          <a:ln w="9525">
            <a:noFill/>
            <a:miter lim="800000"/>
            <a:headEnd/>
            <a:tailEnd/>
          </a:ln>
        </p:spPr>
        <p:txBody>
          <a:bodyPr wrap="none" lIns="0" tIns="0" rIns="0" bIns="0" anchor="ctr">
            <a:spAutoFit/>
          </a:bodyPr>
          <a:lstStyle/>
          <a:p>
            <a:fld id="{044B8896-EFEC-4216-A614-9E8715EDB267}" type="slidenum">
              <a:rPr lang="en-US" sz="800">
                <a:solidFill>
                  <a:srgbClr val="808080"/>
                </a:solidFill>
              </a:rPr>
              <a:pPr/>
              <a:t>4</a:t>
            </a:fld>
            <a:endParaRPr lang="en-US" sz="800">
              <a:solidFill>
                <a:srgbClr val="808080"/>
              </a:solidFill>
            </a:endParaRPr>
          </a:p>
        </p:txBody>
      </p:sp>
      <p:sp>
        <p:nvSpPr>
          <p:cNvPr id="66" name="Rectangle 65">
            <a:extLst>
              <a:ext uri="{FF2B5EF4-FFF2-40B4-BE49-F238E27FC236}"/>
            </a:extLst>
          </p:cNvPr>
          <p:cNvSpPr/>
          <p:nvPr/>
        </p:nvSpPr>
        <p:spPr>
          <a:xfrm>
            <a:off x="382588" y="6037263"/>
            <a:ext cx="4513262" cy="493712"/>
          </a:xfrm>
          <a:prstGeom prst="rect">
            <a:avLst/>
          </a:prstGeom>
          <a:solidFill>
            <a:schemeClr val="accent4">
              <a:alpha val="72000"/>
            </a:schemeClr>
          </a:solidFill>
        </p:spPr>
        <p:txBody>
          <a:bodyPr lIns="90000" tIns="46800" rIns="90000" bIns="46800"/>
          <a:lstStyle/>
          <a:p>
            <a:pPr defTabSz="895350">
              <a:buClr>
                <a:schemeClr val="tx2"/>
              </a:buClr>
              <a:buSzPct val="100000"/>
              <a:defRPr/>
            </a:pPr>
            <a:endParaRPr lang="en-ZA" dirty="0">
              <a:latin typeface="Arial" charset="0"/>
              <a:cs typeface="+mn-cs"/>
            </a:endParaRPr>
          </a:p>
        </p:txBody>
      </p:sp>
      <p:sp>
        <p:nvSpPr>
          <p:cNvPr id="9245" name="TextBox 5"/>
          <p:cNvSpPr txBox="1">
            <a:spLocks noChangeArrowheads="1"/>
          </p:cNvSpPr>
          <p:nvPr/>
        </p:nvSpPr>
        <p:spPr bwMode="auto">
          <a:xfrm>
            <a:off x="531813" y="6197600"/>
            <a:ext cx="4302125" cy="246063"/>
          </a:xfrm>
          <a:prstGeom prst="rect">
            <a:avLst/>
          </a:prstGeom>
          <a:noFill/>
          <a:ln w="9525">
            <a:noFill/>
            <a:miter lim="800000"/>
            <a:headEnd/>
            <a:tailEnd/>
          </a:ln>
        </p:spPr>
        <p:txBody>
          <a:bodyPr lIns="0" tIns="0" rIns="0" bIns="0">
            <a:spAutoFit/>
          </a:bodyPr>
          <a:lstStyle/>
          <a:p>
            <a:pPr defTabSz="895350">
              <a:buClr>
                <a:schemeClr val="tx2"/>
              </a:buClr>
              <a:buSzPct val="100000"/>
            </a:pPr>
            <a:r>
              <a:rPr lang="en-GB">
                <a:solidFill>
                  <a:schemeClr val="bg1"/>
                </a:solidFill>
              </a:rPr>
              <a:t>HCD – HUMAN CAPITAL DEVELOPMENT</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139"/>
          <p:cNvGraphicFramePr>
            <a:graphicFrameLocks noChangeAspect="1"/>
          </p:cNvGraphicFramePr>
          <p:nvPr/>
        </p:nvGraphicFramePr>
        <p:xfrm>
          <a:off x="1588" y="1588"/>
          <a:ext cx="1587" cy="1587"/>
        </p:xfrm>
        <a:graphic>
          <a:graphicData uri="http://schemas.openxmlformats.org/presentationml/2006/ole">
            <p:oleObj spid="_x0000_s10242" name="think-cell Slide" r:id="rId43" imgW="360" imgH="360" progId="">
              <p:embed/>
            </p:oleObj>
          </a:graphicData>
        </a:graphic>
      </p:graphicFrame>
      <p:sp>
        <p:nvSpPr>
          <p:cNvPr id="17" name="Rectangle 16" hidden="1">
            <a:extLst>
              <a:ext uri="{FF2B5EF4-FFF2-40B4-BE49-F238E27FC236}"/>
            </a:extLst>
          </p:cNvPr>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err="1">
              <a:solidFill>
                <a:schemeClr val="tx1"/>
              </a:solidFill>
              <a:ea typeface="+mj-ea"/>
              <a:cs typeface="+mj-cs"/>
              <a:sym typeface="Arial" panose="020B0604020202020204" pitchFamily="34" charset="0"/>
            </a:endParaRPr>
          </a:p>
        </p:txBody>
      </p:sp>
      <p:sp>
        <p:nvSpPr>
          <p:cNvPr id="89" name="Rectangle 88">
            <a:extLst>
              <a:ext uri="{FF2B5EF4-FFF2-40B4-BE49-F238E27FC236}"/>
            </a:extLst>
          </p:cNvPr>
          <p:cNvSpPr>
            <a:spLocks/>
          </p:cNvSpPr>
          <p:nvPr/>
        </p:nvSpPr>
        <p:spPr>
          <a:xfrm>
            <a:off x="0" y="1257300"/>
            <a:ext cx="8961438" cy="471488"/>
          </a:xfrm>
          <a:prstGeom prst="rect">
            <a:avLst/>
          </a:prstGeom>
          <a:gradFill flip="none" rotWithShape="1">
            <a:gsLst>
              <a:gs pos="0">
                <a:schemeClr val="accent6">
                  <a:lumMod val="20000"/>
                  <a:lumOff val="80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err="1">
              <a:solidFill>
                <a:schemeClr val="tx1"/>
              </a:solidFill>
            </a:endParaRPr>
          </a:p>
        </p:txBody>
      </p:sp>
      <p:cxnSp>
        <p:nvCxnSpPr>
          <p:cNvPr id="90" name="Straight Connector 89">
            <a:extLst>
              <a:ext uri="{FF2B5EF4-FFF2-40B4-BE49-F238E27FC236}"/>
            </a:extLst>
          </p:cNvPr>
          <p:cNvCxnSpPr/>
          <p:nvPr/>
        </p:nvCxnSpPr>
        <p:spPr bwMode="gray">
          <a:xfrm>
            <a:off x="0" y="1257300"/>
            <a:ext cx="8961438"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46" name="Title 1"/>
          <p:cNvSpPr>
            <a:spLocks noGrp="1"/>
          </p:cNvSpPr>
          <p:nvPr>
            <p:ph type="title"/>
          </p:nvPr>
        </p:nvSpPr>
        <p:spPr>
          <a:xfrm>
            <a:off x="119063" y="230188"/>
            <a:ext cx="8618537" cy="615950"/>
          </a:xfrm>
        </p:spPr>
        <p:txBody>
          <a:bodyPr/>
          <a:lstStyle/>
          <a:p>
            <a:pPr marL="357188"/>
            <a:r>
              <a:rPr lang="en-US" smtClean="0"/>
              <a:t>Under 5 mortality rate: Nigeria is well behind expected national </a:t>
            </a:r>
            <a:br>
              <a:rPr lang="en-US" smtClean="0"/>
            </a:br>
            <a:r>
              <a:rPr lang="en-US" smtClean="0"/>
              <a:t>targets and  comparable countries</a:t>
            </a:r>
            <a:endParaRPr lang="en-ZA" smtClean="0"/>
          </a:p>
        </p:txBody>
      </p:sp>
      <p:cxnSp>
        <p:nvCxnSpPr>
          <p:cNvPr id="5" name="Straight Connector 4">
            <a:extLst>
              <a:ext uri="{FF2B5EF4-FFF2-40B4-BE49-F238E27FC236}"/>
            </a:extLst>
          </p:cNvPr>
          <p:cNvCxnSpPr>
            <a:cxnSpLocks/>
          </p:cNvCxnSpPr>
          <p:nvPr/>
        </p:nvCxnSpPr>
        <p:spPr>
          <a:xfrm>
            <a:off x="4008438" y="1328738"/>
            <a:ext cx="0" cy="4891087"/>
          </a:xfrm>
          <a:prstGeom prst="line">
            <a:avLst/>
          </a:prstGeom>
          <a:ln w="3175">
            <a:solidFill>
              <a:schemeClr val="accent6"/>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0248" name="Chart 99"/>
          <p:cNvGraphicFramePr>
            <a:graphicFrameLocks/>
          </p:cNvGraphicFramePr>
          <p:nvPr/>
        </p:nvGraphicFramePr>
        <p:xfrm>
          <a:off x="36513" y="1720850"/>
          <a:ext cx="3694112" cy="4000500"/>
        </p:xfrm>
        <a:graphic>
          <a:graphicData uri="http://schemas.openxmlformats.org/presentationml/2006/ole">
            <p:oleObj spid="_x0000_s10248" r:id="rId44" imgW="3694496" imgH="4005419" progId="Excel.Sheet.8">
              <p:embed/>
            </p:oleObj>
          </a:graphicData>
        </a:graphic>
      </p:graphicFrame>
      <p:cxnSp>
        <p:nvCxnSpPr>
          <p:cNvPr id="7" name="Straight Connector 6">
            <a:extLst>
              <a:ext uri="{FF2B5EF4-FFF2-40B4-BE49-F238E27FC236}"/>
            </a:extLst>
          </p:cNvPr>
          <p:cNvCxnSpPr/>
          <p:nvPr>
            <p:custDataLst>
              <p:tags r:id="rId3"/>
            </p:custDataLst>
          </p:nvPr>
        </p:nvCxnSpPr>
        <p:spPr bwMode="gray">
          <a:xfrm>
            <a:off x="3481388" y="4876800"/>
            <a:ext cx="223837" cy="0"/>
          </a:xfrm>
          <a:prstGeom prst="line">
            <a:avLst/>
          </a:prstGeom>
          <a:ln w="3175" cap="flat" cmpd="sng" algn="ctr">
            <a:solidFill>
              <a:schemeClr val="accent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extLst>
          </p:cNvPr>
          <p:cNvCxnSpPr/>
          <p:nvPr>
            <p:custDataLst>
              <p:tags r:id="rId4"/>
            </p:custDataLst>
          </p:nvPr>
        </p:nvCxnSpPr>
        <p:spPr bwMode="gray">
          <a:xfrm>
            <a:off x="1128713" y="1981200"/>
            <a:ext cx="2576512" cy="0"/>
          </a:xfrm>
          <a:prstGeom prst="line">
            <a:avLst/>
          </a:prstGeom>
          <a:ln w="3175" cap="flat" cmpd="sng" algn="ctr">
            <a:solidFill>
              <a:schemeClr val="accent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extLst>
          </p:cNvPr>
          <p:cNvCxnSpPr/>
          <p:nvPr>
            <p:custDataLst>
              <p:tags r:id="rId5"/>
            </p:custDataLst>
          </p:nvPr>
        </p:nvCxnSpPr>
        <p:spPr bwMode="gray">
          <a:xfrm>
            <a:off x="3648075" y="1978025"/>
            <a:ext cx="0" cy="2901950"/>
          </a:xfrm>
          <a:prstGeom prst="line">
            <a:avLst/>
          </a:prstGeom>
          <a:ln w="38100" cap="flat" cmpd="sng" algn="ctr">
            <a:solidFill>
              <a:schemeClr val="tx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extLst>
          </p:cNvPr>
          <p:cNvSpPr>
            <a:spLocks noGrp="1"/>
          </p:cNvSpPr>
          <p:nvPr>
            <p:custDataLst>
              <p:tags r:id="rId6"/>
            </p:custDataLst>
          </p:nvPr>
        </p:nvSpPr>
        <p:spPr bwMode="auto">
          <a:xfrm>
            <a:off x="231775" y="5697538"/>
            <a:ext cx="949325" cy="425450"/>
          </a:xfrm>
          <a:prstGeom prst="rect">
            <a:avLst/>
          </a:prstGeom>
          <a:noFill/>
          <a:extLst>
            <a:ext uri="{909E8E84-426E-40DD-AFC4-6F175D3DCCD1}"/>
          </a:extLst>
        </p:spPr>
        <p:txBody>
          <a:bodyPr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r>
              <a:rPr lang="en-US" altLang="en-US" dirty="0">
                <a:ea typeface="+mj-ea"/>
                <a:cs typeface="+mj-cs"/>
              </a:rPr>
              <a:t>Nigeria 2016 Actual</a:t>
            </a:r>
            <a:endParaRPr lang="en-US" dirty="0">
              <a:latin typeface="+mj-lt"/>
              <a:ea typeface="+mj-ea"/>
              <a:cs typeface="+mj-cs"/>
              <a:sym typeface="+mj-lt"/>
            </a:endParaRPr>
          </a:p>
        </p:txBody>
      </p:sp>
      <p:sp>
        <p:nvSpPr>
          <p:cNvPr id="21" name="Text Placeholder 2">
            <a:extLst>
              <a:ext uri="{FF2B5EF4-FFF2-40B4-BE49-F238E27FC236}"/>
            </a:extLst>
          </p:cNvPr>
          <p:cNvSpPr>
            <a:spLocks noGrp="1"/>
          </p:cNvSpPr>
          <p:nvPr>
            <p:custDataLst>
              <p:tags r:id="rId7"/>
            </p:custDataLst>
          </p:nvPr>
        </p:nvSpPr>
        <p:spPr bwMode="auto">
          <a:xfrm>
            <a:off x="2638425" y="5697538"/>
            <a:ext cx="841375" cy="425450"/>
          </a:xfrm>
          <a:prstGeom prst="rect">
            <a:avLst/>
          </a:prstGeom>
          <a:noFill/>
          <a:extLst>
            <a:ext uri="{909E8E84-426E-40DD-AFC4-6F175D3DCCD1}"/>
          </a:extLst>
        </p:spPr>
        <p:txBody>
          <a:bodyPr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r>
              <a:rPr lang="en-US" dirty="0">
                <a:latin typeface="+mj-lt"/>
                <a:ea typeface="+mj-ea"/>
                <a:cs typeface="+mj-cs"/>
                <a:sym typeface="+mj-lt"/>
              </a:rPr>
              <a:t>SDG 2020 target</a:t>
            </a:r>
          </a:p>
        </p:txBody>
      </p:sp>
      <p:sp>
        <p:nvSpPr>
          <p:cNvPr id="23" name="Text Placeholder 2">
            <a:extLst>
              <a:ext uri="{FF2B5EF4-FFF2-40B4-BE49-F238E27FC236}"/>
            </a:extLst>
          </p:cNvPr>
          <p:cNvSpPr>
            <a:spLocks noGrp="1"/>
          </p:cNvSpPr>
          <p:nvPr>
            <p:custDataLst>
              <p:tags r:id="rId8"/>
            </p:custDataLst>
          </p:nvPr>
        </p:nvSpPr>
        <p:spPr bwMode="auto">
          <a:xfrm>
            <a:off x="1300163" y="5697538"/>
            <a:ext cx="1165225" cy="212725"/>
          </a:xfrm>
          <a:prstGeom prst="rect">
            <a:avLst/>
          </a:prstGeom>
          <a:noFill/>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29BEAFB2-E744-4417-8934-15B927E3E10B}" type="datetime'''N''a''''ti''on''''''''a''l'''''''''''' ''''ta''r''''''get'''">
              <a:rPr lang="en-US" altLang="en-US" smtClean="0">
                <a:ea typeface="+mj-ea"/>
                <a:cs typeface="+mj-cs"/>
              </a:rPr>
              <a:pPr algn="ctr">
                <a:defRPr/>
              </a:pPr>
              <a:t>National target</a:t>
            </a:fld>
            <a:endParaRPr lang="en-US" dirty="0">
              <a:latin typeface="+mj-lt"/>
              <a:ea typeface="+mj-ea"/>
              <a:cs typeface="+mj-cs"/>
              <a:sym typeface="+mj-lt"/>
            </a:endParaRPr>
          </a:p>
        </p:txBody>
      </p:sp>
      <p:sp>
        <p:nvSpPr>
          <p:cNvPr id="213" name="Text Placeholder 2">
            <a:extLst>
              <a:ext uri="{FF2B5EF4-FFF2-40B4-BE49-F238E27FC236}"/>
            </a:extLst>
          </p:cNvPr>
          <p:cNvSpPr>
            <a:spLocks noGrp="1"/>
          </p:cNvSpPr>
          <p:nvPr>
            <p:custDataLst>
              <p:tags r:id="rId9"/>
            </p:custDataLst>
          </p:nvPr>
        </p:nvSpPr>
        <p:spPr bwMode="auto">
          <a:xfrm>
            <a:off x="3435350" y="3221038"/>
            <a:ext cx="425450" cy="301625"/>
          </a:xfrm>
          <a:prstGeom prst="ellipse">
            <a:avLst/>
          </a:prstGeom>
          <a:solidFill>
            <a:schemeClr val="accent1"/>
          </a:solidFill>
          <a:ln w="9525">
            <a:solidFill>
              <a:schemeClr val="bg1"/>
            </a:solidFill>
          </a:ln>
        </p:spPr>
        <p:txBody>
          <a:bodyPr wrap="none" lIns="0" tIns="0" rIns="0" bIns="0" anchor="ct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r>
              <a:rPr lang="en-ZA" altLang="en-US" b="1" dirty="0">
                <a:ea typeface="+mj-ea"/>
                <a:cs typeface="+mj-cs"/>
              </a:rPr>
              <a:t>~5x</a:t>
            </a:r>
            <a:endParaRPr lang="en-ZA" b="1" dirty="0">
              <a:latin typeface="+mj-lt"/>
              <a:ea typeface="+mj-ea"/>
              <a:cs typeface="+mj-cs"/>
              <a:sym typeface="+mj-lt"/>
            </a:endParaRPr>
          </a:p>
        </p:txBody>
      </p:sp>
      <p:sp>
        <p:nvSpPr>
          <p:cNvPr id="63"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World Bank, UNICEF Multiple Indicator Cluster Survey Nigeria 2016-2017</a:t>
            </a:r>
          </a:p>
        </p:txBody>
      </p:sp>
      <p:graphicFrame>
        <p:nvGraphicFramePr>
          <p:cNvPr id="10257" name="Chart 101"/>
          <p:cNvGraphicFramePr>
            <a:graphicFrameLocks/>
          </p:cNvGraphicFramePr>
          <p:nvPr/>
        </p:nvGraphicFramePr>
        <p:xfrm>
          <a:off x="5473700" y="1539875"/>
          <a:ext cx="2617788" cy="4738688"/>
        </p:xfrm>
        <a:graphic>
          <a:graphicData uri="http://schemas.openxmlformats.org/presentationml/2006/ole">
            <p:oleObj spid="_x0000_s10257" r:id="rId45" imgW="2615411" imgH="4737003" progId="Excel.Sheet.8">
              <p:embed/>
            </p:oleObj>
          </a:graphicData>
        </a:graphic>
      </p:graphicFrame>
      <p:sp>
        <p:nvSpPr>
          <p:cNvPr id="10258" name="Text Placeholder 2"/>
          <p:cNvSpPr>
            <a:spLocks noGrp="1"/>
          </p:cNvSpPr>
          <p:nvPr>
            <p:custDataLst>
              <p:tags r:id="rId10"/>
            </p:custDataLst>
          </p:nvPr>
        </p:nvSpPr>
        <p:spPr bwMode="auto">
          <a:xfrm>
            <a:off x="4424363" y="5022850"/>
            <a:ext cx="384175" cy="212725"/>
          </a:xfrm>
          <a:prstGeom prst="rect">
            <a:avLst/>
          </a:prstGeom>
          <a:noFill/>
          <a:ln w="9525">
            <a:noFill/>
            <a:miter lim="800000"/>
            <a:headEnd/>
            <a:tailEnd/>
          </a:ln>
        </p:spPr>
        <p:txBody>
          <a:bodyPr wrap="none" lIns="0" tIns="0" rIns="0" bIns="0" anchor="ctr"/>
          <a:lstStyle/>
          <a:p>
            <a:pPr defTabSz="895350">
              <a:buClr>
                <a:schemeClr val="tx2"/>
              </a:buClr>
              <a:buSzPct val="100000"/>
            </a:pPr>
            <a:fld id="{12556C26-6C78-49B1-B125-9DD7CA7024E2}" type="datetime'''''''I''''''''''''''n''''''d''''''i''''''''''''a'''''">
              <a:rPr lang="en-ZA" altLang="en-US" sz="1400"/>
              <a:pPr defTabSz="895350">
                <a:buClr>
                  <a:schemeClr val="tx2"/>
                </a:buClr>
                <a:buSzPct val="100000"/>
              </a:pPr>
              <a:t>India</a:t>
            </a:fld>
            <a:endParaRPr lang="en-ZA" sz="1400">
              <a:sym typeface="+mn-lt"/>
            </a:endParaRPr>
          </a:p>
        </p:txBody>
      </p:sp>
      <p:sp>
        <p:nvSpPr>
          <p:cNvPr id="10259" name="Text Placeholder 2"/>
          <p:cNvSpPr>
            <a:spLocks noGrp="1"/>
          </p:cNvSpPr>
          <p:nvPr>
            <p:custDataLst>
              <p:tags r:id="rId11"/>
            </p:custDataLst>
          </p:nvPr>
        </p:nvSpPr>
        <p:spPr bwMode="auto">
          <a:xfrm>
            <a:off x="4424363" y="3802063"/>
            <a:ext cx="641350" cy="212725"/>
          </a:xfrm>
          <a:prstGeom prst="rect">
            <a:avLst/>
          </a:prstGeom>
          <a:noFill/>
          <a:ln w="9525">
            <a:noFill/>
            <a:miter lim="800000"/>
            <a:headEnd/>
            <a:tailEnd/>
          </a:ln>
        </p:spPr>
        <p:txBody>
          <a:bodyPr wrap="none" lIns="0" tIns="0" rIns="0" bIns="0" anchor="ctr"/>
          <a:lstStyle/>
          <a:p>
            <a:pPr defTabSz="895350">
              <a:buClr>
                <a:schemeClr val="tx2"/>
              </a:buClr>
              <a:buSzPct val="100000"/>
            </a:pPr>
            <a:fld id="{9C2CCFC0-0D96-4CB3-87AC-E778124B3822}" type="datetime'''''''''E''''''th''''''''''''i''o''p''''i''''''''''a'''''''">
              <a:rPr lang="en-ZA" altLang="en-US" sz="1400"/>
              <a:pPr defTabSz="895350">
                <a:buClr>
                  <a:schemeClr val="tx2"/>
                </a:buClr>
                <a:buSzPct val="100000"/>
              </a:pPr>
              <a:t>Ethiopia</a:t>
            </a:fld>
            <a:endParaRPr lang="en-ZA" sz="1400">
              <a:sym typeface="+mn-lt"/>
            </a:endParaRPr>
          </a:p>
        </p:txBody>
      </p:sp>
      <p:sp>
        <p:nvSpPr>
          <p:cNvPr id="10260" name="Text Placeholder 2"/>
          <p:cNvSpPr>
            <a:spLocks noGrp="1"/>
          </p:cNvSpPr>
          <p:nvPr>
            <p:custDataLst>
              <p:tags r:id="rId12"/>
            </p:custDataLst>
          </p:nvPr>
        </p:nvSpPr>
        <p:spPr bwMode="auto">
          <a:xfrm>
            <a:off x="4424363" y="1668463"/>
            <a:ext cx="641350" cy="212725"/>
          </a:xfrm>
          <a:prstGeom prst="rect">
            <a:avLst/>
          </a:prstGeom>
          <a:noFill/>
          <a:ln w="9525">
            <a:noFill/>
            <a:miter lim="800000"/>
            <a:headEnd/>
            <a:tailEnd/>
          </a:ln>
        </p:spPr>
        <p:txBody>
          <a:bodyPr wrap="none" lIns="0" tIns="0" rIns="0" bIns="0" anchor="ctr"/>
          <a:lstStyle/>
          <a:p>
            <a:pPr defTabSz="895350">
              <a:buClr>
                <a:schemeClr val="tx2"/>
              </a:buClr>
              <a:buSzPct val="100000"/>
            </a:pPr>
            <a:fld id="{55DD2BDB-D241-4BBB-8AA8-8DBC61529B99}" type="datetime'S''''''''''''''''''''omal''''''i''a'''''''''''''''''">
              <a:rPr lang="en-ZA" altLang="en-US" sz="1400"/>
              <a:pPr defTabSz="895350">
                <a:buClr>
                  <a:schemeClr val="tx2"/>
                </a:buClr>
                <a:buSzPct val="100000"/>
              </a:pPr>
              <a:t>Somalia</a:t>
            </a:fld>
            <a:endParaRPr lang="en-ZA" sz="1400">
              <a:sym typeface="+mn-lt"/>
            </a:endParaRPr>
          </a:p>
        </p:txBody>
      </p:sp>
      <p:sp>
        <p:nvSpPr>
          <p:cNvPr id="10261" name="Text Placeholder 2"/>
          <p:cNvSpPr>
            <a:spLocks noGrp="1"/>
          </p:cNvSpPr>
          <p:nvPr>
            <p:custDataLst>
              <p:tags r:id="rId13"/>
            </p:custDataLst>
          </p:nvPr>
        </p:nvSpPr>
        <p:spPr bwMode="auto">
          <a:xfrm>
            <a:off x="4424363" y="2278063"/>
            <a:ext cx="561975" cy="212725"/>
          </a:xfrm>
          <a:prstGeom prst="rect">
            <a:avLst/>
          </a:prstGeom>
          <a:noFill/>
          <a:ln w="9525">
            <a:noFill/>
            <a:miter lim="800000"/>
            <a:headEnd/>
            <a:tailEnd/>
          </a:ln>
        </p:spPr>
        <p:txBody>
          <a:bodyPr wrap="none" lIns="0" tIns="0" rIns="0" bIns="0" anchor="ctr"/>
          <a:lstStyle/>
          <a:p>
            <a:pPr defTabSz="895350">
              <a:buClr>
                <a:schemeClr val="tx2"/>
              </a:buClr>
              <a:buSzPct val="100000"/>
            </a:pPr>
            <a:fld id="{AEA1CCCF-E5D0-4B3D-88CA-E71CFE6D725D}" type="datetime'''''''''N''''''''''''i''ger''i''''''''''''''a'''''''">
              <a:rPr lang="en-ZA" altLang="en-US" sz="1400"/>
              <a:pPr defTabSz="895350">
                <a:buClr>
                  <a:schemeClr val="tx2"/>
                </a:buClr>
                <a:buSzPct val="100000"/>
              </a:pPr>
              <a:t>Nigeria</a:t>
            </a:fld>
            <a:endParaRPr lang="en-ZA" sz="1400">
              <a:sym typeface="+mn-lt"/>
            </a:endParaRPr>
          </a:p>
        </p:txBody>
      </p:sp>
      <p:sp>
        <p:nvSpPr>
          <p:cNvPr id="10262" name="Text Placeholder 2"/>
          <p:cNvSpPr>
            <a:spLocks noGrp="1"/>
          </p:cNvSpPr>
          <p:nvPr>
            <p:custDataLst>
              <p:tags r:id="rId14"/>
            </p:custDataLst>
          </p:nvPr>
        </p:nvSpPr>
        <p:spPr bwMode="auto">
          <a:xfrm>
            <a:off x="4424363" y="3192463"/>
            <a:ext cx="552450" cy="212725"/>
          </a:xfrm>
          <a:prstGeom prst="rect">
            <a:avLst/>
          </a:prstGeom>
          <a:noFill/>
          <a:ln w="9525">
            <a:noFill/>
            <a:miter lim="800000"/>
            <a:headEnd/>
            <a:tailEnd/>
          </a:ln>
        </p:spPr>
        <p:txBody>
          <a:bodyPr wrap="none" lIns="0" tIns="0" rIns="0" bIns="0" anchor="ctr"/>
          <a:lstStyle/>
          <a:p>
            <a:pPr defTabSz="895350">
              <a:buClr>
                <a:schemeClr val="tx2"/>
              </a:buClr>
              <a:buSzPct val="100000"/>
            </a:pPr>
            <a:fld id="{B93124DA-C69F-4599-BC56-F90EBC3F5C32}" type="datetime'''An''g''''''''''o''''''''''''''l''''a'''''''''">
              <a:rPr lang="en-ZA" altLang="en-US" sz="1400"/>
              <a:pPr defTabSz="895350">
                <a:buClr>
                  <a:schemeClr val="tx2"/>
                </a:buClr>
                <a:buSzPct val="100000"/>
              </a:pPr>
              <a:t>Angola</a:t>
            </a:fld>
            <a:endParaRPr lang="en-ZA" sz="1400">
              <a:sym typeface="+mn-lt"/>
            </a:endParaRPr>
          </a:p>
        </p:txBody>
      </p:sp>
      <p:sp>
        <p:nvSpPr>
          <p:cNvPr id="10263" name="Text Placeholder 2"/>
          <p:cNvSpPr>
            <a:spLocks noGrp="1"/>
          </p:cNvSpPr>
          <p:nvPr>
            <p:custDataLst>
              <p:tags r:id="rId15"/>
            </p:custDataLst>
          </p:nvPr>
        </p:nvSpPr>
        <p:spPr bwMode="auto">
          <a:xfrm>
            <a:off x="4424363" y="2887663"/>
            <a:ext cx="325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B0A4D26E-53EF-41B7-9F96-A23932FB0B6C}" type="datetime'''M''''''''''''''''''''''''al''i'''''''''''''">
              <a:rPr lang="en-ZA" altLang="en-US" sz="1400"/>
              <a:pPr defTabSz="895350">
                <a:buClr>
                  <a:schemeClr val="tx2"/>
                </a:buClr>
                <a:buSzPct val="100000"/>
              </a:pPr>
              <a:t>Mali</a:t>
            </a:fld>
            <a:endParaRPr lang="en-ZA" sz="1400">
              <a:sym typeface="+mn-lt"/>
            </a:endParaRPr>
          </a:p>
        </p:txBody>
      </p:sp>
      <p:sp>
        <p:nvSpPr>
          <p:cNvPr id="10264" name="Text Placeholder 2"/>
          <p:cNvSpPr>
            <a:spLocks noGrp="1"/>
          </p:cNvSpPr>
          <p:nvPr>
            <p:custDataLst>
              <p:tags r:id="rId16"/>
            </p:custDataLst>
          </p:nvPr>
        </p:nvSpPr>
        <p:spPr bwMode="auto">
          <a:xfrm>
            <a:off x="4424363" y="1973263"/>
            <a:ext cx="423862" cy="212725"/>
          </a:xfrm>
          <a:prstGeom prst="rect">
            <a:avLst/>
          </a:prstGeom>
          <a:noFill/>
          <a:ln w="9525">
            <a:noFill/>
            <a:miter lim="800000"/>
            <a:headEnd/>
            <a:tailEnd/>
          </a:ln>
        </p:spPr>
        <p:txBody>
          <a:bodyPr wrap="none" lIns="0" tIns="0" rIns="0" bIns="0" anchor="ctr"/>
          <a:lstStyle/>
          <a:p>
            <a:pPr defTabSz="895350">
              <a:buClr>
                <a:schemeClr val="tx2"/>
              </a:buClr>
              <a:buSzPct val="100000"/>
            </a:pPr>
            <a:fld id="{4FFF59AB-7757-4DF2-8A96-6A2CC5926125}" type="datetime'''''''C''''''''''h''''a''''d'''''">
              <a:rPr lang="en-ZA" altLang="en-US" sz="1400"/>
              <a:pPr defTabSz="895350">
                <a:buClr>
                  <a:schemeClr val="tx2"/>
                </a:buClr>
                <a:buSzPct val="100000"/>
              </a:pPr>
              <a:t>Chad</a:t>
            </a:fld>
            <a:endParaRPr lang="en-ZA" sz="1400">
              <a:sym typeface="+mn-lt"/>
            </a:endParaRPr>
          </a:p>
        </p:txBody>
      </p:sp>
      <p:sp>
        <p:nvSpPr>
          <p:cNvPr id="10265" name="Text Placeholder 2"/>
          <p:cNvSpPr>
            <a:spLocks noGrp="1"/>
          </p:cNvSpPr>
          <p:nvPr>
            <p:custDataLst>
              <p:tags r:id="rId17"/>
            </p:custDataLst>
          </p:nvPr>
        </p:nvSpPr>
        <p:spPr bwMode="auto">
          <a:xfrm>
            <a:off x="4424363" y="2582863"/>
            <a:ext cx="1014412" cy="212725"/>
          </a:xfrm>
          <a:prstGeom prst="rect">
            <a:avLst/>
          </a:prstGeom>
          <a:noFill/>
          <a:ln w="9525">
            <a:noFill/>
            <a:miter lim="800000"/>
            <a:headEnd/>
            <a:tailEnd/>
          </a:ln>
        </p:spPr>
        <p:txBody>
          <a:bodyPr wrap="none" lIns="0" tIns="0" rIns="0" bIns="0" anchor="ctr"/>
          <a:lstStyle/>
          <a:p>
            <a:pPr defTabSz="895350">
              <a:buClr>
                <a:schemeClr val="tx2"/>
              </a:buClr>
              <a:buSzPct val="100000"/>
            </a:pPr>
            <a:fld id="{06D77BF9-9CEA-4377-8B75-760864B4A219}" type="datetime'S''i''''e''''rr''''a'' ''Le''''o''''''''''''n''''e'''">
              <a:rPr lang="en-ZA" altLang="en-US" sz="1400"/>
              <a:pPr defTabSz="895350">
                <a:buClr>
                  <a:schemeClr val="tx2"/>
                </a:buClr>
                <a:buSzPct val="100000"/>
              </a:pPr>
              <a:t>Sierra Leone</a:t>
            </a:fld>
            <a:endParaRPr lang="en-ZA" sz="1400">
              <a:sym typeface="+mn-lt"/>
            </a:endParaRPr>
          </a:p>
        </p:txBody>
      </p:sp>
      <p:sp>
        <p:nvSpPr>
          <p:cNvPr id="10266" name="Text Placeholder 2"/>
          <p:cNvSpPr>
            <a:spLocks noGrp="1"/>
          </p:cNvSpPr>
          <p:nvPr>
            <p:custDataLst>
              <p:tags r:id="rId18"/>
            </p:custDataLst>
          </p:nvPr>
        </p:nvSpPr>
        <p:spPr bwMode="auto">
          <a:xfrm>
            <a:off x="4424363" y="3497263"/>
            <a:ext cx="531812" cy="212725"/>
          </a:xfrm>
          <a:prstGeom prst="rect">
            <a:avLst/>
          </a:prstGeom>
          <a:noFill/>
          <a:ln w="9525">
            <a:noFill/>
            <a:miter lim="800000"/>
            <a:headEnd/>
            <a:tailEnd/>
          </a:ln>
        </p:spPr>
        <p:txBody>
          <a:bodyPr wrap="none" lIns="0" tIns="0" rIns="0" bIns="0" anchor="ctr"/>
          <a:lstStyle/>
          <a:p>
            <a:pPr defTabSz="895350">
              <a:buClr>
                <a:schemeClr val="tx2"/>
              </a:buClr>
              <a:buSzPct val="100000"/>
            </a:pPr>
            <a:fld id="{6CB1C5C2-A85C-4C07-8954-4551BAAB81B9}" type="datetime'''G''''''''h''''''''''''a''''n''''''''''''''''''''''''''a'">
              <a:rPr lang="en-ZA" altLang="en-US" sz="1400"/>
              <a:pPr defTabSz="895350">
                <a:buClr>
                  <a:schemeClr val="tx2"/>
                </a:buClr>
                <a:buSzPct val="100000"/>
              </a:pPr>
              <a:t>Ghana</a:t>
            </a:fld>
            <a:endParaRPr lang="en-ZA" sz="1400">
              <a:sym typeface="+mn-lt"/>
            </a:endParaRPr>
          </a:p>
        </p:txBody>
      </p:sp>
      <p:sp>
        <p:nvSpPr>
          <p:cNvPr id="10267" name="Text Placeholder 2"/>
          <p:cNvSpPr>
            <a:spLocks noGrp="1"/>
          </p:cNvSpPr>
          <p:nvPr>
            <p:custDataLst>
              <p:tags r:id="rId19"/>
            </p:custDataLst>
          </p:nvPr>
        </p:nvSpPr>
        <p:spPr bwMode="auto">
          <a:xfrm>
            <a:off x="4424363" y="4108450"/>
            <a:ext cx="709612" cy="212725"/>
          </a:xfrm>
          <a:prstGeom prst="rect">
            <a:avLst/>
          </a:prstGeom>
          <a:noFill/>
          <a:ln w="9525">
            <a:noFill/>
            <a:miter lim="800000"/>
            <a:headEnd/>
            <a:tailEnd/>
          </a:ln>
        </p:spPr>
        <p:txBody>
          <a:bodyPr wrap="none" lIns="0" tIns="0" rIns="0" bIns="0" anchor="ctr"/>
          <a:lstStyle/>
          <a:p>
            <a:pPr defTabSz="895350">
              <a:buClr>
                <a:schemeClr val="tx2"/>
              </a:buClr>
              <a:buSzPct val="100000"/>
            </a:pPr>
            <a:r>
              <a:rPr lang="en-ZA" altLang="en-US" sz="1400">
                <a:sym typeface="+mn-lt"/>
              </a:rPr>
              <a:t>Tanzania</a:t>
            </a:r>
            <a:endParaRPr lang="en-ZA" sz="1400">
              <a:sym typeface="+mn-lt"/>
            </a:endParaRPr>
          </a:p>
        </p:txBody>
      </p:sp>
      <p:sp>
        <p:nvSpPr>
          <p:cNvPr id="10268" name="Text Placeholder 2"/>
          <p:cNvSpPr>
            <a:spLocks noGrp="1"/>
          </p:cNvSpPr>
          <p:nvPr>
            <p:custDataLst>
              <p:tags r:id="rId20"/>
            </p:custDataLst>
          </p:nvPr>
        </p:nvSpPr>
        <p:spPr bwMode="auto">
          <a:xfrm>
            <a:off x="4424363" y="5632450"/>
            <a:ext cx="5032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D94062F0-7C9E-4B5D-AFAC-C83717DB3C6C}" type="datetime'''E''''''''y''''g''''''''p''''t'''''''''''''''''''' '''">
              <a:rPr lang="en-ZA" altLang="en-US" sz="1400"/>
              <a:pPr defTabSz="895350">
                <a:buClr>
                  <a:schemeClr val="tx2"/>
                </a:buClr>
                <a:buSzPct val="100000"/>
              </a:pPr>
              <a:t>Eygpt </a:t>
            </a:fld>
            <a:endParaRPr lang="en-ZA" sz="1400">
              <a:sym typeface="+mn-lt"/>
            </a:endParaRPr>
          </a:p>
        </p:txBody>
      </p:sp>
      <p:sp>
        <p:nvSpPr>
          <p:cNvPr id="10269" name="Text Placeholder 2"/>
          <p:cNvSpPr>
            <a:spLocks noGrp="1"/>
          </p:cNvSpPr>
          <p:nvPr>
            <p:custDataLst>
              <p:tags r:id="rId21"/>
            </p:custDataLst>
          </p:nvPr>
        </p:nvSpPr>
        <p:spPr bwMode="auto">
          <a:xfrm>
            <a:off x="4424363" y="4413250"/>
            <a:ext cx="552450" cy="212725"/>
          </a:xfrm>
          <a:prstGeom prst="rect">
            <a:avLst/>
          </a:prstGeom>
          <a:noFill/>
          <a:ln w="9525">
            <a:noFill/>
            <a:miter lim="800000"/>
            <a:headEnd/>
            <a:tailEnd/>
          </a:ln>
        </p:spPr>
        <p:txBody>
          <a:bodyPr wrap="none" lIns="0" tIns="0" rIns="0" bIns="0" anchor="ctr"/>
          <a:lstStyle/>
          <a:p>
            <a:pPr defTabSz="895350">
              <a:buClr>
                <a:schemeClr val="tx2"/>
              </a:buClr>
              <a:buSzPct val="100000"/>
            </a:pPr>
            <a:fld id="{5589F7DC-8027-4F87-85D0-6A58247AAE90}" type="datetime'''K''''''''''''e''ny''''''''''''''''''''''a'''' '''">
              <a:rPr lang="en-ZA" altLang="en-US" sz="1400"/>
              <a:pPr defTabSz="895350">
                <a:buClr>
                  <a:schemeClr val="tx2"/>
                </a:buClr>
                <a:buSzPct val="100000"/>
              </a:pPr>
              <a:t>Kenya </a:t>
            </a:fld>
            <a:endParaRPr lang="en-ZA" sz="1400">
              <a:sym typeface="+mn-lt"/>
            </a:endParaRPr>
          </a:p>
        </p:txBody>
      </p:sp>
      <p:sp>
        <p:nvSpPr>
          <p:cNvPr id="10270" name="Text Placeholder 2"/>
          <p:cNvSpPr>
            <a:spLocks noGrp="1"/>
          </p:cNvSpPr>
          <p:nvPr>
            <p:custDataLst>
              <p:tags r:id="rId22"/>
            </p:custDataLst>
          </p:nvPr>
        </p:nvSpPr>
        <p:spPr bwMode="auto">
          <a:xfrm>
            <a:off x="4424363" y="4718050"/>
            <a:ext cx="957262" cy="212725"/>
          </a:xfrm>
          <a:prstGeom prst="rect">
            <a:avLst/>
          </a:prstGeom>
          <a:noFill/>
          <a:ln w="9525">
            <a:noFill/>
            <a:miter lim="800000"/>
            <a:headEnd/>
            <a:tailEnd/>
          </a:ln>
        </p:spPr>
        <p:txBody>
          <a:bodyPr wrap="none" lIns="0" tIns="0" rIns="0" bIns="0" anchor="ctr"/>
          <a:lstStyle/>
          <a:p>
            <a:pPr defTabSz="895350">
              <a:buClr>
                <a:schemeClr val="tx2"/>
              </a:buClr>
              <a:buSzPct val="100000"/>
            </a:pPr>
            <a:fld id="{E9812531-FC48-4C43-A8CC-1BD846323387}" type="datetime'S''''''''outh ''''''''A''''''fr''''''''''''i''''c''''a'''">
              <a:rPr lang="en-ZA" altLang="en-US" sz="1400"/>
              <a:pPr defTabSz="895350">
                <a:buClr>
                  <a:schemeClr val="tx2"/>
                </a:buClr>
                <a:buSzPct val="100000"/>
              </a:pPr>
              <a:t>South Africa</a:t>
            </a:fld>
            <a:endParaRPr lang="en-ZA" sz="1400">
              <a:sym typeface="+mn-lt"/>
            </a:endParaRPr>
          </a:p>
        </p:txBody>
      </p:sp>
      <p:sp>
        <p:nvSpPr>
          <p:cNvPr id="10271" name="Text Placeholder 2"/>
          <p:cNvSpPr>
            <a:spLocks noGrp="1"/>
          </p:cNvSpPr>
          <p:nvPr>
            <p:custDataLst>
              <p:tags r:id="rId23"/>
            </p:custDataLst>
          </p:nvPr>
        </p:nvSpPr>
        <p:spPr bwMode="auto">
          <a:xfrm>
            <a:off x="4424363" y="5327650"/>
            <a:ext cx="552450" cy="212725"/>
          </a:xfrm>
          <a:prstGeom prst="rect">
            <a:avLst/>
          </a:prstGeom>
          <a:noFill/>
          <a:ln w="9525">
            <a:noFill/>
            <a:miter lim="800000"/>
            <a:headEnd/>
            <a:tailEnd/>
          </a:ln>
        </p:spPr>
        <p:txBody>
          <a:bodyPr wrap="none" lIns="0" tIns="0" rIns="0" bIns="0" anchor="ctr"/>
          <a:lstStyle/>
          <a:p>
            <a:pPr defTabSz="895350">
              <a:buClr>
                <a:schemeClr val="tx2"/>
              </a:buClr>
              <a:buSzPct val="100000"/>
            </a:pPr>
            <a:fld id="{4668BF94-7EFB-4E11-88AD-6942CB3EC45B}" type="datetime'Al''g''e''''r''''''i''''''''''''''''''''''''a'''''''''''''''">
              <a:rPr lang="en-ZA" altLang="en-US" sz="1400"/>
              <a:pPr defTabSz="895350">
                <a:buClr>
                  <a:schemeClr val="tx2"/>
                </a:buClr>
                <a:buSzPct val="100000"/>
              </a:pPr>
              <a:t>Algeria</a:t>
            </a:fld>
            <a:endParaRPr lang="en-ZA" sz="1400">
              <a:sym typeface="+mn-lt"/>
            </a:endParaRPr>
          </a:p>
        </p:txBody>
      </p:sp>
      <p:sp>
        <p:nvSpPr>
          <p:cNvPr id="10272" name="Text Placeholder 2"/>
          <p:cNvSpPr>
            <a:spLocks noGrp="1"/>
          </p:cNvSpPr>
          <p:nvPr>
            <p:custDataLst>
              <p:tags r:id="rId24"/>
            </p:custDataLst>
          </p:nvPr>
        </p:nvSpPr>
        <p:spPr bwMode="auto">
          <a:xfrm>
            <a:off x="4424363" y="5937250"/>
            <a:ext cx="700087" cy="212725"/>
          </a:xfrm>
          <a:prstGeom prst="rect">
            <a:avLst/>
          </a:prstGeom>
          <a:noFill/>
          <a:ln w="9525">
            <a:noFill/>
            <a:miter lim="800000"/>
            <a:headEnd/>
            <a:tailEnd/>
          </a:ln>
        </p:spPr>
        <p:txBody>
          <a:bodyPr wrap="none" lIns="0" tIns="0" rIns="0" bIns="0" anchor="ctr"/>
          <a:lstStyle/>
          <a:p>
            <a:pPr defTabSz="895350">
              <a:buClr>
                <a:schemeClr val="tx2"/>
              </a:buClr>
              <a:buSzPct val="100000"/>
            </a:pPr>
            <a:fld id="{7644AA57-2063-4BC7-828B-64BF3024A4F0}" type="datetime'M''''a''''''l''''''''''''''''''''''''''a''''''y''''si''''a'">
              <a:rPr lang="en-ZA" altLang="en-US" sz="1400"/>
              <a:pPr defTabSz="895350">
                <a:buClr>
                  <a:schemeClr val="tx2"/>
                </a:buClr>
                <a:buSzPct val="100000"/>
              </a:pPr>
              <a:t>Malaysia</a:t>
            </a:fld>
            <a:endParaRPr lang="en-ZA" sz="1400">
              <a:sym typeface="+mn-lt"/>
            </a:endParaRPr>
          </a:p>
        </p:txBody>
      </p:sp>
      <p:pic>
        <p:nvPicPr>
          <p:cNvPr id="109" name="Picture 108">
            <a:extLst>
              <a:ext uri="{FF2B5EF4-FFF2-40B4-BE49-F238E27FC236}"/>
            </a:extLst>
          </p:cNvPr>
          <p:cNvPicPr>
            <a:picLocks/>
          </p:cNvPicPr>
          <p:nvPr/>
        </p:nvPicPr>
        <p:blipFill>
          <a:blip r:embed="rId46"/>
          <a:stretch>
            <a:fillRect/>
          </a:stretch>
        </p:blipFill>
        <p:spPr bwMode="gray">
          <a:xfrm>
            <a:off x="4108450" y="2311400"/>
            <a:ext cx="222250" cy="147638"/>
          </a:xfrm>
          <a:prstGeom prst="rect">
            <a:avLst/>
          </a:prstGeom>
          <a:ln w="3175">
            <a:solidFill>
              <a:schemeClr val="accent6"/>
            </a:solidFill>
          </a:ln>
        </p:spPr>
      </p:pic>
      <p:pic>
        <p:nvPicPr>
          <p:cNvPr id="110" name="Picture 109">
            <a:extLst>
              <a:ext uri="{FF2B5EF4-FFF2-40B4-BE49-F238E27FC236}"/>
            </a:extLst>
          </p:cNvPr>
          <p:cNvPicPr>
            <a:picLocks/>
          </p:cNvPicPr>
          <p:nvPr/>
        </p:nvPicPr>
        <p:blipFill>
          <a:blip r:embed="rId47"/>
          <a:stretch>
            <a:fillRect/>
          </a:stretch>
        </p:blipFill>
        <p:spPr bwMode="gray">
          <a:xfrm>
            <a:off x="4108450" y="3225800"/>
            <a:ext cx="222250" cy="147638"/>
          </a:xfrm>
          <a:prstGeom prst="rect">
            <a:avLst/>
          </a:prstGeom>
          <a:ln w="3175">
            <a:solidFill>
              <a:schemeClr val="accent6"/>
            </a:solidFill>
          </a:ln>
        </p:spPr>
      </p:pic>
      <p:pic>
        <p:nvPicPr>
          <p:cNvPr id="111" name="Picture 110">
            <a:extLst>
              <a:ext uri="{FF2B5EF4-FFF2-40B4-BE49-F238E27FC236}"/>
            </a:extLst>
          </p:cNvPr>
          <p:cNvPicPr>
            <a:picLocks/>
          </p:cNvPicPr>
          <p:nvPr/>
        </p:nvPicPr>
        <p:blipFill>
          <a:blip r:embed="rId48"/>
          <a:stretch>
            <a:fillRect/>
          </a:stretch>
        </p:blipFill>
        <p:spPr bwMode="gray">
          <a:xfrm>
            <a:off x="4108450" y="3530600"/>
            <a:ext cx="222250" cy="147638"/>
          </a:xfrm>
          <a:prstGeom prst="rect">
            <a:avLst/>
          </a:prstGeom>
          <a:ln w="3175">
            <a:solidFill>
              <a:schemeClr val="accent6"/>
            </a:solidFill>
          </a:ln>
        </p:spPr>
      </p:pic>
      <p:pic>
        <p:nvPicPr>
          <p:cNvPr id="112" name="Picture 111">
            <a:extLst>
              <a:ext uri="{FF2B5EF4-FFF2-40B4-BE49-F238E27FC236}"/>
            </a:extLst>
          </p:cNvPr>
          <p:cNvPicPr>
            <a:picLocks/>
          </p:cNvPicPr>
          <p:nvPr/>
        </p:nvPicPr>
        <p:blipFill>
          <a:blip r:embed="rId49"/>
          <a:stretch>
            <a:fillRect/>
          </a:stretch>
        </p:blipFill>
        <p:spPr bwMode="gray">
          <a:xfrm>
            <a:off x="4108450" y="3835400"/>
            <a:ext cx="222250" cy="147638"/>
          </a:xfrm>
          <a:prstGeom prst="rect">
            <a:avLst/>
          </a:prstGeom>
          <a:ln w="3175">
            <a:solidFill>
              <a:schemeClr val="accent6"/>
            </a:solidFill>
          </a:ln>
        </p:spPr>
      </p:pic>
      <p:pic>
        <p:nvPicPr>
          <p:cNvPr id="113" name="Picture 112">
            <a:extLst>
              <a:ext uri="{FF2B5EF4-FFF2-40B4-BE49-F238E27FC236}"/>
            </a:extLst>
          </p:cNvPr>
          <p:cNvPicPr>
            <a:picLocks/>
          </p:cNvPicPr>
          <p:nvPr/>
        </p:nvPicPr>
        <p:blipFill>
          <a:blip r:embed="rId50"/>
          <a:stretch>
            <a:fillRect/>
          </a:stretch>
        </p:blipFill>
        <p:spPr bwMode="gray">
          <a:xfrm>
            <a:off x="4108450" y="4445000"/>
            <a:ext cx="222250" cy="147638"/>
          </a:xfrm>
          <a:prstGeom prst="rect">
            <a:avLst/>
          </a:prstGeom>
          <a:ln w="3175">
            <a:solidFill>
              <a:schemeClr val="accent6"/>
            </a:solidFill>
          </a:ln>
        </p:spPr>
      </p:pic>
      <p:pic>
        <p:nvPicPr>
          <p:cNvPr id="114" name="Picture 113">
            <a:extLst>
              <a:ext uri="{FF2B5EF4-FFF2-40B4-BE49-F238E27FC236}"/>
            </a:extLst>
          </p:cNvPr>
          <p:cNvPicPr>
            <a:picLocks/>
          </p:cNvPicPr>
          <p:nvPr/>
        </p:nvPicPr>
        <p:blipFill>
          <a:blip r:embed="rId51"/>
          <a:stretch>
            <a:fillRect/>
          </a:stretch>
        </p:blipFill>
        <p:spPr bwMode="gray">
          <a:xfrm>
            <a:off x="4108450" y="4140200"/>
            <a:ext cx="222250" cy="147638"/>
          </a:xfrm>
          <a:prstGeom prst="rect">
            <a:avLst/>
          </a:prstGeom>
          <a:ln w="3175">
            <a:solidFill>
              <a:schemeClr val="accent6"/>
            </a:solidFill>
          </a:ln>
        </p:spPr>
      </p:pic>
      <p:pic>
        <p:nvPicPr>
          <p:cNvPr id="115" name="Picture 114">
            <a:extLst>
              <a:ext uri="{FF2B5EF4-FFF2-40B4-BE49-F238E27FC236}"/>
            </a:extLst>
          </p:cNvPr>
          <p:cNvPicPr>
            <a:picLocks/>
          </p:cNvPicPr>
          <p:nvPr/>
        </p:nvPicPr>
        <p:blipFill>
          <a:blip r:embed="rId52"/>
          <a:stretch>
            <a:fillRect/>
          </a:stretch>
        </p:blipFill>
        <p:spPr bwMode="gray">
          <a:xfrm>
            <a:off x="4108450" y="4749800"/>
            <a:ext cx="222250" cy="147638"/>
          </a:xfrm>
          <a:prstGeom prst="rect">
            <a:avLst/>
          </a:prstGeom>
          <a:ln w="3175">
            <a:solidFill>
              <a:schemeClr val="accent6"/>
            </a:solidFill>
          </a:ln>
        </p:spPr>
      </p:pic>
      <p:pic>
        <p:nvPicPr>
          <p:cNvPr id="116" name="Picture 115">
            <a:extLst>
              <a:ext uri="{FF2B5EF4-FFF2-40B4-BE49-F238E27FC236}"/>
            </a:extLst>
          </p:cNvPr>
          <p:cNvPicPr>
            <a:picLocks/>
          </p:cNvPicPr>
          <p:nvPr/>
        </p:nvPicPr>
        <p:blipFill>
          <a:blip r:embed="rId53"/>
          <a:stretch>
            <a:fillRect/>
          </a:stretch>
        </p:blipFill>
        <p:spPr bwMode="gray">
          <a:xfrm>
            <a:off x="4108450" y="5054600"/>
            <a:ext cx="222250" cy="147638"/>
          </a:xfrm>
          <a:prstGeom prst="rect">
            <a:avLst/>
          </a:prstGeom>
          <a:ln w="3175">
            <a:solidFill>
              <a:schemeClr val="accent6"/>
            </a:solidFill>
          </a:ln>
        </p:spPr>
      </p:pic>
      <p:pic>
        <p:nvPicPr>
          <p:cNvPr id="117" name="Picture 116">
            <a:extLst>
              <a:ext uri="{FF2B5EF4-FFF2-40B4-BE49-F238E27FC236}"/>
            </a:extLst>
          </p:cNvPr>
          <p:cNvPicPr>
            <a:picLocks/>
          </p:cNvPicPr>
          <p:nvPr/>
        </p:nvPicPr>
        <p:blipFill>
          <a:blip r:embed="rId54"/>
          <a:stretch>
            <a:fillRect/>
          </a:stretch>
        </p:blipFill>
        <p:spPr bwMode="gray">
          <a:xfrm>
            <a:off x="4108450" y="5359400"/>
            <a:ext cx="222250" cy="147638"/>
          </a:xfrm>
          <a:prstGeom prst="rect">
            <a:avLst/>
          </a:prstGeom>
          <a:ln w="3175">
            <a:solidFill>
              <a:schemeClr val="accent6"/>
            </a:solidFill>
          </a:ln>
        </p:spPr>
      </p:pic>
      <p:pic>
        <p:nvPicPr>
          <p:cNvPr id="118" name="Picture 117">
            <a:extLst>
              <a:ext uri="{FF2B5EF4-FFF2-40B4-BE49-F238E27FC236}"/>
            </a:extLst>
          </p:cNvPr>
          <p:cNvPicPr>
            <a:picLocks/>
          </p:cNvPicPr>
          <p:nvPr/>
        </p:nvPicPr>
        <p:blipFill>
          <a:blip r:embed="rId55"/>
          <a:stretch>
            <a:fillRect/>
          </a:stretch>
        </p:blipFill>
        <p:spPr bwMode="gray">
          <a:xfrm>
            <a:off x="4108450" y="5969000"/>
            <a:ext cx="222250" cy="147638"/>
          </a:xfrm>
          <a:prstGeom prst="rect">
            <a:avLst/>
          </a:prstGeom>
          <a:ln w="3175">
            <a:solidFill>
              <a:schemeClr val="accent6"/>
            </a:solidFill>
          </a:ln>
        </p:spPr>
      </p:pic>
      <p:pic>
        <p:nvPicPr>
          <p:cNvPr id="119" name="Picture 118">
            <a:extLst>
              <a:ext uri="{FF2B5EF4-FFF2-40B4-BE49-F238E27FC236}"/>
            </a:extLst>
          </p:cNvPr>
          <p:cNvPicPr>
            <a:picLocks/>
          </p:cNvPicPr>
          <p:nvPr/>
        </p:nvPicPr>
        <p:blipFill>
          <a:blip r:embed="rId56"/>
          <a:stretch>
            <a:fillRect/>
          </a:stretch>
        </p:blipFill>
        <p:spPr bwMode="gray">
          <a:xfrm>
            <a:off x="4108450" y="5664200"/>
            <a:ext cx="222250" cy="147638"/>
          </a:xfrm>
          <a:prstGeom prst="rect">
            <a:avLst/>
          </a:prstGeom>
          <a:ln w="3175">
            <a:solidFill>
              <a:schemeClr val="accent6"/>
            </a:solidFill>
          </a:ln>
        </p:spPr>
      </p:pic>
      <p:pic>
        <p:nvPicPr>
          <p:cNvPr id="120" name="Picture 135" descr="Image result for mali flag">
            <a:extLst>
              <a:ext uri="{FF2B5EF4-FFF2-40B4-BE49-F238E27FC236}"/>
            </a:extLst>
          </p:cNvPr>
          <p:cNvPicPr>
            <a:picLocks noChangeArrowheads="1"/>
          </p:cNvPicPr>
          <p:nvPr/>
        </p:nvPicPr>
        <p:blipFill>
          <a:blip r:embed="rId57"/>
          <a:srcRect/>
          <a:stretch>
            <a:fillRect/>
          </a:stretch>
        </p:blipFill>
        <p:spPr bwMode="auto">
          <a:xfrm>
            <a:off x="4108450" y="2921000"/>
            <a:ext cx="222250" cy="147638"/>
          </a:xfrm>
          <a:prstGeom prst="rect">
            <a:avLst/>
          </a:prstGeom>
          <a:noFill/>
          <a:ln w="3175">
            <a:solidFill>
              <a:schemeClr val="accent6"/>
            </a:solidFill>
          </a:ln>
          <a:extLst>
            <a:ext uri="{909E8E84-426E-40DD-AFC4-6F175D3DCCD1}"/>
          </a:extLst>
        </p:spPr>
      </p:pic>
      <p:pic>
        <p:nvPicPr>
          <p:cNvPr id="121" name="Picture 142" descr="Image result for sierra leone flag">
            <a:extLst>
              <a:ext uri="{FF2B5EF4-FFF2-40B4-BE49-F238E27FC236}"/>
            </a:extLst>
          </p:cNvPr>
          <p:cNvPicPr>
            <a:picLocks noChangeArrowheads="1"/>
          </p:cNvPicPr>
          <p:nvPr/>
        </p:nvPicPr>
        <p:blipFill>
          <a:blip r:embed="rId58"/>
          <a:srcRect/>
          <a:stretch>
            <a:fillRect/>
          </a:stretch>
        </p:blipFill>
        <p:spPr bwMode="auto">
          <a:xfrm>
            <a:off x="4108450" y="2616200"/>
            <a:ext cx="222250" cy="147638"/>
          </a:xfrm>
          <a:prstGeom prst="rect">
            <a:avLst/>
          </a:prstGeom>
          <a:noFill/>
          <a:ln w="3175">
            <a:solidFill>
              <a:schemeClr val="accent6"/>
            </a:solidFill>
          </a:ln>
          <a:extLst>
            <a:ext uri="{909E8E84-426E-40DD-AFC4-6F175D3DCCD1}"/>
          </a:extLst>
        </p:spPr>
      </p:pic>
      <p:pic>
        <p:nvPicPr>
          <p:cNvPr id="122" name="Picture 144" descr="Image result for chad flag">
            <a:extLst>
              <a:ext uri="{FF2B5EF4-FFF2-40B4-BE49-F238E27FC236}"/>
            </a:extLst>
          </p:cNvPr>
          <p:cNvPicPr>
            <a:picLocks noChangeArrowheads="1"/>
          </p:cNvPicPr>
          <p:nvPr/>
        </p:nvPicPr>
        <p:blipFill>
          <a:blip r:embed="rId59"/>
          <a:srcRect/>
          <a:stretch>
            <a:fillRect/>
          </a:stretch>
        </p:blipFill>
        <p:spPr bwMode="auto">
          <a:xfrm>
            <a:off x="4108450" y="2006600"/>
            <a:ext cx="222250" cy="147638"/>
          </a:xfrm>
          <a:prstGeom prst="rect">
            <a:avLst/>
          </a:prstGeom>
          <a:noFill/>
          <a:ln w="3175">
            <a:solidFill>
              <a:schemeClr val="accent6"/>
            </a:solidFill>
          </a:ln>
          <a:extLst>
            <a:ext uri="{909E8E84-426E-40DD-AFC4-6F175D3DCCD1}"/>
          </a:extLst>
        </p:spPr>
      </p:pic>
      <p:pic>
        <p:nvPicPr>
          <p:cNvPr id="123" name="Picture 149" descr="Image result for somalia flag">
            <a:extLst>
              <a:ext uri="{FF2B5EF4-FFF2-40B4-BE49-F238E27FC236}"/>
            </a:extLst>
          </p:cNvPr>
          <p:cNvPicPr>
            <a:picLocks noChangeArrowheads="1"/>
          </p:cNvPicPr>
          <p:nvPr/>
        </p:nvPicPr>
        <p:blipFill>
          <a:blip r:embed="rId60"/>
          <a:srcRect/>
          <a:stretch>
            <a:fillRect/>
          </a:stretch>
        </p:blipFill>
        <p:spPr bwMode="auto">
          <a:xfrm>
            <a:off x="4108450" y="1701800"/>
            <a:ext cx="222250" cy="147638"/>
          </a:xfrm>
          <a:prstGeom prst="rect">
            <a:avLst/>
          </a:prstGeom>
          <a:noFill/>
          <a:ln w="3175">
            <a:solidFill>
              <a:schemeClr val="accent6"/>
            </a:solidFill>
          </a:ln>
          <a:extLst>
            <a:ext uri="{909E8E84-426E-40DD-AFC4-6F175D3DCCD1}"/>
          </a:extLst>
        </p:spPr>
      </p:pic>
      <p:sp>
        <p:nvSpPr>
          <p:cNvPr id="10288" name="Oval 6"/>
          <p:cNvSpPr>
            <a:spLocks/>
          </p:cNvSpPr>
          <p:nvPr>
            <p:custDataLst>
              <p:tags r:id="rId25"/>
            </p:custDataLst>
          </p:nvPr>
        </p:nvSpPr>
        <p:spPr bwMode="auto">
          <a:xfrm>
            <a:off x="8243888" y="1665288"/>
            <a:ext cx="493712" cy="219075"/>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1.2</a:t>
            </a:r>
          </a:p>
        </p:txBody>
      </p:sp>
      <p:sp>
        <p:nvSpPr>
          <p:cNvPr id="10289" name="Oval 6"/>
          <p:cNvSpPr>
            <a:spLocks/>
          </p:cNvSpPr>
          <p:nvPr>
            <p:custDataLst>
              <p:tags r:id="rId26"/>
            </p:custDataLst>
          </p:nvPr>
        </p:nvSpPr>
        <p:spPr bwMode="auto">
          <a:xfrm>
            <a:off x="8243888" y="1970088"/>
            <a:ext cx="493712" cy="219075"/>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1.9</a:t>
            </a:r>
          </a:p>
        </p:txBody>
      </p:sp>
      <p:sp>
        <p:nvSpPr>
          <p:cNvPr id="10290" name="Oval 6"/>
          <p:cNvSpPr>
            <a:spLocks/>
          </p:cNvSpPr>
          <p:nvPr>
            <p:custDataLst>
              <p:tags r:id="rId27"/>
            </p:custDataLst>
          </p:nvPr>
        </p:nvSpPr>
        <p:spPr bwMode="auto">
          <a:xfrm>
            <a:off x="8243888" y="2274888"/>
            <a:ext cx="493712" cy="219075"/>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2.7</a:t>
            </a:r>
          </a:p>
        </p:txBody>
      </p:sp>
      <p:sp>
        <p:nvSpPr>
          <p:cNvPr id="10291" name="Oval 6"/>
          <p:cNvSpPr>
            <a:spLocks/>
          </p:cNvSpPr>
          <p:nvPr>
            <p:custDataLst>
              <p:tags r:id="rId28"/>
            </p:custDataLst>
          </p:nvPr>
        </p:nvSpPr>
        <p:spPr bwMode="auto">
          <a:xfrm>
            <a:off x="8243888" y="2579688"/>
            <a:ext cx="493712" cy="219075"/>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3.2</a:t>
            </a:r>
          </a:p>
        </p:txBody>
      </p:sp>
      <p:sp>
        <p:nvSpPr>
          <p:cNvPr id="10292" name="Oval 6"/>
          <p:cNvSpPr>
            <a:spLocks/>
          </p:cNvSpPr>
          <p:nvPr>
            <p:custDataLst>
              <p:tags r:id="rId29"/>
            </p:custDataLst>
          </p:nvPr>
        </p:nvSpPr>
        <p:spPr bwMode="auto">
          <a:xfrm>
            <a:off x="8243888" y="2884488"/>
            <a:ext cx="493712" cy="220662"/>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3.2</a:t>
            </a:r>
          </a:p>
        </p:txBody>
      </p:sp>
      <p:sp>
        <p:nvSpPr>
          <p:cNvPr id="10293" name="Oval 6"/>
          <p:cNvSpPr>
            <a:spLocks/>
          </p:cNvSpPr>
          <p:nvPr>
            <p:custDataLst>
              <p:tags r:id="rId30"/>
            </p:custDataLst>
          </p:nvPr>
        </p:nvSpPr>
        <p:spPr bwMode="auto">
          <a:xfrm>
            <a:off x="8243888" y="3189288"/>
            <a:ext cx="493712" cy="220662"/>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3.8</a:t>
            </a:r>
          </a:p>
        </p:txBody>
      </p:sp>
      <p:sp>
        <p:nvSpPr>
          <p:cNvPr id="10294" name="Oval 6"/>
          <p:cNvSpPr>
            <a:spLocks/>
          </p:cNvSpPr>
          <p:nvPr>
            <p:custDataLst>
              <p:tags r:id="rId31"/>
            </p:custDataLst>
          </p:nvPr>
        </p:nvSpPr>
        <p:spPr bwMode="auto">
          <a:xfrm>
            <a:off x="8243888" y="3494088"/>
            <a:ext cx="493712" cy="220662"/>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3.0</a:t>
            </a:r>
          </a:p>
        </p:txBody>
      </p:sp>
      <p:sp>
        <p:nvSpPr>
          <p:cNvPr id="10295" name="Oval 6"/>
          <p:cNvSpPr>
            <a:spLocks/>
          </p:cNvSpPr>
          <p:nvPr>
            <p:custDataLst>
              <p:tags r:id="rId32"/>
            </p:custDataLst>
          </p:nvPr>
        </p:nvSpPr>
        <p:spPr bwMode="auto">
          <a:xfrm>
            <a:off x="8243888" y="3798888"/>
            <a:ext cx="493712" cy="220662"/>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4.8</a:t>
            </a:r>
          </a:p>
        </p:txBody>
      </p:sp>
      <p:sp>
        <p:nvSpPr>
          <p:cNvPr id="10296" name="Oval 6"/>
          <p:cNvSpPr>
            <a:spLocks/>
          </p:cNvSpPr>
          <p:nvPr>
            <p:custDataLst>
              <p:tags r:id="rId33"/>
            </p:custDataLst>
          </p:nvPr>
        </p:nvSpPr>
        <p:spPr bwMode="auto">
          <a:xfrm>
            <a:off x="8243888" y="4103688"/>
            <a:ext cx="493712" cy="220662"/>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a:t>
            </a:r>
          </a:p>
        </p:txBody>
      </p:sp>
      <p:sp>
        <p:nvSpPr>
          <p:cNvPr id="10297" name="Oval 6"/>
          <p:cNvSpPr>
            <a:spLocks/>
          </p:cNvSpPr>
          <p:nvPr>
            <p:custDataLst>
              <p:tags r:id="rId34"/>
            </p:custDataLst>
          </p:nvPr>
        </p:nvSpPr>
        <p:spPr bwMode="auto">
          <a:xfrm>
            <a:off x="8243888" y="4408488"/>
            <a:ext cx="493712" cy="220662"/>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2.7</a:t>
            </a:r>
          </a:p>
        </p:txBody>
      </p:sp>
      <p:sp>
        <p:nvSpPr>
          <p:cNvPr id="10298" name="Oval 6"/>
          <p:cNvSpPr>
            <a:spLocks/>
          </p:cNvSpPr>
          <p:nvPr>
            <p:custDataLst>
              <p:tags r:id="rId35"/>
            </p:custDataLst>
          </p:nvPr>
        </p:nvSpPr>
        <p:spPr bwMode="auto">
          <a:xfrm>
            <a:off x="8243888" y="4713288"/>
            <a:ext cx="493712" cy="220662"/>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1.1</a:t>
            </a:r>
          </a:p>
        </p:txBody>
      </p:sp>
      <p:sp>
        <p:nvSpPr>
          <p:cNvPr id="10299" name="Oval 6"/>
          <p:cNvSpPr>
            <a:spLocks/>
          </p:cNvSpPr>
          <p:nvPr>
            <p:custDataLst>
              <p:tags r:id="rId36"/>
            </p:custDataLst>
          </p:nvPr>
        </p:nvSpPr>
        <p:spPr bwMode="auto">
          <a:xfrm>
            <a:off x="8243888" y="5019675"/>
            <a:ext cx="493712" cy="219075"/>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4.1</a:t>
            </a:r>
          </a:p>
        </p:txBody>
      </p:sp>
      <p:sp>
        <p:nvSpPr>
          <p:cNvPr id="10300" name="Oval 6"/>
          <p:cNvSpPr>
            <a:spLocks/>
          </p:cNvSpPr>
          <p:nvPr>
            <p:custDataLst>
              <p:tags r:id="rId37"/>
            </p:custDataLst>
          </p:nvPr>
        </p:nvSpPr>
        <p:spPr bwMode="auto">
          <a:xfrm>
            <a:off x="8243888" y="5324475"/>
            <a:ext cx="493712" cy="219075"/>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2.6</a:t>
            </a:r>
          </a:p>
        </p:txBody>
      </p:sp>
      <p:sp>
        <p:nvSpPr>
          <p:cNvPr id="10301" name="Oval 6"/>
          <p:cNvSpPr>
            <a:spLocks/>
          </p:cNvSpPr>
          <p:nvPr>
            <p:custDataLst>
              <p:tags r:id="rId38"/>
            </p:custDataLst>
          </p:nvPr>
        </p:nvSpPr>
        <p:spPr bwMode="auto">
          <a:xfrm>
            <a:off x="8243888" y="5629275"/>
            <a:ext cx="493712" cy="219075"/>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5.1</a:t>
            </a:r>
          </a:p>
        </p:txBody>
      </p:sp>
      <p:sp>
        <p:nvSpPr>
          <p:cNvPr id="10302" name="Oval 6"/>
          <p:cNvSpPr>
            <a:spLocks/>
          </p:cNvSpPr>
          <p:nvPr>
            <p:custDataLst>
              <p:tags r:id="rId39"/>
            </p:custDataLst>
          </p:nvPr>
        </p:nvSpPr>
        <p:spPr bwMode="auto">
          <a:xfrm>
            <a:off x="8243888" y="5934075"/>
            <a:ext cx="493712" cy="219075"/>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400">
                <a:solidFill>
                  <a:schemeClr val="bg1"/>
                </a:solidFill>
              </a:rPr>
              <a:t>2.7</a:t>
            </a:r>
          </a:p>
        </p:txBody>
      </p:sp>
      <p:sp>
        <p:nvSpPr>
          <p:cNvPr id="28" name="ACET">
            <a:extLst>
              <a:ext uri="{FF2B5EF4-FFF2-40B4-BE49-F238E27FC236}"/>
            </a:extLst>
          </p:cNvPr>
          <p:cNvSpPr>
            <a:spLocks noChangeArrowheads="1"/>
          </p:cNvSpPr>
          <p:nvPr/>
        </p:nvSpPr>
        <p:spPr bwMode="gray">
          <a:xfrm>
            <a:off x="119063" y="1311275"/>
            <a:ext cx="3787775" cy="233363"/>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US" sz="1400" dirty="0">
                <a:solidFill>
                  <a:schemeClr val="accent6"/>
                </a:solidFill>
                <a:latin typeface="+mn-lt"/>
                <a:cs typeface="+mn-cs"/>
              </a:rPr>
              <a:t>No of deaths (under age 5) per 1000 live births</a:t>
            </a:r>
          </a:p>
        </p:txBody>
      </p:sp>
      <p:sp>
        <p:nvSpPr>
          <p:cNvPr id="45" name="ACET">
            <a:extLst>
              <a:ext uri="{FF2B5EF4-FFF2-40B4-BE49-F238E27FC236}"/>
            </a:extLst>
          </p:cNvPr>
          <p:cNvSpPr>
            <a:spLocks noChangeArrowheads="1"/>
          </p:cNvSpPr>
          <p:nvPr/>
        </p:nvSpPr>
        <p:spPr bwMode="gray">
          <a:xfrm>
            <a:off x="4108450" y="1311275"/>
            <a:ext cx="4629150" cy="233363"/>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US" sz="1400" dirty="0">
                <a:solidFill>
                  <a:schemeClr val="accent6"/>
                </a:solidFill>
                <a:latin typeface="+mn-lt"/>
                <a:cs typeface="+mn-cs"/>
              </a:rPr>
              <a:t>No of deaths per 1000 live births</a:t>
            </a:r>
          </a:p>
        </p:txBody>
      </p:sp>
      <p:sp>
        <p:nvSpPr>
          <p:cNvPr id="81" name="4. Footnote">
            <a:extLst>
              <a:ext uri="{FF2B5EF4-FFF2-40B4-BE49-F238E27FC236}"/>
            </a:extLst>
          </p:cNvPr>
          <p:cNvSpPr txBox="1">
            <a:spLocks noChangeArrowheads="1"/>
          </p:cNvSpPr>
          <p:nvPr/>
        </p:nvSpPr>
        <p:spPr bwMode="gray">
          <a:xfrm>
            <a:off x="119063" y="6305550"/>
            <a:ext cx="8618537"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chemeClr val="accent6"/>
                </a:solidFill>
                <a:latin typeface="+mn-lt"/>
                <a:cs typeface="+mn-cs"/>
              </a:rPr>
              <a:t>1 Yearly rank out of 191 countries                                                    </a:t>
            </a:r>
          </a:p>
        </p:txBody>
      </p:sp>
      <p:grpSp>
        <p:nvGrpSpPr>
          <p:cNvPr id="10306" name="Group 2"/>
          <p:cNvGrpSpPr>
            <a:grpSpLocks/>
          </p:cNvGrpSpPr>
          <p:nvPr/>
        </p:nvGrpSpPr>
        <p:grpSpPr bwMode="auto">
          <a:xfrm>
            <a:off x="6991350" y="538163"/>
            <a:ext cx="1746250" cy="307975"/>
            <a:chOff x="6990916" y="616856"/>
            <a:chExt cx="1746684" cy="307777"/>
          </a:xfrm>
        </p:grpSpPr>
        <p:sp>
          <p:nvSpPr>
            <p:cNvPr id="10325" name="TextBox 165"/>
            <p:cNvSpPr txBox="1">
              <a:spLocks noChangeArrowheads="1"/>
            </p:cNvSpPr>
            <p:nvPr/>
          </p:nvSpPr>
          <p:spPr bwMode="auto">
            <a:xfrm>
              <a:off x="7397816" y="616856"/>
              <a:ext cx="1339784" cy="307777"/>
            </a:xfrm>
            <a:prstGeom prst="rect">
              <a:avLst/>
            </a:prstGeom>
            <a:noFill/>
            <a:ln w="9525">
              <a:noFill/>
              <a:miter lim="800000"/>
              <a:headEnd/>
              <a:tailEnd/>
            </a:ln>
          </p:spPr>
          <p:txBody>
            <a:bodyPr lIns="0" tIns="0" rIns="0" bIns="0">
              <a:spAutoFit/>
            </a:bodyPr>
            <a:lstStyle/>
            <a:p>
              <a:pPr defTabSz="895350">
                <a:buClr>
                  <a:schemeClr val="tx2"/>
                </a:buClr>
                <a:buSzPct val="100000"/>
              </a:pPr>
              <a:r>
                <a:rPr lang="en-US" sz="1000"/>
                <a:t>Annual rate of </a:t>
              </a:r>
              <a:br>
                <a:rPr lang="en-US" sz="1000"/>
              </a:br>
              <a:r>
                <a:rPr lang="en-US" sz="1000"/>
                <a:t>reduction 1990-2016 %</a:t>
              </a:r>
              <a:endParaRPr lang="en-ZA" sz="1000"/>
            </a:p>
          </p:txBody>
        </p:sp>
        <p:sp>
          <p:nvSpPr>
            <p:cNvPr id="10326" name="Oval 6"/>
            <p:cNvSpPr>
              <a:spLocks noChangeArrowheads="1"/>
            </p:cNvSpPr>
            <p:nvPr>
              <p:custDataLst>
                <p:tags r:id="rId41"/>
              </p:custDataLst>
            </p:nvPr>
          </p:nvSpPr>
          <p:spPr bwMode="auto">
            <a:xfrm>
              <a:off x="6990916" y="671338"/>
              <a:ext cx="346304" cy="198813"/>
            </a:xfrm>
            <a:prstGeom prst="ellipse">
              <a:avLst/>
            </a:prstGeom>
            <a:solidFill>
              <a:schemeClr val="accent2"/>
            </a:solidFill>
            <a:ln w="9525">
              <a:noFill/>
              <a:round/>
              <a:headEnd/>
              <a:tailEnd/>
            </a:ln>
          </p:spPr>
          <p:txBody>
            <a:bodyPr lIns="3810" tIns="0" rIns="3810" bIns="0" anchor="ctr" anchorCtr="1"/>
            <a:lstStyle/>
            <a:p>
              <a:pPr algn="ctr" defTabSz="895350">
                <a:buClr>
                  <a:schemeClr val="tx2"/>
                </a:buClr>
                <a:buSzPct val="100000"/>
              </a:pPr>
              <a:r>
                <a:rPr lang="en-ZA" sz="1000">
                  <a:solidFill>
                    <a:schemeClr val="bg1"/>
                  </a:solidFill>
                </a:rPr>
                <a:t>xx</a:t>
              </a:r>
            </a:p>
          </p:txBody>
        </p:sp>
      </p:grpSp>
      <p:sp>
        <p:nvSpPr>
          <p:cNvPr id="93" name="ACET">
            <a:extLst>
              <a:ext uri="{FF2B5EF4-FFF2-40B4-BE49-F238E27FC236}"/>
            </a:extLst>
          </p:cNvPr>
          <p:cNvSpPr>
            <a:spLocks noChangeArrowheads="1"/>
          </p:cNvSpPr>
          <p:nvPr/>
        </p:nvSpPr>
        <p:spPr bwMode="gray">
          <a:xfrm>
            <a:off x="119063" y="998538"/>
            <a:ext cx="3787775" cy="23336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lstStyle/>
          <a:p>
            <a:pPr>
              <a:defRPr/>
            </a:pPr>
            <a:r>
              <a:rPr lang="en-US" sz="1400" b="1" dirty="0">
                <a:solidFill>
                  <a:schemeClr val="tx2"/>
                </a:solidFill>
                <a:latin typeface="+mn-lt"/>
                <a:cs typeface="+mn-cs"/>
              </a:rPr>
              <a:t>Under 5 mortality rate comparison </a:t>
            </a:r>
          </a:p>
        </p:txBody>
      </p:sp>
      <p:sp>
        <p:nvSpPr>
          <p:cNvPr id="96" name="ACET">
            <a:extLst>
              <a:ext uri="{FF2B5EF4-FFF2-40B4-BE49-F238E27FC236}"/>
            </a:extLst>
          </p:cNvPr>
          <p:cNvSpPr>
            <a:spLocks noChangeArrowheads="1"/>
          </p:cNvSpPr>
          <p:nvPr/>
        </p:nvSpPr>
        <p:spPr bwMode="gray">
          <a:xfrm>
            <a:off x="4108450" y="998538"/>
            <a:ext cx="4629150" cy="23336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lstStyle/>
          <a:p>
            <a:pPr>
              <a:defRPr/>
            </a:pPr>
            <a:r>
              <a:rPr lang="en-US" sz="1400" b="1" dirty="0">
                <a:solidFill>
                  <a:schemeClr val="tx2"/>
                </a:solidFill>
                <a:latin typeface="+mn-lt"/>
                <a:cs typeface="+mn-cs"/>
              </a:rPr>
              <a:t>Under 5 mortality rate 2016</a:t>
            </a:r>
          </a:p>
        </p:txBody>
      </p:sp>
      <p:cxnSp>
        <p:nvCxnSpPr>
          <p:cNvPr id="170" name="Straight Connector 169">
            <a:extLst>
              <a:ext uri="{FF2B5EF4-FFF2-40B4-BE49-F238E27FC236}"/>
            </a:extLst>
          </p:cNvPr>
          <p:cNvCxnSpPr/>
          <p:nvPr/>
        </p:nvCxnSpPr>
        <p:spPr>
          <a:xfrm>
            <a:off x="4108450" y="1927225"/>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extLst>
          </p:cNvPr>
          <p:cNvCxnSpPr/>
          <p:nvPr/>
        </p:nvCxnSpPr>
        <p:spPr>
          <a:xfrm>
            <a:off x="4108450" y="2232025"/>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extLst>
          </p:cNvPr>
          <p:cNvCxnSpPr/>
          <p:nvPr/>
        </p:nvCxnSpPr>
        <p:spPr>
          <a:xfrm>
            <a:off x="4108450" y="2536825"/>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extLst>
          </p:cNvPr>
          <p:cNvCxnSpPr/>
          <p:nvPr/>
        </p:nvCxnSpPr>
        <p:spPr>
          <a:xfrm>
            <a:off x="4108450" y="2841625"/>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extLst>
          </p:cNvPr>
          <p:cNvCxnSpPr/>
          <p:nvPr/>
        </p:nvCxnSpPr>
        <p:spPr>
          <a:xfrm>
            <a:off x="4108450" y="3146425"/>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extLst>
          </p:cNvPr>
          <p:cNvCxnSpPr/>
          <p:nvPr/>
        </p:nvCxnSpPr>
        <p:spPr>
          <a:xfrm>
            <a:off x="4108450" y="3451225"/>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extLst>
          </p:cNvPr>
          <p:cNvCxnSpPr/>
          <p:nvPr/>
        </p:nvCxnSpPr>
        <p:spPr>
          <a:xfrm>
            <a:off x="4108450" y="3756025"/>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extLst>
          </p:cNvPr>
          <p:cNvCxnSpPr/>
          <p:nvPr/>
        </p:nvCxnSpPr>
        <p:spPr>
          <a:xfrm>
            <a:off x="4108450" y="4062413"/>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extLst>
          </p:cNvPr>
          <p:cNvCxnSpPr/>
          <p:nvPr/>
        </p:nvCxnSpPr>
        <p:spPr>
          <a:xfrm>
            <a:off x="4108450" y="4367213"/>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extLst>
          </p:cNvPr>
          <p:cNvCxnSpPr/>
          <p:nvPr/>
        </p:nvCxnSpPr>
        <p:spPr>
          <a:xfrm>
            <a:off x="4108450" y="4672013"/>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extLst>
          </p:cNvPr>
          <p:cNvCxnSpPr/>
          <p:nvPr/>
        </p:nvCxnSpPr>
        <p:spPr>
          <a:xfrm>
            <a:off x="4108450" y="4976813"/>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extLst>
          </p:cNvPr>
          <p:cNvCxnSpPr/>
          <p:nvPr/>
        </p:nvCxnSpPr>
        <p:spPr>
          <a:xfrm>
            <a:off x="4108450" y="5281613"/>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extLst>
          </p:cNvPr>
          <p:cNvCxnSpPr/>
          <p:nvPr/>
        </p:nvCxnSpPr>
        <p:spPr>
          <a:xfrm>
            <a:off x="4108450" y="5586413"/>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extLst>
          </p:cNvPr>
          <p:cNvCxnSpPr/>
          <p:nvPr/>
        </p:nvCxnSpPr>
        <p:spPr>
          <a:xfrm>
            <a:off x="4108450" y="5891213"/>
            <a:ext cx="462915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5" name="Marvintitletrackercircle">
            <a:extLst>
              <a:ext uri="{FF2B5EF4-FFF2-40B4-BE49-F238E27FC236}"/>
            </a:extLst>
          </p:cNvPr>
          <p:cNvSpPr/>
          <p:nvPr>
            <p:custDataLst>
              <p:tags r:id="rId40"/>
            </p:custDataLst>
          </p:nvPr>
        </p:nvSpPr>
        <p:spPr>
          <a:xfrm>
            <a:off x="106363" y="217488"/>
            <a:ext cx="330200" cy="330200"/>
          </a:xfrm>
          <a:prstGeom prst="ellipse">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ZA" sz="2000" b="1" dirty="0">
                <a:solidFill>
                  <a:schemeClr val="tx2"/>
                </a:solidFill>
                <a:latin typeface="+mj-lt"/>
              </a:rPr>
              <a:t>1</a:t>
            </a:r>
          </a:p>
        </p:txBody>
      </p:sp>
      <p:sp>
        <p:nvSpPr>
          <p:cNvPr id="95" name="1. On-page tracker">
            <a:extLst>
              <a:ext uri="{FF2B5EF4-FFF2-40B4-BE49-F238E27FC236}"/>
            </a:extLst>
          </p:cNvPr>
          <p:cNvSpPr>
            <a:spLocks noChangeArrowheads="1"/>
          </p:cNvSpPr>
          <p:nvPr/>
        </p:nvSpPr>
        <p:spPr bwMode="gray">
          <a:xfrm>
            <a:off x="119063" y="76200"/>
            <a:ext cx="1546225"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UNDER-FIVE MORTALITY RAT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142"/>
          <p:cNvGraphicFramePr>
            <a:graphicFrameLocks noChangeAspect="1"/>
          </p:cNvGraphicFramePr>
          <p:nvPr/>
        </p:nvGraphicFramePr>
        <p:xfrm>
          <a:off x="1588" y="1588"/>
          <a:ext cx="1587" cy="1587"/>
        </p:xfrm>
        <a:graphic>
          <a:graphicData uri="http://schemas.openxmlformats.org/presentationml/2006/ole">
            <p:oleObj spid="_x0000_s11266" name="think-cell Slide" r:id="rId30" imgW="360" imgH="360" progId="">
              <p:embed/>
            </p:oleObj>
          </a:graphicData>
        </a:graphic>
      </p:graphicFrame>
      <p:sp>
        <p:nvSpPr>
          <p:cNvPr id="4" name="Rectangle 3"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ZA" dirty="0">
              <a:solidFill>
                <a:schemeClr val="tx1"/>
              </a:solidFill>
              <a:sym typeface="Arial" panose="020B0604020202020204" pitchFamily="34" charset="0"/>
            </a:endParaRPr>
          </a:p>
        </p:txBody>
      </p:sp>
      <p:grpSp>
        <p:nvGrpSpPr>
          <p:cNvPr id="11268" name="Group 37"/>
          <p:cNvGrpSpPr>
            <a:grpSpLocks/>
          </p:cNvGrpSpPr>
          <p:nvPr/>
        </p:nvGrpSpPr>
        <p:grpSpPr bwMode="auto">
          <a:xfrm>
            <a:off x="0" y="1179513"/>
            <a:ext cx="8961438" cy="479425"/>
            <a:chOff x="-1" y="1203325"/>
            <a:chExt cx="8961439" cy="479426"/>
          </a:xfrm>
        </p:grpSpPr>
        <p:sp>
          <p:nvSpPr>
            <p:cNvPr id="39" name="Rectangle 38">
              <a:extLst>
                <a:ext uri="{FF2B5EF4-FFF2-40B4-BE49-F238E27FC236}"/>
              </a:extLst>
            </p:cNvPr>
            <p:cNvSpPr>
              <a:spLocks/>
            </p:cNvSpPr>
            <p:nvPr/>
          </p:nvSpPr>
          <p:spPr>
            <a:xfrm>
              <a:off x="-1" y="1211262"/>
              <a:ext cx="8961439" cy="471489"/>
            </a:xfrm>
            <a:prstGeom prst="rect">
              <a:avLst/>
            </a:prstGeom>
            <a:gradFill flip="none" rotWithShape="1">
              <a:gsLst>
                <a:gs pos="0">
                  <a:schemeClr val="accent6">
                    <a:lumMod val="20000"/>
                    <a:lumOff val="80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cxnSp>
          <p:nvCxnSpPr>
            <p:cNvPr id="40" name="Straight Connector 39">
              <a:extLst>
                <a:ext uri="{FF2B5EF4-FFF2-40B4-BE49-F238E27FC236}"/>
              </a:extLst>
            </p:cNvPr>
            <p:cNvCxnSpPr/>
            <p:nvPr/>
          </p:nvCxnSpPr>
          <p:spPr bwMode="gray">
            <a:xfrm>
              <a:off x="-1" y="1203325"/>
              <a:ext cx="8961439"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1269" name="Title 1"/>
          <p:cNvSpPr>
            <a:spLocks noGrp="1"/>
          </p:cNvSpPr>
          <p:nvPr>
            <p:ph type="title"/>
          </p:nvPr>
        </p:nvSpPr>
        <p:spPr>
          <a:xfrm>
            <a:off x="119063" y="230188"/>
            <a:ext cx="8618537" cy="615950"/>
          </a:xfrm>
        </p:spPr>
        <p:txBody>
          <a:bodyPr/>
          <a:lstStyle/>
          <a:p>
            <a:pPr marL="357188"/>
            <a:r>
              <a:rPr lang="en-US" smtClean="0"/>
              <a:t>Adult mortality: this is highest among the older population and is higher among women than men until after child bearing age</a:t>
            </a:r>
            <a:endParaRPr lang="en-ZA" smtClean="0"/>
          </a:p>
        </p:txBody>
      </p:sp>
      <p:sp>
        <p:nvSpPr>
          <p:cNvPr id="63"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USAID National Demographic Health Survey (2013)</a:t>
            </a:r>
          </a:p>
        </p:txBody>
      </p:sp>
      <p:graphicFrame>
        <p:nvGraphicFramePr>
          <p:cNvPr id="11271" name="Chart 43"/>
          <p:cNvGraphicFramePr>
            <a:graphicFrameLocks/>
          </p:cNvGraphicFramePr>
          <p:nvPr/>
        </p:nvGraphicFramePr>
        <p:xfrm>
          <a:off x="415925" y="1287463"/>
          <a:ext cx="5338763" cy="4772025"/>
        </p:xfrm>
        <a:graphic>
          <a:graphicData uri="http://schemas.openxmlformats.org/presentationml/2006/ole">
            <p:oleObj spid="_x0000_s11271" r:id="rId31" imgW="5340559" imgH="4773582" progId="Excel.Sheet.8">
              <p:embed/>
            </p:oleObj>
          </a:graphicData>
        </a:graphic>
      </p:graphicFrame>
      <p:sp>
        <p:nvSpPr>
          <p:cNvPr id="11272" name="Text Placeholder 2"/>
          <p:cNvSpPr>
            <a:spLocks noGrp="1"/>
          </p:cNvSpPr>
          <p:nvPr>
            <p:custDataLst>
              <p:tags r:id="rId3"/>
            </p:custDataLst>
          </p:nvPr>
        </p:nvSpPr>
        <p:spPr bwMode="gray">
          <a:xfrm>
            <a:off x="249238" y="5873750"/>
            <a:ext cx="112712"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7C26B6D7-6663-4B21-A908-01772DF62BDD}" type="datetime'''''0'''''''''''''''''''''''''''''''''''''''">
              <a:rPr lang="en-ZA" altLang="en-US">
                <a:sym typeface="+mn-lt"/>
              </a:rPr>
              <a:pPr algn="r" defTabSz="895350">
                <a:lnSpc>
                  <a:spcPct val="90000"/>
                </a:lnSpc>
                <a:buClr>
                  <a:schemeClr val="tx2"/>
                </a:buClr>
                <a:buSzPct val="100000"/>
              </a:pPr>
              <a:t>0</a:t>
            </a:fld>
            <a:endParaRPr lang="en-ZA">
              <a:sym typeface="+mn-lt"/>
            </a:endParaRPr>
          </a:p>
        </p:txBody>
      </p:sp>
      <p:sp>
        <p:nvSpPr>
          <p:cNvPr id="11273" name="Text Placeholder 2"/>
          <p:cNvSpPr>
            <a:spLocks noGrp="1"/>
          </p:cNvSpPr>
          <p:nvPr>
            <p:custDataLst>
              <p:tags r:id="rId4"/>
            </p:custDataLst>
          </p:nvPr>
        </p:nvSpPr>
        <p:spPr bwMode="gray">
          <a:xfrm>
            <a:off x="79375" y="4102100"/>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8097706E-95AB-4617-8BF7-042AD2235CB8}" type="datetime'''''''''''''''''''''''''''2''''''''''''''''''''.''5'''''''">
              <a:rPr lang="en-ZA" altLang="en-US">
                <a:sym typeface="+mn-lt"/>
              </a:rPr>
              <a:pPr algn="r" defTabSz="895350">
                <a:lnSpc>
                  <a:spcPct val="90000"/>
                </a:lnSpc>
                <a:buClr>
                  <a:schemeClr val="tx2"/>
                </a:buClr>
                <a:buSzPct val="100000"/>
              </a:pPr>
              <a:t>2.5</a:t>
            </a:fld>
            <a:endParaRPr lang="en-ZA">
              <a:sym typeface="+mn-lt"/>
            </a:endParaRPr>
          </a:p>
        </p:txBody>
      </p:sp>
      <p:sp>
        <p:nvSpPr>
          <p:cNvPr id="11274" name="Text Placeholder 2"/>
          <p:cNvSpPr>
            <a:spLocks noGrp="1"/>
          </p:cNvSpPr>
          <p:nvPr>
            <p:custDataLst>
              <p:tags r:id="rId5"/>
            </p:custDataLst>
          </p:nvPr>
        </p:nvSpPr>
        <p:spPr bwMode="gray">
          <a:xfrm>
            <a:off x="79375" y="2330450"/>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EB2762F3-15F0-4712-BA45-B6562821BB58}" type="datetime'''''''''''''''''''5.''''''''''0'''''''''''''''">
              <a:rPr lang="en-ZA" altLang="en-US">
                <a:sym typeface="+mn-lt"/>
              </a:rPr>
              <a:pPr algn="r" defTabSz="895350">
                <a:lnSpc>
                  <a:spcPct val="90000"/>
                </a:lnSpc>
                <a:buClr>
                  <a:schemeClr val="tx2"/>
                </a:buClr>
                <a:buSzPct val="100000"/>
              </a:pPr>
              <a:t>5.0</a:t>
            </a:fld>
            <a:endParaRPr lang="en-ZA">
              <a:sym typeface="+mn-lt"/>
            </a:endParaRPr>
          </a:p>
        </p:txBody>
      </p:sp>
      <p:sp>
        <p:nvSpPr>
          <p:cNvPr id="11275" name="Text Placeholder 2"/>
          <p:cNvSpPr>
            <a:spLocks noGrp="1"/>
          </p:cNvSpPr>
          <p:nvPr>
            <p:custDataLst>
              <p:tags r:id="rId6"/>
            </p:custDataLst>
          </p:nvPr>
        </p:nvSpPr>
        <p:spPr bwMode="gray">
          <a:xfrm>
            <a:off x="79375" y="4810125"/>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EEC4DDE0-C5C1-495C-9076-B9FC704F5522}" type="datetime'1''''''''''''''''.''''5'''''''''''''''''">
              <a:rPr lang="en-ZA" altLang="en-US">
                <a:sym typeface="+mn-lt"/>
              </a:rPr>
              <a:pPr algn="r" defTabSz="895350">
                <a:lnSpc>
                  <a:spcPct val="90000"/>
                </a:lnSpc>
                <a:buClr>
                  <a:schemeClr val="tx2"/>
                </a:buClr>
                <a:buSzPct val="100000"/>
              </a:pPr>
              <a:t>1.5</a:t>
            </a:fld>
            <a:endParaRPr lang="en-ZA">
              <a:sym typeface="+mn-lt"/>
            </a:endParaRPr>
          </a:p>
        </p:txBody>
      </p:sp>
      <p:sp>
        <p:nvSpPr>
          <p:cNvPr id="11276" name="Text Placeholder 2"/>
          <p:cNvSpPr>
            <a:spLocks noGrp="1"/>
          </p:cNvSpPr>
          <p:nvPr>
            <p:custDataLst>
              <p:tags r:id="rId7"/>
            </p:custDataLst>
          </p:nvPr>
        </p:nvSpPr>
        <p:spPr bwMode="gray">
          <a:xfrm>
            <a:off x="79375" y="5519738"/>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9CC1E89E-87EE-4B6B-8E00-D6BD40F38E5F}" type="datetime'''''''''''''0''.''5'''''''''''''''''''''''''''''''''''">
              <a:rPr lang="en-ZA" altLang="en-US">
                <a:sym typeface="+mn-lt"/>
              </a:rPr>
              <a:pPr algn="r" defTabSz="895350">
                <a:lnSpc>
                  <a:spcPct val="90000"/>
                </a:lnSpc>
                <a:buClr>
                  <a:schemeClr val="tx2"/>
                </a:buClr>
                <a:buSzPct val="100000"/>
              </a:pPr>
              <a:t>0.5</a:t>
            </a:fld>
            <a:endParaRPr lang="en-ZA">
              <a:sym typeface="+mn-lt"/>
            </a:endParaRPr>
          </a:p>
        </p:txBody>
      </p:sp>
      <p:sp>
        <p:nvSpPr>
          <p:cNvPr id="11277" name="Text Placeholder 2"/>
          <p:cNvSpPr>
            <a:spLocks noGrp="1"/>
          </p:cNvSpPr>
          <p:nvPr>
            <p:custDataLst>
              <p:tags r:id="rId8"/>
            </p:custDataLst>
          </p:nvPr>
        </p:nvSpPr>
        <p:spPr bwMode="gray">
          <a:xfrm>
            <a:off x="79375" y="5165725"/>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E9C79B3F-9FA8-46DF-9121-DDC26920C688}" type="datetime'''''''''''''''''''''1''.''''''0'''''">
              <a:rPr lang="en-ZA" altLang="en-US">
                <a:sym typeface="+mn-lt"/>
              </a:rPr>
              <a:pPr algn="r" defTabSz="895350">
                <a:lnSpc>
                  <a:spcPct val="90000"/>
                </a:lnSpc>
                <a:buClr>
                  <a:schemeClr val="tx2"/>
                </a:buClr>
                <a:buSzPct val="100000"/>
              </a:pPr>
              <a:t>1.0</a:t>
            </a:fld>
            <a:endParaRPr lang="en-ZA">
              <a:sym typeface="+mn-lt"/>
            </a:endParaRPr>
          </a:p>
        </p:txBody>
      </p:sp>
      <p:sp>
        <p:nvSpPr>
          <p:cNvPr id="11278" name="Text Placeholder 2"/>
          <p:cNvSpPr>
            <a:spLocks noGrp="1"/>
          </p:cNvSpPr>
          <p:nvPr>
            <p:custDataLst>
              <p:tags r:id="rId9"/>
            </p:custDataLst>
          </p:nvPr>
        </p:nvSpPr>
        <p:spPr bwMode="gray">
          <a:xfrm>
            <a:off x="79375" y="4456113"/>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700405A3-8A97-4A90-A74D-C0AE317DE938}" type="datetime'''''''''''''''''''''''''''''''2''''''''''.0'">
              <a:rPr lang="en-ZA" altLang="en-US">
                <a:sym typeface="+mn-lt"/>
              </a:rPr>
              <a:pPr algn="r" defTabSz="895350">
                <a:lnSpc>
                  <a:spcPct val="90000"/>
                </a:lnSpc>
                <a:buClr>
                  <a:schemeClr val="tx2"/>
                </a:buClr>
                <a:buSzPct val="100000"/>
              </a:pPr>
              <a:t>2.0</a:t>
            </a:fld>
            <a:endParaRPr lang="en-ZA">
              <a:sym typeface="+mn-lt"/>
            </a:endParaRPr>
          </a:p>
        </p:txBody>
      </p:sp>
      <p:sp>
        <p:nvSpPr>
          <p:cNvPr id="11279" name="Text Placeholder 2"/>
          <p:cNvSpPr>
            <a:spLocks noGrp="1"/>
          </p:cNvSpPr>
          <p:nvPr>
            <p:custDataLst>
              <p:tags r:id="rId10"/>
            </p:custDataLst>
          </p:nvPr>
        </p:nvSpPr>
        <p:spPr bwMode="gray">
          <a:xfrm>
            <a:off x="79375" y="3748088"/>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F62CCCE7-4934-46D7-B9D3-2B29EE1B156A}" type="datetime'''3''''''''''''''''''''''''''''''''.''''0'''''''''''''''">
              <a:rPr lang="en-ZA" altLang="en-US">
                <a:sym typeface="+mn-lt"/>
              </a:rPr>
              <a:pPr algn="r" defTabSz="895350">
                <a:lnSpc>
                  <a:spcPct val="90000"/>
                </a:lnSpc>
                <a:buClr>
                  <a:schemeClr val="tx2"/>
                </a:buClr>
                <a:buSzPct val="100000"/>
              </a:pPr>
              <a:t>3.0</a:t>
            </a:fld>
            <a:endParaRPr lang="en-ZA">
              <a:sym typeface="+mn-lt"/>
            </a:endParaRPr>
          </a:p>
        </p:txBody>
      </p:sp>
      <p:sp>
        <p:nvSpPr>
          <p:cNvPr id="11280" name="Text Placeholder 2"/>
          <p:cNvSpPr>
            <a:spLocks noGrp="1"/>
          </p:cNvSpPr>
          <p:nvPr>
            <p:custDataLst>
              <p:tags r:id="rId11"/>
            </p:custDataLst>
          </p:nvPr>
        </p:nvSpPr>
        <p:spPr bwMode="gray">
          <a:xfrm>
            <a:off x="79375" y="3392488"/>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E88CBC09-D198-4A34-AD64-22B9C476D886}" type="datetime'''''''''3''.''''''5'''''''''''''''''">
              <a:rPr lang="en-ZA" altLang="en-US">
                <a:sym typeface="+mn-lt"/>
              </a:rPr>
              <a:pPr algn="r" defTabSz="895350">
                <a:lnSpc>
                  <a:spcPct val="90000"/>
                </a:lnSpc>
                <a:buClr>
                  <a:schemeClr val="tx2"/>
                </a:buClr>
                <a:buSzPct val="100000"/>
              </a:pPr>
              <a:t>3.5</a:t>
            </a:fld>
            <a:endParaRPr lang="en-ZA">
              <a:sym typeface="+mn-lt"/>
            </a:endParaRPr>
          </a:p>
        </p:txBody>
      </p:sp>
      <p:sp>
        <p:nvSpPr>
          <p:cNvPr id="11281" name="Text Placeholder 2"/>
          <p:cNvSpPr>
            <a:spLocks noGrp="1"/>
          </p:cNvSpPr>
          <p:nvPr>
            <p:custDataLst>
              <p:tags r:id="rId12"/>
            </p:custDataLst>
          </p:nvPr>
        </p:nvSpPr>
        <p:spPr bwMode="gray">
          <a:xfrm>
            <a:off x="79375" y="3038475"/>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A89FE74D-C93D-4CA2-AC06-98F916DAAD1C}" type="datetime'''''''''''''''''''''''4''''''''''''''''''''''.''''0'''''''''">
              <a:rPr lang="en-ZA" altLang="en-US">
                <a:sym typeface="+mn-lt"/>
              </a:rPr>
              <a:pPr algn="r" defTabSz="895350">
                <a:lnSpc>
                  <a:spcPct val="90000"/>
                </a:lnSpc>
                <a:buClr>
                  <a:schemeClr val="tx2"/>
                </a:buClr>
                <a:buSzPct val="100000"/>
              </a:pPr>
              <a:t>4.0</a:t>
            </a:fld>
            <a:endParaRPr lang="en-ZA">
              <a:sym typeface="+mn-lt"/>
            </a:endParaRPr>
          </a:p>
        </p:txBody>
      </p:sp>
      <p:sp>
        <p:nvSpPr>
          <p:cNvPr id="11282" name="Text Placeholder 2"/>
          <p:cNvSpPr>
            <a:spLocks noGrp="1"/>
          </p:cNvSpPr>
          <p:nvPr>
            <p:custDataLst>
              <p:tags r:id="rId13"/>
            </p:custDataLst>
          </p:nvPr>
        </p:nvSpPr>
        <p:spPr bwMode="gray">
          <a:xfrm>
            <a:off x="79375" y="2684463"/>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14AEE818-1F74-4E53-BFFA-62AD43C9FFA5}" type="datetime'''''''''''''''''''4''''''''''''''''.''''''5'''''''''''''''''''">
              <a:rPr lang="en-ZA" altLang="en-US">
                <a:sym typeface="+mn-lt"/>
              </a:rPr>
              <a:pPr algn="r" defTabSz="895350">
                <a:lnSpc>
                  <a:spcPct val="90000"/>
                </a:lnSpc>
                <a:buClr>
                  <a:schemeClr val="tx2"/>
                </a:buClr>
                <a:buSzPct val="100000"/>
              </a:pPr>
              <a:t>4.5</a:t>
            </a:fld>
            <a:endParaRPr lang="en-ZA">
              <a:sym typeface="+mn-lt"/>
            </a:endParaRPr>
          </a:p>
        </p:txBody>
      </p:sp>
      <p:sp>
        <p:nvSpPr>
          <p:cNvPr id="11283" name="Text Placeholder 2"/>
          <p:cNvSpPr>
            <a:spLocks noGrp="1"/>
          </p:cNvSpPr>
          <p:nvPr>
            <p:custDataLst>
              <p:tags r:id="rId14"/>
            </p:custDataLst>
          </p:nvPr>
        </p:nvSpPr>
        <p:spPr bwMode="gray">
          <a:xfrm>
            <a:off x="79375" y="1974850"/>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E80966DC-5134-43EE-8B87-FAB15EC8218E}" type="datetime'''''''''''''''''''''5''''''.''''''''''''''5'''''''''''''">
              <a:rPr lang="en-ZA" altLang="en-US">
                <a:sym typeface="+mn-lt"/>
              </a:rPr>
              <a:pPr algn="r" defTabSz="895350">
                <a:lnSpc>
                  <a:spcPct val="90000"/>
                </a:lnSpc>
                <a:buClr>
                  <a:schemeClr val="tx2"/>
                </a:buClr>
                <a:buSzPct val="100000"/>
              </a:pPr>
              <a:t>5.5</a:t>
            </a:fld>
            <a:endParaRPr lang="en-ZA">
              <a:sym typeface="+mn-lt"/>
            </a:endParaRPr>
          </a:p>
        </p:txBody>
      </p:sp>
      <p:sp>
        <p:nvSpPr>
          <p:cNvPr id="11284" name="Text Placeholder 2"/>
          <p:cNvSpPr>
            <a:spLocks noGrp="1"/>
          </p:cNvSpPr>
          <p:nvPr>
            <p:custDataLst>
              <p:tags r:id="rId15"/>
            </p:custDataLst>
          </p:nvPr>
        </p:nvSpPr>
        <p:spPr bwMode="gray">
          <a:xfrm>
            <a:off x="79375" y="1620838"/>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3EEF029E-492B-411D-A0C6-65D2BF09BEA1}" type="datetime'''''''6''''''''''''.''''''''''''''''''''''''''''''''0'">
              <a:rPr lang="en-ZA" altLang="en-US">
                <a:sym typeface="+mn-lt"/>
              </a:rPr>
              <a:pPr algn="r" defTabSz="895350">
                <a:lnSpc>
                  <a:spcPct val="90000"/>
                </a:lnSpc>
                <a:buClr>
                  <a:schemeClr val="tx2"/>
                </a:buClr>
                <a:buSzPct val="100000"/>
              </a:pPr>
              <a:t>6.0</a:t>
            </a:fld>
            <a:endParaRPr lang="en-ZA">
              <a:sym typeface="+mn-lt"/>
            </a:endParaRPr>
          </a:p>
        </p:txBody>
      </p:sp>
      <p:sp>
        <p:nvSpPr>
          <p:cNvPr id="11285" name="Text Placeholder 2"/>
          <p:cNvSpPr>
            <a:spLocks noGrp="1"/>
          </p:cNvSpPr>
          <p:nvPr>
            <p:custDataLst>
              <p:tags r:id="rId16"/>
            </p:custDataLst>
          </p:nvPr>
        </p:nvSpPr>
        <p:spPr bwMode="gray">
          <a:xfrm>
            <a:off x="79375" y="1266825"/>
            <a:ext cx="282575" cy="219075"/>
          </a:xfrm>
          <a:prstGeom prst="rect">
            <a:avLst/>
          </a:prstGeom>
          <a:noFill/>
          <a:ln w="9525">
            <a:noFill/>
            <a:miter lim="800000"/>
            <a:headEnd/>
            <a:tailEnd/>
          </a:ln>
        </p:spPr>
        <p:txBody>
          <a:bodyPr wrap="none" lIns="0" tIns="0" rIns="0" bIns="0" anchor="ctr"/>
          <a:lstStyle/>
          <a:p>
            <a:pPr algn="r" defTabSz="895350">
              <a:lnSpc>
                <a:spcPct val="90000"/>
              </a:lnSpc>
              <a:buClr>
                <a:schemeClr val="tx2"/>
              </a:buClr>
              <a:buSzPct val="100000"/>
            </a:pPr>
            <a:fld id="{06E1B536-EDEE-4CED-B60A-9983897D34E7}" type="datetime'''''''''''''''''''''6''''.''''''''''''''5'''">
              <a:rPr lang="en-ZA" altLang="en-US">
                <a:sym typeface="+mn-lt"/>
              </a:rPr>
              <a:pPr algn="r" defTabSz="895350">
                <a:lnSpc>
                  <a:spcPct val="90000"/>
                </a:lnSpc>
                <a:buClr>
                  <a:schemeClr val="tx2"/>
                </a:buClr>
                <a:buSzPct val="100000"/>
              </a:pPr>
              <a:t>6.5</a:t>
            </a:fld>
            <a:endParaRPr lang="en-ZA">
              <a:sym typeface="+mn-lt"/>
            </a:endParaRPr>
          </a:p>
        </p:txBody>
      </p:sp>
      <p:sp>
        <p:nvSpPr>
          <p:cNvPr id="11286" name="Text Placeholder 2"/>
          <p:cNvSpPr>
            <a:spLocks noGrp="1"/>
          </p:cNvSpPr>
          <p:nvPr>
            <p:custDataLst>
              <p:tags r:id="rId17"/>
            </p:custDataLst>
          </p:nvPr>
        </p:nvSpPr>
        <p:spPr bwMode="auto">
          <a:xfrm>
            <a:off x="3683000" y="6045200"/>
            <a:ext cx="531813" cy="244475"/>
          </a:xfrm>
          <a:prstGeom prst="rect">
            <a:avLst/>
          </a:prstGeom>
          <a:noFill/>
          <a:ln w="9525">
            <a:noFill/>
            <a:miter lim="800000"/>
            <a:headEnd/>
            <a:tailEnd/>
          </a:ln>
        </p:spPr>
        <p:txBody>
          <a:bodyPr wrap="none" lIns="0" tIns="0" rIns="0" bIns="0"/>
          <a:lstStyle/>
          <a:p>
            <a:pPr defTabSz="895350">
              <a:buClr>
                <a:schemeClr val="tx2"/>
              </a:buClr>
              <a:buSzPct val="100000"/>
            </a:pPr>
            <a:fld id="{671B1395-B2FE-422D-BA74-9DEAEE16630B}" type="datetime'''''''3''''5''''''''''-''3''''''9'''''''''''''''''''''''">
              <a:rPr lang="en-ZA" altLang="en-US"/>
              <a:pPr defTabSz="895350">
                <a:buClr>
                  <a:schemeClr val="tx2"/>
                </a:buClr>
                <a:buSzPct val="100000"/>
              </a:pPr>
              <a:t>35-39</a:t>
            </a:fld>
            <a:endParaRPr lang="en-ZA">
              <a:sym typeface="+mn-lt"/>
            </a:endParaRPr>
          </a:p>
        </p:txBody>
      </p:sp>
      <p:sp>
        <p:nvSpPr>
          <p:cNvPr id="11287" name="Text Placeholder 2"/>
          <p:cNvSpPr>
            <a:spLocks noGrp="1"/>
          </p:cNvSpPr>
          <p:nvPr>
            <p:custDataLst>
              <p:tags r:id="rId18"/>
            </p:custDataLst>
          </p:nvPr>
        </p:nvSpPr>
        <p:spPr bwMode="auto">
          <a:xfrm>
            <a:off x="233363" y="6045200"/>
            <a:ext cx="531812" cy="244475"/>
          </a:xfrm>
          <a:prstGeom prst="rect">
            <a:avLst/>
          </a:prstGeom>
          <a:noFill/>
          <a:ln w="9525">
            <a:noFill/>
            <a:miter lim="800000"/>
            <a:headEnd/>
            <a:tailEnd/>
          </a:ln>
        </p:spPr>
        <p:txBody>
          <a:bodyPr wrap="none" lIns="0" tIns="0" rIns="0" bIns="0"/>
          <a:lstStyle/>
          <a:p>
            <a:pPr defTabSz="895350">
              <a:buClr>
                <a:schemeClr val="tx2"/>
              </a:buClr>
              <a:buSzPct val="100000"/>
            </a:pPr>
            <a:fld id="{F51B93B1-9A90-4D6C-9578-BD424F7C8DF2}" type="datetime'''''1''''''''''''5-''''''''''19'''''''''''''''''">
              <a:rPr lang="en-ZA" altLang="en-US"/>
              <a:pPr defTabSz="895350">
                <a:buClr>
                  <a:schemeClr val="tx2"/>
                </a:buClr>
                <a:buSzPct val="100000"/>
              </a:pPr>
              <a:t>15-19</a:t>
            </a:fld>
            <a:endParaRPr lang="en-ZA">
              <a:sym typeface="+mn-lt"/>
            </a:endParaRPr>
          </a:p>
        </p:txBody>
      </p:sp>
      <p:sp>
        <p:nvSpPr>
          <p:cNvPr id="11288" name="Text Placeholder 2"/>
          <p:cNvSpPr>
            <a:spLocks noGrp="1"/>
          </p:cNvSpPr>
          <p:nvPr>
            <p:custDataLst>
              <p:tags r:id="rId19"/>
            </p:custDataLst>
          </p:nvPr>
        </p:nvSpPr>
        <p:spPr bwMode="auto">
          <a:xfrm>
            <a:off x="1095375" y="6045200"/>
            <a:ext cx="531813" cy="244475"/>
          </a:xfrm>
          <a:prstGeom prst="rect">
            <a:avLst/>
          </a:prstGeom>
          <a:noFill/>
          <a:ln w="9525">
            <a:noFill/>
            <a:miter lim="800000"/>
            <a:headEnd/>
            <a:tailEnd/>
          </a:ln>
        </p:spPr>
        <p:txBody>
          <a:bodyPr wrap="none" lIns="0" tIns="0" rIns="0" bIns="0"/>
          <a:lstStyle/>
          <a:p>
            <a:pPr defTabSz="895350">
              <a:buClr>
                <a:schemeClr val="tx2"/>
              </a:buClr>
              <a:buSzPct val="100000"/>
            </a:pPr>
            <a:fld id="{CF48C35C-1826-44BD-B2CA-CBA41D4AA08D}" type="datetime'''2''''''''''''''''0''''''''-''''''''''''2''''''''''''4'''''''">
              <a:rPr lang="en-ZA" altLang="en-US"/>
              <a:pPr defTabSz="895350">
                <a:buClr>
                  <a:schemeClr val="tx2"/>
                </a:buClr>
                <a:buSzPct val="100000"/>
              </a:pPr>
              <a:t>20-24</a:t>
            </a:fld>
            <a:endParaRPr lang="en-ZA">
              <a:sym typeface="+mn-lt"/>
            </a:endParaRPr>
          </a:p>
        </p:txBody>
      </p:sp>
      <p:sp>
        <p:nvSpPr>
          <p:cNvPr id="11289" name="Text Placeholder 2"/>
          <p:cNvSpPr>
            <a:spLocks noGrp="1"/>
          </p:cNvSpPr>
          <p:nvPr>
            <p:custDataLst>
              <p:tags r:id="rId20"/>
            </p:custDataLst>
          </p:nvPr>
        </p:nvSpPr>
        <p:spPr bwMode="auto">
          <a:xfrm>
            <a:off x="1957388" y="6045200"/>
            <a:ext cx="531812" cy="244475"/>
          </a:xfrm>
          <a:prstGeom prst="rect">
            <a:avLst/>
          </a:prstGeom>
          <a:noFill/>
          <a:ln w="9525">
            <a:noFill/>
            <a:miter lim="800000"/>
            <a:headEnd/>
            <a:tailEnd/>
          </a:ln>
        </p:spPr>
        <p:txBody>
          <a:bodyPr wrap="none" lIns="0" tIns="0" rIns="0" bIns="0"/>
          <a:lstStyle/>
          <a:p>
            <a:pPr defTabSz="895350">
              <a:buClr>
                <a:schemeClr val="tx2"/>
              </a:buClr>
              <a:buSzPct val="100000"/>
            </a:pPr>
            <a:fld id="{517B47B2-2FB6-4367-80EE-A6F3FBBE050D}" type="datetime'''''2''''''''''''5''''''-''''''''''''''''''2''9'''''''">
              <a:rPr lang="en-ZA" altLang="en-US"/>
              <a:pPr defTabSz="895350">
                <a:buClr>
                  <a:schemeClr val="tx2"/>
                </a:buClr>
                <a:buSzPct val="100000"/>
              </a:pPr>
              <a:t>25-29</a:t>
            </a:fld>
            <a:endParaRPr lang="en-ZA">
              <a:sym typeface="+mn-lt"/>
            </a:endParaRPr>
          </a:p>
        </p:txBody>
      </p:sp>
      <p:sp>
        <p:nvSpPr>
          <p:cNvPr id="11290" name="Text Placeholder 2"/>
          <p:cNvSpPr>
            <a:spLocks noGrp="1"/>
          </p:cNvSpPr>
          <p:nvPr>
            <p:custDataLst>
              <p:tags r:id="rId21"/>
            </p:custDataLst>
          </p:nvPr>
        </p:nvSpPr>
        <p:spPr bwMode="auto">
          <a:xfrm>
            <a:off x="4545013" y="6045200"/>
            <a:ext cx="531812" cy="244475"/>
          </a:xfrm>
          <a:prstGeom prst="rect">
            <a:avLst/>
          </a:prstGeom>
          <a:noFill/>
          <a:ln w="9525">
            <a:noFill/>
            <a:miter lim="800000"/>
            <a:headEnd/>
            <a:tailEnd/>
          </a:ln>
        </p:spPr>
        <p:txBody>
          <a:bodyPr wrap="none" lIns="0" tIns="0" rIns="0" bIns="0"/>
          <a:lstStyle/>
          <a:p>
            <a:pPr defTabSz="895350">
              <a:buClr>
                <a:schemeClr val="tx2"/>
              </a:buClr>
              <a:buSzPct val="100000"/>
            </a:pPr>
            <a:fld id="{70C40DBA-D796-434B-893C-C6A9552D7992}" type="datetime'4''''''''''''''''''''0''-44'''''''''''''''''''">
              <a:rPr lang="en-ZA" altLang="en-US"/>
              <a:pPr defTabSz="895350">
                <a:buClr>
                  <a:schemeClr val="tx2"/>
                </a:buClr>
                <a:buSzPct val="100000"/>
              </a:pPr>
              <a:t>40-44</a:t>
            </a:fld>
            <a:endParaRPr lang="en-ZA">
              <a:sym typeface="+mn-lt"/>
            </a:endParaRPr>
          </a:p>
        </p:txBody>
      </p:sp>
      <p:sp>
        <p:nvSpPr>
          <p:cNvPr id="11291" name="Text Placeholder 2"/>
          <p:cNvSpPr>
            <a:spLocks noGrp="1"/>
          </p:cNvSpPr>
          <p:nvPr>
            <p:custDataLst>
              <p:tags r:id="rId22"/>
            </p:custDataLst>
          </p:nvPr>
        </p:nvSpPr>
        <p:spPr bwMode="auto">
          <a:xfrm>
            <a:off x="2820988" y="6045200"/>
            <a:ext cx="531812" cy="244475"/>
          </a:xfrm>
          <a:prstGeom prst="rect">
            <a:avLst/>
          </a:prstGeom>
          <a:noFill/>
          <a:ln w="9525">
            <a:noFill/>
            <a:miter lim="800000"/>
            <a:headEnd/>
            <a:tailEnd/>
          </a:ln>
        </p:spPr>
        <p:txBody>
          <a:bodyPr wrap="none" lIns="0" tIns="0" rIns="0" bIns="0"/>
          <a:lstStyle/>
          <a:p>
            <a:pPr defTabSz="895350">
              <a:buClr>
                <a:schemeClr val="tx2"/>
              </a:buClr>
              <a:buSzPct val="100000"/>
            </a:pPr>
            <a:fld id="{D50A712F-802A-41E6-BEEC-5C6E9773E3D8}" type="datetime'''''''3''0''''''''-''3''''4'''''''''">
              <a:rPr lang="en-ZA" altLang="en-US"/>
              <a:pPr defTabSz="895350">
                <a:buClr>
                  <a:schemeClr val="tx2"/>
                </a:buClr>
                <a:buSzPct val="100000"/>
              </a:pPr>
              <a:t>30-34</a:t>
            </a:fld>
            <a:endParaRPr lang="en-ZA">
              <a:sym typeface="+mn-lt"/>
            </a:endParaRPr>
          </a:p>
        </p:txBody>
      </p:sp>
      <p:sp>
        <p:nvSpPr>
          <p:cNvPr id="11292" name="Text Placeholder 2"/>
          <p:cNvSpPr>
            <a:spLocks noGrp="1"/>
          </p:cNvSpPr>
          <p:nvPr>
            <p:custDataLst>
              <p:tags r:id="rId23"/>
            </p:custDataLst>
          </p:nvPr>
        </p:nvSpPr>
        <p:spPr bwMode="auto">
          <a:xfrm>
            <a:off x="5407025" y="6045200"/>
            <a:ext cx="531813" cy="244475"/>
          </a:xfrm>
          <a:prstGeom prst="rect">
            <a:avLst/>
          </a:prstGeom>
          <a:noFill/>
          <a:ln w="9525">
            <a:noFill/>
            <a:miter lim="800000"/>
            <a:headEnd/>
            <a:tailEnd/>
          </a:ln>
        </p:spPr>
        <p:txBody>
          <a:bodyPr wrap="none" lIns="0" tIns="0" rIns="0" bIns="0"/>
          <a:lstStyle/>
          <a:p>
            <a:pPr defTabSz="895350">
              <a:buClr>
                <a:schemeClr val="tx2"/>
              </a:buClr>
              <a:buSzPct val="100000"/>
            </a:pPr>
            <a:fld id="{6A73DDA7-6B76-4B43-BF41-EEA0CCAC9172}" type="datetime'''''''4''''5''-''''''''''''''''''''''''4''''''''''''''''9'''''">
              <a:rPr lang="en-ZA" altLang="en-US"/>
              <a:pPr defTabSz="895350">
                <a:buClr>
                  <a:schemeClr val="tx2"/>
                </a:buClr>
                <a:buSzPct val="100000"/>
              </a:pPr>
              <a:t>45-49</a:t>
            </a:fld>
            <a:endParaRPr lang="en-ZA">
              <a:sym typeface="+mn-lt"/>
            </a:endParaRPr>
          </a:p>
        </p:txBody>
      </p:sp>
      <p:sp>
        <p:nvSpPr>
          <p:cNvPr id="11293" name="Text Placeholder 2"/>
          <p:cNvSpPr>
            <a:spLocks noGrp="1"/>
          </p:cNvSpPr>
          <p:nvPr>
            <p:custDataLst>
              <p:tags r:id="rId24"/>
            </p:custDataLst>
          </p:nvPr>
        </p:nvSpPr>
        <p:spPr bwMode="auto">
          <a:xfrm>
            <a:off x="5889625" y="1370013"/>
            <a:ext cx="496888" cy="244475"/>
          </a:xfrm>
          <a:prstGeom prst="rect">
            <a:avLst/>
          </a:prstGeom>
          <a:noFill/>
          <a:ln w="9525">
            <a:noFill/>
            <a:miter lim="800000"/>
            <a:headEnd/>
            <a:tailEnd/>
          </a:ln>
        </p:spPr>
        <p:txBody>
          <a:bodyPr wrap="none" lIns="0" tIns="0" rIns="0" bIns="0" anchor="ctr"/>
          <a:lstStyle/>
          <a:p>
            <a:pPr defTabSz="895350">
              <a:buClr>
                <a:schemeClr val="tx2"/>
              </a:buClr>
              <a:buSzPct val="100000"/>
            </a:pPr>
            <a:fld id="{E8F2F728-E9EF-4C81-BAE0-FBD08E991DA2}" type="datetime'''''''''''''''''M''al''''''''''''''''e'''''''''''''' '''">
              <a:rPr lang="en-ZA" altLang="en-US"/>
              <a:pPr defTabSz="895350">
                <a:buClr>
                  <a:schemeClr val="tx2"/>
                </a:buClr>
                <a:buSzPct val="100000"/>
              </a:pPr>
              <a:t>Male </a:t>
            </a:fld>
            <a:endParaRPr lang="en-ZA">
              <a:sym typeface="+mn-lt"/>
            </a:endParaRPr>
          </a:p>
        </p:txBody>
      </p:sp>
      <p:sp>
        <p:nvSpPr>
          <p:cNvPr id="11294" name="Text Placeholder 2"/>
          <p:cNvSpPr>
            <a:spLocks noGrp="1"/>
          </p:cNvSpPr>
          <p:nvPr>
            <p:custDataLst>
              <p:tags r:id="rId25"/>
            </p:custDataLst>
          </p:nvPr>
        </p:nvSpPr>
        <p:spPr bwMode="auto">
          <a:xfrm>
            <a:off x="5889625" y="2239963"/>
            <a:ext cx="676275" cy="244475"/>
          </a:xfrm>
          <a:prstGeom prst="rect">
            <a:avLst/>
          </a:prstGeom>
          <a:noFill/>
          <a:ln w="9525">
            <a:noFill/>
            <a:miter lim="800000"/>
            <a:headEnd/>
            <a:tailEnd/>
          </a:ln>
        </p:spPr>
        <p:txBody>
          <a:bodyPr wrap="none" lIns="0" tIns="0" rIns="0" bIns="0" anchor="ctr"/>
          <a:lstStyle/>
          <a:p>
            <a:pPr defTabSz="895350">
              <a:buClr>
                <a:schemeClr val="tx2"/>
              </a:buClr>
              <a:buSzPct val="100000"/>
            </a:pPr>
            <a:fld id="{F5B5E9EF-BBCD-4967-8B74-BA36EAC09BD9}" type="datetime'Fe''m''''''''''''''''''''''''''''''''''''a''''l''''''''''e'">
              <a:rPr lang="en-ZA" altLang="en-US"/>
              <a:pPr defTabSz="895350">
                <a:buClr>
                  <a:schemeClr val="tx2"/>
                </a:buClr>
                <a:buSzPct val="100000"/>
              </a:pPr>
              <a:t>Female</a:t>
            </a:fld>
            <a:endParaRPr lang="en-ZA">
              <a:sym typeface="+mn-lt"/>
            </a:endParaRPr>
          </a:p>
        </p:txBody>
      </p:sp>
      <p:sp>
        <p:nvSpPr>
          <p:cNvPr id="194" name="ACET">
            <a:extLst>
              <a:ext uri="{FF2B5EF4-FFF2-40B4-BE49-F238E27FC236}"/>
            </a:extLst>
          </p:cNvPr>
          <p:cNvSpPr>
            <a:spLocks noChangeArrowheads="1"/>
          </p:cNvSpPr>
          <p:nvPr/>
        </p:nvSpPr>
        <p:spPr bwMode="gray">
          <a:xfrm>
            <a:off x="119063" y="922338"/>
            <a:ext cx="8618537" cy="233362"/>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lstStyle/>
          <a:p>
            <a:pPr>
              <a:defRPr/>
            </a:pPr>
            <a:r>
              <a:rPr lang="en-US" b="1" dirty="0">
                <a:solidFill>
                  <a:schemeClr val="accent4"/>
                </a:solidFill>
                <a:latin typeface="+mn-lt"/>
                <a:cs typeface="+mn-cs"/>
              </a:rPr>
              <a:t>Age specific adult mortality rate 2013, </a:t>
            </a:r>
            <a:r>
              <a:rPr lang="en-US" dirty="0">
                <a:solidFill>
                  <a:schemeClr val="accent6"/>
                </a:solidFill>
                <a:latin typeface="+mn-lt"/>
                <a:cs typeface="+mn-cs"/>
              </a:rPr>
              <a:t>Deaths per 1,000 population</a:t>
            </a:r>
          </a:p>
        </p:txBody>
      </p:sp>
      <p:sp>
        <p:nvSpPr>
          <p:cNvPr id="37" name="Rectangle 36">
            <a:extLst>
              <a:ext uri="{FF2B5EF4-FFF2-40B4-BE49-F238E27FC236}"/>
            </a:extLst>
          </p:cNvPr>
          <p:cNvSpPr/>
          <p:nvPr/>
        </p:nvSpPr>
        <p:spPr>
          <a:xfrm>
            <a:off x="6683375" y="1204913"/>
            <a:ext cx="2278063" cy="4772025"/>
          </a:xfrm>
          <a:prstGeom prst="rect">
            <a:avLst/>
          </a:prstGeom>
          <a:solidFill>
            <a:schemeClr val="accent4"/>
          </a:solidFill>
        </p:spPr>
        <p:txBody>
          <a:bodyPr lIns="90000" tIns="46800" rIns="90000" bIns="46800"/>
          <a:lstStyle/>
          <a:p>
            <a:pPr defTabSz="895350">
              <a:buClr>
                <a:schemeClr val="tx2"/>
              </a:buClr>
              <a:buSzPct val="100000"/>
              <a:defRPr/>
            </a:pPr>
            <a:endParaRPr lang="en-ZA" dirty="0">
              <a:latin typeface="Arial" charset="0"/>
              <a:cs typeface="+mn-cs"/>
            </a:endParaRPr>
          </a:p>
        </p:txBody>
      </p:sp>
      <p:sp>
        <p:nvSpPr>
          <p:cNvPr id="11297" name="TextBox 40"/>
          <p:cNvSpPr txBox="1">
            <a:spLocks noChangeArrowheads="1"/>
          </p:cNvSpPr>
          <p:nvPr>
            <p:custDataLst>
              <p:tags r:id="rId26"/>
            </p:custDataLst>
          </p:nvPr>
        </p:nvSpPr>
        <p:spPr bwMode="auto">
          <a:xfrm>
            <a:off x="6683375" y="1454150"/>
            <a:ext cx="2155825" cy="4186238"/>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bg1"/>
              </a:buClr>
              <a:buSzPct val="125000"/>
              <a:buFont typeface="Arial" pitchFamily="34" charset="0"/>
              <a:buChar char="▪"/>
            </a:pPr>
            <a:r>
              <a:rPr lang="en-US">
                <a:solidFill>
                  <a:schemeClr val="bg1"/>
                </a:solidFill>
              </a:rPr>
              <a:t>Adult mortality for both men and women is highest at older years (40 – 49 years)</a:t>
            </a:r>
          </a:p>
          <a:p>
            <a:pPr marL="193675" lvl="1" indent="-192088" defTabSz="895350">
              <a:spcBef>
                <a:spcPct val="50000"/>
              </a:spcBef>
              <a:buClr>
                <a:schemeClr val="bg1"/>
              </a:buClr>
              <a:buSzPct val="125000"/>
              <a:buFont typeface="Arial" pitchFamily="34" charset="0"/>
              <a:buChar char="▪"/>
            </a:pPr>
            <a:r>
              <a:rPr lang="en-US">
                <a:solidFill>
                  <a:schemeClr val="bg1"/>
                </a:solidFill>
              </a:rPr>
              <a:t>Adult female mortality is higher than male mortality up until past the peak child bearing age of 35 – 39 years </a:t>
            </a:r>
          </a:p>
          <a:p>
            <a:pPr marL="193675" lvl="1" indent="-192088" defTabSz="895350">
              <a:spcBef>
                <a:spcPct val="50000"/>
              </a:spcBef>
              <a:buClr>
                <a:schemeClr val="bg1"/>
              </a:buClr>
              <a:buSzPct val="125000"/>
              <a:buFont typeface="Arial" pitchFamily="34" charset="0"/>
              <a:buChar char="▪"/>
            </a:pPr>
            <a:r>
              <a:rPr lang="en-US">
                <a:solidFill>
                  <a:schemeClr val="bg1"/>
                </a:solidFill>
              </a:rPr>
              <a:t>Malaria, HIV, Diarrheal diseases and lower respiratory diseases account for about ~40% of deaths </a:t>
            </a:r>
          </a:p>
        </p:txBody>
      </p:sp>
      <p:sp>
        <p:nvSpPr>
          <p:cNvPr id="36" name="Marvintitletrackercircle">
            <a:extLst>
              <a:ext uri="{FF2B5EF4-FFF2-40B4-BE49-F238E27FC236}"/>
            </a:extLst>
          </p:cNvPr>
          <p:cNvSpPr/>
          <p:nvPr>
            <p:custDataLst>
              <p:tags r:id="rId27"/>
            </p:custDataLst>
          </p:nvPr>
        </p:nvSpPr>
        <p:spPr>
          <a:xfrm>
            <a:off x="106363" y="217488"/>
            <a:ext cx="330200" cy="330200"/>
          </a:xfrm>
          <a:prstGeom prst="ellipse">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ZA" sz="2000" b="1" dirty="0">
                <a:solidFill>
                  <a:schemeClr val="tx2"/>
                </a:solidFill>
                <a:latin typeface="+mj-lt"/>
              </a:rPr>
              <a:t>2</a:t>
            </a:r>
          </a:p>
        </p:txBody>
      </p:sp>
      <p:sp>
        <p:nvSpPr>
          <p:cNvPr id="42" name="1. On-page tracker">
            <a:extLst>
              <a:ext uri="{FF2B5EF4-FFF2-40B4-BE49-F238E27FC236}"/>
            </a:extLst>
          </p:cNvPr>
          <p:cNvSpPr>
            <a:spLocks noChangeArrowheads="1"/>
          </p:cNvSpPr>
          <p:nvPr/>
        </p:nvSpPr>
        <p:spPr bwMode="gray">
          <a:xfrm>
            <a:off x="119063" y="76200"/>
            <a:ext cx="954087"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ADULT MORTALITY</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139"/>
          <p:cNvGraphicFramePr>
            <a:graphicFrameLocks noChangeAspect="1"/>
          </p:cNvGraphicFramePr>
          <p:nvPr/>
        </p:nvGraphicFramePr>
        <p:xfrm>
          <a:off x="1588" y="1588"/>
          <a:ext cx="1587" cy="1587"/>
        </p:xfrm>
        <a:graphic>
          <a:graphicData uri="http://schemas.openxmlformats.org/presentationml/2006/ole">
            <p:oleObj spid="_x0000_s12290" name="think-cell Slide" r:id="rId20" imgW="360" imgH="360" progId="">
              <p:embed/>
            </p:oleObj>
          </a:graphicData>
        </a:graphic>
      </p:graphicFrame>
      <p:sp>
        <p:nvSpPr>
          <p:cNvPr id="13" name="Rectangle 12" hidden="1">
            <a:extLst>
              <a:ext uri="{FF2B5EF4-FFF2-40B4-BE49-F238E27FC236}"/>
            </a:extLst>
          </p:cNvPr>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400" dirty="0" err="1">
              <a:solidFill>
                <a:schemeClr val="tx1"/>
              </a:solidFill>
              <a:ea typeface="+mj-ea"/>
              <a:cs typeface="+mj-cs"/>
              <a:sym typeface="Arial" panose="020B0604020202020204" pitchFamily="34" charset="0"/>
            </a:endParaRPr>
          </a:p>
        </p:txBody>
      </p:sp>
      <p:sp>
        <p:nvSpPr>
          <p:cNvPr id="12292" name="Title 1"/>
          <p:cNvSpPr>
            <a:spLocks noGrp="1"/>
          </p:cNvSpPr>
          <p:nvPr>
            <p:ph type="title"/>
          </p:nvPr>
        </p:nvSpPr>
        <p:spPr bwMode="gray">
          <a:xfrm>
            <a:off x="119063" y="230188"/>
            <a:ext cx="8618537" cy="615950"/>
          </a:xfrm>
        </p:spPr>
        <p:txBody>
          <a:bodyPr/>
          <a:lstStyle/>
          <a:p>
            <a:pPr marL="357188"/>
            <a:r>
              <a:rPr lang="en-US" smtClean="0"/>
              <a:t>Malnutrition: stunting rates have grown ~ 3% in the last 10 years </a:t>
            </a:r>
            <a:br>
              <a:rPr lang="en-US" smtClean="0"/>
            </a:br>
            <a:r>
              <a:rPr lang="en-US" smtClean="0"/>
              <a:t>and is behind a number of African peers </a:t>
            </a:r>
            <a:endParaRPr lang="en-ZA" smtClean="0"/>
          </a:p>
        </p:txBody>
      </p:sp>
      <p:sp>
        <p:nvSpPr>
          <p:cNvPr id="12" name="ACET">
            <a:extLst>
              <a:ext uri="{FF2B5EF4-FFF2-40B4-BE49-F238E27FC236}"/>
            </a:extLst>
          </p:cNvPr>
          <p:cNvSpPr>
            <a:spLocks noChangeArrowheads="1"/>
          </p:cNvSpPr>
          <p:nvPr/>
        </p:nvSpPr>
        <p:spPr bwMode="gray">
          <a:xfrm>
            <a:off x="119063" y="1165225"/>
            <a:ext cx="3867150" cy="449263"/>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US" sz="1400" b="1" dirty="0">
                <a:solidFill>
                  <a:schemeClr val="tx2"/>
                </a:solidFill>
                <a:latin typeface="Arial" charset="0"/>
                <a:cs typeface="+mn-cs"/>
              </a:rPr>
              <a:t>Under 5 stunting rate (moderate and severe) 2017, </a:t>
            </a:r>
            <a:r>
              <a:rPr lang="en-US" sz="1400" dirty="0">
                <a:solidFill>
                  <a:schemeClr val="accent6"/>
                </a:solidFill>
                <a:latin typeface="Arial" charset="0"/>
                <a:cs typeface="+mn-cs"/>
              </a:rPr>
              <a:t>% of under 5 population</a:t>
            </a:r>
          </a:p>
        </p:txBody>
      </p:sp>
      <p:grpSp>
        <p:nvGrpSpPr>
          <p:cNvPr id="12294" name="Group 17"/>
          <p:cNvGrpSpPr>
            <a:grpSpLocks/>
          </p:cNvGrpSpPr>
          <p:nvPr/>
        </p:nvGrpSpPr>
        <p:grpSpPr bwMode="auto">
          <a:xfrm>
            <a:off x="0" y="1655763"/>
            <a:ext cx="8961438" cy="431800"/>
            <a:chOff x="0" y="1655763"/>
            <a:chExt cx="8961437" cy="431800"/>
          </a:xfrm>
        </p:grpSpPr>
        <p:sp>
          <p:nvSpPr>
            <p:cNvPr id="32" name="Rectangle 9">
              <a:extLst>
                <a:ext uri="{FF2B5EF4-FFF2-40B4-BE49-F238E27FC236}"/>
              </a:extLst>
            </p:cNvPr>
            <p:cNvSpPr>
              <a:spLocks noChangeArrowheads="1"/>
            </p:cNvSpPr>
            <p:nvPr>
              <p:custDataLst>
                <p:tags r:id="rId17"/>
              </p:custDataLst>
            </p:nvPr>
          </p:nvSpPr>
          <p:spPr bwMode="gray">
            <a:xfrm>
              <a:off x="0" y="1655763"/>
              <a:ext cx="8961437" cy="431800"/>
            </a:xfrm>
            <a:prstGeom prst="rect">
              <a:avLst/>
            </a:prstGeom>
            <a:gradFill rotWithShape="1">
              <a:gsLst>
                <a:gs pos="0">
                  <a:srgbClr val="EAEAEA"/>
                </a:gs>
                <a:gs pos="100000">
                  <a:schemeClr val="bg1">
                    <a:alpha val="0"/>
                  </a:schemeClr>
                </a:gs>
              </a:gsLst>
              <a:lin ang="5400000" scaled="1"/>
            </a:gradFill>
            <a:ln>
              <a:noFill/>
            </a:ln>
            <a:effectLst/>
            <a:extLst>
              <a:ext uri="{91240B29-F687-4F45-9708-019B960494DF}"/>
              <a:ext uri="{AF507438-7753-43E0-B8FC-AC1667EBCBE1}"/>
            </a:extLst>
          </p:spPr>
          <p:txBody>
            <a:bodyPr wrap="none" lIns="54704" tIns="71797" rIns="71797" bIns="71797" anchor="ctr"/>
            <a:lstStyle/>
            <a:p>
              <a:pPr>
                <a:defRPr/>
              </a:pPr>
              <a:endParaRPr lang="en-US" sz="1400" dirty="0">
                <a:solidFill>
                  <a:srgbClr val="000000"/>
                </a:solidFill>
                <a:latin typeface="+mn-lt"/>
                <a:cs typeface="+mn-cs"/>
              </a:endParaRPr>
            </a:p>
          </p:txBody>
        </p:sp>
        <p:sp>
          <p:nvSpPr>
            <p:cNvPr id="33" name="Line 10">
              <a:extLst>
                <a:ext uri="{FF2B5EF4-FFF2-40B4-BE49-F238E27FC236}"/>
              </a:extLst>
            </p:cNvPr>
            <p:cNvSpPr>
              <a:spLocks noChangeShapeType="1"/>
            </p:cNvSpPr>
            <p:nvPr>
              <p:custDataLst>
                <p:tags r:id="rId18"/>
              </p:custDataLst>
            </p:nvPr>
          </p:nvSpPr>
          <p:spPr bwMode="gray">
            <a:xfrm>
              <a:off x="0" y="1655763"/>
              <a:ext cx="8961437" cy="0"/>
            </a:xfrm>
            <a:prstGeom prst="line">
              <a:avLst/>
            </a:prstGeom>
            <a:noFill/>
            <a:ln w="9525">
              <a:solidFill>
                <a:schemeClr val="accent4"/>
              </a:solidFill>
              <a:round/>
              <a:headEnd/>
              <a:tailEnd/>
            </a:ln>
            <a:effectLst/>
            <a:extLst>
              <a:ext uri="{909E8E84-426E-40DD-AFC4-6F175D3DCCD1}"/>
              <a:ext uri="{AF507438-7753-43E0-B8FC-AC1667EBCBE1}"/>
            </a:extLst>
          </p:spPr>
          <p:txBody>
            <a:bodyPr wrap="none" lIns="54704" tIns="71797" rIns="71797" bIns="71797" anchor="ctr"/>
            <a:lstStyle/>
            <a:p>
              <a:pPr>
                <a:defRPr/>
              </a:pPr>
              <a:endParaRPr lang="en-US" sz="1400" dirty="0">
                <a:solidFill>
                  <a:srgbClr val="000000"/>
                </a:solidFill>
                <a:latin typeface="+mn-lt"/>
                <a:cs typeface="+mn-cs"/>
              </a:endParaRPr>
            </a:p>
          </p:txBody>
        </p:sp>
      </p:grpSp>
      <p:cxnSp>
        <p:nvCxnSpPr>
          <p:cNvPr id="59" name="Straight Connector 58">
            <a:extLst>
              <a:ext uri="{FF2B5EF4-FFF2-40B4-BE49-F238E27FC236}"/>
            </a:extLst>
          </p:cNvPr>
          <p:cNvCxnSpPr>
            <a:cxnSpLocks/>
          </p:cNvCxnSpPr>
          <p:nvPr/>
        </p:nvCxnSpPr>
        <p:spPr bwMode="gray">
          <a:xfrm>
            <a:off x="4168775" y="1905000"/>
            <a:ext cx="0" cy="4310063"/>
          </a:xfrm>
          <a:prstGeom prst="line">
            <a:avLst/>
          </a:prstGeom>
          <a:ln w="3175">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12296" name="Group 3"/>
          <p:cNvGrpSpPr>
            <a:grpSpLocks/>
          </p:cNvGrpSpPr>
          <p:nvPr/>
        </p:nvGrpSpPr>
        <p:grpSpPr bwMode="auto">
          <a:xfrm>
            <a:off x="4065588" y="1455738"/>
            <a:ext cx="304800" cy="401637"/>
            <a:chOff x="4103288" y="1481138"/>
            <a:chExt cx="229009" cy="332286"/>
          </a:xfrm>
        </p:grpSpPr>
        <p:sp>
          <p:nvSpPr>
            <p:cNvPr id="35" name="Arrow: Pentagon 34">
              <a:extLst>
                <a:ext uri="{FF2B5EF4-FFF2-40B4-BE49-F238E27FC236}"/>
              </a:extLst>
            </p:cNvPr>
            <p:cNvSpPr/>
            <p:nvPr/>
          </p:nvSpPr>
          <p:spPr bwMode="gray">
            <a:xfrm>
              <a:off x="4179624" y="1481138"/>
              <a:ext cx="152673" cy="332286"/>
            </a:xfrm>
            <a:prstGeom prst="homePlate">
              <a:avLst>
                <a:gd name="adj" fmla="val 100000"/>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400" dirty="0">
                <a:solidFill>
                  <a:schemeClr val="bg1"/>
                </a:solidFill>
              </a:endParaRPr>
            </a:p>
          </p:txBody>
        </p:sp>
        <p:sp>
          <p:nvSpPr>
            <p:cNvPr id="36" name="Arrow: Pentagon 35">
              <a:extLst>
                <a:ext uri="{FF2B5EF4-FFF2-40B4-BE49-F238E27FC236}"/>
              </a:extLst>
            </p:cNvPr>
            <p:cNvSpPr/>
            <p:nvPr/>
          </p:nvSpPr>
          <p:spPr bwMode="gray">
            <a:xfrm>
              <a:off x="4103288" y="1481138"/>
              <a:ext cx="152673" cy="332286"/>
            </a:xfrm>
            <a:prstGeom prst="homePlate">
              <a:avLst>
                <a:gd name="adj" fmla="val 10000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400" dirty="0">
                <a:solidFill>
                  <a:schemeClr val="bg1"/>
                </a:solidFill>
              </a:endParaRPr>
            </a:p>
          </p:txBody>
        </p:sp>
      </p:grpSp>
      <p:sp>
        <p:nvSpPr>
          <p:cNvPr id="61" name="4. Footnote">
            <a:extLst>
              <a:ext uri="{FF2B5EF4-FFF2-40B4-BE49-F238E27FC236}"/>
            </a:extLst>
          </p:cNvPr>
          <p:cNvSpPr txBox="1">
            <a:spLocks noChangeArrowheads="1"/>
          </p:cNvSpPr>
          <p:nvPr/>
        </p:nvSpPr>
        <p:spPr bwMode="gray">
          <a:xfrm>
            <a:off x="119063" y="6305550"/>
            <a:ext cx="8618537"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a:solidFill>
                  <a:schemeClr val="accent6"/>
                </a:solidFill>
                <a:latin typeface="+mn-lt"/>
                <a:cs typeface="+mn-cs"/>
              </a:rPr>
              <a:t>1 2011 numbers</a:t>
            </a:r>
            <a:endParaRPr lang="en-US" sz="800" dirty="0">
              <a:solidFill>
                <a:schemeClr val="accent6"/>
              </a:solidFill>
              <a:latin typeface="+mn-lt"/>
              <a:cs typeface="+mn-cs"/>
            </a:endParaRPr>
          </a:p>
        </p:txBody>
      </p:sp>
      <p:sp>
        <p:nvSpPr>
          <p:cNvPr id="64"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World Bank,  UNICEF Multiple Indicator Cluster Survey Nigeria 2016-2017</a:t>
            </a:r>
          </a:p>
        </p:txBody>
      </p:sp>
      <p:sp>
        <p:nvSpPr>
          <p:cNvPr id="108" name="ACET">
            <a:extLst>
              <a:ext uri="{FF2B5EF4-FFF2-40B4-BE49-F238E27FC236}"/>
            </a:extLst>
          </p:cNvPr>
          <p:cNvSpPr>
            <a:spLocks noChangeArrowheads="1"/>
          </p:cNvSpPr>
          <p:nvPr/>
        </p:nvSpPr>
        <p:spPr bwMode="gray">
          <a:xfrm>
            <a:off x="4449763" y="1165225"/>
            <a:ext cx="4287837" cy="449263"/>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lIns="0" tIns="0" rIns="0" bIns="18288" anchor="b">
            <a:spAutoFit/>
          </a:bodyPr>
          <a:lstStyle/>
          <a:p>
            <a:pPr>
              <a:defRPr/>
            </a:pPr>
            <a:r>
              <a:rPr lang="en-US" sz="1400" b="1" dirty="0">
                <a:solidFill>
                  <a:schemeClr val="tx2"/>
                </a:solidFill>
                <a:latin typeface="Arial" charset="0"/>
                <a:cs typeface="+mn-cs"/>
              </a:rPr>
              <a:t>Under 5 stunting rate (moderate and severe) 2017</a:t>
            </a:r>
          </a:p>
          <a:p>
            <a:pPr>
              <a:defRPr/>
            </a:pPr>
            <a:r>
              <a:rPr lang="en-US" sz="1400" dirty="0">
                <a:solidFill>
                  <a:schemeClr val="accent6"/>
                </a:solidFill>
                <a:latin typeface="Arial" charset="0"/>
                <a:cs typeface="+mn-cs"/>
              </a:rPr>
              <a:t>% of under 5 population</a:t>
            </a:r>
          </a:p>
        </p:txBody>
      </p:sp>
      <p:graphicFrame>
        <p:nvGraphicFramePr>
          <p:cNvPr id="12300" name="Chart 47"/>
          <p:cNvGraphicFramePr>
            <a:graphicFrameLocks/>
          </p:cNvGraphicFramePr>
          <p:nvPr/>
        </p:nvGraphicFramePr>
        <p:xfrm>
          <a:off x="6007100" y="1641475"/>
          <a:ext cx="2773363" cy="4094163"/>
        </p:xfrm>
        <a:graphic>
          <a:graphicData uri="http://schemas.openxmlformats.org/presentationml/2006/ole">
            <p:oleObj spid="_x0000_s12300" r:id="rId21" imgW="2773920" imgH="4096867" progId="Excel.Sheet.8">
              <p:embed/>
            </p:oleObj>
          </a:graphicData>
        </a:graphic>
      </p:graphicFrame>
      <p:sp>
        <p:nvSpPr>
          <p:cNvPr id="12301" name="Text Placeholder 2"/>
          <p:cNvSpPr>
            <a:spLocks noGrp="1"/>
          </p:cNvSpPr>
          <p:nvPr>
            <p:custDataLst>
              <p:tags r:id="rId3"/>
            </p:custDataLst>
          </p:nvPr>
        </p:nvSpPr>
        <p:spPr bwMode="auto">
          <a:xfrm>
            <a:off x="4946650" y="4141788"/>
            <a:ext cx="957263" cy="212725"/>
          </a:xfrm>
          <a:prstGeom prst="rect">
            <a:avLst/>
          </a:prstGeom>
          <a:noFill/>
          <a:ln w="9525">
            <a:noFill/>
            <a:miter lim="800000"/>
            <a:headEnd/>
            <a:tailEnd/>
          </a:ln>
        </p:spPr>
        <p:txBody>
          <a:bodyPr wrap="none" lIns="0" tIns="0" rIns="0" bIns="0" anchor="ctr"/>
          <a:lstStyle/>
          <a:p>
            <a:pPr defTabSz="895350">
              <a:buClr>
                <a:schemeClr val="tx2"/>
              </a:buClr>
              <a:buSzPct val="100000"/>
            </a:pPr>
            <a:fld id="{7A80BFD5-E65D-4E82-AD5F-2E37BBCB659C}" type="datetime'''So''''''''''''''''''''''u''''t''''''''''''h ''A''f''''rica'">
              <a:rPr lang="en-ZA" altLang="en-US" sz="1400"/>
              <a:pPr defTabSz="895350">
                <a:buClr>
                  <a:schemeClr val="tx2"/>
                </a:buClr>
                <a:buSzPct val="100000"/>
              </a:pPr>
              <a:t>South Africa</a:t>
            </a:fld>
            <a:endParaRPr lang="en-ZA" sz="1400">
              <a:sym typeface="+mn-lt"/>
            </a:endParaRPr>
          </a:p>
        </p:txBody>
      </p:sp>
      <p:sp>
        <p:nvSpPr>
          <p:cNvPr id="12302" name="Text Placeholder 2"/>
          <p:cNvSpPr>
            <a:spLocks noGrp="1"/>
          </p:cNvSpPr>
          <p:nvPr>
            <p:custDataLst>
              <p:tags r:id="rId4"/>
            </p:custDataLst>
          </p:nvPr>
        </p:nvSpPr>
        <p:spPr bwMode="auto">
          <a:xfrm>
            <a:off x="4946650" y="1897063"/>
            <a:ext cx="611188" cy="212725"/>
          </a:xfrm>
          <a:prstGeom prst="rect">
            <a:avLst/>
          </a:prstGeom>
          <a:noFill/>
          <a:ln w="9525">
            <a:noFill/>
            <a:miter lim="800000"/>
            <a:headEnd/>
            <a:tailEnd/>
          </a:ln>
        </p:spPr>
        <p:txBody>
          <a:bodyPr wrap="none" lIns="0" tIns="0" rIns="0" bIns="0" anchor="ctr"/>
          <a:lstStyle/>
          <a:p>
            <a:pPr defTabSz="895350">
              <a:buClr>
                <a:schemeClr val="tx2"/>
              </a:buClr>
              <a:buSzPct val="100000"/>
            </a:pPr>
            <a:fld id="{2ECF5ED2-BF91-4692-A724-A036BD78581A}" type="datetime'''''B''''ur''''''u''n''d''i'''''''''''''''''''''''''''''''''">
              <a:rPr lang="en-ZA" altLang="en-US" sz="1400"/>
              <a:pPr defTabSz="895350">
                <a:buClr>
                  <a:schemeClr val="tx2"/>
                </a:buClr>
                <a:buSzPct val="100000"/>
              </a:pPr>
              <a:t>Burundi</a:t>
            </a:fld>
            <a:endParaRPr lang="en-ZA" sz="1400">
              <a:sym typeface="+mn-lt"/>
            </a:endParaRPr>
          </a:p>
        </p:txBody>
      </p:sp>
      <p:sp>
        <p:nvSpPr>
          <p:cNvPr id="12303" name="Text Placeholder 2"/>
          <p:cNvSpPr>
            <a:spLocks noGrp="1"/>
          </p:cNvSpPr>
          <p:nvPr>
            <p:custDataLst>
              <p:tags r:id="rId5"/>
            </p:custDataLst>
          </p:nvPr>
        </p:nvSpPr>
        <p:spPr bwMode="auto">
          <a:xfrm>
            <a:off x="4946650" y="2459038"/>
            <a:ext cx="561975" cy="212725"/>
          </a:xfrm>
          <a:prstGeom prst="rect">
            <a:avLst/>
          </a:prstGeom>
          <a:noFill/>
          <a:ln w="9525">
            <a:noFill/>
            <a:miter lim="800000"/>
            <a:headEnd/>
            <a:tailEnd/>
          </a:ln>
        </p:spPr>
        <p:txBody>
          <a:bodyPr wrap="none" lIns="0" tIns="0" rIns="0" bIns="0" anchor="ctr"/>
          <a:lstStyle/>
          <a:p>
            <a:pPr defTabSz="895350">
              <a:buClr>
                <a:schemeClr val="tx2"/>
              </a:buClr>
              <a:buSzPct val="100000"/>
            </a:pPr>
            <a:fld id="{94D3E57B-0480-4474-9637-F2F8590D67D2}" type="datetime'''N''''i''''''''g''e''''''''''''''''''''''''''ri''a'''''''">
              <a:rPr lang="en-ZA" altLang="en-US" sz="1400"/>
              <a:pPr defTabSz="895350">
                <a:buClr>
                  <a:schemeClr val="tx2"/>
                </a:buClr>
                <a:buSzPct val="100000"/>
              </a:pPr>
              <a:t>Nigeria</a:t>
            </a:fld>
            <a:endParaRPr lang="en-ZA" sz="1400">
              <a:sym typeface="+mn-lt"/>
            </a:endParaRPr>
          </a:p>
        </p:txBody>
      </p:sp>
      <p:sp>
        <p:nvSpPr>
          <p:cNvPr id="12304" name="Text Placeholder 2"/>
          <p:cNvSpPr>
            <a:spLocks noGrp="1"/>
          </p:cNvSpPr>
          <p:nvPr>
            <p:custDataLst>
              <p:tags r:id="rId6"/>
            </p:custDataLst>
          </p:nvPr>
        </p:nvSpPr>
        <p:spPr bwMode="auto">
          <a:xfrm>
            <a:off x="4946650" y="5264150"/>
            <a:ext cx="700088" cy="212725"/>
          </a:xfrm>
          <a:prstGeom prst="rect">
            <a:avLst/>
          </a:prstGeom>
          <a:noFill/>
          <a:ln w="9525">
            <a:noFill/>
            <a:miter lim="800000"/>
            <a:headEnd/>
            <a:tailEnd/>
          </a:ln>
        </p:spPr>
        <p:txBody>
          <a:bodyPr wrap="none" lIns="0" tIns="0" rIns="0" bIns="0" anchor="ctr"/>
          <a:lstStyle/>
          <a:p>
            <a:pPr defTabSz="895350">
              <a:buClr>
                <a:schemeClr val="tx2"/>
              </a:buClr>
              <a:buSzPct val="100000"/>
            </a:pPr>
            <a:fld id="{CFC85183-C6AD-442A-97F6-61B6EF9A6E8E}" type="datetime'S''''''''''''''''''e''''''''''''''''n''''''''eg''a''l'''' '''">
              <a:rPr lang="en-ZA" altLang="en-US" sz="1400"/>
              <a:pPr defTabSz="895350">
                <a:buClr>
                  <a:schemeClr val="tx2"/>
                </a:buClr>
                <a:buSzPct val="100000"/>
              </a:pPr>
              <a:t>Senegal </a:t>
            </a:fld>
            <a:endParaRPr lang="en-ZA" sz="1400">
              <a:sym typeface="+mn-lt"/>
            </a:endParaRPr>
          </a:p>
        </p:txBody>
      </p:sp>
      <p:sp>
        <p:nvSpPr>
          <p:cNvPr id="12305" name="Text Placeholder 2"/>
          <p:cNvSpPr>
            <a:spLocks noGrp="1"/>
          </p:cNvSpPr>
          <p:nvPr>
            <p:custDataLst>
              <p:tags r:id="rId7"/>
            </p:custDataLst>
          </p:nvPr>
        </p:nvSpPr>
        <p:spPr bwMode="auto">
          <a:xfrm>
            <a:off x="4946650" y="3019425"/>
            <a:ext cx="690563" cy="212725"/>
          </a:xfrm>
          <a:prstGeom prst="rect">
            <a:avLst/>
          </a:prstGeom>
          <a:noFill/>
          <a:ln w="9525">
            <a:noFill/>
            <a:miter lim="800000"/>
            <a:headEnd/>
            <a:tailEnd/>
          </a:ln>
        </p:spPr>
        <p:txBody>
          <a:bodyPr wrap="none" lIns="0" tIns="0" rIns="0" bIns="0" anchor="ctr"/>
          <a:lstStyle/>
          <a:p>
            <a:pPr defTabSz="895350">
              <a:buClr>
                <a:schemeClr val="tx2"/>
              </a:buClr>
              <a:buSzPct val="100000"/>
            </a:pPr>
            <a:fld id="{D5180E62-B3C3-4432-9142-82AB93C79BD9}" type="datetime'''''E''''''''t''h''''''''''io''''''pia'' '''''''''''''''''">
              <a:rPr lang="en-ZA" altLang="en-US" sz="1400"/>
              <a:pPr defTabSz="895350">
                <a:buClr>
                  <a:schemeClr val="tx2"/>
                </a:buClr>
                <a:buSzPct val="100000"/>
              </a:pPr>
              <a:t>Ethiopia </a:t>
            </a:fld>
            <a:endParaRPr lang="en-ZA" sz="1400">
              <a:sym typeface="+mn-lt"/>
            </a:endParaRPr>
          </a:p>
        </p:txBody>
      </p:sp>
      <p:sp>
        <p:nvSpPr>
          <p:cNvPr id="12306" name="Text Placeholder 2"/>
          <p:cNvSpPr>
            <a:spLocks noGrp="1"/>
          </p:cNvSpPr>
          <p:nvPr>
            <p:custDataLst>
              <p:tags r:id="rId8"/>
            </p:custDataLst>
          </p:nvPr>
        </p:nvSpPr>
        <p:spPr bwMode="auto">
          <a:xfrm>
            <a:off x="4946650" y="4703763"/>
            <a:ext cx="1025525" cy="212725"/>
          </a:xfrm>
          <a:prstGeom prst="rect">
            <a:avLst/>
          </a:prstGeom>
          <a:noFill/>
          <a:ln w="9525">
            <a:noFill/>
            <a:miter lim="800000"/>
            <a:headEnd/>
            <a:tailEnd/>
          </a:ln>
        </p:spPr>
        <p:txBody>
          <a:bodyPr wrap="none" lIns="0" tIns="0" rIns="0" bIns="0" anchor="ctr"/>
          <a:lstStyle/>
          <a:p>
            <a:pPr defTabSz="895350">
              <a:buClr>
                <a:schemeClr val="tx2"/>
              </a:buClr>
              <a:buSzPct val="100000"/>
            </a:pPr>
            <a:fld id="{0AC98E16-F342-44F6-9F56-4E4EF77EBF5C}" type="datetime'C''ot''e D’''''''''í''''''''''''''''''v''''''o''''i''re'''''">
              <a:rPr lang="en-ZA" altLang="en-US" sz="1400"/>
              <a:pPr defTabSz="895350">
                <a:buClr>
                  <a:schemeClr val="tx2"/>
                </a:buClr>
                <a:buSzPct val="100000"/>
              </a:pPr>
              <a:t>Cote D’ívoire</a:t>
            </a:fld>
            <a:endParaRPr lang="en-ZA" sz="1400">
              <a:sym typeface="+mn-lt"/>
            </a:endParaRPr>
          </a:p>
        </p:txBody>
      </p:sp>
      <p:sp>
        <p:nvSpPr>
          <p:cNvPr id="12307" name="Text Placeholder 2"/>
          <p:cNvSpPr>
            <a:spLocks noGrp="1"/>
          </p:cNvSpPr>
          <p:nvPr>
            <p:custDataLst>
              <p:tags r:id="rId9"/>
            </p:custDataLst>
          </p:nvPr>
        </p:nvSpPr>
        <p:spPr bwMode="auto">
          <a:xfrm>
            <a:off x="4946650" y="3581400"/>
            <a:ext cx="669925" cy="212725"/>
          </a:xfrm>
          <a:prstGeom prst="rect">
            <a:avLst/>
          </a:prstGeom>
          <a:noFill/>
          <a:ln w="9525">
            <a:noFill/>
            <a:miter lim="800000"/>
            <a:headEnd/>
            <a:tailEnd/>
          </a:ln>
        </p:spPr>
        <p:txBody>
          <a:bodyPr wrap="none" lIns="0" tIns="0" rIns="0" bIns="0" anchor="ctr"/>
          <a:lstStyle/>
          <a:p>
            <a:pPr defTabSz="895350">
              <a:buClr>
                <a:schemeClr val="tx2"/>
              </a:buClr>
              <a:buSzPct val="100000"/>
            </a:pPr>
            <a:fld id="{BE2F3F61-D898-4F04-83ED-EC517DA1DE07}" type="datetime'''''''Ug''''''''''''''''a''''n''''''d''''''''''a'''' '">
              <a:rPr lang="en-ZA" altLang="en-US" sz="1400"/>
              <a:pPr defTabSz="895350">
                <a:buClr>
                  <a:schemeClr val="tx2"/>
                </a:buClr>
                <a:buSzPct val="100000"/>
              </a:pPr>
              <a:t>Uganda </a:t>
            </a:fld>
            <a:endParaRPr lang="en-ZA" sz="1400">
              <a:sym typeface="+mn-lt"/>
            </a:endParaRPr>
          </a:p>
        </p:txBody>
      </p:sp>
      <p:graphicFrame>
        <p:nvGraphicFramePr>
          <p:cNvPr id="12308" name="Chart 45"/>
          <p:cNvGraphicFramePr>
            <a:graphicFrameLocks/>
          </p:cNvGraphicFramePr>
          <p:nvPr/>
        </p:nvGraphicFramePr>
        <p:xfrm>
          <a:off x="36513" y="1995488"/>
          <a:ext cx="4032250" cy="3973512"/>
        </p:xfrm>
        <a:graphic>
          <a:graphicData uri="http://schemas.openxmlformats.org/presentationml/2006/ole">
            <p:oleObj spid="_x0000_s12308" r:id="rId22" imgW="4029805" imgH="3974936" progId="Excel.Sheet.8">
              <p:embed/>
            </p:oleObj>
          </a:graphicData>
        </a:graphic>
      </p:graphicFrame>
      <p:cxnSp>
        <p:nvCxnSpPr>
          <p:cNvPr id="177" name="Straight Connector 176">
            <a:extLst>
              <a:ext uri="{FF2B5EF4-FFF2-40B4-BE49-F238E27FC236}"/>
            </a:extLst>
          </p:cNvPr>
          <p:cNvCxnSpPr>
            <a:cxnSpLocks/>
          </p:cNvCxnSpPr>
          <p:nvPr>
            <p:custDataLst>
              <p:tags r:id="rId10"/>
            </p:custDataLst>
          </p:nvPr>
        </p:nvCxnSpPr>
        <p:spPr bwMode="gray">
          <a:xfrm flipV="1">
            <a:off x="1568450" y="1858963"/>
            <a:ext cx="1933575" cy="663575"/>
          </a:xfrm>
          <a:prstGeom prst="line">
            <a:avLst/>
          </a:prstGeom>
          <a:ln w="38100" cap="flat" cmpd="sng" algn="ctr">
            <a:solidFill>
              <a:schemeClr val="accent6"/>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4" name="Text Placeholder 2">
            <a:extLst>
              <a:ext uri="{FF2B5EF4-FFF2-40B4-BE49-F238E27FC236}"/>
            </a:extLst>
          </p:cNvPr>
          <p:cNvSpPr>
            <a:spLocks noGrp="1"/>
          </p:cNvSpPr>
          <p:nvPr>
            <p:custDataLst>
              <p:tags r:id="rId11"/>
            </p:custDataLst>
          </p:nvPr>
        </p:nvSpPr>
        <p:spPr bwMode="auto">
          <a:xfrm>
            <a:off x="398463" y="5945188"/>
            <a:ext cx="406400" cy="212725"/>
          </a:xfrm>
          <a:prstGeom prst="rect">
            <a:avLst/>
          </a:prstGeom>
          <a:noFill/>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defRPr/>
            </a:pPr>
            <a:fld id="{891EB56E-6701-432D-A67C-EA71B5D96370}" type="datetime'''''''''''''''''''2''''''''''''00''''''''5'''''''''''''''">
              <a:rPr lang="en-US" altLang="en-US">
                <a:ea typeface="+mj-ea"/>
                <a:cs typeface="+mj-cs"/>
              </a:rPr>
              <a:pPr>
                <a:defRPr/>
              </a:pPr>
              <a:t>2005</a:t>
            </a:fld>
            <a:r>
              <a:rPr lang="en-US" altLang="en-US">
                <a:ea typeface="+mj-ea"/>
                <a:cs typeface="+mj-cs"/>
              </a:rPr>
              <a:t>  </a:t>
            </a:r>
            <a:endParaRPr lang="en-US" dirty="0">
              <a:latin typeface="+mj-lt"/>
              <a:ea typeface="+mj-ea"/>
              <a:cs typeface="+mj-cs"/>
              <a:sym typeface="+mj-lt"/>
            </a:endParaRPr>
          </a:p>
        </p:txBody>
      </p:sp>
      <p:sp>
        <p:nvSpPr>
          <p:cNvPr id="179" name="Text Placeholder 2">
            <a:extLst>
              <a:ext uri="{FF2B5EF4-FFF2-40B4-BE49-F238E27FC236}"/>
            </a:extLst>
          </p:cNvPr>
          <p:cNvSpPr>
            <a:spLocks noGrp="1"/>
          </p:cNvSpPr>
          <p:nvPr>
            <p:custDataLst>
              <p:tags r:id="rId12"/>
            </p:custDataLst>
          </p:nvPr>
        </p:nvSpPr>
        <p:spPr bwMode="auto">
          <a:xfrm>
            <a:off x="1365250" y="5945188"/>
            <a:ext cx="406400" cy="212725"/>
          </a:xfrm>
          <a:prstGeom prst="rect">
            <a:avLst/>
          </a:prstGeom>
          <a:noFill/>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defRPr/>
            </a:pPr>
            <a:r>
              <a:rPr lang="en-US" altLang="en-US" dirty="0">
                <a:ea typeface="+mj-ea"/>
                <a:cs typeface="+mj-cs"/>
              </a:rPr>
              <a:t>2010 </a:t>
            </a:r>
            <a:endParaRPr lang="en-US" dirty="0">
              <a:latin typeface="+mj-lt"/>
              <a:ea typeface="+mj-ea"/>
              <a:cs typeface="+mj-cs"/>
              <a:sym typeface="+mj-lt"/>
            </a:endParaRPr>
          </a:p>
        </p:txBody>
      </p:sp>
      <p:sp>
        <p:nvSpPr>
          <p:cNvPr id="182" name="Text Placeholder 2">
            <a:extLst>
              <a:ext uri="{FF2B5EF4-FFF2-40B4-BE49-F238E27FC236}"/>
            </a:extLst>
          </p:cNvPr>
          <p:cNvSpPr>
            <a:spLocks noGrp="1"/>
          </p:cNvSpPr>
          <p:nvPr>
            <p:custDataLst>
              <p:tags r:id="rId13"/>
            </p:custDataLst>
          </p:nvPr>
        </p:nvSpPr>
        <p:spPr bwMode="auto">
          <a:xfrm>
            <a:off x="2332038" y="5945188"/>
            <a:ext cx="406400" cy="212725"/>
          </a:xfrm>
          <a:prstGeom prst="rect">
            <a:avLst/>
          </a:prstGeom>
          <a:noFill/>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defRPr/>
            </a:pPr>
            <a:r>
              <a:rPr lang="en-US" altLang="en-US" dirty="0">
                <a:ea typeface="+mj-ea"/>
                <a:cs typeface="+mj-cs"/>
              </a:rPr>
              <a:t>20</a:t>
            </a:r>
            <a:fld id="{AB308D15-DFF6-45B7-B970-9A702082EE6C}" type="datetime'''''''''''1''''''''''''''''5'''''''''''''''''''''">
              <a:rPr lang="en-US" altLang="en-US" smtClean="0">
                <a:ea typeface="+mj-ea"/>
                <a:cs typeface="+mj-cs"/>
              </a:rPr>
              <a:pPr>
                <a:defRPr/>
              </a:pPr>
              <a:t>15</a:t>
            </a:fld>
            <a:endParaRPr lang="en-US" dirty="0">
              <a:latin typeface="+mj-lt"/>
              <a:ea typeface="+mj-ea"/>
              <a:cs typeface="+mj-cs"/>
              <a:sym typeface="+mj-lt"/>
            </a:endParaRPr>
          </a:p>
        </p:txBody>
      </p:sp>
      <p:sp>
        <p:nvSpPr>
          <p:cNvPr id="183" name="Text Placeholder 2">
            <a:extLst>
              <a:ext uri="{FF2B5EF4-FFF2-40B4-BE49-F238E27FC236}"/>
            </a:extLst>
          </p:cNvPr>
          <p:cNvSpPr>
            <a:spLocks noGrp="1"/>
          </p:cNvSpPr>
          <p:nvPr>
            <p:custDataLst>
              <p:tags r:id="rId14"/>
            </p:custDataLst>
          </p:nvPr>
        </p:nvSpPr>
        <p:spPr bwMode="auto">
          <a:xfrm>
            <a:off x="3298825" y="5945188"/>
            <a:ext cx="406400" cy="212725"/>
          </a:xfrm>
          <a:prstGeom prst="rect">
            <a:avLst/>
          </a:prstGeom>
          <a:noFill/>
          <a:extLst>
            <a:ext uri="{909E8E84-426E-40DD-AFC4-6F175D3DCCD1}"/>
          </a:extLst>
        </p:spPr>
        <p:txBody>
          <a:bodyPr wrap="none" lIns="0" tIns="0" rIns="0" bIns="0"/>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defRPr/>
            </a:pPr>
            <a:fld id="{85CBB95A-1ECB-4A63-8BB4-DC6BE9AA0A68}" type="datetime'''''''''''''''''''2''''0''''''''''''1''7'''''''">
              <a:rPr lang="en-US" altLang="en-US">
                <a:ea typeface="+mj-ea"/>
                <a:cs typeface="+mj-cs"/>
              </a:rPr>
              <a:pPr>
                <a:defRPr/>
              </a:pPr>
              <a:t>2017</a:t>
            </a:fld>
            <a:endParaRPr lang="en-US" dirty="0">
              <a:latin typeface="+mj-lt"/>
              <a:ea typeface="+mj-ea"/>
              <a:cs typeface="+mj-cs"/>
              <a:sym typeface="+mj-lt"/>
            </a:endParaRPr>
          </a:p>
        </p:txBody>
      </p:sp>
      <p:sp>
        <p:nvSpPr>
          <p:cNvPr id="180" name="Text Placeholder 2">
            <a:extLst>
              <a:ext uri="{FF2B5EF4-FFF2-40B4-BE49-F238E27FC236}"/>
            </a:extLst>
          </p:cNvPr>
          <p:cNvSpPr>
            <a:spLocks noGrp="1"/>
          </p:cNvSpPr>
          <p:nvPr>
            <p:custDataLst>
              <p:tags r:id="rId15"/>
            </p:custDataLst>
          </p:nvPr>
        </p:nvSpPr>
        <p:spPr bwMode="gray">
          <a:xfrm>
            <a:off x="2279650" y="2039938"/>
            <a:ext cx="511175" cy="301625"/>
          </a:xfrm>
          <a:prstGeom prst="ellipse">
            <a:avLst/>
          </a:prstGeom>
          <a:solidFill>
            <a:schemeClr val="accent3"/>
          </a:solidFill>
          <a:ln w="9525">
            <a:solidFill>
              <a:srgbClr val="FFFFFF"/>
            </a:solidFill>
          </a:ln>
        </p:spPr>
        <p:txBody>
          <a:bodyPr wrap="none" lIns="0" tIns="0" rIns="0" bIns="0" anchor="ct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defRPr/>
            </a:pPr>
            <a:fld id="{7232E1E1-5C96-4BCE-BC5D-C73D05DB77E0}" type="datetime'''+''''''''''''''''''''3''''''''''%'''''''''''''''''">
              <a:rPr lang="en-US" altLang="en-US" b="1">
                <a:solidFill>
                  <a:schemeClr val="bg1"/>
                </a:solidFill>
                <a:ea typeface="+mj-ea"/>
                <a:cs typeface="+mj-cs"/>
              </a:rPr>
              <a:pPr algn="ctr">
                <a:defRPr/>
              </a:pPr>
              <a:t>+3%</a:t>
            </a:fld>
            <a:endParaRPr lang="en-US" b="1" dirty="0">
              <a:solidFill>
                <a:schemeClr val="bg1"/>
              </a:solidFill>
              <a:latin typeface="+mj-lt"/>
              <a:ea typeface="+mj-ea"/>
              <a:cs typeface="+mj-cs"/>
              <a:sym typeface="+mj-lt"/>
            </a:endParaRPr>
          </a:p>
        </p:txBody>
      </p:sp>
      <p:pic>
        <p:nvPicPr>
          <p:cNvPr id="12315" name="Picture 2"/>
          <p:cNvPicPr>
            <a:picLocks/>
          </p:cNvPicPr>
          <p:nvPr/>
        </p:nvPicPr>
        <p:blipFill>
          <a:blip r:embed="rId23"/>
          <a:srcRect l="2063" t="2063" r="2063" b="2063"/>
          <a:stretch>
            <a:fillRect/>
          </a:stretch>
        </p:blipFill>
        <p:spPr bwMode="auto">
          <a:xfrm>
            <a:off x="4449763" y="1874838"/>
            <a:ext cx="392112" cy="261937"/>
          </a:xfrm>
          <a:prstGeom prst="rect">
            <a:avLst/>
          </a:prstGeom>
          <a:noFill/>
          <a:ln w="3175">
            <a:noFill/>
            <a:miter lim="800000"/>
            <a:headEnd/>
            <a:tailEnd/>
          </a:ln>
        </p:spPr>
      </p:pic>
      <p:pic>
        <p:nvPicPr>
          <p:cNvPr id="12316" name="Picture 4"/>
          <p:cNvPicPr>
            <a:picLocks/>
          </p:cNvPicPr>
          <p:nvPr/>
        </p:nvPicPr>
        <p:blipFill>
          <a:blip r:embed="rId24"/>
          <a:srcRect/>
          <a:stretch>
            <a:fillRect/>
          </a:stretch>
        </p:blipFill>
        <p:spPr bwMode="auto">
          <a:xfrm>
            <a:off x="4449763" y="2435225"/>
            <a:ext cx="392112" cy="263525"/>
          </a:xfrm>
          <a:prstGeom prst="rect">
            <a:avLst/>
          </a:prstGeom>
          <a:noFill/>
          <a:ln w="3175">
            <a:noFill/>
            <a:miter lim="800000"/>
            <a:headEnd/>
            <a:tailEnd/>
          </a:ln>
        </p:spPr>
      </p:pic>
      <p:pic>
        <p:nvPicPr>
          <p:cNvPr id="12317" name="Picture 5"/>
          <p:cNvPicPr>
            <a:picLocks/>
          </p:cNvPicPr>
          <p:nvPr/>
        </p:nvPicPr>
        <p:blipFill>
          <a:blip r:embed="rId25"/>
          <a:srcRect/>
          <a:stretch>
            <a:fillRect/>
          </a:stretch>
        </p:blipFill>
        <p:spPr bwMode="auto">
          <a:xfrm>
            <a:off x="4449763" y="2997200"/>
            <a:ext cx="392112" cy="261938"/>
          </a:xfrm>
          <a:prstGeom prst="rect">
            <a:avLst/>
          </a:prstGeom>
          <a:noFill/>
          <a:ln w="3175">
            <a:noFill/>
            <a:miter lim="800000"/>
            <a:headEnd/>
            <a:tailEnd/>
          </a:ln>
        </p:spPr>
      </p:pic>
      <p:pic>
        <p:nvPicPr>
          <p:cNvPr id="12318" name="Picture 7"/>
          <p:cNvPicPr>
            <a:picLocks/>
          </p:cNvPicPr>
          <p:nvPr/>
        </p:nvPicPr>
        <p:blipFill>
          <a:blip r:embed="rId26"/>
          <a:srcRect/>
          <a:stretch>
            <a:fillRect/>
          </a:stretch>
        </p:blipFill>
        <p:spPr bwMode="auto">
          <a:xfrm>
            <a:off x="4449763" y="3557588"/>
            <a:ext cx="392112" cy="261937"/>
          </a:xfrm>
          <a:prstGeom prst="rect">
            <a:avLst/>
          </a:prstGeom>
          <a:noFill/>
          <a:ln w="3175">
            <a:noFill/>
            <a:miter lim="800000"/>
            <a:headEnd/>
            <a:tailEnd/>
          </a:ln>
        </p:spPr>
      </p:pic>
      <p:pic>
        <p:nvPicPr>
          <p:cNvPr id="12319" name="Picture 8"/>
          <p:cNvPicPr>
            <a:picLocks/>
          </p:cNvPicPr>
          <p:nvPr/>
        </p:nvPicPr>
        <p:blipFill>
          <a:blip r:embed="rId27"/>
          <a:srcRect l="5467" t="21541" r="3131" b="21829"/>
          <a:stretch>
            <a:fillRect/>
          </a:stretch>
        </p:blipFill>
        <p:spPr bwMode="auto">
          <a:xfrm>
            <a:off x="4449763" y="4117975"/>
            <a:ext cx="392112" cy="263525"/>
          </a:xfrm>
          <a:prstGeom prst="rect">
            <a:avLst/>
          </a:prstGeom>
          <a:noFill/>
          <a:ln w="3175">
            <a:noFill/>
            <a:miter lim="800000"/>
            <a:headEnd/>
            <a:tailEnd/>
          </a:ln>
        </p:spPr>
      </p:pic>
      <p:pic>
        <p:nvPicPr>
          <p:cNvPr id="12320" name="Picture 9"/>
          <p:cNvPicPr>
            <a:picLocks/>
          </p:cNvPicPr>
          <p:nvPr/>
        </p:nvPicPr>
        <p:blipFill>
          <a:blip r:embed="rId28"/>
          <a:srcRect/>
          <a:stretch>
            <a:fillRect/>
          </a:stretch>
        </p:blipFill>
        <p:spPr bwMode="auto">
          <a:xfrm>
            <a:off x="4449763" y="4679950"/>
            <a:ext cx="392112" cy="261938"/>
          </a:xfrm>
          <a:prstGeom prst="rect">
            <a:avLst/>
          </a:prstGeom>
          <a:noFill/>
          <a:ln w="3175">
            <a:noFill/>
            <a:miter lim="800000"/>
            <a:headEnd/>
            <a:tailEnd/>
          </a:ln>
        </p:spPr>
      </p:pic>
      <p:pic>
        <p:nvPicPr>
          <p:cNvPr id="12321" name="Picture 15"/>
          <p:cNvPicPr>
            <a:picLocks/>
          </p:cNvPicPr>
          <p:nvPr/>
        </p:nvPicPr>
        <p:blipFill>
          <a:blip r:embed="rId29"/>
          <a:srcRect/>
          <a:stretch>
            <a:fillRect/>
          </a:stretch>
        </p:blipFill>
        <p:spPr bwMode="auto">
          <a:xfrm>
            <a:off x="4449763" y="5270500"/>
            <a:ext cx="392112" cy="263525"/>
          </a:xfrm>
          <a:prstGeom prst="rect">
            <a:avLst/>
          </a:prstGeom>
          <a:noFill/>
          <a:ln w="3175">
            <a:noFill/>
            <a:miter lim="800000"/>
            <a:headEnd/>
            <a:tailEnd/>
          </a:ln>
        </p:spPr>
      </p:pic>
      <p:sp>
        <p:nvSpPr>
          <p:cNvPr id="40" name="Marvintitletrackercircle">
            <a:extLst>
              <a:ext uri="{FF2B5EF4-FFF2-40B4-BE49-F238E27FC236}"/>
            </a:extLst>
          </p:cNvPr>
          <p:cNvSpPr/>
          <p:nvPr>
            <p:custDataLst>
              <p:tags r:id="rId16"/>
            </p:custDataLst>
          </p:nvPr>
        </p:nvSpPr>
        <p:spPr>
          <a:xfrm>
            <a:off x="106363" y="217488"/>
            <a:ext cx="330200" cy="330200"/>
          </a:xfrm>
          <a:prstGeom prst="ellipse">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ZA" sz="2000" b="1" dirty="0">
                <a:solidFill>
                  <a:schemeClr val="tx2"/>
                </a:solidFill>
                <a:latin typeface="+mj-lt"/>
              </a:rPr>
              <a:t>3</a:t>
            </a:r>
          </a:p>
        </p:txBody>
      </p:sp>
      <p:sp>
        <p:nvSpPr>
          <p:cNvPr id="41" name="1. On-page tracker">
            <a:extLst>
              <a:ext uri="{FF2B5EF4-FFF2-40B4-BE49-F238E27FC236}"/>
            </a:extLst>
          </p:cNvPr>
          <p:cNvSpPr>
            <a:spLocks noChangeArrowheads="1"/>
          </p:cNvSpPr>
          <p:nvPr/>
        </p:nvSpPr>
        <p:spPr bwMode="gray">
          <a:xfrm>
            <a:off x="119063" y="76200"/>
            <a:ext cx="769937"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MALNUTRITIO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Object 141"/>
          <p:cNvGraphicFramePr>
            <a:graphicFrameLocks noChangeAspect="1"/>
          </p:cNvGraphicFramePr>
          <p:nvPr/>
        </p:nvGraphicFramePr>
        <p:xfrm>
          <a:off x="1588" y="1588"/>
          <a:ext cx="1587" cy="1587"/>
        </p:xfrm>
        <a:graphic>
          <a:graphicData uri="http://schemas.openxmlformats.org/presentationml/2006/ole">
            <p:oleObj spid="_x0000_s13314" name="think-cell Slide" r:id="rId28" imgW="360" imgH="360" progId="">
              <p:embed/>
            </p:oleObj>
          </a:graphicData>
        </a:graphic>
      </p:graphicFrame>
      <p:sp>
        <p:nvSpPr>
          <p:cNvPr id="17" name="Rectangle 16" hidden="1">
            <a:extLst>
              <a:ext uri="{FF2B5EF4-FFF2-40B4-BE49-F238E27FC236}"/>
            </a:extLst>
          </p:cNvPr>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00" dirty="0">
              <a:solidFill>
                <a:schemeClr val="tx1"/>
              </a:solidFill>
              <a:ea typeface="+mj-ea"/>
              <a:cs typeface="+mj-cs"/>
              <a:sym typeface="Arial" panose="020B0604020202020204" pitchFamily="34" charset="0"/>
            </a:endParaRPr>
          </a:p>
        </p:txBody>
      </p:sp>
      <p:pic>
        <p:nvPicPr>
          <p:cNvPr id="13316" name="Picture 5"/>
          <p:cNvPicPr>
            <a:picLocks/>
          </p:cNvPicPr>
          <p:nvPr/>
        </p:nvPicPr>
        <p:blipFill>
          <a:blip r:embed="rId29"/>
          <a:srcRect t="45966" b="48032"/>
          <a:stretch>
            <a:fillRect/>
          </a:stretch>
        </p:blipFill>
        <p:spPr bwMode="auto">
          <a:xfrm>
            <a:off x="0" y="1112838"/>
            <a:ext cx="8961438" cy="358775"/>
          </a:xfrm>
          <a:prstGeom prst="rect">
            <a:avLst/>
          </a:prstGeom>
          <a:noFill/>
          <a:ln w="9525">
            <a:noFill/>
            <a:miter lim="800000"/>
            <a:headEnd/>
            <a:tailEnd/>
          </a:ln>
        </p:spPr>
      </p:pic>
      <p:sp>
        <p:nvSpPr>
          <p:cNvPr id="96" name="Rectangle 95">
            <a:extLst>
              <a:ext uri="{FF2B5EF4-FFF2-40B4-BE49-F238E27FC236}"/>
            </a:extLst>
          </p:cNvPr>
          <p:cNvSpPr>
            <a:spLocks/>
          </p:cNvSpPr>
          <p:nvPr/>
        </p:nvSpPr>
        <p:spPr>
          <a:xfrm>
            <a:off x="0" y="1112838"/>
            <a:ext cx="8961438" cy="358775"/>
          </a:xfrm>
          <a:prstGeom prst="rect">
            <a:avLst/>
          </a:prstGeom>
          <a:solidFill>
            <a:schemeClr val="accent3">
              <a:alpha val="8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98" name="Chevron 121">
            <a:extLst>
              <a:ext uri="{FF2B5EF4-FFF2-40B4-BE49-F238E27FC236}"/>
            </a:extLst>
          </p:cNvPr>
          <p:cNvSpPr>
            <a:spLocks/>
          </p:cNvSpPr>
          <p:nvPr/>
        </p:nvSpPr>
        <p:spPr>
          <a:xfrm>
            <a:off x="4203700" y="1112838"/>
            <a:ext cx="209550" cy="358775"/>
          </a:xfrm>
          <a:prstGeom prst="chevron">
            <a:avLst>
              <a:gd name="adj" fmla="val 41463"/>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dirty="0">
              <a:solidFill>
                <a:schemeClr val="tx1"/>
              </a:solidFill>
            </a:endParaRPr>
          </a:p>
        </p:txBody>
      </p:sp>
      <p:sp>
        <p:nvSpPr>
          <p:cNvPr id="13319" name="Title 1"/>
          <p:cNvSpPr>
            <a:spLocks noGrp="1"/>
          </p:cNvSpPr>
          <p:nvPr>
            <p:ph type="title"/>
          </p:nvPr>
        </p:nvSpPr>
        <p:spPr>
          <a:xfrm>
            <a:off x="87313" y="188913"/>
            <a:ext cx="8842375" cy="1230312"/>
          </a:xfrm>
        </p:spPr>
        <p:txBody>
          <a:bodyPr/>
          <a:lstStyle/>
          <a:p>
            <a:pPr marL="357188"/>
            <a:r>
              <a:rPr lang="en-US" smtClean="0"/>
              <a:t>Expected years of school: we have low primary attendance rate ~67%, low secondary school completion rates (male 44% and female 34%) and a low literacy rate, ~47%</a:t>
            </a:r>
            <a:br>
              <a:rPr lang="en-US" smtClean="0"/>
            </a:br>
            <a:endParaRPr lang="en-US" smtClean="0"/>
          </a:p>
        </p:txBody>
      </p:sp>
      <p:sp>
        <p:nvSpPr>
          <p:cNvPr id="63" name="5. Source">
            <a:extLst>
              <a:ext uri="{FF2B5EF4-FFF2-40B4-BE49-F238E27FC236}"/>
            </a:extLst>
          </p:cNvPr>
          <p:cNvSpPr>
            <a:spLocks noChangeArrowheads="1"/>
          </p:cNvSpPr>
          <p:nvPr/>
        </p:nvSpPr>
        <p:spPr bwMode="gray">
          <a:xfrm>
            <a:off x="119063" y="6584950"/>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World Bank , UNICEF MICS, World Bank, Ministry of Education, Press Search  </a:t>
            </a:r>
          </a:p>
        </p:txBody>
      </p:sp>
      <p:graphicFrame>
        <p:nvGraphicFramePr>
          <p:cNvPr id="13321" name="Chart 85"/>
          <p:cNvGraphicFramePr>
            <a:graphicFrameLocks/>
          </p:cNvGraphicFramePr>
          <p:nvPr/>
        </p:nvGraphicFramePr>
        <p:xfrm>
          <a:off x="1593850" y="1670050"/>
          <a:ext cx="2667000" cy="1146175"/>
        </p:xfrm>
        <a:graphic>
          <a:graphicData uri="http://schemas.openxmlformats.org/presentationml/2006/ole">
            <p:oleObj spid="_x0000_s13321" r:id="rId30" imgW="2670279" imgH="1146147" progId="Excel.Sheet.8">
              <p:embed/>
            </p:oleObj>
          </a:graphicData>
        </a:graphic>
      </p:graphicFrame>
      <p:sp>
        <p:nvSpPr>
          <p:cNvPr id="13322" name="Text Placeholder 2"/>
          <p:cNvSpPr>
            <a:spLocks noGrp="1"/>
          </p:cNvSpPr>
          <p:nvPr>
            <p:custDataLst>
              <p:tags r:id="rId3"/>
            </p:custDataLst>
          </p:nvPr>
        </p:nvSpPr>
        <p:spPr bwMode="auto">
          <a:xfrm>
            <a:off x="3348038" y="2792413"/>
            <a:ext cx="406400" cy="212725"/>
          </a:xfrm>
          <a:prstGeom prst="rect">
            <a:avLst/>
          </a:prstGeom>
          <a:noFill/>
          <a:ln w="9525">
            <a:noFill/>
            <a:miter lim="800000"/>
            <a:headEnd/>
            <a:tailEnd/>
          </a:ln>
        </p:spPr>
        <p:txBody>
          <a:bodyPr wrap="none" lIns="0" tIns="0" rIns="0" bIns="0"/>
          <a:lstStyle/>
          <a:p>
            <a:pPr defTabSz="895350">
              <a:buClr>
                <a:schemeClr val="tx2"/>
              </a:buClr>
              <a:buSzPct val="100000"/>
            </a:pPr>
            <a:fld id="{2D22E6A8-7D7D-4179-8EA0-E584AA1DB0E1}" type="datetime'''''''''''''''201''''''''''''5'''''''''''''''''''">
              <a:rPr lang="en-ZA" altLang="en-US" sz="1400"/>
              <a:pPr defTabSz="895350">
                <a:buClr>
                  <a:schemeClr val="tx2"/>
                </a:buClr>
                <a:buSzPct val="100000"/>
              </a:pPr>
              <a:t>2015</a:t>
            </a:fld>
            <a:endParaRPr lang="en-ZA" sz="1400">
              <a:sym typeface="+mn-lt"/>
            </a:endParaRPr>
          </a:p>
        </p:txBody>
      </p:sp>
      <p:sp>
        <p:nvSpPr>
          <p:cNvPr id="13323" name="Text Placeholder 2"/>
          <p:cNvSpPr>
            <a:spLocks noGrp="1"/>
          </p:cNvSpPr>
          <p:nvPr>
            <p:custDataLst>
              <p:tags r:id="rId4"/>
            </p:custDataLst>
          </p:nvPr>
        </p:nvSpPr>
        <p:spPr bwMode="auto">
          <a:xfrm>
            <a:off x="2097088" y="2792413"/>
            <a:ext cx="406400" cy="212725"/>
          </a:xfrm>
          <a:prstGeom prst="rect">
            <a:avLst/>
          </a:prstGeom>
          <a:noFill/>
          <a:ln w="9525">
            <a:noFill/>
            <a:miter lim="800000"/>
            <a:headEnd/>
            <a:tailEnd/>
          </a:ln>
        </p:spPr>
        <p:txBody>
          <a:bodyPr wrap="none" lIns="0" tIns="0" rIns="0" bIns="0"/>
          <a:lstStyle/>
          <a:p>
            <a:pPr defTabSz="895350">
              <a:buClr>
                <a:schemeClr val="tx2"/>
              </a:buClr>
              <a:buSzPct val="100000"/>
            </a:pPr>
            <a:fld id="{25330AD0-9239-4B0B-B09B-9AB7E8881E96}" type="datetime'''''''''''''''2''''0''''''1''''''''''''''''''''''''''''0'''">
              <a:rPr lang="en-ZA" altLang="en-US" sz="1400"/>
              <a:pPr defTabSz="895350">
                <a:buClr>
                  <a:schemeClr val="tx2"/>
                </a:buClr>
                <a:buSzPct val="100000"/>
              </a:pPr>
              <a:t>2010</a:t>
            </a:fld>
            <a:endParaRPr lang="en-ZA" sz="1400">
              <a:sym typeface="+mn-lt"/>
            </a:endParaRPr>
          </a:p>
        </p:txBody>
      </p:sp>
      <p:graphicFrame>
        <p:nvGraphicFramePr>
          <p:cNvPr id="13324" name="Chart 81"/>
          <p:cNvGraphicFramePr>
            <a:graphicFrameLocks/>
          </p:cNvGraphicFramePr>
          <p:nvPr/>
        </p:nvGraphicFramePr>
        <p:xfrm>
          <a:off x="1593850" y="4889500"/>
          <a:ext cx="2667000" cy="1154113"/>
        </p:xfrm>
        <a:graphic>
          <a:graphicData uri="http://schemas.openxmlformats.org/presentationml/2006/ole">
            <p:oleObj spid="_x0000_s13324" r:id="rId31" imgW="2670279" imgH="1152244" progId="Excel.Sheet.8">
              <p:embed/>
            </p:oleObj>
          </a:graphicData>
        </a:graphic>
      </p:graphicFrame>
      <p:sp>
        <p:nvSpPr>
          <p:cNvPr id="13325" name="Text Placeholder 2"/>
          <p:cNvSpPr>
            <a:spLocks noGrp="1"/>
          </p:cNvSpPr>
          <p:nvPr>
            <p:custDataLst>
              <p:tags r:id="rId5"/>
            </p:custDataLst>
          </p:nvPr>
        </p:nvSpPr>
        <p:spPr bwMode="auto">
          <a:xfrm>
            <a:off x="2097088" y="6019800"/>
            <a:ext cx="406400" cy="212725"/>
          </a:xfrm>
          <a:prstGeom prst="rect">
            <a:avLst/>
          </a:prstGeom>
          <a:noFill/>
          <a:ln w="9525">
            <a:noFill/>
            <a:miter lim="800000"/>
            <a:headEnd/>
            <a:tailEnd/>
          </a:ln>
        </p:spPr>
        <p:txBody>
          <a:bodyPr wrap="none" lIns="0" tIns="0" rIns="0" bIns="0"/>
          <a:lstStyle/>
          <a:p>
            <a:pPr defTabSz="895350">
              <a:buClr>
                <a:schemeClr val="tx2"/>
              </a:buClr>
              <a:buSzPct val="100000"/>
            </a:pPr>
            <a:fld id="{DFD2ED99-91F3-40F2-A58F-2721273169A0}" type="datetime'''''''''''''''''''''''''''''''''''2''''''''0''''1''0'''''">
              <a:rPr lang="en-ZA" altLang="en-US" sz="1400"/>
              <a:pPr defTabSz="895350">
                <a:buClr>
                  <a:schemeClr val="tx2"/>
                </a:buClr>
                <a:buSzPct val="100000"/>
              </a:pPr>
              <a:t>2010</a:t>
            </a:fld>
            <a:endParaRPr lang="en-ZA" sz="1400">
              <a:sym typeface="+mn-lt"/>
            </a:endParaRPr>
          </a:p>
        </p:txBody>
      </p:sp>
      <p:sp>
        <p:nvSpPr>
          <p:cNvPr id="13326" name="Text Placeholder 2"/>
          <p:cNvSpPr>
            <a:spLocks noGrp="1"/>
          </p:cNvSpPr>
          <p:nvPr>
            <p:custDataLst>
              <p:tags r:id="rId6"/>
            </p:custDataLst>
          </p:nvPr>
        </p:nvSpPr>
        <p:spPr bwMode="auto">
          <a:xfrm>
            <a:off x="3348038" y="6019800"/>
            <a:ext cx="406400" cy="212725"/>
          </a:xfrm>
          <a:prstGeom prst="rect">
            <a:avLst/>
          </a:prstGeom>
          <a:noFill/>
          <a:ln w="9525">
            <a:noFill/>
            <a:miter lim="800000"/>
            <a:headEnd/>
            <a:tailEnd/>
          </a:ln>
        </p:spPr>
        <p:txBody>
          <a:bodyPr wrap="none" lIns="0" tIns="0" rIns="0" bIns="0"/>
          <a:lstStyle/>
          <a:p>
            <a:pPr defTabSz="895350">
              <a:buClr>
                <a:schemeClr val="tx2"/>
              </a:buClr>
              <a:buSzPct val="100000"/>
            </a:pPr>
            <a:fld id="{D5C23F89-C939-4A29-9571-4A2E1B0C2DE0}" type="datetime'''''''''''''''''2''''''''0''''''''''1''''''''5'''''''''''''''">
              <a:rPr lang="en-ZA" altLang="en-US" sz="1400"/>
              <a:pPr defTabSz="895350">
                <a:buClr>
                  <a:schemeClr val="tx2"/>
                </a:buClr>
                <a:buSzPct val="100000"/>
              </a:pPr>
              <a:t>2015</a:t>
            </a:fld>
            <a:endParaRPr lang="en-ZA" sz="1400">
              <a:sym typeface="+mn-lt"/>
            </a:endParaRPr>
          </a:p>
        </p:txBody>
      </p:sp>
      <p:graphicFrame>
        <p:nvGraphicFramePr>
          <p:cNvPr id="13327" name="Chart 75"/>
          <p:cNvGraphicFramePr>
            <a:graphicFrameLocks/>
          </p:cNvGraphicFramePr>
          <p:nvPr/>
        </p:nvGraphicFramePr>
        <p:xfrm>
          <a:off x="1593850" y="3359150"/>
          <a:ext cx="2667000" cy="1149350"/>
        </p:xfrm>
        <a:graphic>
          <a:graphicData uri="http://schemas.openxmlformats.org/presentationml/2006/ole">
            <p:oleObj spid="_x0000_s13327" r:id="rId32" imgW="2670279" imgH="1152244" progId="Excel.Sheet.8">
              <p:embed/>
            </p:oleObj>
          </a:graphicData>
        </a:graphic>
      </p:graphicFrame>
      <p:sp>
        <p:nvSpPr>
          <p:cNvPr id="13328" name="Text Placeholder 2"/>
          <p:cNvSpPr>
            <a:spLocks noGrp="1"/>
          </p:cNvSpPr>
          <p:nvPr>
            <p:custDataLst>
              <p:tags r:id="rId7"/>
            </p:custDataLst>
          </p:nvPr>
        </p:nvSpPr>
        <p:spPr bwMode="auto">
          <a:xfrm>
            <a:off x="2097088" y="4484688"/>
            <a:ext cx="406400" cy="212725"/>
          </a:xfrm>
          <a:prstGeom prst="rect">
            <a:avLst/>
          </a:prstGeom>
          <a:noFill/>
          <a:ln w="9525">
            <a:noFill/>
            <a:miter lim="800000"/>
            <a:headEnd/>
            <a:tailEnd/>
          </a:ln>
        </p:spPr>
        <p:txBody>
          <a:bodyPr wrap="none" lIns="0" tIns="0" rIns="0" bIns="0"/>
          <a:lstStyle/>
          <a:p>
            <a:pPr defTabSz="895350">
              <a:buClr>
                <a:schemeClr val="tx2"/>
              </a:buClr>
              <a:buSzPct val="100000"/>
            </a:pPr>
            <a:fld id="{EA80E86A-7DCB-4E83-89E4-A125640FAE6B}" type="datetime'''2''''''''''''''''0''''''0''''''''''''3'''''''''">
              <a:rPr lang="en-ZA" altLang="en-US" sz="1400"/>
              <a:pPr defTabSz="895350">
                <a:buClr>
                  <a:schemeClr val="tx2"/>
                </a:buClr>
                <a:buSzPct val="100000"/>
              </a:pPr>
              <a:t>2003</a:t>
            </a:fld>
            <a:endParaRPr lang="en-ZA" sz="1400">
              <a:sym typeface="+mn-lt"/>
            </a:endParaRPr>
          </a:p>
        </p:txBody>
      </p:sp>
      <p:sp>
        <p:nvSpPr>
          <p:cNvPr id="13329" name="Text Placeholder 2"/>
          <p:cNvSpPr>
            <a:spLocks noGrp="1"/>
          </p:cNvSpPr>
          <p:nvPr>
            <p:custDataLst>
              <p:tags r:id="rId8"/>
            </p:custDataLst>
          </p:nvPr>
        </p:nvSpPr>
        <p:spPr bwMode="auto">
          <a:xfrm>
            <a:off x="3348038" y="4484688"/>
            <a:ext cx="406400" cy="212725"/>
          </a:xfrm>
          <a:prstGeom prst="rect">
            <a:avLst/>
          </a:prstGeom>
          <a:noFill/>
          <a:ln w="9525">
            <a:noFill/>
            <a:miter lim="800000"/>
            <a:headEnd/>
            <a:tailEnd/>
          </a:ln>
        </p:spPr>
        <p:txBody>
          <a:bodyPr wrap="none" lIns="0" tIns="0" rIns="0" bIns="0"/>
          <a:lstStyle/>
          <a:p>
            <a:pPr defTabSz="895350">
              <a:buClr>
                <a:schemeClr val="tx2"/>
              </a:buClr>
              <a:buSzPct val="100000"/>
            </a:pPr>
            <a:fld id="{D88ACDE2-BB0B-475B-8A39-53937553DF0C}" type="datetime'''''''''''''''''''''''''2''''''''''''''''''''''''010'">
              <a:rPr lang="en-ZA" altLang="en-US" sz="1400"/>
              <a:pPr defTabSz="895350">
                <a:buClr>
                  <a:schemeClr val="tx2"/>
                </a:buClr>
                <a:buSzPct val="100000"/>
              </a:pPr>
              <a:t>2010</a:t>
            </a:fld>
            <a:endParaRPr lang="en-ZA" sz="1400">
              <a:sym typeface="+mn-lt"/>
            </a:endParaRPr>
          </a:p>
        </p:txBody>
      </p:sp>
      <p:sp>
        <p:nvSpPr>
          <p:cNvPr id="59" name="Rectangle 58">
            <a:extLst>
              <a:ext uri="{FF2B5EF4-FFF2-40B4-BE49-F238E27FC236}"/>
            </a:extLst>
          </p:cNvPr>
          <p:cNvSpPr/>
          <p:nvPr>
            <p:custDataLst>
              <p:tags r:id="rId9"/>
            </p:custDataLst>
          </p:nvPr>
        </p:nvSpPr>
        <p:spPr bwMode="auto">
          <a:xfrm>
            <a:off x="2632075" y="3219450"/>
            <a:ext cx="150813" cy="150813"/>
          </a:xfrm>
          <a:prstGeom prst="rect">
            <a:avLst/>
          </a:prstGeom>
          <a:solidFill>
            <a:schemeClr val="accent5"/>
          </a:solidFill>
          <a:ln w="317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chemeClr val="tx1"/>
              </a:solidFill>
            </a:endParaRPr>
          </a:p>
        </p:txBody>
      </p:sp>
      <p:sp>
        <p:nvSpPr>
          <p:cNvPr id="60" name="Rectangle 59">
            <a:extLst>
              <a:ext uri="{FF2B5EF4-FFF2-40B4-BE49-F238E27FC236}"/>
            </a:extLst>
          </p:cNvPr>
          <p:cNvSpPr/>
          <p:nvPr>
            <p:custDataLst>
              <p:tags r:id="rId10"/>
            </p:custDataLst>
          </p:nvPr>
        </p:nvSpPr>
        <p:spPr bwMode="auto">
          <a:xfrm>
            <a:off x="3390900" y="3219450"/>
            <a:ext cx="150813" cy="150813"/>
          </a:xfrm>
          <a:prstGeom prst="rect">
            <a:avLst/>
          </a:prstGeom>
          <a:solidFill>
            <a:schemeClr val="accent1"/>
          </a:solidFill>
          <a:ln w="317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chemeClr val="tx1"/>
              </a:solidFill>
            </a:endParaRPr>
          </a:p>
        </p:txBody>
      </p:sp>
      <p:sp>
        <p:nvSpPr>
          <p:cNvPr id="13332" name="Text Placeholder 2"/>
          <p:cNvSpPr>
            <a:spLocks noGrp="1"/>
          </p:cNvSpPr>
          <p:nvPr>
            <p:custDataLst>
              <p:tags r:id="rId11"/>
            </p:custDataLst>
          </p:nvPr>
        </p:nvSpPr>
        <p:spPr bwMode="auto">
          <a:xfrm>
            <a:off x="2884488" y="3216275"/>
            <a:ext cx="303212" cy="168275"/>
          </a:xfrm>
          <a:prstGeom prst="rect">
            <a:avLst/>
          </a:prstGeom>
          <a:noFill/>
          <a:ln w="9525">
            <a:noFill/>
            <a:miter lim="800000"/>
            <a:headEnd/>
            <a:tailEnd/>
          </a:ln>
        </p:spPr>
        <p:txBody>
          <a:bodyPr wrap="none" lIns="0" tIns="0" rIns="0" bIns="0" anchor="ctr"/>
          <a:lstStyle/>
          <a:p>
            <a:pPr defTabSz="895350">
              <a:buClr>
                <a:schemeClr val="tx2"/>
              </a:buClr>
              <a:buSzPct val="100000"/>
            </a:pPr>
            <a:fld id="{7DDF03CE-E459-48FE-AA8F-F9390186157A}" type="datetime'M''''''a''''''''''''''''l''''''''''''''''''''e'''''''">
              <a:rPr lang="en-ZA" altLang="en-US" sz="1100">
                <a:sym typeface="+mn-lt"/>
              </a:rPr>
              <a:pPr defTabSz="895350">
                <a:buClr>
                  <a:schemeClr val="tx2"/>
                </a:buClr>
                <a:buSzPct val="100000"/>
              </a:pPr>
              <a:t>Male</a:t>
            </a:fld>
            <a:endParaRPr lang="en-ZA" sz="1100">
              <a:sym typeface="+mn-lt"/>
            </a:endParaRPr>
          </a:p>
        </p:txBody>
      </p:sp>
      <p:sp>
        <p:nvSpPr>
          <p:cNvPr id="13333" name="Text Placeholder 2"/>
          <p:cNvSpPr>
            <a:spLocks noGrp="1"/>
          </p:cNvSpPr>
          <p:nvPr>
            <p:custDataLst>
              <p:tags r:id="rId12"/>
            </p:custDataLst>
          </p:nvPr>
        </p:nvSpPr>
        <p:spPr bwMode="auto">
          <a:xfrm>
            <a:off x="3643313" y="3216275"/>
            <a:ext cx="466725" cy="168275"/>
          </a:xfrm>
          <a:prstGeom prst="rect">
            <a:avLst/>
          </a:prstGeom>
          <a:noFill/>
          <a:ln w="9525">
            <a:noFill/>
            <a:miter lim="800000"/>
            <a:headEnd/>
            <a:tailEnd/>
          </a:ln>
        </p:spPr>
        <p:txBody>
          <a:bodyPr wrap="none" lIns="0" tIns="0" rIns="0" bIns="0" anchor="ctr"/>
          <a:lstStyle/>
          <a:p>
            <a:pPr defTabSz="895350">
              <a:buClr>
                <a:schemeClr val="tx2"/>
              </a:buClr>
              <a:buSzPct val="100000"/>
            </a:pPr>
            <a:fld id="{1A37E9DE-9BC2-4842-A211-53F871E173F4}" type="datetime'F''''''''''e''m''''''''''''''''''''al''''''e'''''''">
              <a:rPr lang="en-ZA" altLang="en-US" sz="1100">
                <a:sym typeface="+mn-lt"/>
              </a:rPr>
              <a:pPr defTabSz="895350">
                <a:buClr>
                  <a:schemeClr val="tx2"/>
                </a:buClr>
                <a:buSzPct val="100000"/>
              </a:pPr>
              <a:t>Female</a:t>
            </a:fld>
            <a:endParaRPr lang="en-ZA" sz="1100">
              <a:sym typeface="+mn-lt"/>
            </a:endParaRPr>
          </a:p>
        </p:txBody>
      </p:sp>
      <p:sp>
        <p:nvSpPr>
          <p:cNvPr id="13334" name="TextBox 64"/>
          <p:cNvSpPr txBox="1">
            <a:spLocks/>
          </p:cNvSpPr>
          <p:nvPr/>
        </p:nvSpPr>
        <p:spPr bwMode="auto">
          <a:xfrm>
            <a:off x="119063" y="3808413"/>
            <a:ext cx="1479550" cy="369887"/>
          </a:xfrm>
          <a:prstGeom prst="rect">
            <a:avLst/>
          </a:prstGeom>
          <a:noFill/>
          <a:ln w="9525">
            <a:noFill/>
            <a:miter lim="800000"/>
            <a:headEnd/>
            <a:tailEnd/>
          </a:ln>
        </p:spPr>
        <p:txBody>
          <a:bodyPr lIns="0" tIns="0" rIns="0" bIns="0" anchor="b"/>
          <a:lstStyle/>
          <a:p>
            <a:pPr defTabSz="895350">
              <a:buClr>
                <a:schemeClr val="tx2"/>
              </a:buClr>
              <a:buSzPct val="100000"/>
            </a:pPr>
            <a:r>
              <a:rPr lang="en-US" sz="1400" b="1">
                <a:ea typeface="Argumentum Light"/>
                <a:cs typeface="Argumentum Light"/>
              </a:rPr>
              <a:t>Secondary school completion rate (%) </a:t>
            </a:r>
          </a:p>
        </p:txBody>
      </p:sp>
      <p:sp>
        <p:nvSpPr>
          <p:cNvPr id="13335" name="TextBox 63"/>
          <p:cNvSpPr txBox="1">
            <a:spLocks/>
          </p:cNvSpPr>
          <p:nvPr/>
        </p:nvSpPr>
        <p:spPr bwMode="auto">
          <a:xfrm>
            <a:off x="119063" y="2103438"/>
            <a:ext cx="1479550" cy="369887"/>
          </a:xfrm>
          <a:prstGeom prst="rect">
            <a:avLst/>
          </a:prstGeom>
          <a:noFill/>
          <a:ln w="9525">
            <a:noFill/>
            <a:miter lim="800000"/>
            <a:headEnd/>
            <a:tailEnd/>
          </a:ln>
        </p:spPr>
        <p:txBody>
          <a:bodyPr lIns="0" tIns="0" rIns="0" bIns="0" anchor="b"/>
          <a:lstStyle/>
          <a:p>
            <a:pPr defTabSz="895350">
              <a:buClr>
                <a:schemeClr val="tx2"/>
              </a:buClr>
              <a:buSzPct val="100000"/>
            </a:pPr>
            <a:r>
              <a:rPr lang="en-US" sz="1400" b="1">
                <a:ea typeface="Argumentum Light"/>
                <a:cs typeface="Argumentum Light"/>
              </a:rPr>
              <a:t>Primary school attendance net ratio (%) </a:t>
            </a:r>
          </a:p>
        </p:txBody>
      </p:sp>
      <p:sp>
        <p:nvSpPr>
          <p:cNvPr id="13336" name="TextBox 65"/>
          <p:cNvSpPr txBox="1">
            <a:spLocks/>
          </p:cNvSpPr>
          <p:nvPr/>
        </p:nvSpPr>
        <p:spPr bwMode="auto">
          <a:xfrm>
            <a:off x="119063" y="5216525"/>
            <a:ext cx="1479550" cy="554038"/>
          </a:xfrm>
          <a:prstGeom prst="rect">
            <a:avLst/>
          </a:prstGeom>
          <a:noFill/>
          <a:ln w="9525">
            <a:noFill/>
            <a:miter lim="800000"/>
            <a:headEnd/>
            <a:tailEnd/>
          </a:ln>
        </p:spPr>
        <p:txBody>
          <a:bodyPr lIns="0" tIns="0" rIns="0" bIns="0" anchor="b"/>
          <a:lstStyle/>
          <a:p>
            <a:pPr defTabSz="895350">
              <a:buClr>
                <a:schemeClr val="tx2"/>
              </a:buClr>
              <a:buSzPct val="100000"/>
            </a:pPr>
            <a:r>
              <a:rPr lang="en-US" sz="1400" b="1">
                <a:ea typeface="Argumentum Light"/>
                <a:cs typeface="Argumentum Light"/>
              </a:rPr>
              <a:t>Literacy Rates</a:t>
            </a:r>
            <a:r>
              <a:rPr lang="en-US" sz="1400" b="1" baseline="30000">
                <a:ea typeface="Argumentum Light"/>
                <a:cs typeface="Argumentum Light"/>
              </a:rPr>
              <a:t>1</a:t>
            </a:r>
            <a:r>
              <a:rPr lang="en-US" sz="1400" b="1">
                <a:ea typeface="Argumentum Light"/>
                <a:cs typeface="Argumentum Light"/>
              </a:rPr>
              <a:t>, % </a:t>
            </a:r>
          </a:p>
        </p:txBody>
      </p:sp>
      <p:grpSp>
        <p:nvGrpSpPr>
          <p:cNvPr id="13337" name="Group 2"/>
          <p:cNvGrpSpPr>
            <a:grpSpLocks/>
          </p:cNvGrpSpPr>
          <p:nvPr/>
        </p:nvGrpSpPr>
        <p:grpSpPr bwMode="auto">
          <a:xfrm>
            <a:off x="33338" y="3128963"/>
            <a:ext cx="4162425" cy="1704975"/>
            <a:chOff x="1655763" y="2995613"/>
            <a:chExt cx="2509838" cy="1704975"/>
          </a:xfrm>
        </p:grpSpPr>
        <p:cxnSp>
          <p:nvCxnSpPr>
            <p:cNvPr id="34" name="Straight Connector 33">
              <a:extLst>
                <a:ext uri="{FF2B5EF4-FFF2-40B4-BE49-F238E27FC236}"/>
              </a:extLst>
            </p:cNvPr>
            <p:cNvCxnSpPr>
              <a:cxnSpLocks/>
            </p:cNvCxnSpPr>
            <p:nvPr/>
          </p:nvCxnSpPr>
          <p:spPr>
            <a:xfrm>
              <a:off x="1655763" y="2995613"/>
              <a:ext cx="2509838" cy="0"/>
            </a:xfrm>
            <a:prstGeom prst="line">
              <a:avLst/>
            </a:prstGeom>
            <a:ln w="9525" cap="rnd">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extLst>
            </p:cNvPr>
            <p:cNvCxnSpPr>
              <a:cxnSpLocks/>
            </p:cNvCxnSpPr>
            <p:nvPr/>
          </p:nvCxnSpPr>
          <p:spPr>
            <a:xfrm>
              <a:off x="1655763" y="4700588"/>
              <a:ext cx="2509838" cy="0"/>
            </a:xfrm>
            <a:prstGeom prst="line">
              <a:avLst/>
            </a:prstGeom>
            <a:ln w="9525" cap="rnd">
              <a:solidFill>
                <a:schemeClr val="accent6">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517" name="ACET">
            <a:extLst>
              <a:ext uri="{FF2B5EF4-FFF2-40B4-BE49-F238E27FC236}"/>
            </a:extLst>
          </p:cNvPr>
          <p:cNvSpPr>
            <a:spLocks noChangeArrowheads="1"/>
          </p:cNvSpPr>
          <p:nvPr/>
        </p:nvSpPr>
        <p:spPr bwMode="gray">
          <a:xfrm>
            <a:off x="119063" y="1184275"/>
            <a:ext cx="4046537" cy="215900"/>
          </a:xfrm>
          <a:prstGeom prst="leftRightArrow">
            <a:avLst>
              <a:gd name="adj1" fmla="val 100000"/>
              <a:gd name="adj2" fmla="val 0"/>
            </a:avLst>
          </a:prstGeom>
          <a:extLst>
            <a:ext uri="{909E8E84-426E-40DD-AFC4-6F175D3DCCD1}"/>
            <a:ext uri="{91240B29-F687-4F45-9708-019B960494DF}"/>
            <a:ext uri="{AF507438-7753-43E0-B8FC-AC1667EBCBE1}"/>
          </a:extLst>
        </p:spPr>
        <p:txBody>
          <a:bodyPr lIns="0" tIns="0" rIns="0" bIns="0" anchor="b">
            <a:spAutoFit/>
          </a:bodyPr>
          <a:lstStyle/>
          <a:p>
            <a:pPr defTabSz="895350">
              <a:buClr>
                <a:schemeClr val="tx2"/>
              </a:buClr>
              <a:buSzPct val="100000"/>
              <a:defRPr/>
            </a:pPr>
            <a:r>
              <a:rPr lang="en-US" sz="1400" dirty="0">
                <a:solidFill>
                  <a:schemeClr val="bg1"/>
                </a:solidFill>
                <a:latin typeface="+mn-lt"/>
                <a:cs typeface="Argumentum Light" panose="020B0000000000000000" pitchFamily="34" charset="0"/>
              </a:rPr>
              <a:t>Outcome areas</a:t>
            </a:r>
          </a:p>
        </p:txBody>
      </p:sp>
      <p:sp>
        <p:nvSpPr>
          <p:cNvPr id="244" name="AutoShape 250">
            <a:extLst>
              <a:ext uri="{FF2B5EF4-FFF2-40B4-BE49-F238E27FC236}"/>
            </a:extLst>
          </p:cNvPr>
          <p:cNvSpPr>
            <a:spLocks noChangeArrowheads="1"/>
          </p:cNvSpPr>
          <p:nvPr/>
        </p:nvSpPr>
        <p:spPr bwMode="gray">
          <a:xfrm>
            <a:off x="4538663" y="1184275"/>
            <a:ext cx="4198937" cy="215900"/>
          </a:xfrm>
          <a:prstGeom prst="leftRightArrow">
            <a:avLst>
              <a:gd name="adj1" fmla="val 100000"/>
              <a:gd name="adj2" fmla="val 0"/>
            </a:avLst>
          </a:prstGeom>
          <a:extLst>
            <a:ext uri="{909E8E84-426E-40DD-AFC4-6F175D3DCCD1}"/>
            <a:ext uri="{91240B29-F687-4F45-9708-019B960494DF}"/>
            <a:ext uri="{AF507438-7753-43E0-B8FC-AC1667EBCBE1}"/>
          </a:extLst>
        </p:spPr>
        <p:txBody>
          <a:bodyPr lIns="0" tIns="0" rIns="0" bIns="0" anchor="b">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895350">
              <a:buClr>
                <a:schemeClr val="tx2"/>
              </a:buClr>
              <a:buSzPct val="100000"/>
              <a:defRPr/>
            </a:pPr>
            <a:r>
              <a:rPr lang="en-US" sz="1400" dirty="0">
                <a:solidFill>
                  <a:schemeClr val="bg1"/>
                </a:solidFill>
                <a:latin typeface="+mn-lt"/>
                <a:cs typeface="Argumentum Light" panose="020B0000000000000000" pitchFamily="34" charset="0"/>
              </a:rPr>
              <a:t>Children out of school at primary school age %, </a:t>
            </a:r>
            <a:r>
              <a:rPr lang="en-US" sz="1400" dirty="0">
                <a:solidFill>
                  <a:schemeClr val="accent6">
                    <a:lumMod val="20000"/>
                    <a:lumOff val="80000"/>
                  </a:schemeClr>
                </a:solidFill>
                <a:latin typeface="+mn-lt"/>
                <a:cs typeface="Argumentum Light" panose="020B0000000000000000" pitchFamily="34" charset="0"/>
              </a:rPr>
              <a:t>2010</a:t>
            </a:r>
          </a:p>
        </p:txBody>
      </p:sp>
      <p:graphicFrame>
        <p:nvGraphicFramePr>
          <p:cNvPr id="13340" name="Chart 76"/>
          <p:cNvGraphicFramePr>
            <a:graphicFrameLocks/>
          </p:cNvGraphicFramePr>
          <p:nvPr/>
        </p:nvGraphicFramePr>
        <p:xfrm>
          <a:off x="6032500" y="1374775"/>
          <a:ext cx="1898650" cy="5157788"/>
        </p:xfrm>
        <a:graphic>
          <a:graphicData uri="http://schemas.openxmlformats.org/presentationml/2006/ole">
            <p:oleObj spid="_x0000_s13340" r:id="rId33" imgW="1896020" imgH="5157663" progId="Excel.Sheet.8">
              <p:embed/>
            </p:oleObj>
          </a:graphicData>
        </a:graphic>
      </p:graphicFrame>
      <p:sp>
        <p:nvSpPr>
          <p:cNvPr id="13341" name="Text Placeholder 2"/>
          <p:cNvSpPr>
            <a:spLocks noGrp="1"/>
          </p:cNvSpPr>
          <p:nvPr>
            <p:custDataLst>
              <p:tags r:id="rId13"/>
            </p:custDataLst>
          </p:nvPr>
        </p:nvSpPr>
        <p:spPr bwMode="auto">
          <a:xfrm>
            <a:off x="5002213" y="4752975"/>
            <a:ext cx="590550" cy="212725"/>
          </a:xfrm>
          <a:prstGeom prst="rect">
            <a:avLst/>
          </a:prstGeom>
          <a:noFill/>
          <a:ln w="9525">
            <a:noFill/>
            <a:miter lim="800000"/>
            <a:headEnd/>
            <a:tailEnd/>
          </a:ln>
        </p:spPr>
        <p:txBody>
          <a:bodyPr wrap="none" lIns="0" tIns="0" rIns="0" bIns="0" anchor="ctr"/>
          <a:lstStyle/>
          <a:p>
            <a:pPr defTabSz="895350">
              <a:buClr>
                <a:schemeClr val="tx2"/>
              </a:buClr>
              <a:buSzPct val="100000"/>
            </a:pPr>
            <a:fld id="{15271538-86B5-400A-A4AD-C579DE4F74AC}" type="datetime'''''''''''''''''''Z''''''''''am''''''''''''b''''''''i''a'">
              <a:rPr lang="en-ZA" altLang="en-US" sz="1400"/>
              <a:pPr defTabSz="895350">
                <a:buClr>
                  <a:schemeClr val="tx2"/>
                </a:buClr>
                <a:buSzPct val="100000"/>
              </a:pPr>
              <a:t>Zambia</a:t>
            </a:fld>
            <a:endParaRPr lang="en-ZA" sz="1400">
              <a:sym typeface="+mn-lt"/>
            </a:endParaRPr>
          </a:p>
        </p:txBody>
      </p:sp>
      <p:sp>
        <p:nvSpPr>
          <p:cNvPr id="13342" name="Text Placeholder 2"/>
          <p:cNvSpPr>
            <a:spLocks noGrp="1"/>
          </p:cNvSpPr>
          <p:nvPr>
            <p:custDataLst>
              <p:tags r:id="rId14"/>
            </p:custDataLst>
          </p:nvPr>
        </p:nvSpPr>
        <p:spPr bwMode="auto">
          <a:xfrm>
            <a:off x="5002213" y="1576388"/>
            <a:ext cx="995362" cy="212725"/>
          </a:xfrm>
          <a:prstGeom prst="rect">
            <a:avLst/>
          </a:prstGeom>
          <a:noFill/>
          <a:ln w="9525">
            <a:noFill/>
            <a:miter lim="800000"/>
            <a:headEnd/>
            <a:tailEnd/>
          </a:ln>
        </p:spPr>
        <p:txBody>
          <a:bodyPr wrap="none" lIns="0" tIns="0" rIns="0" bIns="0" anchor="ctr"/>
          <a:lstStyle/>
          <a:p>
            <a:pPr defTabSz="895350">
              <a:buClr>
                <a:schemeClr val="tx2"/>
              </a:buClr>
              <a:buSzPct val="100000"/>
            </a:pPr>
            <a:fld id="{20031922-212D-4BE0-B432-5AD65C1ED396}" type="datetime'''''''Cô''''''te ''''''''''''''''''''d''’I''vo''i''r''''e'''">
              <a:rPr lang="en-ZA" altLang="en-US" sz="1400"/>
              <a:pPr defTabSz="895350">
                <a:buClr>
                  <a:schemeClr val="tx2"/>
                </a:buClr>
                <a:buSzPct val="100000"/>
              </a:pPr>
              <a:t>Côte d’Ivoire</a:t>
            </a:fld>
            <a:endParaRPr lang="en-ZA" sz="1400">
              <a:sym typeface="+mn-lt"/>
            </a:endParaRPr>
          </a:p>
        </p:txBody>
      </p:sp>
      <p:sp>
        <p:nvSpPr>
          <p:cNvPr id="13343" name="Text Placeholder 2"/>
          <p:cNvSpPr>
            <a:spLocks noGrp="1"/>
          </p:cNvSpPr>
          <p:nvPr>
            <p:custDataLst>
              <p:tags r:id="rId15"/>
            </p:custDataLst>
          </p:nvPr>
        </p:nvSpPr>
        <p:spPr bwMode="auto">
          <a:xfrm>
            <a:off x="5002213" y="2030413"/>
            <a:ext cx="561975" cy="212725"/>
          </a:xfrm>
          <a:prstGeom prst="rect">
            <a:avLst/>
          </a:prstGeom>
          <a:noFill/>
          <a:ln w="9525">
            <a:noFill/>
            <a:miter lim="800000"/>
            <a:headEnd/>
            <a:tailEnd/>
          </a:ln>
        </p:spPr>
        <p:txBody>
          <a:bodyPr wrap="none" lIns="0" tIns="0" rIns="0" bIns="0" anchor="ctr"/>
          <a:lstStyle/>
          <a:p>
            <a:pPr defTabSz="895350">
              <a:buClr>
                <a:schemeClr val="tx2"/>
              </a:buClr>
              <a:buSzPct val="100000"/>
            </a:pPr>
            <a:fld id="{06912BE0-FFD4-4C99-A10B-314B9393153E}" type="datetime'''''''''''N''''''''''''''''''''i''g''''''''er''''''''i''a'">
              <a:rPr lang="en-ZA" altLang="en-US" sz="1400"/>
              <a:pPr defTabSz="895350">
                <a:buClr>
                  <a:schemeClr val="tx2"/>
                </a:buClr>
                <a:buSzPct val="100000"/>
              </a:pPr>
              <a:t>Nigeria</a:t>
            </a:fld>
            <a:endParaRPr lang="en-ZA" sz="1400">
              <a:sym typeface="+mn-lt"/>
            </a:endParaRPr>
          </a:p>
        </p:txBody>
      </p:sp>
      <p:sp>
        <p:nvSpPr>
          <p:cNvPr id="13344" name="Text Placeholder 2"/>
          <p:cNvSpPr>
            <a:spLocks noGrp="1"/>
          </p:cNvSpPr>
          <p:nvPr>
            <p:custDataLst>
              <p:tags r:id="rId16"/>
            </p:custDataLst>
          </p:nvPr>
        </p:nvSpPr>
        <p:spPr bwMode="auto">
          <a:xfrm>
            <a:off x="5002213" y="3392488"/>
            <a:ext cx="641350" cy="212725"/>
          </a:xfrm>
          <a:prstGeom prst="rect">
            <a:avLst/>
          </a:prstGeom>
          <a:noFill/>
          <a:ln w="9525">
            <a:noFill/>
            <a:miter lim="800000"/>
            <a:headEnd/>
            <a:tailEnd/>
          </a:ln>
        </p:spPr>
        <p:txBody>
          <a:bodyPr wrap="none" lIns="0" tIns="0" rIns="0" bIns="0" anchor="ctr"/>
          <a:lstStyle/>
          <a:p>
            <a:pPr defTabSz="895350">
              <a:buClr>
                <a:schemeClr val="tx2"/>
              </a:buClr>
              <a:buSzPct val="100000"/>
            </a:pPr>
            <a:fld id="{45E0C85D-8BD8-4FF1-B873-B77C9B5D94C6}" type="datetime'E''th''''i''''opi''''''''''a'''''''''''''''''''''''''''''''">
              <a:rPr lang="en-ZA" altLang="en-US" sz="1400"/>
              <a:pPr defTabSz="895350">
                <a:buClr>
                  <a:schemeClr val="tx2"/>
                </a:buClr>
                <a:buSzPct val="100000"/>
              </a:pPr>
              <a:t>Ethiopia</a:t>
            </a:fld>
            <a:endParaRPr lang="en-ZA" sz="1400">
              <a:sym typeface="+mn-lt"/>
            </a:endParaRPr>
          </a:p>
        </p:txBody>
      </p:sp>
      <p:sp>
        <p:nvSpPr>
          <p:cNvPr id="13345" name="Text Placeholder 2"/>
          <p:cNvSpPr>
            <a:spLocks noGrp="1"/>
          </p:cNvSpPr>
          <p:nvPr>
            <p:custDataLst>
              <p:tags r:id="rId17"/>
            </p:custDataLst>
          </p:nvPr>
        </p:nvSpPr>
        <p:spPr bwMode="auto">
          <a:xfrm>
            <a:off x="5002213" y="2484438"/>
            <a:ext cx="3254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6443F975-8D92-4A36-90E0-26E9295BD685}" type="datetime'''M''''''''''''''a''''''''''''l''''i'''''''''''''''''''''''">
              <a:rPr lang="en-ZA" altLang="en-US" sz="1400"/>
              <a:pPr defTabSz="895350">
                <a:buClr>
                  <a:schemeClr val="tx2"/>
                </a:buClr>
                <a:buSzPct val="100000"/>
              </a:pPr>
              <a:t>Mali</a:t>
            </a:fld>
            <a:endParaRPr lang="en-ZA" sz="1400">
              <a:sym typeface="+mn-lt"/>
            </a:endParaRPr>
          </a:p>
        </p:txBody>
      </p:sp>
      <p:sp>
        <p:nvSpPr>
          <p:cNvPr id="13346" name="Text Placeholder 2"/>
          <p:cNvSpPr>
            <a:spLocks noGrp="1"/>
          </p:cNvSpPr>
          <p:nvPr>
            <p:custDataLst>
              <p:tags r:id="rId18"/>
            </p:custDataLst>
          </p:nvPr>
        </p:nvSpPr>
        <p:spPr bwMode="auto">
          <a:xfrm>
            <a:off x="5002213" y="2938463"/>
            <a:ext cx="650875" cy="212725"/>
          </a:xfrm>
          <a:prstGeom prst="rect">
            <a:avLst/>
          </a:prstGeom>
          <a:noFill/>
          <a:ln w="9525">
            <a:noFill/>
            <a:miter lim="800000"/>
            <a:headEnd/>
            <a:tailEnd/>
          </a:ln>
        </p:spPr>
        <p:txBody>
          <a:bodyPr wrap="none" lIns="0" tIns="0" rIns="0" bIns="0" anchor="ctr"/>
          <a:lstStyle/>
          <a:p>
            <a:pPr defTabSz="895350">
              <a:buClr>
                <a:schemeClr val="tx2"/>
              </a:buClr>
              <a:buSzPct val="100000"/>
            </a:pPr>
            <a:fld id="{4C389B3D-8D92-4ECF-AE25-A258EE02FB97}" type="datetime'''S''''''e''''ne''''''''''''''g''a''''''l'''">
              <a:rPr lang="en-ZA" altLang="en-US" sz="1400"/>
              <a:pPr defTabSz="895350">
                <a:buClr>
                  <a:schemeClr val="tx2"/>
                </a:buClr>
                <a:buSzPct val="100000"/>
              </a:pPr>
              <a:t>Senegal</a:t>
            </a:fld>
            <a:endParaRPr lang="en-ZA" sz="1400">
              <a:sym typeface="+mn-lt"/>
            </a:endParaRPr>
          </a:p>
        </p:txBody>
      </p:sp>
      <p:sp>
        <p:nvSpPr>
          <p:cNvPr id="13347" name="Text Placeholder 2"/>
          <p:cNvSpPr>
            <a:spLocks noGrp="1"/>
          </p:cNvSpPr>
          <p:nvPr>
            <p:custDataLst>
              <p:tags r:id="rId19"/>
            </p:custDataLst>
          </p:nvPr>
        </p:nvSpPr>
        <p:spPr bwMode="auto">
          <a:xfrm>
            <a:off x="5002213" y="3846513"/>
            <a:ext cx="681037" cy="212725"/>
          </a:xfrm>
          <a:prstGeom prst="rect">
            <a:avLst/>
          </a:prstGeom>
          <a:noFill/>
          <a:ln w="9525">
            <a:noFill/>
            <a:miter lim="800000"/>
            <a:headEnd/>
            <a:tailEnd/>
          </a:ln>
        </p:spPr>
        <p:txBody>
          <a:bodyPr wrap="none" lIns="0" tIns="0" rIns="0" bIns="0" anchor="ctr"/>
          <a:lstStyle/>
          <a:p>
            <a:pPr defTabSz="895350">
              <a:buClr>
                <a:schemeClr val="tx2"/>
              </a:buClr>
              <a:buSzPct val="100000"/>
            </a:pPr>
            <a:fld id="{82FE6F82-3DCA-4116-8B80-8E0EB29562C6}" type="datetime'''''''''''P''''''''''a''k''''''''''is''''''ta''''''''''n'''''">
              <a:rPr lang="en-ZA" altLang="en-US" sz="1400"/>
              <a:pPr defTabSz="895350">
                <a:buClr>
                  <a:schemeClr val="tx2"/>
                </a:buClr>
                <a:buSzPct val="100000"/>
              </a:pPr>
              <a:t>Pakistan</a:t>
            </a:fld>
            <a:endParaRPr lang="en-ZA" sz="1400">
              <a:sym typeface="+mn-lt"/>
            </a:endParaRPr>
          </a:p>
        </p:txBody>
      </p:sp>
      <p:sp>
        <p:nvSpPr>
          <p:cNvPr id="13348" name="Text Placeholder 2"/>
          <p:cNvSpPr>
            <a:spLocks noGrp="1"/>
          </p:cNvSpPr>
          <p:nvPr>
            <p:custDataLst>
              <p:tags r:id="rId20"/>
            </p:custDataLst>
          </p:nvPr>
        </p:nvSpPr>
        <p:spPr bwMode="auto">
          <a:xfrm>
            <a:off x="5002213" y="4298950"/>
            <a:ext cx="552450" cy="212725"/>
          </a:xfrm>
          <a:prstGeom prst="rect">
            <a:avLst/>
          </a:prstGeom>
          <a:noFill/>
          <a:ln w="9525">
            <a:noFill/>
            <a:miter lim="800000"/>
            <a:headEnd/>
            <a:tailEnd/>
          </a:ln>
        </p:spPr>
        <p:txBody>
          <a:bodyPr wrap="none" lIns="0" tIns="0" rIns="0" bIns="0" anchor="ctr"/>
          <a:lstStyle/>
          <a:p>
            <a:pPr defTabSz="895350">
              <a:buClr>
                <a:schemeClr val="tx2"/>
              </a:buClr>
              <a:buSzPct val="100000"/>
            </a:pPr>
            <a:fld id="{BA22AAE6-8DD8-4575-86F9-B130206465FA}" type="datetime'''''''''An''''g''''''''''''''''''o''''''''l''''''''''''a'''''">
              <a:rPr lang="en-ZA" altLang="en-US" sz="1400"/>
              <a:pPr defTabSz="895350">
                <a:buClr>
                  <a:schemeClr val="tx2"/>
                </a:buClr>
                <a:buSzPct val="100000"/>
              </a:pPr>
              <a:t>Angola</a:t>
            </a:fld>
            <a:endParaRPr lang="en-ZA" sz="1400">
              <a:sym typeface="+mn-lt"/>
            </a:endParaRPr>
          </a:p>
        </p:txBody>
      </p:sp>
      <p:sp>
        <p:nvSpPr>
          <p:cNvPr id="13349" name="Text Placeholder 2"/>
          <p:cNvSpPr>
            <a:spLocks noGrp="1"/>
          </p:cNvSpPr>
          <p:nvPr>
            <p:custDataLst>
              <p:tags r:id="rId21"/>
            </p:custDataLst>
          </p:nvPr>
        </p:nvSpPr>
        <p:spPr bwMode="auto">
          <a:xfrm>
            <a:off x="5002213" y="5207000"/>
            <a:ext cx="709612" cy="212725"/>
          </a:xfrm>
          <a:prstGeom prst="rect">
            <a:avLst/>
          </a:prstGeom>
          <a:noFill/>
          <a:ln w="9525">
            <a:noFill/>
            <a:miter lim="800000"/>
            <a:headEnd/>
            <a:tailEnd/>
          </a:ln>
        </p:spPr>
        <p:txBody>
          <a:bodyPr wrap="none" lIns="0" tIns="0" rIns="0" bIns="0" anchor="ctr"/>
          <a:lstStyle/>
          <a:p>
            <a:pPr defTabSz="895350">
              <a:buClr>
                <a:schemeClr val="tx2"/>
              </a:buClr>
              <a:buSzPct val="100000"/>
            </a:pPr>
            <a:fld id="{269EF354-1A57-403C-964B-EE50CB39458C}" type="datetime'T''''''a''''nzan''''''''''''''''''''i''''''''a'">
              <a:rPr lang="en-ZA" altLang="en-US" sz="1400"/>
              <a:pPr defTabSz="895350">
                <a:buClr>
                  <a:schemeClr val="tx2"/>
                </a:buClr>
                <a:buSzPct val="100000"/>
              </a:pPr>
              <a:t>Tanzania</a:t>
            </a:fld>
            <a:endParaRPr lang="en-ZA" sz="1400">
              <a:sym typeface="+mn-lt"/>
            </a:endParaRPr>
          </a:p>
        </p:txBody>
      </p:sp>
      <p:sp>
        <p:nvSpPr>
          <p:cNvPr id="13350" name="Text Placeholder 2"/>
          <p:cNvSpPr>
            <a:spLocks noGrp="1"/>
          </p:cNvSpPr>
          <p:nvPr>
            <p:custDataLst>
              <p:tags r:id="rId22"/>
            </p:custDataLst>
          </p:nvPr>
        </p:nvSpPr>
        <p:spPr bwMode="auto">
          <a:xfrm>
            <a:off x="5002213" y="5661025"/>
            <a:ext cx="768350" cy="212725"/>
          </a:xfrm>
          <a:prstGeom prst="rect">
            <a:avLst/>
          </a:prstGeom>
          <a:noFill/>
          <a:ln w="9525">
            <a:noFill/>
            <a:miter lim="800000"/>
            <a:headEnd/>
            <a:tailEnd/>
          </a:ln>
        </p:spPr>
        <p:txBody>
          <a:bodyPr wrap="none" lIns="0" tIns="0" rIns="0" bIns="0" anchor="ctr"/>
          <a:lstStyle/>
          <a:p>
            <a:pPr defTabSz="895350">
              <a:buClr>
                <a:schemeClr val="tx2"/>
              </a:buClr>
              <a:buSzPct val="100000"/>
            </a:pPr>
            <a:fld id="{D13D08DE-BA6B-48DB-A523-175446408A2F}" type="datetime'I''n''''''''''d''''o''''''''''ne''s''''''''''''ia'''''''''''">
              <a:rPr lang="en-ZA" altLang="en-US" sz="1400"/>
              <a:pPr defTabSz="895350">
                <a:buClr>
                  <a:schemeClr val="tx2"/>
                </a:buClr>
                <a:buSzPct val="100000"/>
              </a:pPr>
              <a:t>Indonesia</a:t>
            </a:fld>
            <a:endParaRPr lang="en-ZA" sz="1400">
              <a:sym typeface="+mn-lt"/>
            </a:endParaRPr>
          </a:p>
        </p:txBody>
      </p:sp>
      <p:sp>
        <p:nvSpPr>
          <p:cNvPr id="13351" name="Text Placeholder 2"/>
          <p:cNvSpPr>
            <a:spLocks noGrp="1"/>
          </p:cNvSpPr>
          <p:nvPr>
            <p:custDataLst>
              <p:tags r:id="rId23"/>
            </p:custDataLst>
          </p:nvPr>
        </p:nvSpPr>
        <p:spPr bwMode="auto">
          <a:xfrm>
            <a:off x="5002213" y="6115050"/>
            <a:ext cx="454025" cy="212725"/>
          </a:xfrm>
          <a:prstGeom prst="rect">
            <a:avLst/>
          </a:prstGeom>
          <a:noFill/>
          <a:ln w="9525">
            <a:noFill/>
            <a:miter lim="800000"/>
            <a:headEnd/>
            <a:tailEnd/>
          </a:ln>
        </p:spPr>
        <p:txBody>
          <a:bodyPr wrap="none" lIns="0" tIns="0" rIns="0" bIns="0" anchor="ctr"/>
          <a:lstStyle/>
          <a:p>
            <a:pPr defTabSz="895350">
              <a:buClr>
                <a:schemeClr val="tx2"/>
              </a:buClr>
              <a:buSzPct val="100000"/>
            </a:pPr>
            <a:fld id="{BE1E3A98-0964-45AF-B035-2BEC7B58E4D9}" type="datetime'''''''''''''E''''''''''''''''''''gy''p''''''''''''''''t'''''''">
              <a:rPr lang="en-ZA" altLang="en-US" sz="1400"/>
              <a:pPr defTabSz="895350">
                <a:buClr>
                  <a:schemeClr val="tx2"/>
                </a:buClr>
                <a:buSzPct val="100000"/>
              </a:pPr>
              <a:t>Egypt</a:t>
            </a:fld>
            <a:endParaRPr lang="en-ZA" sz="1400">
              <a:sym typeface="+mn-lt"/>
            </a:endParaRPr>
          </a:p>
        </p:txBody>
      </p:sp>
      <p:sp>
        <p:nvSpPr>
          <p:cNvPr id="13352" name="Text Placeholder 2"/>
          <p:cNvSpPr>
            <a:spLocks noGrp="1"/>
          </p:cNvSpPr>
          <p:nvPr>
            <p:custDataLst>
              <p:tags r:id="rId24"/>
            </p:custDataLst>
          </p:nvPr>
        </p:nvSpPr>
        <p:spPr bwMode="gray">
          <a:xfrm>
            <a:off x="7874000" y="1576388"/>
            <a:ext cx="241300" cy="212725"/>
          </a:xfrm>
          <a:prstGeom prst="rect">
            <a:avLst/>
          </a:prstGeom>
          <a:noFill/>
          <a:ln w="9525">
            <a:noFill/>
            <a:miter lim="800000"/>
            <a:headEnd/>
            <a:tailEnd/>
          </a:ln>
        </p:spPr>
        <p:txBody>
          <a:bodyPr wrap="none" lIns="22225" tIns="0" rIns="22225" bIns="0" anchor="ctr"/>
          <a:lstStyle/>
          <a:p>
            <a:pPr defTabSz="895350">
              <a:buClr>
                <a:schemeClr val="tx2"/>
              </a:buClr>
              <a:buSzPct val="100000"/>
            </a:pPr>
            <a:r>
              <a:rPr lang="en-US" sz="1400">
                <a:sym typeface="+mn-lt"/>
              </a:rPr>
              <a:t>44</a:t>
            </a:r>
            <a:endParaRPr lang="en-ZA" sz="1400">
              <a:sym typeface="+mn-lt"/>
            </a:endParaRPr>
          </a:p>
        </p:txBody>
      </p:sp>
      <p:grpSp>
        <p:nvGrpSpPr>
          <p:cNvPr id="13353" name="Group 3"/>
          <p:cNvGrpSpPr>
            <a:grpSpLocks/>
          </p:cNvGrpSpPr>
          <p:nvPr/>
        </p:nvGrpSpPr>
        <p:grpSpPr bwMode="auto">
          <a:xfrm>
            <a:off x="4625975" y="1697038"/>
            <a:ext cx="293688" cy="4756150"/>
            <a:chOff x="4634646" y="1563630"/>
            <a:chExt cx="293667" cy="4756843"/>
          </a:xfrm>
        </p:grpSpPr>
        <p:pic>
          <p:nvPicPr>
            <p:cNvPr id="5" name="Picture 4">
              <a:extLst>
                <a:ext uri="{FF2B5EF4-FFF2-40B4-BE49-F238E27FC236}"/>
              </a:extLst>
            </p:cNvPr>
            <p:cNvPicPr>
              <a:picLocks/>
            </p:cNvPicPr>
            <p:nvPr/>
          </p:nvPicPr>
          <p:blipFill>
            <a:blip r:embed="rId34"/>
            <a:stretch>
              <a:fillRect/>
            </a:stretch>
          </p:blipFill>
          <p:spPr>
            <a:xfrm>
              <a:off x="4634646" y="2047888"/>
              <a:ext cx="282555" cy="187352"/>
            </a:xfrm>
            <a:prstGeom prst="rect">
              <a:avLst/>
            </a:prstGeom>
            <a:ln>
              <a:solidFill>
                <a:schemeClr val="accent6"/>
              </a:solidFill>
            </a:ln>
          </p:spPr>
        </p:pic>
        <p:pic>
          <p:nvPicPr>
            <p:cNvPr id="8" name="Picture 7">
              <a:extLst>
                <a:ext uri="{FF2B5EF4-FFF2-40B4-BE49-F238E27FC236}"/>
              </a:extLst>
            </p:cNvPr>
            <p:cNvPicPr>
              <a:picLocks noChangeAspect="1"/>
            </p:cNvPicPr>
            <p:nvPr/>
          </p:nvPicPr>
          <p:blipFill>
            <a:blip r:embed="rId35"/>
            <a:stretch>
              <a:fillRect/>
            </a:stretch>
          </p:blipFill>
          <p:spPr>
            <a:xfrm>
              <a:off x="4634646" y="2501979"/>
              <a:ext cx="282555" cy="187352"/>
            </a:xfrm>
            <a:prstGeom prst="rect">
              <a:avLst/>
            </a:prstGeom>
            <a:ln>
              <a:solidFill>
                <a:schemeClr val="accent6"/>
              </a:solidFill>
            </a:ln>
          </p:spPr>
        </p:pic>
        <p:pic>
          <p:nvPicPr>
            <p:cNvPr id="10" name="Picture 9">
              <a:extLst>
                <a:ext uri="{FF2B5EF4-FFF2-40B4-BE49-F238E27FC236}"/>
              </a:extLst>
            </p:cNvPr>
            <p:cNvPicPr>
              <a:picLocks noChangeAspect="1"/>
            </p:cNvPicPr>
            <p:nvPr/>
          </p:nvPicPr>
          <p:blipFill>
            <a:blip r:embed="rId36"/>
            <a:stretch>
              <a:fillRect/>
            </a:stretch>
          </p:blipFill>
          <p:spPr>
            <a:xfrm>
              <a:off x="4634646" y="2956070"/>
              <a:ext cx="282555" cy="187352"/>
            </a:xfrm>
            <a:prstGeom prst="rect">
              <a:avLst/>
            </a:prstGeom>
            <a:ln>
              <a:solidFill>
                <a:schemeClr val="accent6"/>
              </a:solidFill>
            </a:ln>
          </p:spPr>
        </p:pic>
        <p:pic>
          <p:nvPicPr>
            <p:cNvPr id="12" name="Picture 11">
              <a:extLst>
                <a:ext uri="{FF2B5EF4-FFF2-40B4-BE49-F238E27FC236}"/>
              </a:extLst>
            </p:cNvPr>
            <p:cNvPicPr>
              <a:picLocks noChangeAspect="1"/>
            </p:cNvPicPr>
            <p:nvPr/>
          </p:nvPicPr>
          <p:blipFill>
            <a:blip r:embed="rId37"/>
            <a:stretch>
              <a:fillRect/>
            </a:stretch>
          </p:blipFill>
          <p:spPr>
            <a:xfrm>
              <a:off x="4634646" y="3410161"/>
              <a:ext cx="282555" cy="187352"/>
            </a:xfrm>
            <a:prstGeom prst="rect">
              <a:avLst/>
            </a:prstGeom>
            <a:ln>
              <a:solidFill>
                <a:schemeClr val="accent6"/>
              </a:solidFill>
            </a:ln>
          </p:spPr>
        </p:pic>
        <p:pic>
          <p:nvPicPr>
            <p:cNvPr id="14" name="Picture 13">
              <a:extLst>
                <a:ext uri="{FF2B5EF4-FFF2-40B4-BE49-F238E27FC236}"/>
              </a:extLst>
            </p:cNvPr>
            <p:cNvPicPr>
              <a:picLocks noChangeAspect="1"/>
            </p:cNvPicPr>
            <p:nvPr/>
          </p:nvPicPr>
          <p:blipFill>
            <a:blip r:embed="rId38"/>
            <a:stretch>
              <a:fillRect/>
            </a:stretch>
          </p:blipFill>
          <p:spPr>
            <a:xfrm>
              <a:off x="4634646" y="3864252"/>
              <a:ext cx="282555" cy="187352"/>
            </a:xfrm>
            <a:prstGeom prst="rect">
              <a:avLst/>
            </a:prstGeom>
            <a:ln>
              <a:solidFill>
                <a:schemeClr val="accent6"/>
              </a:solidFill>
            </a:ln>
          </p:spPr>
        </p:pic>
        <p:pic>
          <p:nvPicPr>
            <p:cNvPr id="16" name="Picture 15">
              <a:extLst>
                <a:ext uri="{FF2B5EF4-FFF2-40B4-BE49-F238E27FC236}"/>
              </a:extLst>
            </p:cNvPr>
            <p:cNvPicPr>
              <a:picLocks noChangeAspect="1"/>
            </p:cNvPicPr>
            <p:nvPr/>
          </p:nvPicPr>
          <p:blipFill>
            <a:blip r:embed="rId39"/>
            <a:stretch>
              <a:fillRect/>
            </a:stretch>
          </p:blipFill>
          <p:spPr>
            <a:xfrm>
              <a:off x="4634646" y="4316756"/>
              <a:ext cx="282555" cy="187352"/>
            </a:xfrm>
            <a:prstGeom prst="rect">
              <a:avLst/>
            </a:prstGeom>
            <a:ln>
              <a:solidFill>
                <a:schemeClr val="accent6"/>
              </a:solidFill>
            </a:ln>
          </p:spPr>
        </p:pic>
        <p:pic>
          <p:nvPicPr>
            <p:cNvPr id="20" name="Picture 19">
              <a:extLst>
                <a:ext uri="{FF2B5EF4-FFF2-40B4-BE49-F238E27FC236}"/>
              </a:extLst>
            </p:cNvPr>
            <p:cNvPicPr>
              <a:picLocks noChangeAspect="1"/>
            </p:cNvPicPr>
            <p:nvPr/>
          </p:nvPicPr>
          <p:blipFill>
            <a:blip r:embed="rId40"/>
            <a:stretch>
              <a:fillRect/>
            </a:stretch>
          </p:blipFill>
          <p:spPr>
            <a:xfrm>
              <a:off x="4634646" y="4770847"/>
              <a:ext cx="282555" cy="187352"/>
            </a:xfrm>
            <a:prstGeom prst="rect">
              <a:avLst/>
            </a:prstGeom>
            <a:ln>
              <a:solidFill>
                <a:schemeClr val="accent6"/>
              </a:solidFill>
            </a:ln>
          </p:spPr>
        </p:pic>
        <p:pic>
          <p:nvPicPr>
            <p:cNvPr id="22" name="Picture 21">
              <a:extLst>
                <a:ext uri="{FF2B5EF4-FFF2-40B4-BE49-F238E27FC236}"/>
              </a:extLst>
            </p:cNvPr>
            <p:cNvPicPr>
              <a:picLocks noChangeAspect="1"/>
            </p:cNvPicPr>
            <p:nvPr/>
          </p:nvPicPr>
          <p:blipFill>
            <a:blip r:embed="rId41"/>
            <a:stretch>
              <a:fillRect/>
            </a:stretch>
          </p:blipFill>
          <p:spPr>
            <a:xfrm>
              <a:off x="4634646" y="5224938"/>
              <a:ext cx="282555" cy="187352"/>
            </a:xfrm>
            <a:prstGeom prst="rect">
              <a:avLst/>
            </a:prstGeom>
            <a:ln>
              <a:solidFill>
                <a:schemeClr val="accent6"/>
              </a:solidFill>
            </a:ln>
          </p:spPr>
        </p:pic>
        <p:pic>
          <p:nvPicPr>
            <p:cNvPr id="25" name="Picture 24">
              <a:extLst>
                <a:ext uri="{FF2B5EF4-FFF2-40B4-BE49-F238E27FC236}"/>
              </a:extLst>
            </p:cNvPr>
            <p:cNvPicPr>
              <a:picLocks noChangeAspect="1"/>
            </p:cNvPicPr>
            <p:nvPr/>
          </p:nvPicPr>
          <p:blipFill>
            <a:blip r:embed="rId42"/>
            <a:stretch>
              <a:fillRect/>
            </a:stretch>
          </p:blipFill>
          <p:spPr>
            <a:xfrm>
              <a:off x="4634646" y="5679030"/>
              <a:ext cx="282555" cy="187352"/>
            </a:xfrm>
            <a:prstGeom prst="rect">
              <a:avLst/>
            </a:prstGeom>
            <a:ln>
              <a:solidFill>
                <a:schemeClr val="accent6"/>
              </a:solidFill>
            </a:ln>
          </p:spPr>
        </p:pic>
        <p:pic>
          <p:nvPicPr>
            <p:cNvPr id="27" name="Picture 26">
              <a:extLst>
                <a:ext uri="{FF2B5EF4-FFF2-40B4-BE49-F238E27FC236}"/>
              </a:extLst>
            </p:cNvPr>
            <p:cNvPicPr>
              <a:picLocks noChangeAspect="1"/>
            </p:cNvPicPr>
            <p:nvPr/>
          </p:nvPicPr>
          <p:blipFill>
            <a:blip r:embed="rId43"/>
            <a:stretch>
              <a:fillRect/>
            </a:stretch>
          </p:blipFill>
          <p:spPr>
            <a:xfrm>
              <a:off x="4634646" y="6133121"/>
              <a:ext cx="282555" cy="187352"/>
            </a:xfrm>
            <a:prstGeom prst="rect">
              <a:avLst/>
            </a:prstGeom>
            <a:ln>
              <a:solidFill>
                <a:schemeClr val="accent6"/>
              </a:solidFill>
            </a:ln>
          </p:spPr>
        </p:pic>
        <p:pic>
          <p:nvPicPr>
            <p:cNvPr id="75" name="Picture 74">
              <a:extLst>
                <a:ext uri="{FF2B5EF4-FFF2-40B4-BE49-F238E27FC236}"/>
              </a:extLst>
            </p:cNvPr>
            <p:cNvPicPr>
              <a:picLocks/>
            </p:cNvPicPr>
            <p:nvPr/>
          </p:nvPicPr>
          <p:blipFill>
            <a:blip r:embed="rId44"/>
            <a:stretch>
              <a:fillRect/>
            </a:stretch>
          </p:blipFill>
          <p:spPr>
            <a:xfrm>
              <a:off x="4645758" y="1563630"/>
              <a:ext cx="282555" cy="187352"/>
            </a:xfrm>
            <a:prstGeom prst="rect">
              <a:avLst/>
            </a:prstGeom>
            <a:ln>
              <a:solidFill>
                <a:schemeClr val="accent6"/>
              </a:solidFill>
            </a:ln>
          </p:spPr>
        </p:pic>
      </p:grpSp>
      <p:pic>
        <p:nvPicPr>
          <p:cNvPr id="13354" name="Ink 127"/>
          <p:cNvPicPr>
            <a:picLocks noChangeAspect="1" noChangeArrowheads="1"/>
          </p:cNvPicPr>
          <p:nvPr/>
        </p:nvPicPr>
        <p:blipFill>
          <a:blip r:embed="rId45"/>
          <a:srcRect/>
          <a:stretch>
            <a:fillRect/>
          </a:stretch>
        </p:blipFill>
        <p:spPr bwMode="auto">
          <a:xfrm>
            <a:off x="10266363" y="3794125"/>
            <a:ext cx="25400" cy="25400"/>
          </a:xfrm>
          <a:prstGeom prst="rect">
            <a:avLst/>
          </a:prstGeom>
          <a:noFill/>
          <a:ln w="9525">
            <a:noFill/>
            <a:miter lim="800000"/>
            <a:headEnd/>
            <a:tailEnd/>
          </a:ln>
        </p:spPr>
      </p:pic>
      <p:pic>
        <p:nvPicPr>
          <p:cNvPr id="13355" name="Ink 128"/>
          <p:cNvPicPr>
            <a:picLocks noChangeAspect="1" noChangeArrowheads="1"/>
          </p:cNvPicPr>
          <p:nvPr/>
        </p:nvPicPr>
        <p:blipFill>
          <a:blip r:embed="rId46"/>
          <a:srcRect/>
          <a:stretch>
            <a:fillRect/>
          </a:stretch>
        </p:blipFill>
        <p:spPr bwMode="auto">
          <a:xfrm>
            <a:off x="10347325" y="3729038"/>
            <a:ext cx="53975" cy="46037"/>
          </a:xfrm>
          <a:prstGeom prst="rect">
            <a:avLst/>
          </a:prstGeom>
          <a:noFill/>
          <a:ln w="9525">
            <a:noFill/>
            <a:miter lim="800000"/>
            <a:headEnd/>
            <a:tailEnd/>
          </a:ln>
        </p:spPr>
      </p:pic>
      <p:pic>
        <p:nvPicPr>
          <p:cNvPr id="13356" name="Ink 129"/>
          <p:cNvPicPr>
            <a:picLocks noChangeAspect="1" noChangeArrowheads="1"/>
          </p:cNvPicPr>
          <p:nvPr/>
        </p:nvPicPr>
        <p:blipFill>
          <a:blip r:embed="rId47"/>
          <a:srcRect/>
          <a:stretch>
            <a:fillRect/>
          </a:stretch>
        </p:blipFill>
        <p:spPr bwMode="auto">
          <a:xfrm>
            <a:off x="10491788" y="3735388"/>
            <a:ext cx="76200" cy="39687"/>
          </a:xfrm>
          <a:prstGeom prst="rect">
            <a:avLst/>
          </a:prstGeom>
          <a:noFill/>
          <a:ln w="9525">
            <a:noFill/>
            <a:miter lim="800000"/>
            <a:headEnd/>
            <a:tailEnd/>
          </a:ln>
        </p:spPr>
      </p:pic>
      <p:sp>
        <p:nvSpPr>
          <p:cNvPr id="9" name="Speech Bubble: Rectangle with Corners Rounded 8">
            <a:extLst>
              <a:ext uri="{FF2B5EF4-FFF2-40B4-BE49-F238E27FC236}"/>
            </a:extLst>
          </p:cNvPr>
          <p:cNvSpPr/>
          <p:nvPr/>
        </p:nvSpPr>
        <p:spPr>
          <a:xfrm>
            <a:off x="7697788" y="2533650"/>
            <a:ext cx="1212850" cy="2247900"/>
          </a:xfrm>
          <a:prstGeom prst="wedgeRoundRectCallout">
            <a:avLst>
              <a:gd name="adj1" fmla="val -51869"/>
              <a:gd name="adj2" fmla="val -64311"/>
              <a:gd name="adj3" fmla="val 16667"/>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1"/>
                </a:solidFill>
              </a:rPr>
              <a:t>As of 2018, ~10 million children are reported to be out of school, the highest globally</a:t>
            </a:r>
            <a:endParaRPr lang="en-ZA" sz="1400" dirty="0" err="1">
              <a:solidFill>
                <a:schemeClr val="tx1"/>
              </a:solidFill>
            </a:endParaRPr>
          </a:p>
        </p:txBody>
      </p:sp>
      <p:sp>
        <p:nvSpPr>
          <p:cNvPr id="67" name="1. On-page tracker">
            <a:extLst>
              <a:ext uri="{FF2B5EF4-FFF2-40B4-BE49-F238E27FC236}"/>
            </a:extLst>
          </p:cNvPr>
          <p:cNvSpPr>
            <a:spLocks noChangeArrowheads="1"/>
          </p:cNvSpPr>
          <p:nvPr/>
        </p:nvSpPr>
        <p:spPr bwMode="gray">
          <a:xfrm>
            <a:off x="119063" y="76200"/>
            <a:ext cx="1568450" cy="122238"/>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EXPECTED YEARS OF SCHOOL</a:t>
            </a:r>
          </a:p>
        </p:txBody>
      </p:sp>
      <p:sp>
        <p:nvSpPr>
          <p:cNvPr id="70" name="Marvintitletrackercircle">
            <a:extLst>
              <a:ext uri="{FF2B5EF4-FFF2-40B4-BE49-F238E27FC236}"/>
            </a:extLst>
          </p:cNvPr>
          <p:cNvSpPr/>
          <p:nvPr>
            <p:custDataLst>
              <p:tags r:id="rId25"/>
            </p:custDataLst>
          </p:nvPr>
        </p:nvSpPr>
        <p:spPr>
          <a:xfrm>
            <a:off x="106363" y="176213"/>
            <a:ext cx="330200" cy="330200"/>
          </a:xfrm>
          <a:prstGeom prst="ellipse">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ZA" sz="2000" b="1" dirty="0">
                <a:solidFill>
                  <a:schemeClr val="tx2"/>
                </a:solidFill>
                <a:latin typeface="+mj-lt"/>
              </a:rPr>
              <a:t>4</a:t>
            </a:r>
          </a:p>
        </p:txBody>
      </p:sp>
      <p:sp>
        <p:nvSpPr>
          <p:cNvPr id="68" name="4. Footnote">
            <a:extLst>
              <a:ext uri="{FF2B5EF4-FFF2-40B4-BE49-F238E27FC236}"/>
            </a:extLst>
          </p:cNvPr>
          <p:cNvSpPr txBox="1">
            <a:spLocks noChangeArrowheads="1"/>
          </p:cNvSpPr>
          <p:nvPr/>
        </p:nvSpPr>
        <p:spPr bwMode="gray">
          <a:xfrm>
            <a:off x="119063" y="6338888"/>
            <a:ext cx="8618537" cy="247650"/>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chemeClr val="accent6"/>
                </a:solidFill>
                <a:latin typeface="+mn-lt"/>
                <a:cs typeface="+mn-cs"/>
              </a:rPr>
              <a:t>1 Results of the 2015 Nigeria Education Data Survey (NEDS) implemented by the National</a:t>
            </a:r>
          </a:p>
          <a:p>
            <a:pPr>
              <a:defRPr/>
            </a:pPr>
            <a:r>
              <a:rPr lang="en-US" sz="800" dirty="0">
                <a:solidFill>
                  <a:schemeClr val="accent6"/>
                </a:solidFill>
                <a:latin typeface="+mn-lt"/>
                <a:cs typeface="+mn-cs"/>
              </a:rPr>
              <a:t>Population Commission (NPC) in collaboration with the Federal Ministry Of Education (FME), the Universal Basic Education Commission (UBEC), and the National Bureau of Statistics (NB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139"/>
          <p:cNvGraphicFramePr>
            <a:graphicFrameLocks noChangeAspect="1"/>
          </p:cNvGraphicFramePr>
          <p:nvPr/>
        </p:nvGraphicFramePr>
        <p:xfrm>
          <a:off x="1588" y="1588"/>
          <a:ext cx="1587" cy="1587"/>
        </p:xfrm>
        <a:graphic>
          <a:graphicData uri="http://schemas.openxmlformats.org/presentationml/2006/ole">
            <p:oleObj spid="_x0000_s14338" name="think-cell Slide" r:id="rId6" imgW="360" imgH="360" progId="">
              <p:embed/>
            </p:oleObj>
          </a:graphicData>
        </a:graphic>
      </p:graphicFrame>
      <p:sp>
        <p:nvSpPr>
          <p:cNvPr id="6" name="Rectangle 5" hidden="1">
            <a:extLst>
              <a:ext uri="{FF2B5EF4-FFF2-40B4-BE49-F238E27FC236}"/>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ZA" sz="1100" dirty="0" err="1">
              <a:solidFill>
                <a:schemeClr val="tx1"/>
              </a:solidFill>
              <a:sym typeface="Arial" panose="020B0604020202020204" pitchFamily="34" charset="0"/>
            </a:endParaRPr>
          </a:p>
        </p:txBody>
      </p:sp>
      <p:sp>
        <p:nvSpPr>
          <p:cNvPr id="14340" name="Title 1"/>
          <p:cNvSpPr>
            <a:spLocks noGrp="1"/>
          </p:cNvSpPr>
          <p:nvPr>
            <p:ph type="title"/>
          </p:nvPr>
        </p:nvSpPr>
        <p:spPr>
          <a:xfrm>
            <a:off x="119063" y="144463"/>
            <a:ext cx="8618537" cy="615950"/>
          </a:xfrm>
        </p:spPr>
        <p:txBody>
          <a:bodyPr/>
          <a:lstStyle/>
          <a:p>
            <a:pPr marL="357188"/>
            <a:r>
              <a:rPr lang="en-US" smtClean="0"/>
              <a:t>Quality of learning: Nigeria’s teacher ability and efforts are generally low when compared to other African countries</a:t>
            </a:r>
            <a:endParaRPr lang="en-ZA" smtClean="0"/>
          </a:p>
        </p:txBody>
      </p:sp>
      <p:grpSp>
        <p:nvGrpSpPr>
          <p:cNvPr id="14341" name="Group 9"/>
          <p:cNvGrpSpPr>
            <a:grpSpLocks/>
          </p:cNvGrpSpPr>
          <p:nvPr/>
        </p:nvGrpSpPr>
        <p:grpSpPr bwMode="auto">
          <a:xfrm>
            <a:off x="0" y="1665288"/>
            <a:ext cx="8961438" cy="781050"/>
            <a:chOff x="0" y="1569547"/>
            <a:chExt cx="9144000" cy="1006599"/>
          </a:xfrm>
        </p:grpSpPr>
        <p:sp>
          <p:nvSpPr>
            <p:cNvPr id="11" name="Rectangle 10">
              <a:extLst>
                <a:ext uri="{FF2B5EF4-FFF2-40B4-BE49-F238E27FC236}"/>
              </a:extLst>
            </p:cNvPr>
            <p:cNvSpPr/>
            <p:nvPr/>
          </p:nvSpPr>
          <p:spPr>
            <a:xfrm>
              <a:off x="0" y="1577731"/>
              <a:ext cx="9144000" cy="998415"/>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100" dirty="0">
                <a:solidFill>
                  <a:srgbClr val="000000"/>
                </a:solidFill>
                <a:latin typeface="Century Gothic" panose="020B0502020202020204" pitchFamily="34" charset="0"/>
              </a:endParaRPr>
            </a:p>
          </p:txBody>
        </p:sp>
        <p:cxnSp>
          <p:nvCxnSpPr>
            <p:cNvPr id="12" name="Straight Connector 11">
              <a:extLst>
                <a:ext uri="{FF2B5EF4-FFF2-40B4-BE49-F238E27FC236}"/>
              </a:extLst>
            </p:cNvPr>
            <p:cNvCxnSpPr/>
            <p:nvPr/>
          </p:nvCxnSpPr>
          <p:spPr>
            <a:xfrm>
              <a:off x="0" y="1569547"/>
              <a:ext cx="914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4342" name="TextBox 12"/>
          <p:cNvSpPr txBox="1">
            <a:spLocks noChangeArrowheads="1"/>
          </p:cNvSpPr>
          <p:nvPr/>
        </p:nvSpPr>
        <p:spPr bwMode="auto">
          <a:xfrm>
            <a:off x="125413" y="909638"/>
            <a:ext cx="8612187" cy="215900"/>
          </a:xfrm>
          <a:prstGeom prst="rect">
            <a:avLst/>
          </a:prstGeom>
          <a:noFill/>
          <a:ln w="9525">
            <a:noFill/>
            <a:miter lim="800000"/>
            <a:headEnd/>
            <a:tailEnd/>
          </a:ln>
        </p:spPr>
        <p:txBody>
          <a:bodyPr lIns="0" tIns="0" rIns="0" bIns="0">
            <a:spAutoFit/>
          </a:bodyPr>
          <a:lstStyle/>
          <a:p>
            <a:pPr defTabSz="895350">
              <a:buClr>
                <a:schemeClr val="tx2"/>
              </a:buClr>
              <a:buSzPct val="100000"/>
            </a:pPr>
            <a:r>
              <a:rPr lang="en-GB" sz="1400" b="1">
                <a:solidFill>
                  <a:schemeClr val="tx2"/>
                </a:solidFill>
              </a:rPr>
              <a:t>Service delivery indicator survey taken across below countries between 2012 and 2014 </a:t>
            </a:r>
          </a:p>
        </p:txBody>
      </p:sp>
      <p:sp>
        <p:nvSpPr>
          <p:cNvPr id="14343" name="TextBox 13"/>
          <p:cNvSpPr txBox="1">
            <a:spLocks/>
          </p:cNvSpPr>
          <p:nvPr/>
        </p:nvSpPr>
        <p:spPr bwMode="auto">
          <a:xfrm>
            <a:off x="1493838" y="1282700"/>
            <a:ext cx="787400" cy="338138"/>
          </a:xfrm>
          <a:prstGeom prst="rect">
            <a:avLst/>
          </a:prstGeom>
          <a:noFill/>
          <a:ln w="9525">
            <a:noFill/>
            <a:miter lim="800000"/>
            <a:headEnd/>
            <a:tailEnd/>
          </a:ln>
        </p:spPr>
        <p:txBody>
          <a:bodyPr lIns="0" tIns="0" rIns="0" bIns="0">
            <a:spAutoFit/>
          </a:bodyPr>
          <a:lstStyle/>
          <a:p>
            <a:pPr defTabSz="895350">
              <a:buClr>
                <a:schemeClr val="tx2"/>
              </a:buClr>
              <a:buSzPct val="100000"/>
            </a:pPr>
            <a:r>
              <a:rPr lang="en-GB" sz="1100" b="1">
                <a:solidFill>
                  <a:schemeClr val="tx2"/>
                </a:solidFill>
              </a:rPr>
              <a:t>Nigeria</a:t>
            </a:r>
          </a:p>
          <a:p>
            <a:pPr defTabSz="895350">
              <a:buClr>
                <a:schemeClr val="tx2"/>
              </a:buClr>
              <a:buSzPct val="100000"/>
            </a:pPr>
            <a:r>
              <a:rPr lang="en-GB" sz="1100" b="1">
                <a:solidFill>
                  <a:schemeClr val="tx2"/>
                </a:solidFill>
              </a:rPr>
              <a:t>2013</a:t>
            </a:r>
          </a:p>
        </p:txBody>
      </p:sp>
      <p:sp>
        <p:nvSpPr>
          <p:cNvPr id="14344" name="TextBox 14"/>
          <p:cNvSpPr txBox="1">
            <a:spLocks/>
          </p:cNvSpPr>
          <p:nvPr/>
        </p:nvSpPr>
        <p:spPr bwMode="auto">
          <a:xfrm>
            <a:off x="2620963" y="1282700"/>
            <a:ext cx="698500" cy="338138"/>
          </a:xfrm>
          <a:prstGeom prst="rect">
            <a:avLst/>
          </a:prstGeom>
          <a:noFill/>
          <a:ln w="9525">
            <a:noFill/>
            <a:miter lim="800000"/>
            <a:headEnd/>
            <a:tailEnd/>
          </a:ln>
        </p:spPr>
        <p:txBody>
          <a:bodyPr lIns="0" tIns="0" rIns="0" bIns="0">
            <a:spAutoFit/>
          </a:bodyPr>
          <a:lstStyle/>
          <a:p>
            <a:pPr defTabSz="895350">
              <a:buClr>
                <a:schemeClr val="tx2"/>
              </a:buClr>
              <a:buSzPct val="100000"/>
            </a:pPr>
            <a:r>
              <a:rPr lang="en-GB" sz="1100" b="1">
                <a:solidFill>
                  <a:schemeClr val="tx2"/>
                </a:solidFill>
              </a:rPr>
              <a:t>Average SDI</a:t>
            </a:r>
            <a:r>
              <a:rPr lang="en-GB" sz="1100" b="1" baseline="30000">
                <a:solidFill>
                  <a:schemeClr val="tx2"/>
                </a:solidFill>
              </a:rPr>
              <a:t>1</a:t>
            </a:r>
            <a:r>
              <a:rPr lang="en-GB" sz="1100" b="1">
                <a:solidFill>
                  <a:schemeClr val="tx2"/>
                </a:solidFill>
              </a:rPr>
              <a:t> </a:t>
            </a:r>
          </a:p>
        </p:txBody>
      </p:sp>
      <p:cxnSp>
        <p:nvCxnSpPr>
          <p:cNvPr id="21" name="Straight Connector 20">
            <a:extLst>
              <a:ext uri="{FF2B5EF4-FFF2-40B4-BE49-F238E27FC236}"/>
            </a:extLst>
          </p:cNvPr>
          <p:cNvCxnSpPr/>
          <p:nvPr/>
        </p:nvCxnSpPr>
        <p:spPr>
          <a:xfrm>
            <a:off x="0" y="6384925"/>
            <a:ext cx="896143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14346" name="Chart 120"/>
          <p:cNvGraphicFramePr>
            <a:graphicFrameLocks/>
          </p:cNvGraphicFramePr>
          <p:nvPr/>
        </p:nvGraphicFramePr>
        <p:xfrm>
          <a:off x="1365250" y="1697038"/>
          <a:ext cx="7553325" cy="1017587"/>
        </p:xfrm>
        <a:graphic>
          <a:graphicData uri="http://schemas.openxmlformats.org/presentationml/2006/ole">
            <p:oleObj spid="_x0000_s14346" r:id="rId7" imgW="7553599" imgH="1018120" progId="Excel.Sheet.8">
              <p:embed/>
            </p:oleObj>
          </a:graphicData>
        </a:graphic>
      </p:graphicFrame>
      <p:sp>
        <p:nvSpPr>
          <p:cNvPr id="14347" name="TextBox 31"/>
          <p:cNvSpPr txBox="1">
            <a:spLocks noChangeArrowheads="1"/>
          </p:cNvSpPr>
          <p:nvPr/>
        </p:nvSpPr>
        <p:spPr bwMode="auto">
          <a:xfrm>
            <a:off x="125413" y="1282700"/>
            <a:ext cx="1201737" cy="338138"/>
          </a:xfrm>
          <a:prstGeom prst="rect">
            <a:avLst/>
          </a:prstGeom>
          <a:noFill/>
          <a:ln w="9525">
            <a:noFill/>
            <a:miter lim="800000"/>
            <a:headEnd/>
            <a:tailEnd/>
          </a:ln>
        </p:spPr>
        <p:txBody>
          <a:bodyPr lIns="0" tIns="0" rIns="0" bIns="0">
            <a:spAutoFit/>
          </a:bodyPr>
          <a:lstStyle/>
          <a:p>
            <a:pPr defTabSz="895350">
              <a:buClr>
                <a:schemeClr val="tx2"/>
              </a:buClr>
              <a:buSzPct val="100000"/>
            </a:pPr>
            <a:r>
              <a:rPr lang="en-GB" sz="1100" b="1">
                <a:solidFill>
                  <a:schemeClr val="tx2"/>
                </a:solidFill>
              </a:rPr>
              <a:t>Public schools only</a:t>
            </a:r>
          </a:p>
        </p:txBody>
      </p:sp>
      <p:sp>
        <p:nvSpPr>
          <p:cNvPr id="37" name="Rectangle 36">
            <a:extLst>
              <a:ext uri="{FF2B5EF4-FFF2-40B4-BE49-F238E27FC236}"/>
            </a:extLst>
          </p:cNvPr>
          <p:cNvSpPr/>
          <p:nvPr/>
        </p:nvSpPr>
        <p:spPr>
          <a:xfrm>
            <a:off x="126207" y="1719263"/>
            <a:ext cx="267832" cy="194786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a:defRPr/>
            </a:pPr>
            <a:r>
              <a:rPr lang="en-GB" sz="1100" b="1" dirty="0">
                <a:solidFill>
                  <a:schemeClr val="bg1"/>
                </a:solidFill>
              </a:rPr>
              <a:t>Teacher ability</a:t>
            </a:r>
            <a:endParaRPr lang="en-GB" sz="1100" dirty="0">
              <a:solidFill>
                <a:schemeClr val="bg1"/>
              </a:solidFill>
            </a:endParaRPr>
          </a:p>
        </p:txBody>
      </p:sp>
      <p:sp>
        <p:nvSpPr>
          <p:cNvPr id="36" name="Rectangle 35">
            <a:extLst>
              <a:ext uri="{FF2B5EF4-FFF2-40B4-BE49-F238E27FC236}"/>
            </a:extLst>
          </p:cNvPr>
          <p:cNvSpPr>
            <a:spLocks/>
          </p:cNvSpPr>
          <p:nvPr/>
        </p:nvSpPr>
        <p:spPr>
          <a:xfrm>
            <a:off x="476250" y="1719263"/>
            <a:ext cx="850900" cy="912812"/>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r>
              <a:rPr lang="en-GB" sz="1100" b="1" dirty="0">
                <a:solidFill>
                  <a:schemeClr val="bg1"/>
                </a:solidFill>
              </a:rPr>
              <a:t>Minimum knowledge </a:t>
            </a:r>
            <a:r>
              <a:rPr lang="en-GB" sz="1100" dirty="0">
                <a:solidFill>
                  <a:schemeClr val="bg1"/>
                </a:solidFill>
              </a:rPr>
              <a:t>(% teachers)</a:t>
            </a:r>
          </a:p>
        </p:txBody>
      </p:sp>
      <p:sp>
        <p:nvSpPr>
          <p:cNvPr id="38" name="Rectangle 37">
            <a:extLst>
              <a:ext uri="{FF2B5EF4-FFF2-40B4-BE49-F238E27FC236}"/>
            </a:extLst>
          </p:cNvPr>
          <p:cNvSpPr>
            <a:spLocks/>
          </p:cNvSpPr>
          <p:nvPr/>
        </p:nvSpPr>
        <p:spPr>
          <a:xfrm>
            <a:off x="476250" y="2757488"/>
            <a:ext cx="850900" cy="912812"/>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r>
              <a:rPr lang="en-GB" sz="1100" b="1" dirty="0">
                <a:solidFill>
                  <a:schemeClr val="bg1"/>
                </a:solidFill>
              </a:rPr>
              <a:t>Test score </a:t>
            </a:r>
            <a:r>
              <a:rPr lang="en-GB" sz="1100" dirty="0">
                <a:solidFill>
                  <a:schemeClr val="bg1"/>
                </a:solidFill>
              </a:rPr>
              <a:t>(out of </a:t>
            </a:r>
            <a:r>
              <a:rPr lang="en-GB" sz="1100" b="1" dirty="0">
                <a:solidFill>
                  <a:schemeClr val="bg1"/>
                </a:solidFill>
              </a:rPr>
              <a:t>100)</a:t>
            </a:r>
          </a:p>
        </p:txBody>
      </p:sp>
      <p:sp>
        <p:nvSpPr>
          <p:cNvPr id="39" name="Rectangle 38">
            <a:extLst>
              <a:ext uri="{FF2B5EF4-FFF2-40B4-BE49-F238E27FC236}"/>
            </a:extLst>
          </p:cNvPr>
          <p:cNvSpPr>
            <a:spLocks/>
          </p:cNvSpPr>
          <p:nvPr/>
        </p:nvSpPr>
        <p:spPr>
          <a:xfrm>
            <a:off x="476250" y="3795713"/>
            <a:ext cx="850900" cy="912812"/>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r>
              <a:rPr lang="en-GB" sz="1100" b="1" dirty="0">
                <a:solidFill>
                  <a:schemeClr val="bg1"/>
                </a:solidFill>
              </a:rPr>
              <a:t>School absence rate </a:t>
            </a:r>
            <a:r>
              <a:rPr lang="en-GB" sz="1100" dirty="0">
                <a:solidFill>
                  <a:schemeClr val="bg1"/>
                </a:solidFill>
              </a:rPr>
              <a:t>(% teachers)</a:t>
            </a:r>
          </a:p>
        </p:txBody>
      </p:sp>
      <p:sp>
        <p:nvSpPr>
          <p:cNvPr id="40" name="Rectangle 39">
            <a:extLst>
              <a:ext uri="{FF2B5EF4-FFF2-40B4-BE49-F238E27FC236}"/>
            </a:extLst>
          </p:cNvPr>
          <p:cNvSpPr>
            <a:spLocks/>
          </p:cNvSpPr>
          <p:nvPr/>
        </p:nvSpPr>
        <p:spPr>
          <a:xfrm>
            <a:off x="476250" y="4833938"/>
            <a:ext cx="850900" cy="912812"/>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r>
              <a:rPr lang="en-GB" sz="1100" b="1" dirty="0">
                <a:solidFill>
                  <a:schemeClr val="bg1"/>
                </a:solidFill>
              </a:rPr>
              <a:t>Classroom absence rate </a:t>
            </a:r>
            <a:r>
              <a:rPr lang="en-GB" sz="1100" dirty="0">
                <a:solidFill>
                  <a:schemeClr val="bg1"/>
                </a:solidFill>
              </a:rPr>
              <a:t>(% teachers)</a:t>
            </a:r>
          </a:p>
        </p:txBody>
      </p:sp>
      <p:sp>
        <p:nvSpPr>
          <p:cNvPr id="49" name="Freeform: Shape 48">
            <a:extLst>
              <a:ext uri="{FF2B5EF4-FFF2-40B4-BE49-F238E27FC236}"/>
            </a:extLst>
          </p:cNvPr>
          <p:cNvSpPr>
            <a:spLocks/>
          </p:cNvSpPr>
          <p:nvPr/>
        </p:nvSpPr>
        <p:spPr>
          <a:xfrm>
            <a:off x="476250" y="4772025"/>
            <a:ext cx="8358188" cy="0"/>
          </a:xfrm>
          <a:custGeom>
            <a:avLst/>
            <a:gdLst>
              <a:gd name="connsiteX0" fmla="*/ 0 w 8648700"/>
              <a:gd name="connsiteY0" fmla="*/ 0 h 0"/>
              <a:gd name="connsiteX1" fmla="*/ 8648700 w 8648700"/>
              <a:gd name="connsiteY1" fmla="*/ 0 h 0"/>
            </a:gdLst>
            <a:ahLst/>
            <a:cxnLst>
              <a:cxn ang="0">
                <a:pos x="connsiteX0" y="connsiteY0"/>
              </a:cxn>
              <a:cxn ang="0">
                <a:pos x="connsiteX1" y="connsiteY1"/>
              </a:cxn>
            </a:cxnLst>
            <a:rect l="l" t="t" r="r" b="b"/>
            <a:pathLst>
              <a:path w="8648700">
                <a:moveTo>
                  <a:pt x="0" y="0"/>
                </a:moveTo>
                <a:lnTo>
                  <a:pt x="8648700" y="0"/>
                </a:lnTo>
              </a:path>
            </a:pathLst>
          </a:custGeom>
          <a:noFill/>
          <a:ln w="9525">
            <a:solidFill>
              <a:schemeClr val="accent6">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47" name="Freeform: Shape 46">
            <a:extLst>
              <a:ext uri="{FF2B5EF4-FFF2-40B4-BE49-F238E27FC236}"/>
            </a:extLst>
          </p:cNvPr>
          <p:cNvSpPr>
            <a:spLocks/>
          </p:cNvSpPr>
          <p:nvPr/>
        </p:nvSpPr>
        <p:spPr>
          <a:xfrm>
            <a:off x="476250" y="2695575"/>
            <a:ext cx="8358188" cy="0"/>
          </a:xfrm>
          <a:custGeom>
            <a:avLst/>
            <a:gdLst>
              <a:gd name="connsiteX0" fmla="*/ 0 w 8648700"/>
              <a:gd name="connsiteY0" fmla="*/ 0 h 0"/>
              <a:gd name="connsiteX1" fmla="*/ 8648700 w 8648700"/>
              <a:gd name="connsiteY1" fmla="*/ 0 h 0"/>
            </a:gdLst>
            <a:ahLst/>
            <a:cxnLst>
              <a:cxn ang="0">
                <a:pos x="connsiteX0" y="connsiteY0"/>
              </a:cxn>
              <a:cxn ang="0">
                <a:pos x="connsiteX1" y="connsiteY1"/>
              </a:cxn>
            </a:cxnLst>
            <a:rect l="l" t="t" r="r" b="b"/>
            <a:pathLst>
              <a:path w="8648700">
                <a:moveTo>
                  <a:pt x="0" y="0"/>
                </a:moveTo>
                <a:lnTo>
                  <a:pt x="8648700" y="0"/>
                </a:lnTo>
              </a:path>
            </a:pathLst>
          </a:custGeom>
          <a:noFill/>
          <a:ln w="9525">
            <a:solidFill>
              <a:schemeClr val="accent6">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52" name="Rectangle 51">
            <a:extLst>
              <a:ext uri="{FF2B5EF4-FFF2-40B4-BE49-F238E27FC236}"/>
            </a:extLst>
          </p:cNvPr>
          <p:cNvSpPr/>
          <p:nvPr/>
        </p:nvSpPr>
        <p:spPr>
          <a:xfrm>
            <a:off x="126207" y="3795713"/>
            <a:ext cx="267831" cy="1958975"/>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a:defRPr/>
            </a:pPr>
            <a:r>
              <a:rPr lang="en-GB" sz="1100" b="1" dirty="0">
                <a:solidFill>
                  <a:schemeClr val="bg1"/>
                </a:solidFill>
              </a:rPr>
              <a:t>Teacher effort</a:t>
            </a:r>
            <a:endParaRPr lang="en-GB" sz="1100" dirty="0">
              <a:solidFill>
                <a:schemeClr val="bg1"/>
              </a:solidFill>
            </a:endParaRPr>
          </a:p>
        </p:txBody>
      </p:sp>
      <p:graphicFrame>
        <p:nvGraphicFramePr>
          <p:cNvPr id="14356" name="Chart 121"/>
          <p:cNvGraphicFramePr>
            <a:graphicFrameLocks/>
          </p:cNvGraphicFramePr>
          <p:nvPr/>
        </p:nvGraphicFramePr>
        <p:xfrm>
          <a:off x="1365250" y="2735263"/>
          <a:ext cx="7553325" cy="1017587"/>
        </p:xfrm>
        <a:graphic>
          <a:graphicData uri="http://schemas.openxmlformats.org/presentationml/2006/ole">
            <p:oleObj spid="_x0000_s14356" r:id="rId8" imgW="7553599" imgH="1018120" progId="Excel.Sheet.8">
              <p:embed/>
            </p:oleObj>
          </a:graphicData>
        </a:graphic>
      </p:graphicFrame>
      <p:graphicFrame>
        <p:nvGraphicFramePr>
          <p:cNvPr id="14357" name="Chart 122"/>
          <p:cNvGraphicFramePr>
            <a:graphicFrameLocks/>
          </p:cNvGraphicFramePr>
          <p:nvPr/>
        </p:nvGraphicFramePr>
        <p:xfrm>
          <a:off x="1365250" y="3773488"/>
          <a:ext cx="7553325" cy="1017587"/>
        </p:xfrm>
        <a:graphic>
          <a:graphicData uri="http://schemas.openxmlformats.org/presentationml/2006/ole">
            <p:oleObj spid="_x0000_s14357" r:id="rId9" imgW="7553599" imgH="1018120" progId="Excel.Sheet.8">
              <p:embed/>
            </p:oleObj>
          </a:graphicData>
        </a:graphic>
      </p:graphicFrame>
      <p:graphicFrame>
        <p:nvGraphicFramePr>
          <p:cNvPr id="14358" name="Chart 123"/>
          <p:cNvGraphicFramePr>
            <a:graphicFrameLocks/>
          </p:cNvGraphicFramePr>
          <p:nvPr/>
        </p:nvGraphicFramePr>
        <p:xfrm>
          <a:off x="1365250" y="4811713"/>
          <a:ext cx="7553325" cy="1017587"/>
        </p:xfrm>
        <a:graphic>
          <a:graphicData uri="http://schemas.openxmlformats.org/presentationml/2006/ole">
            <p:oleObj spid="_x0000_s14358" r:id="rId10" imgW="7553599" imgH="1018120" progId="Excel.Sheet.8">
              <p:embed/>
            </p:oleObj>
          </a:graphicData>
        </a:graphic>
      </p:graphicFrame>
      <p:sp>
        <p:nvSpPr>
          <p:cNvPr id="14359" name="TextBox 34"/>
          <p:cNvSpPr txBox="1">
            <a:spLocks/>
          </p:cNvSpPr>
          <p:nvPr/>
        </p:nvSpPr>
        <p:spPr bwMode="auto">
          <a:xfrm>
            <a:off x="5829300" y="1282700"/>
            <a:ext cx="698500" cy="338138"/>
          </a:xfrm>
          <a:prstGeom prst="rect">
            <a:avLst/>
          </a:prstGeom>
          <a:noFill/>
          <a:ln w="9525">
            <a:noFill/>
            <a:miter lim="800000"/>
            <a:headEnd/>
            <a:tailEnd/>
          </a:ln>
        </p:spPr>
        <p:txBody>
          <a:bodyPr lIns="0" tIns="0" rIns="0" bIns="0">
            <a:spAutoFit/>
          </a:bodyPr>
          <a:lstStyle/>
          <a:p>
            <a:pPr defTabSz="895350">
              <a:buClr>
                <a:schemeClr val="tx2"/>
              </a:buClr>
              <a:buSzPct val="100000"/>
            </a:pPr>
            <a:r>
              <a:rPr lang="en-GB" sz="1100" b="1">
                <a:solidFill>
                  <a:schemeClr val="tx2"/>
                </a:solidFill>
              </a:rPr>
              <a:t>Uganda 2013</a:t>
            </a:r>
          </a:p>
        </p:txBody>
      </p:sp>
      <p:grpSp>
        <p:nvGrpSpPr>
          <p:cNvPr id="14360" name="Gruppe 157"/>
          <p:cNvGrpSpPr>
            <a:grpSpLocks noChangeAspect="1"/>
          </p:cNvGrpSpPr>
          <p:nvPr/>
        </p:nvGrpSpPr>
        <p:grpSpPr bwMode="auto">
          <a:xfrm>
            <a:off x="6264275" y="1455738"/>
            <a:ext cx="179388" cy="179387"/>
            <a:chOff x="6855292" y="1016196"/>
            <a:chExt cx="1486328" cy="1481240"/>
          </a:xfrm>
        </p:grpSpPr>
        <p:sp>
          <p:nvSpPr>
            <p:cNvPr id="14404" name="Ellipse 63"/>
            <p:cNvSpPr>
              <a:spLocks noChangeArrowheads="1"/>
            </p:cNvSpPr>
            <p:nvPr/>
          </p:nvSpPr>
          <p:spPr bwMode="auto">
            <a:xfrm>
              <a:off x="6859104" y="1016196"/>
              <a:ext cx="1482516" cy="1481240"/>
            </a:xfrm>
            <a:prstGeom prst="ellipse">
              <a:avLst/>
            </a:prstGeom>
            <a:blipFill dpi="0" rotWithShape="1">
              <a:blip r:embed="rId11"/>
              <a:srcRect/>
              <a:stretch>
                <a:fillRect/>
              </a:stretch>
            </a:blipFill>
            <a:ln w="9525">
              <a:noFill/>
              <a:round/>
              <a:headEnd/>
              <a:tailEnd/>
            </a:ln>
          </p:spPr>
          <p:txBody>
            <a:bodyPr/>
            <a:lstStyle/>
            <a:p>
              <a:endParaRPr lang="da-DK">
                <a:solidFill>
                  <a:srgbClr val="000000"/>
                </a:solidFill>
                <a:ea typeface="MS PGothic" pitchFamily="34" charset="-128"/>
              </a:endParaRPr>
            </a:p>
          </p:txBody>
        </p:sp>
        <p:sp>
          <p:nvSpPr>
            <p:cNvPr id="71" name="Måne 60">
              <a:extLst>
                <a:ext uri="{FF2B5EF4-FFF2-40B4-BE49-F238E27FC236}"/>
              </a:extLst>
            </p:cNvPr>
            <p:cNvSpPr/>
            <p:nvPr/>
          </p:nvSpPr>
          <p:spPr bwMode="auto">
            <a:xfrm rot="16552097">
              <a:off x="7242490" y="1455809"/>
              <a:ext cx="640360" cy="1414755"/>
            </a:xfrm>
            <a:prstGeom prst="moon">
              <a:avLst>
                <a:gd name="adj" fmla="val 8311"/>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34" charset="0"/>
                <a:cs typeface="+mn-cs"/>
              </a:endParaRPr>
            </a:p>
          </p:txBody>
        </p:sp>
        <p:sp>
          <p:nvSpPr>
            <p:cNvPr id="14408" name="Ellipse 45"/>
            <p:cNvSpPr>
              <a:spLocks noChangeArrowheads="1"/>
            </p:cNvSpPr>
            <p:nvPr/>
          </p:nvSpPr>
          <p:spPr bwMode="auto">
            <a:xfrm>
              <a:off x="7070211" y="1052712"/>
              <a:ext cx="1061888" cy="792216"/>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a:endParaRPr lang="da-DK">
                <a:solidFill>
                  <a:srgbClr val="FFFFFF"/>
                </a:solidFill>
                <a:latin typeface="Calibri" pitchFamily="34" charset="0"/>
                <a:ea typeface="MS PGothic" pitchFamily="34" charset="-128"/>
              </a:endParaRPr>
            </a:p>
          </p:txBody>
        </p:sp>
      </p:grpSp>
      <p:sp>
        <p:nvSpPr>
          <p:cNvPr id="14361" name="TextBox 33"/>
          <p:cNvSpPr txBox="1">
            <a:spLocks/>
          </p:cNvSpPr>
          <p:nvPr/>
        </p:nvSpPr>
        <p:spPr bwMode="auto">
          <a:xfrm>
            <a:off x="6950075" y="1282700"/>
            <a:ext cx="698500" cy="338138"/>
          </a:xfrm>
          <a:prstGeom prst="rect">
            <a:avLst/>
          </a:prstGeom>
          <a:noFill/>
          <a:ln w="9525">
            <a:noFill/>
            <a:miter lim="800000"/>
            <a:headEnd/>
            <a:tailEnd/>
          </a:ln>
        </p:spPr>
        <p:txBody>
          <a:bodyPr lIns="0" tIns="0" rIns="0" bIns="0">
            <a:spAutoFit/>
          </a:bodyPr>
          <a:lstStyle/>
          <a:p>
            <a:pPr defTabSz="895350">
              <a:buClr>
                <a:schemeClr val="tx2"/>
              </a:buClr>
              <a:buSzPct val="100000"/>
            </a:pPr>
            <a:r>
              <a:rPr lang="en-GB" sz="1100" b="1">
                <a:solidFill>
                  <a:schemeClr val="tx2"/>
                </a:solidFill>
              </a:rPr>
              <a:t>Togo                2013</a:t>
            </a:r>
          </a:p>
        </p:txBody>
      </p:sp>
      <p:grpSp>
        <p:nvGrpSpPr>
          <p:cNvPr id="14362" name="Gruppe 356"/>
          <p:cNvGrpSpPr>
            <a:grpSpLocks noChangeAspect="1"/>
          </p:cNvGrpSpPr>
          <p:nvPr/>
        </p:nvGrpSpPr>
        <p:grpSpPr bwMode="auto">
          <a:xfrm>
            <a:off x="7426325" y="1455738"/>
            <a:ext cx="182563" cy="179387"/>
            <a:chOff x="2909655" y="2832100"/>
            <a:chExt cx="1513120" cy="1481138"/>
          </a:xfrm>
        </p:grpSpPr>
        <p:sp>
          <p:nvSpPr>
            <p:cNvPr id="14399" name="Ellipse 86"/>
            <p:cNvSpPr>
              <a:spLocks noChangeArrowheads="1"/>
            </p:cNvSpPr>
            <p:nvPr/>
          </p:nvSpPr>
          <p:spPr bwMode="auto">
            <a:xfrm>
              <a:off x="2941638" y="2832100"/>
              <a:ext cx="1481137" cy="1481138"/>
            </a:xfrm>
            <a:prstGeom prst="ellipse">
              <a:avLst/>
            </a:prstGeom>
            <a:blipFill dpi="0" rotWithShape="1">
              <a:blip r:embed="rId12"/>
              <a:srcRect/>
              <a:stretch>
                <a:fillRect/>
              </a:stretch>
            </a:blipFill>
            <a:ln w="9525">
              <a:noFill/>
              <a:round/>
              <a:headEnd/>
              <a:tailEnd/>
            </a:ln>
          </p:spPr>
          <p:txBody>
            <a:bodyPr/>
            <a:lstStyle/>
            <a:p>
              <a:endParaRPr lang="da-DK">
                <a:solidFill>
                  <a:srgbClr val="000000"/>
                </a:solidFill>
                <a:latin typeface="Calibri" pitchFamily="34" charset="0"/>
                <a:ea typeface="MS PGothic" pitchFamily="34" charset="-128"/>
              </a:endParaRPr>
            </a:p>
          </p:txBody>
        </p:sp>
        <p:sp>
          <p:nvSpPr>
            <p:cNvPr id="14400" name="Ellipse 45"/>
            <p:cNvSpPr>
              <a:spLocks noChangeArrowheads="1"/>
            </p:cNvSpPr>
            <p:nvPr/>
          </p:nvSpPr>
          <p:spPr bwMode="auto">
            <a:xfrm>
              <a:off x="3140075" y="2876550"/>
              <a:ext cx="1058863" cy="788988"/>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a:endParaRPr lang="da-DK">
                <a:solidFill>
                  <a:srgbClr val="FFFFFF"/>
                </a:solidFill>
                <a:latin typeface="Calibri" pitchFamily="34" charset="0"/>
                <a:ea typeface="MS PGothic" pitchFamily="34" charset="-128"/>
              </a:endParaRPr>
            </a:p>
          </p:txBody>
        </p:sp>
        <p:sp>
          <p:nvSpPr>
            <p:cNvPr id="76" name="Måne 355">
              <a:extLst>
                <a:ext uri="{FF2B5EF4-FFF2-40B4-BE49-F238E27FC236}"/>
              </a:extLst>
            </p:cNvPr>
            <p:cNvSpPr/>
            <p:nvPr/>
          </p:nvSpPr>
          <p:spPr bwMode="auto">
            <a:xfrm rot="16552097">
              <a:off x="3296974" y="3268292"/>
              <a:ext cx="640315" cy="1414954"/>
            </a:xfrm>
            <a:prstGeom prst="moon">
              <a:avLst>
                <a:gd name="adj" fmla="val 8311"/>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34" charset="0"/>
                <a:cs typeface="+mn-cs"/>
              </a:endParaRPr>
            </a:p>
          </p:txBody>
        </p:sp>
      </p:grpSp>
      <p:sp>
        <p:nvSpPr>
          <p:cNvPr id="14363" name="TextBox 55"/>
          <p:cNvSpPr txBox="1">
            <a:spLocks/>
          </p:cNvSpPr>
          <p:nvPr/>
        </p:nvSpPr>
        <p:spPr bwMode="auto">
          <a:xfrm>
            <a:off x="4732338" y="1282700"/>
            <a:ext cx="698500" cy="338138"/>
          </a:xfrm>
          <a:prstGeom prst="rect">
            <a:avLst/>
          </a:prstGeom>
          <a:noFill/>
          <a:ln w="9525">
            <a:noFill/>
            <a:miter lim="800000"/>
            <a:headEnd/>
            <a:tailEnd/>
          </a:ln>
        </p:spPr>
        <p:txBody>
          <a:bodyPr lIns="0" tIns="0" rIns="0" bIns="0">
            <a:spAutoFit/>
          </a:bodyPr>
          <a:lstStyle/>
          <a:p>
            <a:pPr defTabSz="895350">
              <a:buClr>
                <a:schemeClr val="tx2"/>
              </a:buClr>
              <a:buSzPct val="100000"/>
            </a:pPr>
            <a:r>
              <a:rPr lang="en-GB" sz="1100" b="1">
                <a:solidFill>
                  <a:schemeClr val="tx2"/>
                </a:solidFill>
              </a:rPr>
              <a:t>Tanzania 2014</a:t>
            </a:r>
          </a:p>
        </p:txBody>
      </p:sp>
      <p:grpSp>
        <p:nvGrpSpPr>
          <p:cNvPr id="14364" name="Gruppe 157"/>
          <p:cNvGrpSpPr>
            <a:grpSpLocks noChangeAspect="1"/>
          </p:cNvGrpSpPr>
          <p:nvPr/>
        </p:nvGrpSpPr>
        <p:grpSpPr bwMode="auto">
          <a:xfrm>
            <a:off x="5224463" y="1455738"/>
            <a:ext cx="179387" cy="179387"/>
            <a:chOff x="6855292" y="1016196"/>
            <a:chExt cx="1486328" cy="1481240"/>
          </a:xfrm>
        </p:grpSpPr>
        <p:sp>
          <p:nvSpPr>
            <p:cNvPr id="14394" name="Ellipse 63"/>
            <p:cNvSpPr>
              <a:spLocks noChangeArrowheads="1"/>
            </p:cNvSpPr>
            <p:nvPr/>
          </p:nvSpPr>
          <p:spPr bwMode="auto">
            <a:xfrm>
              <a:off x="6859104" y="1016196"/>
              <a:ext cx="1482516" cy="1481240"/>
            </a:xfrm>
            <a:prstGeom prst="ellipse">
              <a:avLst/>
            </a:prstGeom>
            <a:blipFill dpi="0" rotWithShape="1">
              <a:blip r:embed="rId13"/>
              <a:srcRect/>
              <a:stretch>
                <a:fillRect/>
              </a:stretch>
            </a:blipFill>
            <a:ln w="9525">
              <a:noFill/>
              <a:round/>
              <a:headEnd/>
              <a:tailEnd/>
            </a:ln>
          </p:spPr>
          <p:txBody>
            <a:bodyPr/>
            <a:lstStyle/>
            <a:p>
              <a:endParaRPr lang="da-DK">
                <a:solidFill>
                  <a:srgbClr val="000000"/>
                </a:solidFill>
                <a:ea typeface="MS PGothic" pitchFamily="34" charset="-128"/>
              </a:endParaRPr>
            </a:p>
          </p:txBody>
        </p:sp>
        <p:sp>
          <p:nvSpPr>
            <p:cNvPr id="79" name="Måne 60">
              <a:extLst>
                <a:ext uri="{FF2B5EF4-FFF2-40B4-BE49-F238E27FC236}"/>
              </a:extLst>
            </p:cNvPr>
            <p:cNvSpPr/>
            <p:nvPr/>
          </p:nvSpPr>
          <p:spPr bwMode="auto">
            <a:xfrm rot="16552097">
              <a:off x="7242490" y="1455809"/>
              <a:ext cx="640360" cy="1414755"/>
            </a:xfrm>
            <a:prstGeom prst="moon">
              <a:avLst>
                <a:gd name="adj" fmla="val 8311"/>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34" charset="0"/>
                <a:cs typeface="+mn-cs"/>
              </a:endParaRPr>
            </a:p>
          </p:txBody>
        </p:sp>
        <p:sp>
          <p:nvSpPr>
            <p:cNvPr id="14398" name="Ellipse 45"/>
            <p:cNvSpPr>
              <a:spLocks noChangeArrowheads="1"/>
            </p:cNvSpPr>
            <p:nvPr/>
          </p:nvSpPr>
          <p:spPr bwMode="auto">
            <a:xfrm>
              <a:off x="7070211" y="1052712"/>
              <a:ext cx="1061888" cy="792216"/>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a:endParaRPr lang="da-DK">
                <a:solidFill>
                  <a:srgbClr val="FFFFFF"/>
                </a:solidFill>
                <a:latin typeface="Calibri" pitchFamily="34" charset="0"/>
                <a:ea typeface="MS PGothic" pitchFamily="34" charset="-128"/>
              </a:endParaRPr>
            </a:p>
          </p:txBody>
        </p:sp>
      </p:grpSp>
      <p:sp>
        <p:nvSpPr>
          <p:cNvPr id="14365" name="TextBox 16"/>
          <p:cNvSpPr txBox="1">
            <a:spLocks/>
          </p:cNvSpPr>
          <p:nvPr/>
        </p:nvSpPr>
        <p:spPr bwMode="auto">
          <a:xfrm>
            <a:off x="7883525" y="1282700"/>
            <a:ext cx="863600" cy="338138"/>
          </a:xfrm>
          <a:prstGeom prst="rect">
            <a:avLst/>
          </a:prstGeom>
          <a:noFill/>
          <a:ln w="9525">
            <a:noFill/>
            <a:miter lim="800000"/>
            <a:headEnd/>
            <a:tailEnd/>
          </a:ln>
        </p:spPr>
        <p:txBody>
          <a:bodyPr lIns="0" tIns="0" rIns="0" bIns="0">
            <a:spAutoFit/>
          </a:bodyPr>
          <a:lstStyle/>
          <a:p>
            <a:pPr defTabSz="895350">
              <a:buClr>
                <a:schemeClr val="tx2"/>
              </a:buClr>
              <a:buSzPct val="100000"/>
            </a:pPr>
            <a:r>
              <a:rPr lang="en-GB" sz="1100" b="1">
                <a:solidFill>
                  <a:schemeClr val="tx2"/>
                </a:solidFill>
              </a:rPr>
              <a:t>Mozambique</a:t>
            </a:r>
          </a:p>
          <a:p>
            <a:pPr defTabSz="895350">
              <a:buClr>
                <a:schemeClr val="tx2"/>
              </a:buClr>
              <a:buSzPct val="100000"/>
            </a:pPr>
            <a:r>
              <a:rPr lang="en-GB" sz="1100" b="1">
                <a:solidFill>
                  <a:schemeClr val="tx2"/>
                </a:solidFill>
              </a:rPr>
              <a:t>2014</a:t>
            </a:r>
          </a:p>
        </p:txBody>
      </p:sp>
      <p:grpSp>
        <p:nvGrpSpPr>
          <p:cNvPr id="14366" name="Gruppe 354"/>
          <p:cNvGrpSpPr>
            <a:grpSpLocks noChangeAspect="1"/>
          </p:cNvGrpSpPr>
          <p:nvPr/>
        </p:nvGrpSpPr>
        <p:grpSpPr bwMode="auto">
          <a:xfrm>
            <a:off x="8561388" y="1455738"/>
            <a:ext cx="179387" cy="179387"/>
            <a:chOff x="981075" y="2832100"/>
            <a:chExt cx="1484313" cy="1481138"/>
          </a:xfrm>
        </p:grpSpPr>
        <p:sp>
          <p:nvSpPr>
            <p:cNvPr id="86" name="Ellipse 76">
              <a:extLst>
                <a:ext uri="{FF2B5EF4-FFF2-40B4-BE49-F238E27FC236}"/>
              </a:extLst>
            </p:cNvPr>
            <p:cNvSpPr/>
            <p:nvPr/>
          </p:nvSpPr>
          <p:spPr bwMode="auto">
            <a:xfrm>
              <a:off x="981075" y="2832100"/>
              <a:ext cx="1484313" cy="1481138"/>
            </a:xfrm>
            <a:prstGeom prst="ellipse">
              <a:avLst/>
            </a:prstGeom>
            <a:blipFill dpi="0" rotWithShape="1">
              <a:blip r:embed="rId14"/>
              <a:srcRect/>
              <a:stretch>
                <a:fillRect l="-26000" r="-100000"/>
              </a:stretch>
            </a:blipFill>
            <a:ln w="9525">
              <a:solidFill>
                <a:schemeClr val="bg1">
                  <a:lumMod val="65000"/>
                </a:schemeClr>
              </a:solidFill>
              <a:round/>
              <a:headEnd/>
              <a:tailEnd/>
            </a:ln>
          </p:spPr>
          <p:txBody>
            <a:bodyPr/>
            <a:lstStyle/>
            <a:p>
              <a:pPr>
                <a:defRPr/>
              </a:pPr>
              <a:endParaRPr lang="da-DK">
                <a:solidFill>
                  <a:srgbClr val="000000"/>
                </a:solidFill>
                <a:latin typeface="Arial" charset="0"/>
                <a:cs typeface="+mn-cs"/>
              </a:endParaRPr>
            </a:p>
          </p:txBody>
        </p:sp>
        <p:sp>
          <p:nvSpPr>
            <p:cNvPr id="87" name="Måne 67">
              <a:extLst>
                <a:ext uri="{FF2B5EF4-FFF2-40B4-BE49-F238E27FC236}"/>
              </a:extLst>
            </p:cNvPr>
            <p:cNvSpPr/>
            <p:nvPr/>
          </p:nvSpPr>
          <p:spPr bwMode="auto">
            <a:xfrm rot="16552097">
              <a:off x="1375399" y="3256524"/>
              <a:ext cx="640589" cy="1414953"/>
            </a:xfrm>
            <a:prstGeom prst="moon">
              <a:avLst>
                <a:gd name="adj" fmla="val 8311"/>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34" charset="0"/>
                <a:cs typeface="+mn-cs"/>
              </a:endParaRPr>
            </a:p>
          </p:txBody>
        </p:sp>
        <p:sp>
          <p:nvSpPr>
            <p:cNvPr id="14393" name="Ellipse 45"/>
            <p:cNvSpPr>
              <a:spLocks noChangeArrowheads="1"/>
            </p:cNvSpPr>
            <p:nvPr/>
          </p:nvSpPr>
          <p:spPr bwMode="auto">
            <a:xfrm>
              <a:off x="1179513" y="2887663"/>
              <a:ext cx="1057275" cy="792162"/>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a:endParaRPr lang="da-DK">
                <a:solidFill>
                  <a:srgbClr val="FFFFFF"/>
                </a:solidFill>
                <a:latin typeface="Calibri" pitchFamily="34" charset="0"/>
                <a:ea typeface="MS PGothic" pitchFamily="34" charset="-128"/>
              </a:endParaRPr>
            </a:p>
          </p:txBody>
        </p:sp>
      </p:grpSp>
      <p:grpSp>
        <p:nvGrpSpPr>
          <p:cNvPr id="14367" name="Gruppe 358"/>
          <p:cNvGrpSpPr>
            <a:grpSpLocks noChangeAspect="1"/>
          </p:cNvGrpSpPr>
          <p:nvPr/>
        </p:nvGrpSpPr>
        <p:grpSpPr bwMode="auto">
          <a:xfrm>
            <a:off x="2005013" y="1455738"/>
            <a:ext cx="180975" cy="179387"/>
            <a:chOff x="4894097" y="4695063"/>
            <a:chExt cx="1490447" cy="1481138"/>
          </a:xfrm>
        </p:grpSpPr>
        <p:sp>
          <p:nvSpPr>
            <p:cNvPr id="90" name="Ellipse 142">
              <a:extLst>
                <a:ext uri="{FF2B5EF4-FFF2-40B4-BE49-F238E27FC236}"/>
              </a:extLst>
            </p:cNvPr>
            <p:cNvSpPr/>
            <p:nvPr/>
          </p:nvSpPr>
          <p:spPr bwMode="auto">
            <a:xfrm>
              <a:off x="4910328" y="4695063"/>
              <a:ext cx="1474216" cy="1481138"/>
            </a:xfrm>
            <a:prstGeom prst="ellipse">
              <a:avLst/>
            </a:prstGeom>
            <a:blipFill dpi="0" rotWithShape="1">
              <a:blip r:embed="rId15"/>
              <a:srcRect/>
              <a:stretch>
                <a:fillRect r="-45000"/>
              </a:stretch>
            </a:blipFill>
            <a:ln w="9525">
              <a:solidFill>
                <a:schemeClr val="bg1">
                  <a:lumMod val="65000"/>
                </a:schemeClr>
              </a:solidFill>
              <a:round/>
              <a:headEnd/>
              <a:tailEnd/>
            </a:ln>
          </p:spPr>
          <p:txBody>
            <a:bodyPr/>
            <a:lstStyle/>
            <a:p>
              <a:pPr>
                <a:defRPr/>
              </a:pPr>
              <a:endParaRPr lang="da-DK">
                <a:solidFill>
                  <a:srgbClr val="000000"/>
                </a:solidFill>
                <a:latin typeface="Arial" charset="0"/>
                <a:cs typeface="+mn-cs"/>
              </a:endParaRPr>
            </a:p>
          </p:txBody>
        </p:sp>
        <p:sp>
          <p:nvSpPr>
            <p:cNvPr id="14383" name="Ellipse 45"/>
            <p:cNvSpPr>
              <a:spLocks noChangeArrowheads="1"/>
            </p:cNvSpPr>
            <p:nvPr/>
          </p:nvSpPr>
          <p:spPr bwMode="auto">
            <a:xfrm>
              <a:off x="4937633" y="4732338"/>
              <a:ext cx="1052513" cy="788987"/>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a:endParaRPr lang="da-DK">
                <a:solidFill>
                  <a:srgbClr val="FFFFFF"/>
                </a:solidFill>
                <a:latin typeface="Calibri" pitchFamily="34" charset="0"/>
                <a:ea typeface="MS PGothic" pitchFamily="34" charset="-128"/>
              </a:endParaRPr>
            </a:p>
          </p:txBody>
        </p:sp>
        <p:sp>
          <p:nvSpPr>
            <p:cNvPr id="92" name="Måne 357">
              <a:extLst>
                <a:ext uri="{FF2B5EF4-FFF2-40B4-BE49-F238E27FC236}"/>
              </a:extLst>
            </p:cNvPr>
            <p:cNvSpPr/>
            <p:nvPr/>
          </p:nvSpPr>
          <p:spPr bwMode="auto">
            <a:xfrm rot="16552097">
              <a:off x="5281416" y="5116547"/>
              <a:ext cx="640315" cy="1414954"/>
            </a:xfrm>
            <a:prstGeom prst="moon">
              <a:avLst>
                <a:gd name="adj" fmla="val 8311"/>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34" charset="0"/>
                <a:cs typeface="+mn-cs"/>
              </a:endParaRPr>
            </a:p>
          </p:txBody>
        </p:sp>
      </p:grpSp>
      <p:sp>
        <p:nvSpPr>
          <p:cNvPr id="14368" name="TextBox 15"/>
          <p:cNvSpPr txBox="1">
            <a:spLocks/>
          </p:cNvSpPr>
          <p:nvPr/>
        </p:nvSpPr>
        <p:spPr bwMode="auto">
          <a:xfrm>
            <a:off x="3690938" y="1282700"/>
            <a:ext cx="698500" cy="338138"/>
          </a:xfrm>
          <a:prstGeom prst="rect">
            <a:avLst/>
          </a:prstGeom>
          <a:noFill/>
          <a:ln w="9525">
            <a:noFill/>
            <a:miter lim="800000"/>
            <a:headEnd/>
            <a:tailEnd/>
          </a:ln>
        </p:spPr>
        <p:txBody>
          <a:bodyPr lIns="0" tIns="0" rIns="0" bIns="0">
            <a:spAutoFit/>
          </a:bodyPr>
          <a:lstStyle/>
          <a:p>
            <a:pPr defTabSz="895350">
              <a:buClr>
                <a:schemeClr val="tx2"/>
              </a:buClr>
              <a:buSzPct val="100000"/>
            </a:pPr>
            <a:r>
              <a:rPr lang="en-GB" sz="1100" b="1">
                <a:solidFill>
                  <a:schemeClr val="tx2"/>
                </a:solidFill>
              </a:rPr>
              <a:t>Kenya            2012</a:t>
            </a:r>
          </a:p>
        </p:txBody>
      </p:sp>
      <p:grpSp>
        <p:nvGrpSpPr>
          <p:cNvPr id="14369" name="Gruppe 157"/>
          <p:cNvGrpSpPr>
            <a:grpSpLocks noChangeAspect="1"/>
          </p:cNvGrpSpPr>
          <p:nvPr/>
        </p:nvGrpSpPr>
        <p:grpSpPr bwMode="auto">
          <a:xfrm>
            <a:off x="4079875" y="1455738"/>
            <a:ext cx="179388" cy="179387"/>
            <a:chOff x="6855292" y="1016196"/>
            <a:chExt cx="1486328" cy="1481240"/>
          </a:xfrm>
        </p:grpSpPr>
        <p:sp>
          <p:nvSpPr>
            <p:cNvPr id="14375" name="Ellipse 63"/>
            <p:cNvSpPr>
              <a:spLocks noChangeArrowheads="1"/>
            </p:cNvSpPr>
            <p:nvPr/>
          </p:nvSpPr>
          <p:spPr bwMode="auto">
            <a:xfrm>
              <a:off x="6859104" y="1016196"/>
              <a:ext cx="1482516" cy="1481240"/>
            </a:xfrm>
            <a:prstGeom prst="ellipse">
              <a:avLst/>
            </a:prstGeom>
            <a:blipFill dpi="0" rotWithShape="1">
              <a:blip r:embed="rId16"/>
              <a:srcRect/>
              <a:stretch>
                <a:fillRect/>
              </a:stretch>
            </a:blipFill>
            <a:ln w="9525">
              <a:noFill/>
              <a:round/>
              <a:headEnd/>
              <a:tailEnd/>
            </a:ln>
          </p:spPr>
          <p:txBody>
            <a:bodyPr/>
            <a:lstStyle/>
            <a:p>
              <a:endParaRPr lang="da-DK">
                <a:solidFill>
                  <a:srgbClr val="000000"/>
                </a:solidFill>
                <a:ea typeface="MS PGothic" pitchFamily="34" charset="-128"/>
              </a:endParaRPr>
            </a:p>
          </p:txBody>
        </p:sp>
        <p:sp>
          <p:nvSpPr>
            <p:cNvPr id="95" name="Måne 60">
              <a:extLst>
                <a:ext uri="{FF2B5EF4-FFF2-40B4-BE49-F238E27FC236}"/>
              </a:extLst>
            </p:cNvPr>
            <p:cNvSpPr/>
            <p:nvPr/>
          </p:nvSpPr>
          <p:spPr bwMode="auto">
            <a:xfrm rot="16552097">
              <a:off x="7242490" y="1455809"/>
              <a:ext cx="640360" cy="1414755"/>
            </a:xfrm>
            <a:prstGeom prst="moon">
              <a:avLst>
                <a:gd name="adj" fmla="val 8311"/>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34" charset="0"/>
                <a:cs typeface="+mn-cs"/>
              </a:endParaRPr>
            </a:p>
          </p:txBody>
        </p:sp>
        <p:sp>
          <p:nvSpPr>
            <p:cNvPr id="14379" name="Ellipse 45"/>
            <p:cNvSpPr>
              <a:spLocks noChangeArrowheads="1"/>
            </p:cNvSpPr>
            <p:nvPr/>
          </p:nvSpPr>
          <p:spPr bwMode="auto">
            <a:xfrm>
              <a:off x="7070211" y="1052712"/>
              <a:ext cx="1061888" cy="792216"/>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a:endParaRPr lang="da-DK">
                <a:solidFill>
                  <a:srgbClr val="FFFFFF"/>
                </a:solidFill>
                <a:latin typeface="Calibri" pitchFamily="34" charset="0"/>
                <a:ea typeface="MS PGothic" pitchFamily="34" charset="-128"/>
              </a:endParaRPr>
            </a:p>
          </p:txBody>
        </p:sp>
      </p:grpSp>
      <p:sp>
        <p:nvSpPr>
          <p:cNvPr id="48" name="Freeform: Shape 47">
            <a:extLst>
              <a:ext uri="{FF2B5EF4-FFF2-40B4-BE49-F238E27FC236}"/>
            </a:extLst>
          </p:cNvPr>
          <p:cNvSpPr/>
          <p:nvPr/>
        </p:nvSpPr>
        <p:spPr>
          <a:xfrm>
            <a:off x="123825" y="3733800"/>
            <a:ext cx="8710613" cy="0"/>
          </a:xfrm>
          <a:custGeom>
            <a:avLst/>
            <a:gdLst>
              <a:gd name="connsiteX0" fmla="*/ 0 w 8648700"/>
              <a:gd name="connsiteY0" fmla="*/ 0 h 0"/>
              <a:gd name="connsiteX1" fmla="*/ 8648700 w 8648700"/>
              <a:gd name="connsiteY1" fmla="*/ 0 h 0"/>
            </a:gdLst>
            <a:ahLst/>
            <a:cxnLst>
              <a:cxn ang="0">
                <a:pos x="connsiteX0" y="connsiteY0"/>
              </a:cxn>
              <a:cxn ang="0">
                <a:pos x="connsiteX1" y="connsiteY1"/>
              </a:cxn>
            </a:cxnLst>
            <a:rect l="l" t="t" r="r" b="b"/>
            <a:pathLst>
              <a:path w="8648700">
                <a:moveTo>
                  <a:pt x="0" y="0"/>
                </a:moveTo>
                <a:lnTo>
                  <a:pt x="8648700" y="0"/>
                </a:lnTo>
              </a:path>
            </a:pathLst>
          </a:custGeom>
          <a:noFill/>
          <a:ln w="9525">
            <a:solidFill>
              <a:schemeClr val="accent6">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5" name="5. Source">
            <a:extLst>
              <a:ext uri="{FF2B5EF4-FFF2-40B4-BE49-F238E27FC236}"/>
            </a:extLst>
          </p:cNvPr>
          <p:cNvSpPr>
            <a:spLocks noChangeArrowheads="1"/>
          </p:cNvSpPr>
          <p:nvPr/>
        </p:nvSpPr>
        <p:spPr bwMode="gray">
          <a:xfrm>
            <a:off x="119063" y="6507163"/>
            <a:ext cx="7199312"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p>
            <a:pPr marL="609600" indent="-609600" defTabSz="895350">
              <a:tabLst>
                <a:tab pos="630238" algn="l"/>
              </a:tabLst>
              <a:defRPr/>
            </a:pPr>
            <a:r>
              <a:rPr lang="en-US" sz="800" dirty="0">
                <a:solidFill>
                  <a:schemeClr val="accent6"/>
                </a:solidFill>
                <a:latin typeface="+mn-lt"/>
                <a:cs typeface="+mn-cs"/>
              </a:rPr>
              <a:t>SOURCE: Nigeria Service Delivery Indicator Survey, World Bank report</a:t>
            </a:r>
          </a:p>
        </p:txBody>
      </p:sp>
      <p:sp>
        <p:nvSpPr>
          <p:cNvPr id="97" name="4. Footnote">
            <a:extLst>
              <a:ext uri="{FF2B5EF4-FFF2-40B4-BE49-F238E27FC236}"/>
            </a:extLst>
          </p:cNvPr>
          <p:cNvSpPr txBox="1">
            <a:spLocks noChangeArrowheads="1"/>
          </p:cNvSpPr>
          <p:nvPr/>
        </p:nvSpPr>
        <p:spPr bwMode="gray">
          <a:xfrm>
            <a:off x="119063" y="6384925"/>
            <a:ext cx="8618537" cy="12382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chemeClr val="accent6"/>
                </a:solidFill>
                <a:latin typeface="+mn-lt"/>
                <a:cs typeface="+mn-cs"/>
              </a:rPr>
              <a:t>1 Average of 6 countries including Kenya, Tanzania, Uganda, Togo, Mozambique, Senegal</a:t>
            </a:r>
          </a:p>
        </p:txBody>
      </p:sp>
      <p:sp>
        <p:nvSpPr>
          <p:cNvPr id="98" name="1. On-page tracker">
            <a:extLst>
              <a:ext uri="{FF2B5EF4-FFF2-40B4-BE49-F238E27FC236}"/>
            </a:extLst>
          </p:cNvPr>
          <p:cNvSpPr>
            <a:spLocks noChangeArrowheads="1"/>
          </p:cNvSpPr>
          <p:nvPr/>
        </p:nvSpPr>
        <p:spPr bwMode="gray">
          <a:xfrm>
            <a:off x="119063" y="61913"/>
            <a:ext cx="1166812" cy="122237"/>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a:defRPr/>
            </a:pPr>
            <a:r>
              <a:rPr lang="en-US" sz="800" cap="all" dirty="0">
                <a:solidFill>
                  <a:schemeClr val="accent6"/>
                </a:solidFill>
                <a:latin typeface="+mn-lt"/>
                <a:cs typeface="+mn-cs"/>
              </a:rPr>
              <a:t>QUALITY OF LEARNING</a:t>
            </a:r>
          </a:p>
        </p:txBody>
      </p:sp>
      <p:sp>
        <p:nvSpPr>
          <p:cNvPr id="58" name="Marvintitletrackercircle">
            <a:extLst>
              <a:ext uri="{FF2B5EF4-FFF2-40B4-BE49-F238E27FC236}"/>
            </a:extLst>
          </p:cNvPr>
          <p:cNvSpPr/>
          <p:nvPr>
            <p:custDataLst>
              <p:tags r:id="rId3"/>
            </p:custDataLst>
          </p:nvPr>
        </p:nvSpPr>
        <p:spPr>
          <a:xfrm>
            <a:off x="106363" y="153988"/>
            <a:ext cx="330200" cy="330200"/>
          </a:xfrm>
          <a:prstGeom prst="ellipse">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a:defRPr/>
            </a:pPr>
            <a:r>
              <a:rPr lang="en-ZA" sz="2000" b="1" dirty="0">
                <a:solidFill>
                  <a:schemeClr val="tx2"/>
                </a:solidFill>
                <a:latin typeface="+mj-lt"/>
              </a:rPr>
              <a:t>5</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VIOUSNAME" val="C:\Users\Mayowa Ubebe\Box Sync\Beach work\HCD\Final National dialogue documents\HCD Dialogue_ Overview presentation_vF.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8.xml><?xml version="1.0" encoding="utf-8"?>
<p:tagLst xmlns:a="http://schemas.openxmlformats.org/drawingml/2006/main" xmlns:r="http://schemas.openxmlformats.org/officeDocument/2006/relationships" xmlns:p="http://schemas.openxmlformats.org/presentationml/2006/main">
  <p:tag name="ISLEGEND" val="true"/>
</p:tagLst>
</file>

<file path=ppt/tags/tag109.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10.xml><?xml version="1.0" encoding="utf-8"?>
<p:tagLst xmlns:a="http://schemas.openxmlformats.org/drawingml/2006/main" xmlns:r="http://schemas.openxmlformats.org/officeDocument/2006/relationships" xmlns:p="http://schemas.openxmlformats.org/presentationml/2006/main">
  <p:tag name="ISLEGEND" val="true"/>
</p:tagLst>
</file>

<file path=ppt/tags/tag111.xml><?xml version="1.0" encoding="utf-8"?>
<p:tagLst xmlns:a="http://schemas.openxmlformats.org/drawingml/2006/main" xmlns:r="http://schemas.openxmlformats.org/officeDocument/2006/relationships" xmlns:p="http://schemas.openxmlformats.org/presentationml/2006/main">
  <p:tag name="ISLEGEND" val="true"/>
</p:tagLst>
</file>

<file path=ppt/tags/tag112.xml><?xml version="1.0" encoding="utf-8"?>
<p:tagLst xmlns:a="http://schemas.openxmlformats.org/drawingml/2006/main" xmlns:r="http://schemas.openxmlformats.org/officeDocument/2006/relationships" xmlns:p="http://schemas.openxmlformats.org/presentationml/2006/main">
  <p:tag name="ISLEGEND" val="true"/>
</p:tagLst>
</file>

<file path=ppt/tags/tag113.xml><?xml version="1.0" encoding="utf-8"?>
<p:tagLst xmlns:a="http://schemas.openxmlformats.org/drawingml/2006/main" xmlns:r="http://schemas.openxmlformats.org/officeDocument/2006/relationships" xmlns:p="http://schemas.openxmlformats.org/presentationml/2006/main">
  <p:tag name="ISLEGEND" val="true"/>
</p:tagLst>
</file>

<file path=ppt/tags/tag114.xml><?xml version="1.0" encoding="utf-8"?>
<p:tagLst xmlns:a="http://schemas.openxmlformats.org/drawingml/2006/main" xmlns:r="http://schemas.openxmlformats.org/officeDocument/2006/relationships" xmlns:p="http://schemas.openxmlformats.org/presentationml/2006/main">
  <p:tag name="ISLEGEND" val="tru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AtIsbXZQnu6w17feRvlnQ"/>
</p:tagLst>
</file>

<file path=ppt/tags/tag116.xml><?xml version="1.0" encoding="utf-8"?>
<p:tagLst xmlns:a="http://schemas.openxmlformats.org/drawingml/2006/main" xmlns:r="http://schemas.openxmlformats.org/officeDocument/2006/relationships" xmlns:p="http://schemas.openxmlformats.org/presentationml/2006/main">
  <p:tag name="NAME" val="Agend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bZ3KC2HT0K2rqvZHcnjaw"/>
</p:tagLst>
</file>

<file path=ppt/tags/tag118.xml><?xml version="1.0" encoding="utf-8"?>
<p:tagLst xmlns:a="http://schemas.openxmlformats.org/drawingml/2006/main" xmlns:r="http://schemas.openxmlformats.org/officeDocument/2006/relationships" xmlns:p="http://schemas.openxmlformats.org/presentationml/2006/main">
  <p:tag name="RESIZE" val="Yes"/>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CwwrFnoTIufKYjgVh3bzA"/>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6cVxxQ_9R_aGxN5lbKF21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FHHgV9uQP.Aktxs96Zy4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bdQamcaSAGR5BonfKwHF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SpuZAjhSJyeie_FOydY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8tx1ycfiQkW93sQFaVE1w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d8_O2wgRaCzXm._EtfXq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ymxj5keShy.VpWJX30ghg"/>
</p:tagLst>
</file>

<file path=ppt/tags/tag127.xml><?xml version="1.0" encoding="utf-8"?>
<p:tagLst xmlns:a="http://schemas.openxmlformats.org/drawingml/2006/main" xmlns:r="http://schemas.openxmlformats.org/officeDocument/2006/relationships" xmlns:p="http://schemas.openxmlformats.org/presentationml/2006/main">
  <p:tag name="NAME" val="Oval"/>
</p:tagLst>
</file>

<file path=ppt/tags/tag128.xml><?xml version="1.0" encoding="utf-8"?>
<p:tagLst xmlns:a="http://schemas.openxmlformats.org/drawingml/2006/main" xmlns:r="http://schemas.openxmlformats.org/officeDocument/2006/relationships" xmlns:p="http://schemas.openxmlformats.org/presentationml/2006/main">
  <p:tag name="NAME" val="Oval"/>
</p:tagLst>
</file>

<file path=ppt/tags/tag129.xml><?xml version="1.0" encoding="utf-8"?>
<p:tagLst xmlns:a="http://schemas.openxmlformats.org/drawingml/2006/main" xmlns:r="http://schemas.openxmlformats.org/officeDocument/2006/relationships" xmlns:p="http://schemas.openxmlformats.org/presentationml/2006/main">
  <p:tag name="NAME" val="Oval"/>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0.xml><?xml version="1.0" encoding="utf-8"?>
<p:tagLst xmlns:a="http://schemas.openxmlformats.org/drawingml/2006/main" xmlns:r="http://schemas.openxmlformats.org/officeDocument/2006/relationships" xmlns:p="http://schemas.openxmlformats.org/presentationml/2006/main">
  <p:tag name="NAME" val="Oval"/>
</p:tagLst>
</file>

<file path=ppt/tags/tag131.xml><?xml version="1.0" encoding="utf-8"?>
<p:tagLst xmlns:a="http://schemas.openxmlformats.org/drawingml/2006/main" xmlns:r="http://schemas.openxmlformats.org/officeDocument/2006/relationships" xmlns:p="http://schemas.openxmlformats.org/presentationml/2006/main">
  <p:tag name="NAME" val="Oval"/>
</p:tagLst>
</file>

<file path=ppt/tags/tag132.xml><?xml version="1.0" encoding="utf-8"?>
<p:tagLst xmlns:a="http://schemas.openxmlformats.org/drawingml/2006/main" xmlns:r="http://schemas.openxmlformats.org/officeDocument/2006/relationships" xmlns:p="http://schemas.openxmlformats.org/presentationml/2006/main">
  <p:tag name="NAME" val="Oval"/>
</p:tagLst>
</file>

<file path=ppt/tags/tag133.xml><?xml version="1.0" encoding="utf-8"?>
<p:tagLst xmlns:a="http://schemas.openxmlformats.org/drawingml/2006/main" xmlns:r="http://schemas.openxmlformats.org/officeDocument/2006/relationships" xmlns:p="http://schemas.openxmlformats.org/presentationml/2006/main">
  <p:tag name="NAME" val="Oval"/>
</p:tagLst>
</file>

<file path=ppt/tags/tag134.xml><?xml version="1.0" encoding="utf-8"?>
<p:tagLst xmlns:a="http://schemas.openxmlformats.org/drawingml/2006/main" xmlns:r="http://schemas.openxmlformats.org/officeDocument/2006/relationships" xmlns:p="http://schemas.openxmlformats.org/presentationml/2006/main">
  <p:tag name="NAME" val="Oval"/>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JVTmldMRp6HnI5m6KFP0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BkR0hknZQ7GVNjipYG1Su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7bOc3JFkSQudg1PsYmQ1E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4YdIZVvS0aVo_wlzFPpa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_3y4EIVQR1OHknu7GAlwgQ"/>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PcIEsVVQmCGPVMSXI3T4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2i7_q3pTjuUk79Ximwpew"/>
</p:tagLst>
</file>

<file path=ppt/tags/tag142.xml><?xml version="1.0" encoding="utf-8"?>
<p:tagLst xmlns:a="http://schemas.openxmlformats.org/drawingml/2006/main" xmlns:r="http://schemas.openxmlformats.org/officeDocument/2006/relationships" xmlns:p="http://schemas.openxmlformats.org/presentationml/2006/main">
  <p:tag name="NAME" val="Oval"/>
</p:tagLst>
</file>

<file path=ppt/tags/tag143.xml><?xml version="1.0" encoding="utf-8"?>
<p:tagLst xmlns:a="http://schemas.openxmlformats.org/drawingml/2006/main" xmlns:r="http://schemas.openxmlformats.org/officeDocument/2006/relationships" xmlns:p="http://schemas.openxmlformats.org/presentationml/2006/main">
  <p:tag name="NAME" val="Oval"/>
</p:tagLst>
</file>

<file path=ppt/tags/tag144.xml><?xml version="1.0" encoding="utf-8"?>
<p:tagLst xmlns:a="http://schemas.openxmlformats.org/drawingml/2006/main" xmlns:r="http://schemas.openxmlformats.org/officeDocument/2006/relationships" xmlns:p="http://schemas.openxmlformats.org/presentationml/2006/main">
  <p:tag name="NAME" val="Oval"/>
</p:tagLst>
</file>

<file path=ppt/tags/tag145.xml><?xml version="1.0" encoding="utf-8"?>
<p:tagLst xmlns:a="http://schemas.openxmlformats.org/drawingml/2006/main" xmlns:r="http://schemas.openxmlformats.org/officeDocument/2006/relationships" xmlns:p="http://schemas.openxmlformats.org/presentationml/2006/main">
  <p:tag name="NAME" val="Oval"/>
</p:tagLst>
</file>

<file path=ppt/tags/tag146.xml><?xml version="1.0" encoding="utf-8"?>
<p:tagLst xmlns:a="http://schemas.openxmlformats.org/drawingml/2006/main" xmlns:r="http://schemas.openxmlformats.org/officeDocument/2006/relationships" xmlns:p="http://schemas.openxmlformats.org/presentationml/2006/main">
  <p:tag name="ISLEGEND" val="true"/>
</p:tagLst>
</file>

<file path=ppt/tags/tag147.xml><?xml version="1.0" encoding="utf-8"?>
<p:tagLst xmlns:a="http://schemas.openxmlformats.org/drawingml/2006/main" xmlns:r="http://schemas.openxmlformats.org/officeDocument/2006/relationships" xmlns:p="http://schemas.openxmlformats.org/presentationml/2006/main">
  <p:tag name="NAME" val="Oval"/>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A4eeVYYSbendgW6ceiJHQ"/>
</p:tagLst>
</file>

<file path=ppt/tags/tag149.xml><?xml version="1.0" encoding="utf-8"?>
<p:tagLst xmlns:a="http://schemas.openxmlformats.org/drawingml/2006/main" xmlns:r="http://schemas.openxmlformats.org/officeDocument/2006/relationships" xmlns:p="http://schemas.openxmlformats.org/presentationml/2006/main">
  <p:tag name="NAME" val="RoundedRectangle"/>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0.xml><?xml version="1.0" encoding="utf-8"?>
<p:tagLst xmlns:a="http://schemas.openxmlformats.org/drawingml/2006/main" xmlns:r="http://schemas.openxmlformats.org/officeDocument/2006/relationships" xmlns:p="http://schemas.openxmlformats.org/presentationml/2006/main">
  <p:tag name="1LEVEL" val="0.8"/>
  <p:tag name="2LEVEL" val="0.4"/>
  <p:tag name="3LEVEL" val="0.2"/>
  <p:tag name="4LEVEL" val="0.1"/>
  <p:tag name="5LEVEL" val="0.05"/>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77pyWECR96PyU_fawF7RA"/>
</p:tagLst>
</file>

<file path=ppt/tags/tag152.xml><?xml version="1.0" encoding="utf-8"?>
<p:tagLst xmlns:a="http://schemas.openxmlformats.org/drawingml/2006/main" xmlns:r="http://schemas.openxmlformats.org/officeDocument/2006/relationships" xmlns:p="http://schemas.openxmlformats.org/presentationml/2006/main">
  <p:tag name="ISLEGEND" val="true"/>
</p:tagLst>
</file>

<file path=ppt/tags/tag153.xml><?xml version="1.0" encoding="utf-8"?>
<p:tagLst xmlns:a="http://schemas.openxmlformats.org/drawingml/2006/main" xmlns:r="http://schemas.openxmlformats.org/officeDocument/2006/relationships" xmlns:p="http://schemas.openxmlformats.org/presentationml/2006/main">
  <p:tag name="NAME" val="Oval"/>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4cjeUH1QSgWxJOIvXbIG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2ngCtIBnQx.F7TokndRDZ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1oK6xffQzSAgSas3gYQ2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yO9a84lKSJS35pniqDQbb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piY3kQpQQ6mRt98thuXv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3YxspMNQlyQM3vIHonfrg"/>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YNxRRzxSq.bSLHcas.m4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7k3Yi89OSamiZuYnJgRWU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WW4pgkhRFeGI8Pf6faO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WlYrEqKQn68zLIBi0E2v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iQkBX9FR9mefOyBgWsjG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MST9_W1TIWwHjmqRAlOI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ZBQdbi8T7CbVBuq4L_qC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4uVgBwyrTnqRlEfPSc4bY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T3KbOytRgq22UMcmxHdS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dL1hGifQbWAkv5t_IVE0Q"/>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L0dotO10SQm4pBWTY496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j_I.UghQO6a_veQmP3Cp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qHIAJB__Qjm8pBJKd0wyg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kuS5rRcS7eZevtyH5FGn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NyXt9nK2Tj66HMo06dh.Z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mMELzb8SCaYajvWqflRx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uPm9MiRSuidDDXPNvzs9g"/>
</p:tagLst>
</file>

<file path=ppt/tags/tag177.xml><?xml version="1.0" encoding="utf-8"?>
<p:tagLst xmlns:a="http://schemas.openxmlformats.org/drawingml/2006/main" xmlns:r="http://schemas.openxmlformats.org/officeDocument/2006/relationships" xmlns:p="http://schemas.openxmlformats.org/presentationml/2006/main">
  <p:tag name="NAME" val="Oval"/>
</p:tagLst>
</file>

<file path=ppt/tags/tag178.xml><?xml version="1.0" encoding="utf-8"?>
<p:tagLst xmlns:a="http://schemas.openxmlformats.org/drawingml/2006/main" xmlns:r="http://schemas.openxmlformats.org/officeDocument/2006/relationships" xmlns:p="http://schemas.openxmlformats.org/presentationml/2006/main">
  <p:tag name="NAME" val="Oval"/>
</p:tagLst>
</file>

<file path=ppt/tags/tag179.xml><?xml version="1.0" encoding="utf-8"?>
<p:tagLst xmlns:a="http://schemas.openxmlformats.org/drawingml/2006/main" xmlns:r="http://schemas.openxmlformats.org/officeDocument/2006/relationships" xmlns:p="http://schemas.openxmlformats.org/presentationml/2006/main">
  <p:tag name="NAME" val="Oval"/>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0.xml><?xml version="1.0" encoding="utf-8"?>
<p:tagLst xmlns:a="http://schemas.openxmlformats.org/drawingml/2006/main" xmlns:r="http://schemas.openxmlformats.org/officeDocument/2006/relationships" xmlns:p="http://schemas.openxmlformats.org/presentationml/2006/main">
  <p:tag name="NAME" val="Oval"/>
</p:tagLst>
</file>

<file path=ppt/tags/tag181.xml><?xml version="1.0" encoding="utf-8"?>
<p:tagLst xmlns:a="http://schemas.openxmlformats.org/drawingml/2006/main" xmlns:r="http://schemas.openxmlformats.org/officeDocument/2006/relationships" xmlns:p="http://schemas.openxmlformats.org/presentationml/2006/main">
  <p:tag name="NAME" val="Oval"/>
</p:tagLst>
</file>

<file path=ppt/tags/tag182.xml><?xml version="1.0" encoding="utf-8"?>
<p:tagLst xmlns:a="http://schemas.openxmlformats.org/drawingml/2006/main" xmlns:r="http://schemas.openxmlformats.org/officeDocument/2006/relationships" xmlns:p="http://schemas.openxmlformats.org/presentationml/2006/main">
  <p:tag name="NAME" val="Oval"/>
</p:tagLst>
</file>

<file path=ppt/tags/tag183.xml><?xml version="1.0" encoding="utf-8"?>
<p:tagLst xmlns:a="http://schemas.openxmlformats.org/drawingml/2006/main" xmlns:r="http://schemas.openxmlformats.org/officeDocument/2006/relationships" xmlns:p="http://schemas.openxmlformats.org/presentationml/2006/main">
  <p:tag name="NAME" val="Oval"/>
</p:tagLst>
</file>

<file path=ppt/tags/tag184.xml><?xml version="1.0" encoding="utf-8"?>
<p:tagLst xmlns:a="http://schemas.openxmlformats.org/drawingml/2006/main" xmlns:r="http://schemas.openxmlformats.org/officeDocument/2006/relationships" xmlns:p="http://schemas.openxmlformats.org/presentationml/2006/main">
  <p:tag name="NAME" val="Oval"/>
</p:tagLst>
</file>

<file path=ppt/tags/tag185.xml><?xml version="1.0" encoding="utf-8"?>
<p:tagLst xmlns:a="http://schemas.openxmlformats.org/drawingml/2006/main" xmlns:r="http://schemas.openxmlformats.org/officeDocument/2006/relationships" xmlns:p="http://schemas.openxmlformats.org/presentationml/2006/main">
  <p:tag name="NAME" val="Oval"/>
</p:tagLst>
</file>

<file path=ppt/tags/tag186.xml><?xml version="1.0" encoding="utf-8"?>
<p:tagLst xmlns:a="http://schemas.openxmlformats.org/drawingml/2006/main" xmlns:r="http://schemas.openxmlformats.org/officeDocument/2006/relationships" xmlns:p="http://schemas.openxmlformats.org/presentationml/2006/main">
  <p:tag name="NAME" val="Oval"/>
</p:tagLst>
</file>

<file path=ppt/tags/tag187.xml><?xml version="1.0" encoding="utf-8"?>
<p:tagLst xmlns:a="http://schemas.openxmlformats.org/drawingml/2006/main" xmlns:r="http://schemas.openxmlformats.org/officeDocument/2006/relationships" xmlns:p="http://schemas.openxmlformats.org/presentationml/2006/main">
  <p:tag name="NAME" val="Oval"/>
</p:tagLst>
</file>

<file path=ppt/tags/tag188.xml><?xml version="1.0" encoding="utf-8"?>
<p:tagLst xmlns:a="http://schemas.openxmlformats.org/drawingml/2006/main" xmlns:r="http://schemas.openxmlformats.org/officeDocument/2006/relationships" xmlns:p="http://schemas.openxmlformats.org/presentationml/2006/main">
  <p:tag name="NAME" val="Oval"/>
</p:tagLst>
</file>

<file path=ppt/tags/tag189.xml><?xml version="1.0" encoding="utf-8"?>
<p:tagLst xmlns:a="http://schemas.openxmlformats.org/drawingml/2006/main" xmlns:r="http://schemas.openxmlformats.org/officeDocument/2006/relationships" xmlns:p="http://schemas.openxmlformats.org/presentationml/2006/main">
  <p:tag name="NAME" val="Oval"/>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NAME" val="Oval"/>
</p:tagLst>
</file>

<file path=ppt/tags/tag191.xml><?xml version="1.0" encoding="utf-8"?>
<p:tagLst xmlns:a="http://schemas.openxmlformats.org/drawingml/2006/main" xmlns:r="http://schemas.openxmlformats.org/officeDocument/2006/relationships" xmlns:p="http://schemas.openxmlformats.org/presentationml/2006/main">
  <p:tag name="NAME" val="Oval"/>
</p:tagLst>
</file>

<file path=ppt/tags/tag192.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193.xml><?xml version="1.0" encoding="utf-8"?>
<p:tagLst xmlns:a="http://schemas.openxmlformats.org/drawingml/2006/main" xmlns:r="http://schemas.openxmlformats.org/officeDocument/2006/relationships" xmlns:p="http://schemas.openxmlformats.org/presentationml/2006/main">
  <p:tag name="NAME" val="Oval"/>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_hZWBowCRtGtoaiJ11J_u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7mIB3kBbTWC79oIUUQe5h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DP5C5OgT6aEuv4_jAm78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vkkxU9pKRLqMltyJ3njUd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3idUpXZQsWvNTzZQKvlh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4d93K8TRgCAO0jGDUWa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DeOMD9qjTTyW9PxWR0RQd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0NavmxYgQq.U7XqbadBoA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wCZZIW0ZSy.jEnHlanAbm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UKpk7hlQe.RytIunjQU.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rYyR9oncQyyUFZmyg7Foa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8KvOhOJNS1ShGzDhd9Lti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1bqEDxrGR4qBB7UXhTUVg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igdUQ4TS3GLNyNs3KURh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BOxp3Rj.QH.0WIW3b8O0m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EbNBF50bSd2MaHgB7onfkw"/>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pQh08cQIReWqJWgs8WbBw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CxfmRAQSJqLS4IrPs70q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5Wl.RIBiRfCw3EwL8SLrS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chGRokyBRsW27UMsaYPp2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CML_2_tRXKUDPx89gAA.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weI6UVRRQK2pGWZXjuMWA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Ds_JfNdRKa1GiDTcYuVi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32iuw.nQGqXyT4WHijUsA"/>
</p:tagLst>
</file>

<file path=ppt/tags/tag21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19.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EUxPN0OQRFK598SZLtn6v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7_CKNDmsQpaJcVuOd5Sj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4nwk_6s7ScmaszDriT3YI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smFPg7MOTNCCRMOnzm6EF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Yn7qub6R.G0ae0PfgPAq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jt9cc_2SsWVJv48qT7pN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fA2T0aCQjyoWzhluQVMk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RDPNfP0QVuK0O3hrfSjC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4i8qGDnhRnWLoeNKq7mRf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Bbo7WJnaS_2TJzz1m4HFlg"/>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5YJJFDgDTCWlqkXWKYn.I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9m403QVDSjyZOruGXavv_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cs_1IUjQrCYvFa8hYrEU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0RRQ1fQQ3uJmyXSd6kICQ"/>
</p:tagLst>
</file>

<file path=ppt/tags/tag234.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SY3CtR7cnkC.uR4qOi_rz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N_brNIRpOEW2p.2PP5OIi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4cjeUH1QSgWxJOIvXbIGs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S6XiWvpxS7qMXjg8zzzV9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3FLdNUNSTXO7zzvoHhYYIQ"/>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nKkTyOofS6uibmhpH36It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25zktOYxTkyQRgDl5xPkI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PCG_zTzTxqv_QwdT9cAI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z8_Ds2NGQzW5Yr44xMCbC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rl.ZaJ9Sp6EKWegeOf9D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6rptrr_2Qpm3CiPoGezHu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iyfBvGtTQOmmdJkjVz3XC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IlGn9WdqQzGjdZ6bB2if8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4QM1XZt6RmaVB.OcYLMqG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BySiCK_Sk.tyofynf2SzA"/>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_43DSRwGSJ2Bp.xGvaO6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D1A0HsiTvGDz9L__pCrh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kpZIVa5AQIurUM2qXelxv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F0N68buPSL2E6WMyQuKf2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JKLXU2qSQ6Mcm04CHl1H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Ge28IF0PQoK.P0KwTaJtN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jIoncROQy6CaOy0tFK7r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X.XABIzgQMKWn4fu_zl5T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_j9yFZOTqeKZYYet_1MI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4krXxxf8T0OKzJL9avUAFw"/>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60.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PJnlRovTHWJyS5PF1F7xA"/>
</p:tagLst>
</file>

<file path=ppt/tags/tag262.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cPPlF0UkSUSfy0mfOBLNow"/>
</p:tagLst>
</file>

<file path=ppt/tags/tag264.xml><?xml version="1.0" encoding="utf-8"?>
<p:tagLst xmlns:a="http://schemas.openxmlformats.org/drawingml/2006/main" xmlns:r="http://schemas.openxmlformats.org/officeDocument/2006/relationships" xmlns:p="http://schemas.openxmlformats.org/presentationml/2006/main">
  <p:tag name="5LEVEL" val="0.06"/>
  <p:tag name="4LEVEL" val="0.12"/>
  <p:tag name="3LEVEL" val="0.25"/>
  <p:tag name="2LEVEL" val="0.5"/>
  <p:tag name="1LEVEL" val="1"/>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k5I8EsGtTICt_GZk1PoqI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DRYiC5GQXK558q9eCiqG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KxETTpx4QIOdzrbZNBx70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wmUwqFsgRzyRv6mpE7SBf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rULGy0WQJCHO8gGzBR1vA"/>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i3m8Cr3lQ3yKnW6bRvo_Z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y.se62RoQQS._3bDTbhq4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nnTkjy0RLKeoIq0pnbIr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0o9PD0RCRAy9Z2wO344rq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tNBJGxQzulKwHhDgu5A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Nmk4_OlRxahJvMvaXbQG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0VplqDTrSYmeDDf87RdRJ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3Y33y9HCQJehn6pKrhKVT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O1X6qAKhTcCYmhPKVUBUz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4VEDCC1DRImivKiOCO7gWQ"/>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bROqzNY4TAuySl7mAuxPK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SGgbusXTpuQR4MAvGu20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j3eGykznRaacfoboLeMhy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mAo4R0n2SjOENCFFyXvi_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zwEGQKBQbC74eITE1Gx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4PvjMr2UQkK1Rkg6HM4_J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W.0csN9Tlunc7PYYAQd_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o7ppOsaTHO5VhvufDmMW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9qgHU4eSXWR0zk4fx7Hh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RQdr6GxTnCPD3luIeCa9w"/>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s2HnqgOnQjmrVtG7S49W5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1BD9W1.lT0i_WTExTiDQ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olpszN2gRrelrYzpfW6AK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oKLIE0rMQoCS9fNel4405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zoHF0muS_ehaC4CkVBhB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scQCgt1STlKiowa81I9Yi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L61R2LNSbicfI3ED91ZU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Yw_fHNpUTVm_pEBB8gY7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RVSpykRRtyq5AH4sXAiL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W96g2BgQsK2p.M3IwpE6A"/>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SHAPENAME" val="LogoImag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50dLAaqDQFuH_O7HzWLGN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ia0PnCr0Rv.cE.sAxB74C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Ag33_aCDTOOIvQgAaeYQA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DGsJeKM1TT2Fpey6xVhKq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OSC8VzTlR8GcAvdNYzdBA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J75T4fQcR6GnYKnFIBu9v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Y4Uda65nRZCZMbXLk_zZc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j5hcbB_S0OwXP_rua2nG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33qjpaVBSECXn8tX.d9Ka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yjuowodDToOdKUsShzWr4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oEXtIIaRlKvfd4gvWTLb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wr71wV4R6eW.ns8JpTZY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dFlYWH7nTHSIvJssA4ss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Xmi58FXiTb6_EkTv7j_HH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IEDqnpETKip_zpW50br1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smR3mdhSR2YHNDZAw0Oh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YUZQ1wkSsmpVh.N2cRnnQ"/>
</p:tagLst>
</file>

<file path=ppt/tags/tag317.xml><?xml version="1.0" encoding="utf-8"?>
<p:tagLst xmlns:a="http://schemas.openxmlformats.org/drawingml/2006/main" xmlns:r="http://schemas.openxmlformats.org/officeDocument/2006/relationships" xmlns:p="http://schemas.openxmlformats.org/presentationml/2006/main">
  <p:tag name="NAME" val="SingleBoat"/>
</p:tagLst>
</file>

<file path=ppt/tags/tag318.xml><?xml version="1.0" encoding="utf-8"?>
<p:tagLst xmlns:a="http://schemas.openxmlformats.org/drawingml/2006/main" xmlns:r="http://schemas.openxmlformats.org/officeDocument/2006/relationships" xmlns:p="http://schemas.openxmlformats.org/presentationml/2006/main">
  <p:tag name="NAME" val="SingleBoat"/>
</p:tagLst>
</file>

<file path=ppt/tags/tag319.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1.xml><?xml version="1.0" encoding="utf-8"?>
<p:tagLst xmlns:a="http://schemas.openxmlformats.org/drawingml/2006/main" xmlns:r="http://schemas.openxmlformats.org/officeDocument/2006/relationships" xmlns:p="http://schemas.openxmlformats.org/presentationml/2006/main">
  <p:tag name="NAME" val="SingleBoatText"/>
</p:tagLst>
</file>

<file path=ppt/tags/tag3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3.xml><?xml version="1.0" encoding="utf-8"?>
<p:tagLst xmlns:a="http://schemas.openxmlformats.org/drawingml/2006/main" xmlns:r="http://schemas.openxmlformats.org/officeDocument/2006/relationships" xmlns:p="http://schemas.openxmlformats.org/presentationml/2006/main">
  <p:tag name="NAME" val="SingleBoatText"/>
</p:tagLst>
</file>

<file path=ppt/tags/tag324.xml><?xml version="1.0" encoding="utf-8"?>
<p:tagLst xmlns:a="http://schemas.openxmlformats.org/drawingml/2006/main" xmlns:r="http://schemas.openxmlformats.org/officeDocument/2006/relationships" xmlns:p="http://schemas.openxmlformats.org/presentationml/2006/main">
  <p:tag name="ISLEGEND" val="true"/>
</p:tagLst>
</file>

<file path=ppt/tags/tag325.xml><?xml version="1.0" encoding="utf-8"?>
<p:tagLst xmlns:a="http://schemas.openxmlformats.org/drawingml/2006/main" xmlns:r="http://schemas.openxmlformats.org/officeDocument/2006/relationships" xmlns:p="http://schemas.openxmlformats.org/presentationml/2006/main">
  <p:tag name="ISLEGEND" val="tru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aB4QucWQoGrm4FpquKazg"/>
</p:tagLst>
</file>

<file path=ppt/tags/tag32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sbVD92GcT5uBpp4jkZs_a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pJRfoW8QWaHRsWhP.j.bA"/>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sh2dXNGJQXu9KYVcNkVdH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4XVjAKCcR5C1JikIXHC.s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Bls5AVIpQLGLXTtzUGtWi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DEKQAVLRL6bChYIQ70Vk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c1ASi4n6RTujpJDdX1qOA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0s8w2.TvarVUXIZ_Rse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FZYan1QQg.enfF_IDCnW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whtB.ZKT5yaXIqMzMMcx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HGHWMYWRhy9gMRFxLC8.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4Oh3PepSzOX19I6fWgiAA"/>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HOFqh6KRJW27BSFjPOXc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g_0wJlSNREuXwGJLoYXTYQ"/>
</p:tagLst>
</file>

<file path=ppt/tags/tag342.xml><?xml version="1.0" encoding="utf-8"?>
<p:tagLst xmlns:a="http://schemas.openxmlformats.org/drawingml/2006/main" xmlns:r="http://schemas.openxmlformats.org/officeDocument/2006/relationships" xmlns:p="http://schemas.openxmlformats.org/presentationml/2006/main">
  <p:tag name="NAME" val="CustomIcon"/>
</p:tagLst>
</file>

<file path=ppt/tags/tag343.xml><?xml version="1.0" encoding="utf-8"?>
<p:tagLst xmlns:a="http://schemas.openxmlformats.org/drawingml/2006/main" xmlns:r="http://schemas.openxmlformats.org/officeDocument/2006/relationships" xmlns:p="http://schemas.openxmlformats.org/presentationml/2006/main">
  <p:tag name="NAME" val="CustomIcon"/>
</p:tagLst>
</file>

<file path=ppt/tags/tag344.xml><?xml version="1.0" encoding="utf-8"?>
<p:tagLst xmlns:a="http://schemas.openxmlformats.org/drawingml/2006/main" xmlns:r="http://schemas.openxmlformats.org/officeDocument/2006/relationships" xmlns:p="http://schemas.openxmlformats.org/presentationml/2006/main">
  <p:tag name="NAME" val="CustomIcon"/>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1bNAIcyZRty1SvCZyJkbmw"/>
</p:tagLst>
</file>

<file path=ppt/tags/tag34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47.xml><?xml version="1.0" encoding="utf-8"?>
<p:tagLst xmlns:a="http://schemas.openxmlformats.org/drawingml/2006/main" xmlns:r="http://schemas.openxmlformats.org/officeDocument/2006/relationships" xmlns:p="http://schemas.openxmlformats.org/presentationml/2006/main">
  <p:tag name="ISLEGEND" val="true"/>
</p:tagLst>
</file>

<file path=ppt/tags/tag348.xml><?xml version="1.0" encoding="utf-8"?>
<p:tagLst xmlns:a="http://schemas.openxmlformats.org/drawingml/2006/main" xmlns:r="http://schemas.openxmlformats.org/officeDocument/2006/relationships" xmlns:p="http://schemas.openxmlformats.org/presentationml/2006/main">
  <p:tag name="ISLEGEND" val="tru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bfT700V.QICI.vYo2cnKZA"/>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5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351.xml><?xml version="1.0" encoding="utf-8"?>
<p:tagLst xmlns:a="http://schemas.openxmlformats.org/drawingml/2006/main" xmlns:r="http://schemas.openxmlformats.org/officeDocument/2006/relationships" xmlns:p="http://schemas.openxmlformats.org/presentationml/2006/main">
  <p:tag name="ISLEGEND" val="true"/>
</p:tagLst>
</file>

<file path=ppt/tags/tag352.xml><?xml version="1.0" encoding="utf-8"?>
<p:tagLst xmlns:a="http://schemas.openxmlformats.org/drawingml/2006/main" xmlns:r="http://schemas.openxmlformats.org/officeDocument/2006/relationships" xmlns:p="http://schemas.openxmlformats.org/presentationml/2006/main">
  <p:tag name="ISLEGEND" val="true"/>
</p:tagLst>
</file>

<file path=ppt/tags/tag353.xml><?xml version="1.0" encoding="utf-8"?>
<p:tagLst xmlns:a="http://schemas.openxmlformats.org/drawingml/2006/main" xmlns:r="http://schemas.openxmlformats.org/officeDocument/2006/relationships" xmlns:p="http://schemas.openxmlformats.org/presentationml/2006/main">
  <p:tag name="ISLEGEND" val="tru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UDgIxFq_TNWf9cU8wjmfMg"/>
</p:tagLst>
</file>

<file path=ppt/tags/tag355.xml><?xml version="1.0" encoding="utf-8"?>
<p:tagLst xmlns:a="http://schemas.openxmlformats.org/drawingml/2006/main" xmlns:r="http://schemas.openxmlformats.org/officeDocument/2006/relationships" xmlns:p="http://schemas.openxmlformats.org/presentationml/2006/main">
  <p:tag name="ISLEGEND" val="true"/>
</p:tagLst>
</file>

<file path=ppt/tags/tag356.xml><?xml version="1.0" encoding="utf-8"?>
<p:tagLst xmlns:a="http://schemas.openxmlformats.org/drawingml/2006/main" xmlns:r="http://schemas.openxmlformats.org/officeDocument/2006/relationships" xmlns:p="http://schemas.openxmlformats.org/presentationml/2006/main">
  <p:tag name="ISLEGEND" val="true"/>
</p:tagLst>
</file>

<file path=ppt/tags/tag357.xml><?xml version="1.0" encoding="utf-8"?>
<p:tagLst xmlns:a="http://schemas.openxmlformats.org/drawingml/2006/main" xmlns:r="http://schemas.openxmlformats.org/officeDocument/2006/relationships" xmlns:p="http://schemas.openxmlformats.org/presentationml/2006/main">
  <p:tag name="ISLEGEND" val="true"/>
</p:tagLst>
</file>

<file path=ppt/tags/tag358.xml><?xml version="1.0" encoding="utf-8"?>
<p:tagLst xmlns:a="http://schemas.openxmlformats.org/drawingml/2006/main" xmlns:r="http://schemas.openxmlformats.org/officeDocument/2006/relationships" xmlns:p="http://schemas.openxmlformats.org/presentationml/2006/main">
  <p:tag name="NAME" val="CustomIcon"/>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UDgIxFq_TNWf9cU8wjmfMg"/>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60.xml><?xml version="1.0" encoding="utf-8"?>
<p:tagLst xmlns:a="http://schemas.openxmlformats.org/drawingml/2006/main" xmlns:r="http://schemas.openxmlformats.org/officeDocument/2006/relationships" xmlns:p="http://schemas.openxmlformats.org/presentationml/2006/main">
  <p:tag name="ISLEGEND" val="true"/>
</p:tagLst>
</file>

<file path=ppt/tags/tag361.xml><?xml version="1.0" encoding="utf-8"?>
<p:tagLst xmlns:a="http://schemas.openxmlformats.org/drawingml/2006/main" xmlns:r="http://schemas.openxmlformats.org/officeDocument/2006/relationships" xmlns:p="http://schemas.openxmlformats.org/presentationml/2006/main">
  <p:tag name="ISLEGEND" val="true"/>
</p:tagLst>
</file>

<file path=ppt/tags/tag362.xml><?xml version="1.0" encoding="utf-8"?>
<p:tagLst xmlns:a="http://schemas.openxmlformats.org/drawingml/2006/main" xmlns:r="http://schemas.openxmlformats.org/officeDocument/2006/relationships" xmlns:p="http://schemas.openxmlformats.org/presentationml/2006/main">
  <p:tag name="ISLEGEND" val="tru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MKd3hoBSXa8bCuHZUP7vg"/>
</p:tagLst>
</file>

<file path=ppt/tags/tag364.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365.xml><?xml version="1.0" encoding="utf-8"?>
<p:tagLst xmlns:a="http://schemas.openxmlformats.org/drawingml/2006/main" xmlns:r="http://schemas.openxmlformats.org/officeDocument/2006/relationships" xmlns:p="http://schemas.openxmlformats.org/presentationml/2006/main">
  <p:tag name="NAME" val="Rectangle"/>
</p:tagLst>
</file>

<file path=ppt/tags/tag366.xml><?xml version="1.0" encoding="utf-8"?>
<p:tagLst xmlns:a="http://schemas.openxmlformats.org/drawingml/2006/main" xmlns:r="http://schemas.openxmlformats.org/officeDocument/2006/relationships" xmlns:p="http://schemas.openxmlformats.org/presentationml/2006/main">
  <p:tag name="NAME" val="Rectangle"/>
</p:tagLst>
</file>

<file path=ppt/tags/tag367.xml><?xml version="1.0" encoding="utf-8"?>
<p:tagLst xmlns:a="http://schemas.openxmlformats.org/drawingml/2006/main" xmlns:r="http://schemas.openxmlformats.org/officeDocument/2006/relationships" xmlns:p="http://schemas.openxmlformats.org/presentationml/2006/main">
  <p:tag name="NAME" val="Rectangle"/>
</p:tagLst>
</file>

<file path=ppt/tags/tag36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6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7.xml><?xml version="1.0" encoding="utf-8"?>
<p:tagLst xmlns:a="http://schemas.openxmlformats.org/drawingml/2006/main" xmlns:r="http://schemas.openxmlformats.org/officeDocument/2006/relationships" xmlns:p="http://schemas.openxmlformats.org/presentationml/2006/main">
  <p:tag name="ISLEGEND" val="true"/>
</p:tagLst>
</file>

<file path=ppt/tags/tag37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4cjeUH1QSgWxJOIvXbIGsQ"/>
</p:tagLst>
</file>

<file path=ppt/tags/tag372.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373.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74.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375.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7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7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78.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379.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8.xml><?xml version="1.0" encoding="utf-8"?>
<p:tagLst xmlns:a="http://schemas.openxmlformats.org/drawingml/2006/main" xmlns:r="http://schemas.openxmlformats.org/officeDocument/2006/relationships" xmlns:p="http://schemas.openxmlformats.org/presentationml/2006/main">
  <p:tag name="ISLEGEND" val="true"/>
</p:tagLst>
</file>

<file path=ppt/tags/tag380.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381.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8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83.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8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85.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8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87.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88.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89.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39.xml><?xml version="1.0" encoding="utf-8"?>
<p:tagLst xmlns:a="http://schemas.openxmlformats.org/drawingml/2006/main" xmlns:r="http://schemas.openxmlformats.org/officeDocument/2006/relationships" xmlns:p="http://schemas.openxmlformats.org/presentationml/2006/main">
  <p:tag name="ISLEGEND" val="true"/>
</p:tagLst>
</file>

<file path=ppt/tags/tag390.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391.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92.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393.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94.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395.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96.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397.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398.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399.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ISLEGEND" val="true"/>
</p:tagLst>
</file>

<file path=ppt/tags/tag400.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401.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402.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403.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40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5_H5MDyrTbem3FJHJwfFrA"/>
</p:tagLst>
</file>

<file path=ppt/tags/tag406.xml><?xml version="1.0" encoding="utf-8"?>
<p:tagLst xmlns:a="http://schemas.openxmlformats.org/drawingml/2006/main" xmlns:r="http://schemas.openxmlformats.org/officeDocument/2006/relationships" xmlns:p="http://schemas.openxmlformats.org/presentationml/2006/main">
  <p:tag name="RESIZE" val="Yes"/>
</p:tagLst>
</file>

<file path=ppt/tags/tag407.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408.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409.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41.xml><?xml version="1.0" encoding="utf-8"?>
<p:tagLst xmlns:a="http://schemas.openxmlformats.org/drawingml/2006/main" xmlns:r="http://schemas.openxmlformats.org/officeDocument/2006/relationships" xmlns:p="http://schemas.openxmlformats.org/presentationml/2006/main">
  <p:tag name="ISLEGEND" val="true"/>
</p:tagLst>
</file>

<file path=ppt/tags/tag410.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411.xml><?xml version="1.0" encoding="utf-8"?>
<p:tagLst xmlns:a="http://schemas.openxmlformats.org/drawingml/2006/main" xmlns:r="http://schemas.openxmlformats.org/officeDocument/2006/relationships" xmlns:p="http://schemas.openxmlformats.org/presentationml/2006/main">
  <p:tag name="NAME" val="Marvintrackercircle"/>
</p:tagLst>
</file>

<file path=ppt/tags/tag412.xml><?xml version="1.0" encoding="utf-8"?>
<p:tagLst xmlns:a="http://schemas.openxmlformats.org/drawingml/2006/main" xmlns:r="http://schemas.openxmlformats.org/officeDocument/2006/relationships" xmlns:p="http://schemas.openxmlformats.org/presentationml/2006/main">
  <p:tag name="NAME" val="SingleBoat"/>
</p:tagLst>
</file>

<file path=ppt/tags/tag413.xml><?xml version="1.0" encoding="utf-8"?>
<p:tagLst xmlns:a="http://schemas.openxmlformats.org/drawingml/2006/main" xmlns:r="http://schemas.openxmlformats.org/officeDocument/2006/relationships" xmlns:p="http://schemas.openxmlformats.org/presentationml/2006/main">
  <p:tag name="NAME" val="SingleBoat"/>
</p:tagLst>
</file>

<file path=ppt/tags/tag414.xml><?xml version="1.0" encoding="utf-8"?>
<p:tagLst xmlns:a="http://schemas.openxmlformats.org/drawingml/2006/main" xmlns:r="http://schemas.openxmlformats.org/officeDocument/2006/relationships" xmlns:p="http://schemas.openxmlformats.org/presentationml/2006/main">
  <p:tag name="MTTABLE" val="Cell"/>
  <p:tag name="MTNUMBER" val="0.318744158055049"/>
  <p:tag name="LEFT" val="37.24929"/>
  <p:tag name="WIDTH" val="191.1472"/>
  <p:tag name="TOP" val="167.2342"/>
  <p:tag name="HEIGHT" val="120.8301"/>
</p:tagLst>
</file>

<file path=ppt/tags/tag415.xml><?xml version="1.0" encoding="utf-8"?>
<p:tagLst xmlns:a="http://schemas.openxmlformats.org/drawingml/2006/main" xmlns:r="http://schemas.openxmlformats.org/officeDocument/2006/relationships" xmlns:p="http://schemas.openxmlformats.org/presentationml/2006/main">
  <p:tag name="MTTABLE" val="Cell"/>
  <p:tag name="MTNUMBER" val="0.318744158055049"/>
  <p:tag name="LEFT" val="37.24929"/>
  <p:tag name="WIDTH" val="191.1472"/>
  <p:tag name="TOP" val="167.2342"/>
  <p:tag name="HEIGHT" val="120.8301"/>
</p:tagLst>
</file>

<file path=ppt/tags/tag416.xml><?xml version="1.0" encoding="utf-8"?>
<p:tagLst xmlns:a="http://schemas.openxmlformats.org/drawingml/2006/main" xmlns:r="http://schemas.openxmlformats.org/officeDocument/2006/relationships" xmlns:p="http://schemas.openxmlformats.org/presentationml/2006/main">
  <p:tag name="MTTABLE" val="Cell"/>
  <p:tag name="MTNUMBER" val="0.318744158055049"/>
  <p:tag name="LEFT" val="37.24929"/>
  <p:tag name="WIDTH" val="191.1472"/>
  <p:tag name="TOP" val="167.2342"/>
  <p:tag name="HEIGHT" val="120.8301"/>
</p:tagLst>
</file>

<file path=ppt/tags/tag417.xml><?xml version="1.0" encoding="utf-8"?>
<p:tagLst xmlns:a="http://schemas.openxmlformats.org/drawingml/2006/main" xmlns:r="http://schemas.openxmlformats.org/officeDocument/2006/relationships" xmlns:p="http://schemas.openxmlformats.org/presentationml/2006/main">
  <p:tag name="MTTABLE" val="Cell"/>
  <p:tag name="MTNUMBER" val="0.318744158055049"/>
  <p:tag name="LEFT" val="37.24929"/>
  <p:tag name="WIDTH" val="191.1472"/>
  <p:tag name="TOP" val="167.2342"/>
  <p:tag name="HEIGHT" val="120.8301"/>
</p:tagLst>
</file>

<file path=ppt/tags/tag418.xml><?xml version="1.0" encoding="utf-8"?>
<p:tagLst xmlns:a="http://schemas.openxmlformats.org/drawingml/2006/main" xmlns:r="http://schemas.openxmlformats.org/officeDocument/2006/relationships" xmlns:p="http://schemas.openxmlformats.org/presentationml/2006/main">
  <p:tag name="NAME" val="CustomIcon"/>
</p:tagLst>
</file>

<file path=ppt/tags/tag419.xml><?xml version="1.0" encoding="utf-8"?>
<p:tagLst xmlns:a="http://schemas.openxmlformats.org/drawingml/2006/main" xmlns:r="http://schemas.openxmlformats.org/officeDocument/2006/relationships" xmlns:p="http://schemas.openxmlformats.org/presentationml/2006/main">
  <p:tag name="MTTABLE" val="Cell"/>
  <p:tag name="MTNUMBER" val="0.318744158055049"/>
  <p:tag name="LEFT" val="37.24929"/>
  <p:tag name="WIDTH" val="191.1472"/>
  <p:tag name="TOP" val="167.2342"/>
  <p:tag name="HEIGHT" val="120.8301"/>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1.xml><?xml version="1.0" encoding="utf-8"?>
<p:tagLst xmlns:a="http://schemas.openxmlformats.org/drawingml/2006/main" xmlns:r="http://schemas.openxmlformats.org/officeDocument/2006/relationships" xmlns:p="http://schemas.openxmlformats.org/presentationml/2006/main">
  <p:tag name="NAME" val="SingleBoatText"/>
</p:tagLst>
</file>

<file path=ppt/tags/tag4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3.xml><?xml version="1.0" encoding="utf-8"?>
<p:tagLst xmlns:a="http://schemas.openxmlformats.org/drawingml/2006/main" xmlns:r="http://schemas.openxmlformats.org/officeDocument/2006/relationships" xmlns:p="http://schemas.openxmlformats.org/presentationml/2006/main">
  <p:tag name="NAME" val="SingleBoatText"/>
</p:tagLst>
</file>

<file path=ppt/tags/tag42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5_H5MDyrTbem3FJHJwfFrA"/>
</p:tagLst>
</file>

<file path=ppt/tags/tag426.xml><?xml version="1.0" encoding="utf-8"?>
<p:tagLst xmlns:a="http://schemas.openxmlformats.org/drawingml/2006/main" xmlns:r="http://schemas.openxmlformats.org/officeDocument/2006/relationships" xmlns:p="http://schemas.openxmlformats.org/presentationml/2006/main">
  <p:tag name="RESIZE" val="Yes"/>
</p:tagLst>
</file>

<file path=ppt/tags/tag427.xml><?xml version="1.0" encoding="utf-8"?>
<p:tagLst xmlns:a="http://schemas.openxmlformats.org/drawingml/2006/main" xmlns:r="http://schemas.openxmlformats.org/officeDocument/2006/relationships" xmlns:p="http://schemas.openxmlformats.org/presentationml/2006/main">
  <p:tag name="NAME" val="CustomIcon"/>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mhL7cCl3skGibpk5cnLDz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mhL7cCl3skGibpk5cnLDzA"/>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mhL7cCl3skGibpk5cnLDzA"/>
</p:tagLst>
</file>

<file path=ppt/tags/tag431.xml><?xml version="1.0" encoding="utf-8"?>
<p:tagLst xmlns:a="http://schemas.openxmlformats.org/drawingml/2006/main" xmlns:r="http://schemas.openxmlformats.org/officeDocument/2006/relationships" xmlns:p="http://schemas.openxmlformats.org/presentationml/2006/main">
  <p:tag name="NAME" val="CustomIcon"/>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mhL7cCl3skGibpk5cnLDzA"/>
</p:tagLst>
</file>

<file path=ppt/tags/tag433.xml><?xml version="1.0" encoding="utf-8"?>
<p:tagLst xmlns:a="http://schemas.openxmlformats.org/drawingml/2006/main" xmlns:r="http://schemas.openxmlformats.org/officeDocument/2006/relationships" xmlns:p="http://schemas.openxmlformats.org/presentationml/2006/main">
  <p:tag name="NAME" val="CustomIcon"/>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hL7cCl3skGibpk5cnLDzA"/>
</p:tagLst>
</file>

<file path=ppt/tags/tag435.xml><?xml version="1.0" encoding="utf-8"?>
<p:tagLst xmlns:a="http://schemas.openxmlformats.org/drawingml/2006/main" xmlns:r="http://schemas.openxmlformats.org/officeDocument/2006/relationships" xmlns:p="http://schemas.openxmlformats.org/presentationml/2006/main">
  <p:tag name="NAME" val="CustomIcon"/>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mhL7cCl3skGibpk5cnLDzA"/>
</p:tagLst>
</file>

<file path=ppt/tags/tag437.xml><?xml version="1.0" encoding="utf-8"?>
<p:tagLst xmlns:a="http://schemas.openxmlformats.org/drawingml/2006/main" xmlns:r="http://schemas.openxmlformats.org/officeDocument/2006/relationships" xmlns:p="http://schemas.openxmlformats.org/presentationml/2006/main">
  <p:tag name="NAME" val="CustomIcon"/>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mhL7cCl3skGibpk5cnLDzA"/>
</p:tagLst>
</file>

<file path=ppt/tags/tag439.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40.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5_H5MDyrTbem3FJHJwfFrA"/>
</p:tagLst>
</file>

<file path=ppt/tags/tag442.xml><?xml version="1.0" encoding="utf-8"?>
<p:tagLst xmlns:a="http://schemas.openxmlformats.org/drawingml/2006/main" xmlns:r="http://schemas.openxmlformats.org/officeDocument/2006/relationships" xmlns:p="http://schemas.openxmlformats.org/presentationml/2006/main">
  <p:tag name="RESIZE" val="Yes"/>
</p:tagLst>
</file>

<file path=ppt/tags/tag443.xml><?xml version="1.0" encoding="utf-8"?>
<p:tagLst xmlns:a="http://schemas.openxmlformats.org/drawingml/2006/main" xmlns:r="http://schemas.openxmlformats.org/officeDocument/2006/relationships" xmlns:p="http://schemas.openxmlformats.org/presentationml/2006/main">
  <p:tag name="NAME" val="Logo"/>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nA4eeVYYSbendgW6ceiJHQ"/>
</p:tagLst>
</file>

<file path=ppt/tags/tag445.xml><?xml version="1.0" encoding="utf-8"?>
<p:tagLst xmlns:a="http://schemas.openxmlformats.org/drawingml/2006/main" xmlns:r="http://schemas.openxmlformats.org/officeDocument/2006/relationships" xmlns:p="http://schemas.openxmlformats.org/presentationml/2006/main">
  <p:tag name="NAME" val="RoundedRectangl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QIFW9SLsR4SSuLBi4gJWxA"/>
</p:tagLst>
</file>

<file path=ppt/tags/tag447.xml><?xml version="1.0" encoding="utf-8"?>
<p:tagLst xmlns:a="http://schemas.openxmlformats.org/drawingml/2006/main" xmlns:r="http://schemas.openxmlformats.org/officeDocument/2006/relationships" xmlns:p="http://schemas.openxmlformats.org/presentationml/2006/main">
  <p:tag name="NAME" val="Marvinsticker"/>
</p:tagLst>
</file>

<file path=ppt/tags/tag448.xml><?xml version="1.0" encoding="utf-8"?>
<p:tagLst xmlns:a="http://schemas.openxmlformats.org/drawingml/2006/main" xmlns:r="http://schemas.openxmlformats.org/officeDocument/2006/relationships" xmlns:p="http://schemas.openxmlformats.org/presentationml/2006/main">
  <p:tag name="NAME" val="Marvinsticker"/>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ISLEGEND" val="true"/>
</p:tagLst>
</file>

<file path=ppt/tags/tag53.xml><?xml version="1.0" encoding="utf-8"?>
<p:tagLst xmlns:a="http://schemas.openxmlformats.org/drawingml/2006/main" xmlns:r="http://schemas.openxmlformats.org/officeDocument/2006/relationships" xmlns:p="http://schemas.openxmlformats.org/presentationml/2006/main">
  <p:tag name="ISLEGEND" val="true"/>
</p:tagLst>
</file>

<file path=ppt/tags/tag54.xml><?xml version="1.0" encoding="utf-8"?>
<p:tagLst xmlns:a="http://schemas.openxmlformats.org/drawingml/2006/main" xmlns:r="http://schemas.openxmlformats.org/officeDocument/2006/relationships" xmlns:p="http://schemas.openxmlformats.org/presentationml/2006/main">
  <p:tag name="ISLEGEND" val="true"/>
</p:tagLst>
</file>

<file path=ppt/tags/tag55.xml><?xml version="1.0" encoding="utf-8"?>
<p:tagLst xmlns:a="http://schemas.openxmlformats.org/drawingml/2006/main" xmlns:r="http://schemas.openxmlformats.org/officeDocument/2006/relationships" xmlns:p="http://schemas.openxmlformats.org/presentationml/2006/main">
  <p:tag name="ISLEGEND" val="true"/>
</p:tagLst>
</file>

<file path=ppt/tags/tag56.xml><?xml version="1.0" encoding="utf-8"?>
<p:tagLst xmlns:a="http://schemas.openxmlformats.org/drawingml/2006/main" xmlns:r="http://schemas.openxmlformats.org/officeDocument/2006/relationships" xmlns:p="http://schemas.openxmlformats.org/presentationml/2006/main">
  <p:tag name="ISLEGEND" val="true"/>
</p:tagLst>
</file>

<file path=ppt/tags/tag57.xml><?xml version="1.0" encoding="utf-8"?>
<p:tagLst xmlns:a="http://schemas.openxmlformats.org/drawingml/2006/main" xmlns:r="http://schemas.openxmlformats.org/officeDocument/2006/relationships" xmlns:p="http://schemas.openxmlformats.org/presentationml/2006/main">
  <p:tag name="ISLEGEND" val="true"/>
</p:tagLst>
</file>

<file path=ppt/tags/tag58.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ISLEGEND" val="true"/>
</p:tagLst>
</file>

<file path=ppt/tags/tag66.xml><?xml version="1.0" encoding="utf-8"?>
<p:tagLst xmlns:a="http://schemas.openxmlformats.org/drawingml/2006/main" xmlns:r="http://schemas.openxmlformats.org/officeDocument/2006/relationships" xmlns:p="http://schemas.openxmlformats.org/presentationml/2006/main">
  <p:tag name="ISLEGEND" val="true"/>
</p:tagLst>
</file>

<file path=ppt/tags/tag67.xml><?xml version="1.0" encoding="utf-8"?>
<p:tagLst xmlns:a="http://schemas.openxmlformats.org/drawingml/2006/main" xmlns:r="http://schemas.openxmlformats.org/officeDocument/2006/relationships" xmlns:p="http://schemas.openxmlformats.org/presentationml/2006/main">
  <p:tag name="ISLEGEND" val="true"/>
</p:tagLst>
</file>

<file path=ppt/tags/tag68.xml><?xml version="1.0" encoding="utf-8"?>
<p:tagLst xmlns:a="http://schemas.openxmlformats.org/drawingml/2006/main" xmlns:r="http://schemas.openxmlformats.org/officeDocument/2006/relationships" xmlns:p="http://schemas.openxmlformats.org/presentationml/2006/main">
  <p:tag name="ISLEGEND" val="true"/>
</p:tagLst>
</file>

<file path=ppt/tags/tag69.xml><?xml version="1.0" encoding="utf-8"?>
<p:tagLst xmlns:a="http://schemas.openxmlformats.org/drawingml/2006/main" xmlns:r="http://schemas.openxmlformats.org/officeDocument/2006/relationships" xmlns:p="http://schemas.openxmlformats.org/presentationml/2006/main">
  <p:tag name="ISLEGEND" val="tru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80.xml><?xml version="1.0" encoding="utf-8"?>
<p:tagLst xmlns:a="http://schemas.openxmlformats.org/drawingml/2006/main" xmlns:r="http://schemas.openxmlformats.org/officeDocument/2006/relationships" xmlns:p="http://schemas.openxmlformats.org/presentationml/2006/main">
  <p:tag name="ISLEGEND" val="true"/>
</p:tagLst>
</file>

<file path=ppt/tags/tag81.xml><?xml version="1.0" encoding="utf-8"?>
<p:tagLst xmlns:a="http://schemas.openxmlformats.org/drawingml/2006/main" xmlns:r="http://schemas.openxmlformats.org/officeDocument/2006/relationships" xmlns:p="http://schemas.openxmlformats.org/presentationml/2006/main">
  <p:tag name="ISLEGEND" val="true"/>
</p:tagLst>
</file>

<file path=ppt/tags/tag82.xml><?xml version="1.0" encoding="utf-8"?>
<p:tagLst xmlns:a="http://schemas.openxmlformats.org/drawingml/2006/main" xmlns:r="http://schemas.openxmlformats.org/officeDocument/2006/relationships" xmlns:p="http://schemas.openxmlformats.org/presentationml/2006/main">
  <p:tag name="ISLEGEND" val="true"/>
</p:tagLst>
</file>

<file path=ppt/tags/tag83.xml><?xml version="1.0" encoding="utf-8"?>
<p:tagLst xmlns:a="http://schemas.openxmlformats.org/drawingml/2006/main" xmlns:r="http://schemas.openxmlformats.org/officeDocument/2006/relationships" xmlns:p="http://schemas.openxmlformats.org/presentationml/2006/main">
  <p:tag name="ISLEGEND" val="true"/>
</p:tagLst>
</file>

<file path=ppt/tags/tag84.xml><?xml version="1.0" encoding="utf-8"?>
<p:tagLst xmlns:a="http://schemas.openxmlformats.org/drawingml/2006/main" xmlns:r="http://schemas.openxmlformats.org/officeDocument/2006/relationships" xmlns:p="http://schemas.openxmlformats.org/presentationml/2006/main">
  <p:tag name="ISLEGEND" val="true"/>
</p:tagLst>
</file>

<file path=ppt/tags/tag85.xml><?xml version="1.0" encoding="utf-8"?>
<p:tagLst xmlns:a="http://schemas.openxmlformats.org/drawingml/2006/main" xmlns:r="http://schemas.openxmlformats.org/officeDocument/2006/relationships" xmlns:p="http://schemas.openxmlformats.org/presentationml/2006/main">
  <p:tag name="ISLEGEND" val="true"/>
</p:tagLst>
</file>

<file path=ppt/tags/tag86.xml><?xml version="1.0" encoding="utf-8"?>
<p:tagLst xmlns:a="http://schemas.openxmlformats.org/drawingml/2006/main" xmlns:r="http://schemas.openxmlformats.org/officeDocument/2006/relationships" xmlns:p="http://schemas.openxmlformats.org/presentationml/2006/main">
  <p:tag name="ISLEGEND" val="tru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ISLEGEND" val="true"/>
</p:tagLst>
</file>

<file path=ppt/tags/tag94.xml><?xml version="1.0" encoding="utf-8"?>
<p:tagLst xmlns:a="http://schemas.openxmlformats.org/drawingml/2006/main" xmlns:r="http://schemas.openxmlformats.org/officeDocument/2006/relationships" xmlns:p="http://schemas.openxmlformats.org/presentationml/2006/main">
  <p:tag name="ISLEGEND" val="true"/>
</p:tagLst>
</file>

<file path=ppt/tags/tag95.xml><?xml version="1.0" encoding="utf-8"?>
<p:tagLst xmlns:a="http://schemas.openxmlformats.org/drawingml/2006/main" xmlns:r="http://schemas.openxmlformats.org/officeDocument/2006/relationships" xmlns:p="http://schemas.openxmlformats.org/presentationml/2006/main">
  <p:tag name="ISLEGEND" val="true"/>
</p:tagLst>
</file>

<file path=ppt/tags/tag96.xml><?xml version="1.0" encoding="utf-8"?>
<p:tagLst xmlns:a="http://schemas.openxmlformats.org/drawingml/2006/main" xmlns:r="http://schemas.openxmlformats.org/officeDocument/2006/relationships" xmlns:p="http://schemas.openxmlformats.org/presentationml/2006/main">
  <p:tag name="ISLEGEND" val="true"/>
</p:tagLst>
</file>

<file path=ppt/tags/tag97.xml><?xml version="1.0" encoding="utf-8"?>
<p:tagLst xmlns:a="http://schemas.openxmlformats.org/drawingml/2006/main" xmlns:r="http://schemas.openxmlformats.org/officeDocument/2006/relationships" xmlns:p="http://schemas.openxmlformats.org/presentationml/2006/main">
  <p:tag name="ISLEGEND" val="true"/>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Firm Format - template_Blue">
  <a:themeElements>
    <a:clrScheme name="NEC">
      <a:dk1>
        <a:srgbClr val="000000"/>
      </a:dk1>
      <a:lt1>
        <a:srgbClr val="FFFFFF"/>
      </a:lt1>
      <a:dk2>
        <a:srgbClr val="006600"/>
      </a:dk2>
      <a:lt2>
        <a:srgbClr val="FFFFFF"/>
      </a:lt2>
      <a:accent1>
        <a:srgbClr val="C2F0C2"/>
      </a:accent1>
      <a:accent2>
        <a:srgbClr val="33CC33"/>
      </a:accent2>
      <a:accent3>
        <a:srgbClr val="009900"/>
      </a:accent3>
      <a:accent4>
        <a:srgbClr val="006600"/>
      </a:accent4>
      <a:accent5>
        <a:srgbClr val="92D050"/>
      </a:accent5>
      <a:accent6>
        <a:srgbClr val="808080"/>
      </a:accent6>
      <a:hlink>
        <a:srgbClr val="009900"/>
      </a:hlink>
      <a:folHlink>
        <a:srgbClr val="0066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 template_Blue 1">
        <a:dk1>
          <a:srgbClr val="000000"/>
        </a:dk1>
        <a:lt1>
          <a:srgbClr val="FFFFFF"/>
        </a:lt1>
        <a:dk2>
          <a:srgbClr val="002960"/>
        </a:dk2>
        <a:lt2>
          <a:srgbClr val="FFFFFF"/>
        </a:lt2>
        <a:accent1>
          <a:srgbClr val="C5C5C5"/>
        </a:accent1>
        <a:accent2>
          <a:srgbClr val="00ADEF"/>
        </a:accent2>
        <a:accent3>
          <a:srgbClr val="FFFFFF"/>
        </a:accent3>
        <a:accent4>
          <a:srgbClr val="000000"/>
        </a:accent4>
        <a:accent5>
          <a:srgbClr val="DFDFDF"/>
        </a:accent5>
        <a:accent6>
          <a:srgbClr val="009CD9"/>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Firm Format - template_Blue 2">
        <a:dk1>
          <a:srgbClr val="000000"/>
        </a:dk1>
        <a:lt1>
          <a:srgbClr val="FFFFFF"/>
        </a:lt1>
        <a:dk2>
          <a:srgbClr val="002960"/>
        </a:dk2>
        <a:lt2>
          <a:srgbClr val="FFFFFF"/>
        </a:lt2>
        <a:accent1>
          <a:srgbClr val="C9F0FF"/>
        </a:accent1>
        <a:accent2>
          <a:srgbClr val="00ADEF"/>
        </a:accent2>
        <a:accent3>
          <a:srgbClr val="FFFFFF"/>
        </a:accent3>
        <a:accent4>
          <a:srgbClr val="000000"/>
        </a:accent4>
        <a:accent5>
          <a:srgbClr val="E1F6FF"/>
        </a:accent5>
        <a:accent6>
          <a:srgbClr val="009CD9"/>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Firm Format - template - blue - normal" id="{D3E13674-A1AE-4CD7-A766-C89FB4327D25}" vid="{EFCF8206-EE22-4ED1-8604-A72CD5CE5B0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533</TotalTime>
  <Words>3576</Words>
  <Application>Microsoft Office PowerPoint</Application>
  <PresentationFormat>Custom</PresentationFormat>
  <Paragraphs>824</Paragraphs>
  <Slides>22</Slides>
  <Notes>1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22</vt:i4>
      </vt:variant>
    </vt:vector>
  </HeadingPairs>
  <TitlesOfParts>
    <vt:vector size="25" baseType="lpstr">
      <vt:lpstr>Firm Format - template_Blue</vt:lpstr>
      <vt:lpstr>think-cell Slide</vt:lpstr>
      <vt:lpstr>Microsoft Office Excel 97-2003 Worksheet</vt:lpstr>
      <vt:lpstr>Slide 1</vt:lpstr>
      <vt:lpstr>The Human Capital Development (HCD) initiative is a response to  Nigeria’s ranking as a country with low human capital development  below sub-Saharan Africa average across major indices</vt:lpstr>
      <vt:lpstr>The HCD initiative is driven by the core working group (CWG) consisting of representatives from government, development partners and the private sector</vt:lpstr>
      <vt:lpstr>The CWG has selected 6 outcomes and several proxy measures to assess and track progress across HCD thematic areas </vt:lpstr>
      <vt:lpstr>Under 5 mortality rate: Nigeria is well behind expected national  targets and  comparable countries</vt:lpstr>
      <vt:lpstr>Adult mortality: this is highest among the older population and is higher among women than men until after child bearing age</vt:lpstr>
      <vt:lpstr>Malnutrition: stunting rates have grown ~ 3% in the last 10 years  and is behind a number of African peers </vt:lpstr>
      <vt:lpstr>Expected years of school: we have low primary attendance rate ~67%, low secondary school completion rates (male 44% and female 34%) and a low literacy rate, ~47% </vt:lpstr>
      <vt:lpstr>Quality of learning: Nigeria’s teacher ability and efforts are generally low when compared to other African countries</vt:lpstr>
      <vt:lpstr>Labour force participation: only 55% of the working age population (56m) are in the labour force</vt:lpstr>
      <vt:lpstr>Labour force participation rates if not improved will only be exacerbated by a population that is expected to more than double by 2050</vt:lpstr>
      <vt:lpstr>A state-by-state view shows a wide variation in under-five mortality rates with a range from 45 to 210 deaths </vt:lpstr>
      <vt:lpstr>Stunting rates in the hardest hit states are exceptionally high peaking at 66%</vt:lpstr>
      <vt:lpstr>The average literacy rate is 47% with a wide variation across states</vt:lpstr>
      <vt:lpstr>40% of the labour force (34 million people) were unemployed or underemployed in Q3 2017, and in some states this was over 55%</vt:lpstr>
      <vt:lpstr>Nigeria’s vision to accelerate Human Capital Development by 2030</vt:lpstr>
      <vt:lpstr>A preliminary list of interventions has been identified across HCD  thematic areas for States to accelerate…</vt:lpstr>
      <vt:lpstr>… and recommended steps have been outlined for States to accelerate human capital service delivery</vt:lpstr>
      <vt:lpstr>The CWG asks that each State…</vt:lpstr>
      <vt:lpstr>The CWG will support the States in…</vt:lpstr>
      <vt:lpstr>Call to action: charge to Nigerians to own the development of human capital</vt:lpstr>
      <vt:lpstr>The various stakeholders have pledged unwavering commitment to the HCD vision of “Healthy, Educated, and Productive Nigerians for a  globally competitive nation by 2030” </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yowa Ubebe</dc:creator>
  <cp:lastModifiedBy>Windows User</cp:lastModifiedBy>
  <cp:revision>176</cp:revision>
  <dcterms:created xsi:type="dcterms:W3CDTF">2018-12-11T07:37:20Z</dcterms:created>
  <dcterms:modified xsi:type="dcterms:W3CDTF">2019-04-30T09:11:28Z</dcterms:modified>
</cp:coreProperties>
</file>